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7.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notesSlides/notesSlide8.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charts/chart17.xml" ContentType="application/vnd.openxmlformats-officedocument.drawingml.chart+xml"/>
  <Override PartName="/ppt/charts/style6.xml" ContentType="application/vnd.ms-office.chartstyle+xml"/>
  <Override PartName="/ppt/charts/colors6.xml" ContentType="application/vnd.ms-office.chartcolorstyle+xml"/>
  <Override PartName="/ppt/charts/chart18.xml" ContentType="application/vnd.openxmlformats-officedocument.drawingml.chart+xml"/>
  <Override PartName="/ppt/charts/style7.xml" ContentType="application/vnd.ms-office.chartstyle+xml"/>
  <Override PartName="/ppt/charts/colors7.xml" ContentType="application/vnd.ms-office.chartcolorstyle+xml"/>
  <Override PartName="/ppt/charts/chart19.xml" ContentType="application/vnd.openxmlformats-officedocument.drawingml.chart+xml"/>
  <Override PartName="/ppt/charts/style8.xml" ContentType="application/vnd.ms-office.chartstyle+xml"/>
  <Override PartName="/ppt/charts/colors8.xml" ContentType="application/vnd.ms-office.chartcolorstyle+xml"/>
  <Override PartName="/ppt/charts/chart20.xml" ContentType="application/vnd.openxmlformats-officedocument.drawingml.chart+xml"/>
  <Override PartName="/ppt/charts/style9.xml" ContentType="application/vnd.ms-office.chartstyle+xml"/>
  <Override PartName="/ppt/charts/colors9.xml" ContentType="application/vnd.ms-office.chartcolorstyle+xml"/>
  <Override PartName="/ppt/charts/chart2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charts/chart2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7.xml" ContentType="application/vnd.openxmlformats-officedocument.presentationml.notesSlide+xml"/>
  <Override PartName="/ppt/charts/chart2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9.xml" ContentType="application/vnd.openxmlformats-officedocument.drawingml.chart+xml"/>
  <Override PartName="/ppt/charts/chart30.xml" ContentType="application/vnd.openxmlformats-officedocument.drawingml.chart+xml"/>
  <Override PartName="/ppt/notesSlides/notesSlide18.xml" ContentType="application/vnd.openxmlformats-officedocument.presentationml.notesSlide+xml"/>
  <Override PartName="/ppt/charts/chart31.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32.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3.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4.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5.xml" ContentType="application/vnd.openxmlformats-officedocument.presentationml.notesSlide+xml"/>
  <Override PartName="/ppt/charts/chart37.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xml" ContentType="application/vnd.openxmlformats-officedocument.drawingml.chartshapes+xml"/>
  <Override PartName="/ppt/charts/chart38.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6.xml" ContentType="application/vnd.openxmlformats-officedocument.presentationml.notesSlide+xml"/>
  <Override PartName="/ppt/charts/chart39.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40.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41.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27.xml" ContentType="application/vnd.openxmlformats-officedocument.presentationml.notesSlide+xml"/>
  <Override PartName="/ppt/charts/chart42.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43.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44.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8.xml" ContentType="application/vnd.openxmlformats-officedocument.presentationml.notesSlide+xml"/>
  <Override PartName="/ppt/charts/chart45.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29.xml" ContentType="application/vnd.openxmlformats-officedocument.presentationml.notesSlide+xml"/>
  <Override PartName="/ppt/charts/chart46.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0.xml" ContentType="application/vnd.openxmlformats-officedocument.presentationml.notesSlide+xml"/>
  <Override PartName="/ppt/charts/chart47.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1.xml" ContentType="application/vnd.openxmlformats-officedocument.presentationml.notesSlide+xml"/>
  <Override PartName="/ppt/charts/chart48.xml" ContentType="application/vnd.openxmlformats-officedocument.drawingml.chart+xml"/>
  <Override PartName="/ppt/charts/chart49.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50.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51.xml" ContentType="application/vnd.openxmlformats-officedocument.drawingml.chart+xml"/>
  <Override PartName="/ppt/notesSlides/notesSlide35.xml" ContentType="application/vnd.openxmlformats-officedocument.presentationml.notesSlide+xml"/>
  <Override PartName="/ppt/charts/chart52.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5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54.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36.xml" ContentType="application/vnd.openxmlformats-officedocument.presentationml.notesSlide+xml"/>
  <Override PartName="/ppt/charts/chart55.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37.xml" ContentType="application/vnd.openxmlformats-officedocument.presentationml.notesSlide+xml"/>
  <Override PartName="/ppt/charts/chart56.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8.xml" ContentType="application/vnd.openxmlformats-officedocument.presentationml.notesSlide+xml"/>
  <Override PartName="/ppt/charts/chart5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58.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5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60.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61.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62.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63.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64.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44.xml" ContentType="application/vnd.openxmlformats-officedocument.presentationml.notesSlide+xml"/>
  <Override PartName="/ppt/charts/chart65.xml" ContentType="application/vnd.openxmlformats-officedocument.drawingml.chart+xml"/>
  <Override PartName="/ppt/drawings/drawing2.xml" ContentType="application/vnd.openxmlformats-officedocument.drawingml.chartshapes+xml"/>
  <Override PartName="/ppt/charts/chart66.xml" ContentType="application/vnd.openxmlformats-officedocument.drawingml.chart+xml"/>
  <Override PartName="/ppt/drawings/drawing3.xml" ContentType="application/vnd.openxmlformats-officedocument.drawingml.chartshapes+xml"/>
  <Override PartName="/ppt/notesSlides/notesSlide45.xml" ContentType="application/vnd.openxmlformats-officedocument.presentationml.notesSlide+xml"/>
  <Override PartName="/ppt/charts/chart67.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68.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6.xml" ContentType="application/vnd.openxmlformats-officedocument.presentationml.notesSlide+xml"/>
  <Override PartName="/ppt/charts/chart69.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70.xml" ContentType="application/vnd.openxmlformats-officedocument.drawingml.chart+xml"/>
  <Override PartName="/ppt/notesSlides/notesSlide47.xml" ContentType="application/vnd.openxmlformats-officedocument.presentationml.notesSlide+xml"/>
  <Override PartName="/ppt/charts/chart71.xml" ContentType="application/vnd.openxmlformats-officedocument.drawingml.chart+xml"/>
  <Override PartName="/ppt/charts/chart72.xml" ContentType="application/vnd.openxmlformats-officedocument.drawingml.chart+xml"/>
  <Override PartName="/ppt/notesSlides/notesSlide48.xml" ContentType="application/vnd.openxmlformats-officedocument.presentationml.notesSlide+xml"/>
  <Override PartName="/ppt/charts/chart73.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74.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75.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49.xml" ContentType="application/vnd.openxmlformats-officedocument.presentationml.notesSlide+xml"/>
  <Override PartName="/ppt/charts/chart76.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77.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50.xml" ContentType="application/vnd.openxmlformats-officedocument.presentationml.notesSlide+xml"/>
  <Override PartName="/ppt/charts/chart78.xml" ContentType="application/vnd.openxmlformats-officedocument.drawingml.chart+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charts/chart79.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80.xml" ContentType="application/vnd.openxmlformats-officedocument.drawingml.chart+xml"/>
  <Override PartName="/ppt/charts/style55.xml" ContentType="application/vnd.ms-office.chartstyle+xml"/>
  <Override PartName="/ppt/charts/colors55.xml" ContentType="application/vnd.ms-office.chartcolorstyle+xml"/>
  <Override PartName="/ppt/notesSlides/notesSlide53.xml" ContentType="application/vnd.openxmlformats-officedocument.presentationml.notesSlide+xml"/>
  <Override PartName="/ppt/charts/chart81.xml" ContentType="application/vnd.openxmlformats-officedocument.drawingml.chart+xml"/>
  <Override PartName="/ppt/charts/chart82.xml" ContentType="application/vnd.openxmlformats-officedocument.drawingml.chart+xml"/>
  <Override PartName="/ppt/notesSlides/notesSlide54.xml" ContentType="application/vnd.openxmlformats-officedocument.presentationml.notesSlide+xml"/>
  <Override PartName="/ppt/charts/chart83.xml" ContentType="application/vnd.openxmlformats-officedocument.drawingml.chart+xml"/>
  <Override PartName="/ppt/charts/chart84.xml" ContentType="application/vnd.openxmlformats-officedocument.drawingml.chart+xml"/>
  <Override PartName="/ppt/notesSlides/notesSlide55.xml" ContentType="application/vnd.openxmlformats-officedocument.presentationml.notesSlide+xml"/>
  <Override PartName="/ppt/charts/chart85.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86.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87.xml" ContentType="application/vnd.openxmlformats-officedocument.drawingml.chart+xml"/>
  <Override PartName="/ppt/notesSlides/notesSlide56.xml" ContentType="application/vnd.openxmlformats-officedocument.presentationml.notesSlide+xml"/>
  <Override PartName="/ppt/charts/chart88.xml" ContentType="application/vnd.openxmlformats-officedocument.drawingml.chart+xml"/>
  <Override PartName="/ppt/notesSlides/notesSlide57.xml" ContentType="application/vnd.openxmlformats-officedocument.presentationml.notesSlide+xml"/>
  <Override PartName="/ppt/charts/chart89.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90.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58.xml" ContentType="application/vnd.openxmlformats-officedocument.presentationml.notesSlide+xml"/>
  <Override PartName="/ppt/charts/chart91.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92.xml" ContentType="application/vnd.openxmlformats-officedocument.drawingml.chart+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61.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62.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notesSlides/notesSlide63.xml" ContentType="application/vnd.openxmlformats-officedocument.presentationml.notesSlide+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notesSlides/notesSlide64.xml" ContentType="application/vnd.openxmlformats-officedocument.presentationml.notesSlide+xml"/>
  <Override PartName="/ppt/charts/chart99.xml" ContentType="application/vnd.openxmlformats-officedocument.drawingml.chart+xml"/>
  <Override PartName="/ppt/charts/style61.xml" ContentType="application/vnd.ms-office.chartstyle+xml"/>
  <Override PartName="/ppt/charts/colors61.xml" ContentType="application/vnd.ms-office.chartcolorstyl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charts/chart100.xml" ContentType="application/vnd.openxmlformats-officedocument.drawingml.chart+xml"/>
  <Override PartName="/ppt/charts/style62.xml" ContentType="application/vnd.ms-office.chartstyle+xml"/>
  <Override PartName="/ppt/charts/colors62.xml" ContentType="application/vnd.ms-office.chartcolorstyle+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charts/chart101.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10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103.xml" ContentType="application/vnd.openxmlformats-officedocument.drawingml.chart+xml"/>
  <Override PartName="/ppt/charts/chart104.xml" ContentType="application/vnd.openxmlformats-officedocument.drawingml.chart+xml"/>
  <Override PartName="/ppt/charts/style65.xml" ContentType="application/vnd.ms-office.chartstyle+xml"/>
  <Override PartName="/ppt/charts/colors65.xml" ContentType="application/vnd.ms-office.chartcolorstyle+xml"/>
  <Override PartName="/ppt/notesSlides/notesSlide70.xml" ContentType="application/vnd.openxmlformats-officedocument.presentationml.notesSlide+xml"/>
  <Override PartName="/ppt/charts/chart105.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106.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107.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108.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109.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110.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111.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71.xml" ContentType="application/vnd.openxmlformats-officedocument.presentationml.notesSlide+xml"/>
  <Override PartName="/ppt/charts/chart112.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113.xml" ContentType="application/vnd.openxmlformats-officedocument.drawingml.chart+xml"/>
  <Override PartName="/ppt/charts/style74.xml" ContentType="application/vnd.ms-office.chartstyle+xml"/>
  <Override PartName="/ppt/charts/colors74.xml" ContentType="application/vnd.ms-office.chartcolorstyle+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charts/chart114.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115.xml" ContentType="application/vnd.openxmlformats-officedocument.drawingml.chart+xml"/>
  <Override PartName="/ppt/charts/chart11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11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118.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119.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120.xml" ContentType="application/vnd.openxmlformats-officedocument.drawingml.chart+xml"/>
  <Override PartName="/ppt/charts/style80.xml" ContentType="application/vnd.ms-office.chartstyle+xml"/>
  <Override PartName="/ppt/charts/colors80.xml" ContentType="application/vnd.ms-office.chartcolorstyle+xml"/>
  <Override PartName="/ppt/notesSlides/notesSlide74.xml" ContentType="application/vnd.openxmlformats-officedocument.presentationml.notesSlide+xml"/>
  <Override PartName="/ppt/charts/chart121.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122.xml" ContentType="application/vnd.openxmlformats-officedocument.drawingml.chart+xml"/>
  <Override PartName="/ppt/charts/style82.xml" ContentType="application/vnd.ms-office.chartstyle+xml"/>
  <Override PartName="/ppt/charts/colors82.xml" ContentType="application/vnd.ms-office.chartcolorstyl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886" r:id="rId2"/>
    <p:sldMasterId id="2147483895" r:id="rId3"/>
    <p:sldMasterId id="2147483956" r:id="rId4"/>
    <p:sldMasterId id="2147483971" r:id="rId5"/>
    <p:sldMasterId id="2147483988" r:id="rId6"/>
    <p:sldMasterId id="2147484011" r:id="rId7"/>
  </p:sldMasterIdLst>
  <p:notesMasterIdLst>
    <p:notesMasterId r:id="rId136"/>
  </p:notesMasterIdLst>
  <p:handoutMasterIdLst>
    <p:handoutMasterId r:id="rId137"/>
  </p:handoutMasterIdLst>
  <p:sldIdLst>
    <p:sldId id="259" r:id="rId8"/>
    <p:sldId id="260" r:id="rId9"/>
    <p:sldId id="504" r:id="rId10"/>
    <p:sldId id="3098" r:id="rId11"/>
    <p:sldId id="1925" r:id="rId12"/>
    <p:sldId id="2488" r:id="rId13"/>
    <p:sldId id="509" r:id="rId14"/>
    <p:sldId id="3092" r:id="rId15"/>
    <p:sldId id="3099" r:id="rId16"/>
    <p:sldId id="3097" r:id="rId17"/>
    <p:sldId id="3104" r:id="rId18"/>
    <p:sldId id="3173" r:id="rId19"/>
    <p:sldId id="3110" r:id="rId20"/>
    <p:sldId id="3111" r:id="rId21"/>
    <p:sldId id="3112" r:id="rId22"/>
    <p:sldId id="3113" r:id="rId23"/>
    <p:sldId id="3114" r:id="rId24"/>
    <p:sldId id="1954" r:id="rId25"/>
    <p:sldId id="3115" r:id="rId26"/>
    <p:sldId id="3116" r:id="rId27"/>
    <p:sldId id="1821" r:id="rId28"/>
    <p:sldId id="1824" r:id="rId29"/>
    <p:sldId id="3105" r:id="rId30"/>
    <p:sldId id="1957" r:id="rId31"/>
    <p:sldId id="1958" r:id="rId32"/>
    <p:sldId id="3106" r:id="rId33"/>
    <p:sldId id="2048" r:id="rId34"/>
    <p:sldId id="1961" r:id="rId35"/>
    <p:sldId id="3121" r:id="rId36"/>
    <p:sldId id="3102" r:id="rId37"/>
    <p:sldId id="3109" r:id="rId38"/>
    <p:sldId id="522" r:id="rId39"/>
    <p:sldId id="3084" r:id="rId40"/>
    <p:sldId id="524" r:id="rId41"/>
    <p:sldId id="525" r:id="rId42"/>
    <p:sldId id="596" r:id="rId43"/>
    <p:sldId id="526" r:id="rId44"/>
    <p:sldId id="283" r:id="rId45"/>
    <p:sldId id="3155" r:id="rId46"/>
    <p:sldId id="2816" r:id="rId47"/>
    <p:sldId id="3122" r:id="rId48"/>
    <p:sldId id="3108" r:id="rId49"/>
    <p:sldId id="3123" r:id="rId50"/>
    <p:sldId id="531" r:id="rId51"/>
    <p:sldId id="3124" r:id="rId52"/>
    <p:sldId id="533" r:id="rId53"/>
    <p:sldId id="534" r:id="rId54"/>
    <p:sldId id="535" r:id="rId55"/>
    <p:sldId id="2806" r:id="rId56"/>
    <p:sldId id="464" r:id="rId57"/>
    <p:sldId id="465" r:id="rId58"/>
    <p:sldId id="3156" r:id="rId59"/>
    <p:sldId id="417" r:id="rId60"/>
    <p:sldId id="2513" r:id="rId61"/>
    <p:sldId id="419" r:id="rId62"/>
    <p:sldId id="3131" r:id="rId63"/>
    <p:sldId id="430" r:id="rId64"/>
    <p:sldId id="423" r:id="rId65"/>
    <p:sldId id="424" r:id="rId66"/>
    <p:sldId id="544" r:id="rId67"/>
    <p:sldId id="545" r:id="rId68"/>
    <p:sldId id="429" r:id="rId69"/>
    <p:sldId id="478" r:id="rId70"/>
    <p:sldId id="2514" r:id="rId71"/>
    <p:sldId id="3157" r:id="rId72"/>
    <p:sldId id="3133" r:id="rId73"/>
    <p:sldId id="3134" r:id="rId74"/>
    <p:sldId id="3135" r:id="rId75"/>
    <p:sldId id="3136" r:id="rId76"/>
    <p:sldId id="3061" r:id="rId77"/>
    <p:sldId id="3062" r:id="rId78"/>
    <p:sldId id="3063" r:id="rId79"/>
    <p:sldId id="3137" r:id="rId80"/>
    <p:sldId id="3138" r:id="rId81"/>
    <p:sldId id="1732" r:id="rId82"/>
    <p:sldId id="3139" r:id="rId83"/>
    <p:sldId id="3142" r:id="rId84"/>
    <p:sldId id="2303" r:id="rId85"/>
    <p:sldId id="3143" r:id="rId86"/>
    <p:sldId id="3144" r:id="rId87"/>
    <p:sldId id="1106" r:id="rId88"/>
    <p:sldId id="3117" r:id="rId89"/>
    <p:sldId id="3146" r:id="rId90"/>
    <p:sldId id="3120" r:id="rId91"/>
    <p:sldId id="3118" r:id="rId92"/>
    <p:sldId id="3119" r:id="rId93"/>
    <p:sldId id="3150" r:id="rId94"/>
    <p:sldId id="3151" r:id="rId95"/>
    <p:sldId id="3152" r:id="rId96"/>
    <p:sldId id="3153" r:id="rId97"/>
    <p:sldId id="2537" r:id="rId98"/>
    <p:sldId id="2538" r:id="rId99"/>
    <p:sldId id="2539" r:id="rId100"/>
    <p:sldId id="494" r:id="rId101"/>
    <p:sldId id="495" r:id="rId102"/>
    <p:sldId id="496" r:id="rId103"/>
    <p:sldId id="577" r:id="rId104"/>
    <p:sldId id="578" r:id="rId105"/>
    <p:sldId id="579" r:id="rId106"/>
    <p:sldId id="490" r:id="rId107"/>
    <p:sldId id="491" r:id="rId108"/>
    <p:sldId id="3158" r:id="rId109"/>
    <p:sldId id="3159" r:id="rId110"/>
    <p:sldId id="493" r:id="rId111"/>
    <p:sldId id="3160" r:id="rId112"/>
    <p:sldId id="3161" r:id="rId113"/>
    <p:sldId id="3174" r:id="rId114"/>
    <p:sldId id="3163" r:id="rId115"/>
    <p:sldId id="3164" r:id="rId116"/>
    <p:sldId id="3165" r:id="rId117"/>
    <p:sldId id="3166" r:id="rId118"/>
    <p:sldId id="447" r:id="rId119"/>
    <p:sldId id="3167" r:id="rId120"/>
    <p:sldId id="449" r:id="rId121"/>
    <p:sldId id="3168" r:id="rId122"/>
    <p:sldId id="3169" r:id="rId123"/>
    <p:sldId id="3170" r:id="rId124"/>
    <p:sldId id="503" r:id="rId125"/>
    <p:sldId id="3126" r:id="rId126"/>
    <p:sldId id="3127" r:id="rId127"/>
    <p:sldId id="3128" r:id="rId128"/>
    <p:sldId id="3129" r:id="rId129"/>
    <p:sldId id="3130" r:id="rId130"/>
    <p:sldId id="600" r:id="rId131"/>
    <p:sldId id="3171" r:id="rId132"/>
    <p:sldId id="3172" r:id="rId133"/>
    <p:sldId id="486" r:id="rId134"/>
    <p:sldId id="487" r:id="rId1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Erick Dsouza" initials="ED" lastIdx="23" clrIdx="2">
    <p:extLst>
      <p:ext uri="{19B8F6BF-5375-455C-9EA6-DF929625EA0E}">
        <p15:presenceInfo xmlns:p15="http://schemas.microsoft.com/office/powerpoint/2012/main" userId="S-1-5-21-117609710-1547161642-839522115-216938" providerId="AD"/>
      </p:ext>
    </p:extLst>
  </p:cmAuthor>
  <p:cmAuthor id="11" name="Bhuvaneshwari Vaikundam" initials="BV" lastIdx="9" clrIdx="1">
    <p:extLst>
      <p:ext uri="{19B8F6BF-5375-455C-9EA6-DF929625EA0E}">
        <p15:presenceInfo xmlns:p15="http://schemas.microsoft.com/office/powerpoint/2012/main" userId="S-1-5-21-117609710-1547161642-839522115-248119" providerId="AD"/>
      </p:ext>
    </p:extLst>
  </p:cmAuthor>
  <p:cmAuthor id="12" name="Makarand Pathak" initials="MP" lastIdx="21" clrIdx="0">
    <p:extLst>
      <p:ext uri="{19B8F6BF-5375-455C-9EA6-DF929625EA0E}">
        <p15:presenceInfo xmlns:p15="http://schemas.microsoft.com/office/powerpoint/2012/main" userId="Makarand Pathak" providerId="None"/>
      </p:ext>
    </p:extLst>
  </p:cmAuthor>
  <p:cmAuthor id="13" name="Hemal N Thakkar" initials="HNT" lastIdx="30" clrIdx="3">
    <p:extLst>
      <p:ext uri="{19B8F6BF-5375-455C-9EA6-DF929625EA0E}">
        <p15:presenceInfo xmlns:p15="http://schemas.microsoft.com/office/powerpoint/2012/main" userId="S::HemalT@ad.crisil.com::14d0979a-7513-4817-852b-c20523b769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18" autoAdjust="0"/>
    <p:restoredTop sz="94590" autoAdjust="0"/>
  </p:normalViewPr>
  <p:slideViewPr>
    <p:cSldViewPr snapToGrid="0">
      <p:cViewPr varScale="1">
        <p:scale>
          <a:sx n="62" d="100"/>
          <a:sy n="62" d="100"/>
        </p:scale>
        <p:origin x="212" y="56"/>
      </p:cViewPr>
      <p:guideLst/>
    </p:cSldViewPr>
  </p:slideViewPr>
  <p:notesTextViewPr>
    <p:cViewPr>
      <p:scale>
        <a:sx n="1" d="1"/>
        <a:sy n="1" d="1"/>
      </p:scale>
      <p:origin x="0" y="0"/>
    </p:cViewPr>
  </p:notesTextViewPr>
  <p:notesViewPr>
    <p:cSldViewPr snapToGrid="0">
      <p:cViewPr varScale="1">
        <p:scale>
          <a:sx n="66" d="100"/>
          <a:sy n="66" d="100"/>
        </p:scale>
        <p:origin x="3138"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38" Type="http://schemas.openxmlformats.org/officeDocument/2006/relationships/commentAuthors" Target="commentAuthors.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28" Type="http://schemas.openxmlformats.org/officeDocument/2006/relationships/slide" Target="slides/slide121.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134" Type="http://schemas.openxmlformats.org/officeDocument/2006/relationships/slide" Target="slides/slide127.xml"/><Relationship Id="rId139"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slide" Target="slides/slide109.xml"/><Relationship Id="rId124" Type="http://schemas.openxmlformats.org/officeDocument/2006/relationships/slide" Target="slides/slide117.xml"/><Relationship Id="rId129" Type="http://schemas.openxmlformats.org/officeDocument/2006/relationships/slide" Target="slides/slide122.xml"/><Relationship Id="rId137"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slide" Target="slides/slide104.xml"/><Relationship Id="rId132" Type="http://schemas.openxmlformats.org/officeDocument/2006/relationships/slide" Target="slides/slide125.xml"/><Relationship Id="rId14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slide" Target="slides/slide107.xml"/><Relationship Id="rId119" Type="http://schemas.openxmlformats.org/officeDocument/2006/relationships/slide" Target="slides/slide112.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30" Type="http://schemas.openxmlformats.org/officeDocument/2006/relationships/slide" Target="slides/slide123.xml"/><Relationship Id="rId135" Type="http://schemas.openxmlformats.org/officeDocument/2006/relationships/slide" Target="slides/slide128.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notesMaster" Target="notesMasters/notes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vishalgor\Desktop\TML\Q3\Output%20sheet-%20June%20202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oleObject" Target="file:///C:\Users\vishalgor\Desktop\TML\Q3\February\Hi-frequency%20indicators%20Jan_repaired.xlsb" TargetMode="External"/></Relationships>
</file>

<file path=ppt/charts/_rels/chart100.xml.rels><?xml version="1.0" encoding="UTF-8" standalone="yes"?>
<Relationships xmlns="http://schemas.openxmlformats.org/package/2006/relationships"><Relationship Id="rId3" Type="http://schemas.openxmlformats.org/officeDocument/2006/relationships/oleObject" Target="file:///\\Mumchfnp01\Research\Share\Customised\Automotive\ACMA\2021\Apr%202021\Exports\Export%20April%20calls.xlsx" TargetMode="External"/><Relationship Id="rId2" Type="http://schemas.microsoft.com/office/2011/relationships/chartColorStyle" Target="colors62.xml"/><Relationship Id="rId1" Type="http://schemas.microsoft.com/office/2011/relationships/chartStyle" Target="style62.xml"/></Relationships>
</file>

<file path=ppt/charts/_rels/chart101.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January%202022\Bhuvaneshwari%20Workings\Bosch-Tractors.xlsx" TargetMode="External"/><Relationship Id="rId2" Type="http://schemas.microsoft.com/office/2011/relationships/chartColorStyle" Target="colors63.xml"/><Relationship Id="rId1" Type="http://schemas.microsoft.com/office/2011/relationships/chartStyle" Target="style63.xml"/></Relationships>
</file>

<file path=ppt/charts/_rels/chart102.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64.xml"/><Relationship Id="rId1" Type="http://schemas.microsoft.com/office/2011/relationships/chartStyle" Target="style64.xml"/></Relationships>
</file>

<file path=ppt/charts/_rels/chart103.xml.rels><?xml version="1.0" encoding="UTF-8" standalone="yes"?>
<Relationships xmlns="http://schemas.openxmlformats.org/package/2006/relationships"><Relationship Id="rId1" Type="http://schemas.openxmlformats.org/officeDocument/2006/relationships/oleObject" Target="file:///\\Mumchfnp01\research\Share\Customised\Automotive\Mahindra%20Tractors\Crop%20Value%20Index%20-%20New\All%20India%20CVI.xlsx" TargetMode="External"/></Relationships>
</file>

<file path=ppt/charts/_rels/chart104.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65.xml"/><Relationship Id="rId1" Type="http://schemas.microsoft.com/office/2011/relationships/chartStyle" Target="style65.xml"/></Relationships>
</file>

<file path=ppt/charts/_rels/chart105.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1\September%202021\Bhuvaneshwari%20Workings\Bosch-Tractors.xlsx" TargetMode="External"/><Relationship Id="rId2" Type="http://schemas.microsoft.com/office/2011/relationships/chartColorStyle" Target="colors66.xml"/><Relationship Id="rId1" Type="http://schemas.microsoft.com/office/2011/relationships/chartStyle" Target="style66.xml"/></Relationships>
</file>

<file path=ppt/charts/_rels/chart106.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67.xml"/><Relationship Id="rId1" Type="http://schemas.microsoft.com/office/2011/relationships/chartStyle" Target="style67.xml"/></Relationships>
</file>

<file path=ppt/charts/_rels/chart107.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68.xml"/><Relationship Id="rId1" Type="http://schemas.microsoft.com/office/2011/relationships/chartStyle" Target="style68.xml"/></Relationships>
</file>

<file path=ppt/charts/_rels/chart108.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69.xml"/><Relationship Id="rId1" Type="http://schemas.microsoft.com/office/2011/relationships/chartStyle" Target="style69.xml"/></Relationships>
</file>

<file path=ppt/charts/_rels/chart109.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70.xml"/><Relationship Id="rId1" Type="http://schemas.microsoft.com/office/2011/relationships/chartStyle" Target="style70.xml"/></Relationships>
</file>

<file path=ppt/charts/_rels/chart11.xml.rels><?xml version="1.0" encoding="UTF-8" standalone="yes"?>
<Relationships xmlns="http://schemas.openxmlformats.org/package/2006/relationships"><Relationship Id="rId1" Type="http://schemas.openxmlformats.org/officeDocument/2006/relationships/oleObject" Target="file:///C:\Users\vishalgor\Desktop\TML\Q4\Posoco.xlsx" TargetMode="External"/></Relationships>
</file>

<file path=ppt/charts/_rels/chart110.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71.xml"/><Relationship Id="rId1" Type="http://schemas.microsoft.com/office/2011/relationships/chartStyle" Target="style71.xml"/></Relationships>
</file>

<file path=ppt/charts/_rels/chart111.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April%202022\Bhuvaneshwari%20Workings\Bosch-Tractors.xlsx" TargetMode="External"/><Relationship Id="rId2" Type="http://schemas.microsoft.com/office/2011/relationships/chartColorStyle" Target="colors72.xml"/><Relationship Id="rId1" Type="http://schemas.microsoft.com/office/2011/relationships/chartStyle" Target="style72.xml"/></Relationships>
</file>

<file path=ppt/charts/_rels/chart112.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January%202022\Bhuvaneshwari%20Workings\Bosch-Tractors.xlsx" TargetMode="External"/><Relationship Id="rId2" Type="http://schemas.microsoft.com/office/2011/relationships/chartColorStyle" Target="colors73.xml"/><Relationship Id="rId1" Type="http://schemas.microsoft.com/office/2011/relationships/chartStyle" Target="style73.xml"/></Relationships>
</file>

<file path=ppt/charts/_rels/chart113.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January%202022\Bhuvaneshwari%20Workings\Bosch-Tractors.xlsx" TargetMode="External"/><Relationship Id="rId2" Type="http://schemas.microsoft.com/office/2011/relationships/chartColorStyle" Target="colors74.xml"/><Relationship Id="rId1" Type="http://schemas.microsoft.com/office/2011/relationships/chartStyle" Target="style74.xml"/></Relationships>
</file>

<file path=ppt/charts/_rels/chart114.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75.xml"/><Relationship Id="rId1" Type="http://schemas.microsoft.com/office/2011/relationships/chartStyle" Target="style75.xml"/></Relationships>
</file>

<file path=ppt/charts/_rels/chart115.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PPT\Auto%20Component\working.xlsx" TargetMode="External"/></Relationships>
</file>

<file path=ppt/charts/_rels/chart116.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76.xml"/><Relationship Id="rId1" Type="http://schemas.microsoft.com/office/2011/relationships/chartStyle" Target="style76.xml"/></Relationships>
</file>

<file path=ppt/charts/_rels/chart117.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77.xml"/><Relationship Id="rId1" Type="http://schemas.microsoft.com/office/2011/relationships/chartStyle" Target="style77.xml"/></Relationships>
</file>

<file path=ppt/charts/_rels/chart118.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78.xml"/><Relationship Id="rId1" Type="http://schemas.microsoft.com/office/2011/relationships/chartStyle" Target="style78.xml"/></Relationships>
</file>

<file path=ppt/charts/_rels/chart119.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79.xml"/><Relationship Id="rId1" Type="http://schemas.microsoft.com/office/2011/relationships/chartStyle" Target="style79.xml"/></Relationships>
</file>

<file path=ppt/charts/_rels/chart12.xml.rels><?xml version="1.0" encoding="UTF-8" standalone="yes"?>
<Relationships xmlns="http://schemas.openxmlformats.org/package/2006/relationships"><Relationship Id="rId1" Type="http://schemas.openxmlformats.org/officeDocument/2006/relationships/oleObject" Target="file:///C:\Users\vishalgor\Desktop\TML\Q4\Hi-frequency%20indicators%20Jan_repaired.xlsb" TargetMode="External"/></Relationships>
</file>

<file path=ppt/charts/_rels/chart120.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80.xml"/><Relationship Id="rId1" Type="http://schemas.microsoft.com/office/2011/relationships/chartStyle" Target="style80.xml"/></Relationships>
</file>

<file path=ppt/charts/_rels/chart121.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81.xml"/><Relationship Id="rId1" Type="http://schemas.microsoft.com/office/2011/relationships/chartStyle" Target="style81.xml"/></Relationships>
</file>

<file path=ppt/charts/_rels/chart122.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PPT\Auto%20Component\working.xlsx" TargetMode="External"/><Relationship Id="rId2" Type="http://schemas.microsoft.com/office/2011/relationships/chartColorStyle" Target="colors82.xml"/><Relationship Id="rId1" Type="http://schemas.microsoft.com/office/2011/relationships/chartStyle" Target="style82.xml"/></Relationships>
</file>

<file path=ppt/charts/_rels/chart13.xml.rels><?xml version="1.0" encoding="UTF-8" standalone="yes"?>
<Relationships xmlns="http://schemas.openxmlformats.org/package/2006/relationships"><Relationship Id="rId1" Type="http://schemas.openxmlformats.org/officeDocument/2006/relationships/oleObject" Target="file:///C:\Users\vishalgor\Desktop\TML\Q3\February\08-04-2022\Hi-frequency%20indicators%20Jan_repaired.xlsb"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vishalgor\Desktop\TML\Q3\February\08-04-2022\Hi-frequency%20indicators%20Jan_repaired.xlsb" TargetMode="External"/></Relationships>
</file>

<file path=ppt/charts/_rels/chart15.xml.rels><?xml version="1.0" encoding="UTF-8" standalone="yes"?>
<Relationships xmlns="http://schemas.openxmlformats.org/package/2006/relationships"><Relationship Id="rId3" Type="http://schemas.openxmlformats.org/officeDocument/2006/relationships/oleObject" Target="file:///C:\Users\vishalgor\Desktop\TML\Q3\Daily%20vaccination.xlsx" TargetMode="External"/><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vishalgor\Desktop\TML\Q4\Govt%20finances.xlsx" TargetMode="External"/><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vishalgor\Desktop\TML\Q4\Govt%20finances.xlsx" TargetMode="External"/><Relationship Id="rId2" Type="http://schemas.microsoft.com/office/2011/relationships/chartColorStyle" Target="colors6.xml"/><Relationship Id="rId1" Type="http://schemas.microsoft.com/office/2011/relationships/chartStyle" Target="style6.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vishalgor\Desktop\TML\Q4\Govt%20finances.xlsx" TargetMode="External"/><Relationship Id="rId2" Type="http://schemas.microsoft.com/office/2011/relationships/chartColorStyle" Target="colors7.xml"/><Relationship Id="rId1" Type="http://schemas.microsoft.com/office/2011/relationships/chartStyle" Target="style7.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vishalgor\Desktop\TML\Q4\Govt%20finances.xlsx" TargetMode="External"/><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3" Type="http://schemas.openxmlformats.org/officeDocument/2006/relationships/oleObject" Target="file:///C:\Users\vishalgor\Desktop\TML\Q4\Workings\Google%20mobility%20Indicators.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vishalgor\Desktop\TML\Q4\State%20borrowings.xlsx" TargetMode="External"/><Relationship Id="rId2" Type="http://schemas.microsoft.com/office/2011/relationships/chartColorStyle" Target="colors9.xml"/><Relationship Id="rId1" Type="http://schemas.microsoft.com/office/2011/relationships/chartStyle" Target="style9.xml"/></Relationships>
</file>

<file path=ppt/charts/_rels/chart21.xml.rels><?xml version="1.0" encoding="UTF-8" standalone="yes"?>
<Relationships xmlns="http://schemas.openxmlformats.org/package/2006/relationships"><Relationship Id="rId3" Type="http://schemas.openxmlformats.org/officeDocument/2006/relationships/oleObject" Target="file:///C:\Users\vishalgor\Desktop\TML\Q4\State%20borrowings.xlsx" TargetMode="External"/><Relationship Id="rId2" Type="http://schemas.microsoft.com/office/2011/relationships/chartColorStyle" Target="colors10.xml"/><Relationship Id="rId1" Type="http://schemas.microsoft.com/office/2011/relationships/chartStyle" Target="style10.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makarandp\AppData\Local\Microsoft\Windows\INetCache\Content.Outlook\SEDLDV1X\TML%20CV%20excel%20backup.xlsx" TargetMode="External"/><Relationship Id="rId2" Type="http://schemas.microsoft.com/office/2011/relationships/chartColorStyle" Target="colors11.xml"/><Relationship Id="rId1" Type="http://schemas.microsoft.com/office/2011/relationships/chartStyle" Target="style11.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makarandp\AppData\Local\Microsoft\Windows\INetCache\Content.Outlook\SEDLDV1X\TML%20CV%20excel%20backup.xlsx" TargetMode="External"/><Relationship Id="rId2" Type="http://schemas.microsoft.com/office/2011/relationships/chartColorStyle" Target="colors12.xml"/><Relationship Id="rId1" Type="http://schemas.microsoft.com/office/2011/relationships/chartStyle" Target="style12.xml"/></Relationships>
</file>

<file path=ppt/charts/_rels/chart24.xml.rels><?xml version="1.0" encoding="UTF-8" standalone="yes"?>
<Relationships xmlns="http://schemas.openxmlformats.org/package/2006/relationships"><Relationship Id="rId3" Type="http://schemas.openxmlformats.org/officeDocument/2006/relationships/oleObject" Target="file:///\\Mumchfnp01\research\Share\Customised\Automotive\Mahindra%20Tractors\Crop%20Value%20Index%20-%20New\All%20India%20CVI.xlsx" TargetMode="External"/><Relationship Id="rId2" Type="http://schemas.microsoft.com/office/2011/relationships/chartColorStyle" Target="colors13.xml"/><Relationship Id="rId1" Type="http://schemas.microsoft.com/office/2011/relationships/chartStyle" Target="style13.xml"/></Relationships>
</file>

<file path=ppt/charts/_rels/chart25.xml.rels><?xml version="1.0" encoding="UTF-8" standalone="yes"?>
<Relationships xmlns="http://schemas.openxmlformats.org/package/2006/relationships"><Relationship Id="rId1" Type="http://schemas.openxmlformats.org/officeDocument/2006/relationships/oleObject" Target="file:///\\Mumchfnp01\research\Share\Customised\Automotive\Mahindra%20Tractors\Crop%20Value%20Index%20-%20New\All%20India%20CVI.xlsx" TargetMode="External"/></Relationships>
</file>

<file path=ppt/charts/_rels/chart26.xml.rels><?xml version="1.0" encoding="UTF-8" standalone="yes"?>
<Relationships xmlns="http://schemas.openxmlformats.org/package/2006/relationships"><Relationship Id="rId3" Type="http://schemas.openxmlformats.org/officeDocument/2006/relationships/oleObject" Target="file:///C:\Users\vishalgor\Desktop\TML\Q4\MNREGA%20March%202022.xlsb" TargetMode="External"/><Relationship Id="rId2" Type="http://schemas.microsoft.com/office/2011/relationships/chartColorStyle" Target="colors14.xml"/><Relationship Id="rId1" Type="http://schemas.microsoft.com/office/2011/relationships/chartStyle" Target="style14.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vishalgor\Desktop\TML\Q4\MNREGA%20March%202022.xlsb" TargetMode="External"/><Relationship Id="rId2" Type="http://schemas.microsoft.com/office/2011/relationships/chartColorStyle" Target="colors15.xml"/><Relationship Id="rId1" Type="http://schemas.microsoft.com/office/2011/relationships/chartStyle" Target="style15.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vishalgor\Desktop\TML\Q4\NIP%20tracker.xlsx" TargetMode="External"/><Relationship Id="rId2" Type="http://schemas.microsoft.com/office/2011/relationships/chartColorStyle" Target="colors16.xml"/><Relationship Id="rId1" Type="http://schemas.microsoft.com/office/2011/relationships/chartStyle" Target="style16.xml"/></Relationships>
</file>

<file path=ppt/charts/_rels/chart29.xml.rels><?xml version="1.0" encoding="UTF-8" standalone="yes"?>
<Relationships xmlns="http://schemas.openxmlformats.org/package/2006/relationships"><Relationship Id="rId1" Type="http://schemas.openxmlformats.org/officeDocument/2006/relationships/oleObject" Target="file:///\\mumchfnp01\research\Share\Customised\Automotive\Tata%20Motors%20-%20Quarterly%20Demand%20Forecasting\2021-22\Q3FY22\Vishal%20workings\NIP.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vishalgor\Desktop\TML\Q4\Workings\Google%20mobility%20Indicators.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oleObject" Target="file:///\\mumchfnp01\research\Share\Customised\Automotive\Tata%20Motors%20-%20Quarterly%20Demand%20Forecasting\2021-22\Q3FY22\Vishal%20workings\NIP.xlsx" TargetMode="External"/></Relationships>
</file>

<file path=ppt/charts/_rels/chart31.xml.rels><?xml version="1.0" encoding="UTF-8" standalone="yes"?>
<Relationships xmlns="http://schemas.openxmlformats.org/package/2006/relationships"><Relationship Id="rId3" Type="http://schemas.openxmlformats.org/officeDocument/2006/relationships/oleObject" Target="file:///C:\Users\vishalgor\Desktop\TML\Q4\TML%20CV%20excel%20backup.xlsx" TargetMode="External"/><Relationship Id="rId2" Type="http://schemas.microsoft.com/office/2011/relationships/chartColorStyle" Target="colors17.xml"/><Relationship Id="rId1" Type="http://schemas.microsoft.com/office/2011/relationships/chartStyle" Target="style17.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vishalgor\Desktop\TML\Q4\TML%20CV%20excel%20backup.xlsx" TargetMode="External"/><Relationship Id="rId2" Type="http://schemas.microsoft.com/office/2011/relationships/chartColorStyle" Target="colors18.xml"/><Relationship Id="rId1" Type="http://schemas.microsoft.com/office/2011/relationships/chartStyle" Target="style18.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vishalgor\Desktop\TML\Q4\NHAI%20March%202022.xlsx" TargetMode="External"/><Relationship Id="rId2" Type="http://schemas.microsoft.com/office/2011/relationships/chartColorStyle" Target="colors19.xml"/><Relationship Id="rId1" Type="http://schemas.microsoft.com/office/2011/relationships/chartStyle" Target="style19.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vishalgor\Desktop\TML\Q4\NHAI%20March%202022.xlsx" TargetMode="External"/><Relationship Id="rId2" Type="http://schemas.microsoft.com/office/2011/relationships/chartColorStyle" Target="colors20.xml"/><Relationship Id="rId1" Type="http://schemas.microsoft.com/office/2011/relationships/chartStyle" Target="style20.xml"/></Relationships>
</file>

<file path=ppt/charts/_rels/chart35.xml.rels><?xml version="1.0" encoding="UTF-8" standalone="yes"?>
<Relationships xmlns="http://schemas.openxmlformats.org/package/2006/relationships"><Relationship Id="rId1" Type="http://schemas.openxmlformats.org/officeDocument/2006/relationships/oleObject" Target="file:///\\Mumchfnp01\Research\Share\Customised\Automotive\ACMA\2020\July%202020\PV%20working\Output%20sheet.xlsx" TargetMode="External"/></Relationships>
</file>

<file path=ppt/charts/_rels/chart36.xml.rels><?xml version="1.0" encoding="UTF-8" standalone="yes"?>
<Relationships xmlns="http://schemas.openxmlformats.org/package/2006/relationships"><Relationship Id="rId3" Type="http://schemas.openxmlformats.org/officeDocument/2006/relationships/oleObject" Target="file:///\\Mumchfnp01\Research\Share\Customised\Automotive\Tata%20Motors%20-%20PV%20forecasting\March%202022\PPT\Graphs.xlsx" TargetMode="External"/><Relationship Id="rId2" Type="http://schemas.microsoft.com/office/2011/relationships/chartColorStyle" Target="colors21.xml"/><Relationship Id="rId1" Type="http://schemas.microsoft.com/office/2011/relationships/chartStyle" Target="style21.xml"/></Relationships>
</file>

<file path=ppt/charts/_rels/chart37.xml.rels><?xml version="1.0" encoding="UTF-8" standalone="yes"?>
<Relationships xmlns="http://schemas.openxmlformats.org/package/2006/relationships"><Relationship Id="rId3" Type="http://schemas.openxmlformats.org/officeDocument/2006/relationships/oleObject" Target="file:///\\Mumchfnp01\Research\Share\Customised\Automotive\Tata%20Motors%20-%20PV%20forecasting\March%202022\Report\Working.xlsx" TargetMode="Externa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xml"/></Relationships>
</file>

<file path=ppt/charts/_rels/chart38.xml.rels><?xml version="1.0" encoding="UTF-8" standalone="yes"?>
<Relationships xmlns="http://schemas.openxmlformats.org/package/2006/relationships"><Relationship Id="rId3" Type="http://schemas.openxmlformats.org/officeDocument/2006/relationships/oleObject" Target="file:///\\Mumchfnp01\Research\Share\Customised\Automotive\Tata%20Motors%20-%20PV%20forecasting\March%202022\Report\Working.xlsx" TargetMode="External"/><Relationship Id="rId2" Type="http://schemas.microsoft.com/office/2011/relationships/chartColorStyle" Target="colors23.xml"/><Relationship Id="rId1" Type="http://schemas.microsoft.com/office/2011/relationships/chartStyle" Target="style23.xml"/></Relationships>
</file>

<file path=ppt/charts/_rels/chart39.xml.rels><?xml version="1.0" encoding="UTF-8" standalone="yes"?>
<Relationships xmlns="http://schemas.openxmlformats.org/package/2006/relationships"><Relationship Id="rId3" Type="http://schemas.openxmlformats.org/officeDocument/2006/relationships/oleObject" Target="file:///\\Mumchfnp01\Research\Share\Customised\Automotive\Bridgestone%20Monthly%20Dashboard\February%202021\Final%20ppt%20and%20working\Working%20Sheet%20February%202021.xlsx" TargetMode="External"/><Relationship Id="rId2" Type="http://schemas.microsoft.com/office/2011/relationships/chartColorStyle" Target="colors24.xml"/><Relationship Id="rId1" Type="http://schemas.microsoft.com/office/2011/relationships/chartStyle" Target="style24.xml"/></Relationships>
</file>

<file path=ppt/charts/_rels/chart4.xml.rels><?xml version="1.0" encoding="UTF-8" standalone="yes"?>
<Relationships xmlns="http://schemas.openxmlformats.org/package/2006/relationships"><Relationship Id="rId1" Type="http://schemas.openxmlformats.org/officeDocument/2006/relationships/oleObject" Target="file:///C:\Users\vishalgor\Desktop\TML\Q3\February\Hi-frequency%20indicators%20Jan_repaired.xlsb" TargetMode="External"/></Relationships>
</file>

<file path=ppt/charts/_rels/chart40.xml.rels><?xml version="1.0" encoding="UTF-8" standalone="yes"?>
<Relationships xmlns="http://schemas.openxmlformats.org/package/2006/relationships"><Relationship Id="rId3" Type="http://schemas.openxmlformats.org/officeDocument/2006/relationships/oleObject" Target="file:///\\mumchfs01.ad.crisil.com\Research\Share\Customised\Automotive\Tata%20Motors%20-%20PV%20forecasting\July%202021\Execution\Fuel%20mix%20Vahan.xlsx" TargetMode="External"/><Relationship Id="rId2" Type="http://schemas.microsoft.com/office/2011/relationships/chartColorStyle" Target="colors25.xml"/><Relationship Id="rId1" Type="http://schemas.microsoft.com/office/2011/relationships/chartStyle" Target="style25.xml"/></Relationships>
</file>

<file path=ppt/charts/_rels/chart41.xml.rels><?xml version="1.0" encoding="UTF-8" standalone="yes"?>
<Relationships xmlns="http://schemas.openxmlformats.org/package/2006/relationships"><Relationship Id="rId3" Type="http://schemas.openxmlformats.org/officeDocument/2006/relationships/oleObject" Target="file:///\\Mumchfnp01\Research\Share\Customised\Automotive\Tata%20Motors%20-%20PV%20forecasting\September%202021\Presentation\Report\Interest%20rate%20working.xlsx" TargetMode="External"/><Relationship Id="rId2" Type="http://schemas.microsoft.com/office/2011/relationships/chartColorStyle" Target="colors26.xml"/><Relationship Id="rId1" Type="http://schemas.microsoft.com/office/2011/relationships/chartStyle" Target="style26.xml"/></Relationships>
</file>

<file path=ppt/charts/_rels/chart42.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Data_PV.xlsx" TargetMode="External"/><Relationship Id="rId2" Type="http://schemas.microsoft.com/office/2011/relationships/chartColorStyle" Target="colors27.xml"/><Relationship Id="rId1" Type="http://schemas.microsoft.com/office/2011/relationships/chartStyle" Target="style27.xml"/></Relationships>
</file>

<file path=ppt/charts/_rels/chart43.xml.rels><?xml version="1.0" encoding="UTF-8" standalone="yes"?>
<Relationships xmlns="http://schemas.openxmlformats.org/package/2006/relationships"><Relationship Id="rId3" Type="http://schemas.openxmlformats.org/officeDocument/2006/relationships/oleObject" Target="file:///\\Mumchfnp01\Research\Share\Customised\Automotive\ACMA\2020\Apr%202020\Forecast%20-%20Aditi\Output%20sheet.xlsx" TargetMode="External"/><Relationship Id="rId2" Type="http://schemas.microsoft.com/office/2011/relationships/chartColorStyle" Target="colors28.xml"/><Relationship Id="rId1" Type="http://schemas.microsoft.com/office/2011/relationships/chartStyle" Target="style28.xml"/></Relationships>
</file>

<file path=ppt/charts/_rels/chart44.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Data_PV.xlsx" TargetMode="External"/><Relationship Id="rId2" Type="http://schemas.microsoft.com/office/2011/relationships/chartColorStyle" Target="colors29.xml"/><Relationship Id="rId1" Type="http://schemas.microsoft.com/office/2011/relationships/chartStyle" Target="style29.xml"/></Relationships>
</file>

<file path=ppt/charts/_rels/chart45.xml.rels><?xml version="1.0" encoding="UTF-8" standalone="yes"?>
<Relationships xmlns="http://schemas.openxmlformats.org/package/2006/relationships"><Relationship Id="rId3" Type="http://schemas.openxmlformats.org/officeDocument/2006/relationships/oleObject" Target="file:///\\Mumchfnp01\Research\Share\Customised\Automotive\ACMA\2021\Apr%202021\Forecast%20for%20PV.xlsx" TargetMode="External"/><Relationship Id="rId2" Type="http://schemas.microsoft.com/office/2011/relationships/chartColorStyle" Target="colors30.xml"/><Relationship Id="rId1" Type="http://schemas.microsoft.com/office/2011/relationships/chartStyle" Target="style30.xml"/></Relationships>
</file>

<file path=ppt/charts/_rels/chart46.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Data_PV.xlsx" TargetMode="External"/><Relationship Id="rId2" Type="http://schemas.microsoft.com/office/2011/relationships/chartColorStyle" Target="colors31.xml"/><Relationship Id="rId1" Type="http://schemas.microsoft.com/office/2011/relationships/chartStyle" Target="style31.xml"/></Relationships>
</file>

<file path=ppt/charts/_rels/chart47.xml.rels><?xml version="1.0" encoding="UTF-8" standalone="yes"?>
<Relationships xmlns="http://schemas.openxmlformats.org/package/2006/relationships"><Relationship Id="rId3" Type="http://schemas.openxmlformats.org/officeDocument/2006/relationships/oleObject" Target="file:///\\Mumchfnp01\Research\Share\Customised\Automotive\ACMA\2021\Apr%202021\Forecast%20for%20PV.xlsx" TargetMode="External"/><Relationship Id="rId2" Type="http://schemas.microsoft.com/office/2011/relationships/chartColorStyle" Target="colors32.xml"/><Relationship Id="rId1" Type="http://schemas.microsoft.com/office/2011/relationships/chartStyle" Target="style32.xml"/></Relationships>
</file>

<file path=ppt/charts/_rels/chart48.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49.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vishalgor\Desktop\TML\Q3\February\Hi-frequency%20indicators%20Jan_repaired.xlsb" TargetMode="External"/></Relationships>
</file>

<file path=ppt/charts/_rels/chart50.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2022\January%202022\Bhuvaneshwari%20Workings\Bosch-Tractors.xlsx" TargetMode="External"/><Relationship Id="rId2" Type="http://schemas.microsoft.com/office/2011/relationships/chartColorStyle" Target="colors33.xml"/><Relationship Id="rId1" Type="http://schemas.microsoft.com/office/2011/relationships/chartStyle" Target="style33.xml"/></Relationships>
</file>

<file path=ppt/charts/_rels/chart51.xml.rels><?xml version="1.0" encoding="UTF-8" standalone="yes"?>
<Relationships xmlns="http://schemas.openxmlformats.org/package/2006/relationships"><Relationship Id="rId1" Type="http://schemas.openxmlformats.org/officeDocument/2006/relationships/oleObject" Target="file:///\\Mumchfnp01\research\Share\Customised\Automotive\Mahindra%20Tractors\Crop%20Value%20Index%20-%20New\All%20India%20CVI.xlsx" TargetMode="External"/></Relationships>
</file>

<file path=ppt/charts/_rels/chart52.xml.rels><?xml version="1.0" encoding="UTF-8" standalone="yes"?>
<Relationships xmlns="http://schemas.openxmlformats.org/package/2006/relationships"><Relationship Id="rId3" Type="http://schemas.openxmlformats.org/officeDocument/2006/relationships/oleObject" Target="file:///C:\Users\ShubhamD\Documents\2W%20Working%20PPT.xlsx" TargetMode="External"/><Relationship Id="rId2" Type="http://schemas.microsoft.com/office/2011/relationships/chartColorStyle" Target="colors34.xml"/><Relationship Id="rId1" Type="http://schemas.microsoft.com/office/2011/relationships/chartStyle" Target="style34.xml"/></Relationships>
</file>

<file path=ppt/charts/_rels/chart53.xml.rels><?xml version="1.0" encoding="UTF-8" standalone="yes"?>
<Relationships xmlns="http://schemas.openxmlformats.org/package/2006/relationships"><Relationship Id="rId3" Type="http://schemas.openxmlformats.org/officeDocument/2006/relationships/oleObject" Target="file:///C:\Users\ShubhamD\Documents\2W%20Working%20PPT.xlsx" TargetMode="External"/><Relationship Id="rId2" Type="http://schemas.microsoft.com/office/2011/relationships/chartColorStyle" Target="colors35.xml"/><Relationship Id="rId1" Type="http://schemas.microsoft.com/office/2011/relationships/chartStyle" Target="style35.xml"/></Relationships>
</file>

<file path=ppt/charts/_rels/chart54.xml.rels><?xml version="1.0" encoding="UTF-8" standalone="yes"?>
<Relationships xmlns="http://schemas.openxmlformats.org/package/2006/relationships"><Relationship Id="rId3" Type="http://schemas.openxmlformats.org/officeDocument/2006/relationships/oleObject" Target="file:///C:\Users\ShubhamD\Documents\2W%20Working%20PPT.xlsx" TargetMode="External"/><Relationship Id="rId2" Type="http://schemas.microsoft.com/office/2011/relationships/chartColorStyle" Target="colors36.xml"/><Relationship Id="rId1" Type="http://schemas.microsoft.com/office/2011/relationships/chartStyle" Target="style36.xml"/></Relationships>
</file>

<file path=ppt/charts/_rels/chart55.xml.rels><?xml version="1.0" encoding="UTF-8" standalone="yes"?>
<Relationships xmlns="http://schemas.openxmlformats.org/package/2006/relationships"><Relationship Id="rId3" Type="http://schemas.openxmlformats.org/officeDocument/2006/relationships/oleObject" Target="file:///\\Mumchfnp01\research\Share\Customised\Automotive\ACMA\2022\April%202022\2W\2W%20Working%20PPT.xlsx" TargetMode="External"/><Relationship Id="rId2" Type="http://schemas.microsoft.com/office/2011/relationships/chartColorStyle" Target="colors37.xml"/><Relationship Id="rId1" Type="http://schemas.microsoft.com/office/2011/relationships/chartStyle" Target="style37.xml"/></Relationships>
</file>

<file path=ppt/charts/_rels/chart56.xml.rels><?xml version="1.0" encoding="UTF-8" standalone="yes"?>
<Relationships xmlns="http://schemas.openxmlformats.org/package/2006/relationships"><Relationship Id="rId3" Type="http://schemas.openxmlformats.org/officeDocument/2006/relationships/oleObject" Target="file:///\\Mumchfnp01\research\Share\Customised\Automotive\ACMA\2022\April%202022\2W\2W%20Working%20PPT.xlsx" TargetMode="External"/><Relationship Id="rId2" Type="http://schemas.microsoft.com/office/2011/relationships/chartColorStyle" Target="colors38.xml"/><Relationship Id="rId1" Type="http://schemas.microsoft.com/office/2011/relationships/chartStyle" Target="style38.xml"/></Relationships>
</file>

<file path=ppt/charts/_rels/chart57.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Apr%202020\2W%20CV%20Maharshi\Copy%20of%20Retail%20sales_PV.xlsx" TargetMode="External"/><Relationship Id="rId2" Type="http://schemas.microsoft.com/office/2011/relationships/chartColorStyle" Target="colors39.xml"/><Relationship Id="rId1" Type="http://schemas.microsoft.com/office/2011/relationships/chartStyle" Target="style39.xml"/></Relationships>
</file>

<file path=ppt/charts/_rels/chart58.xml.rels><?xml version="1.0" encoding="UTF-8" standalone="yes"?>
<Relationships xmlns="http://schemas.openxmlformats.org/package/2006/relationships"><Relationship Id="rId3" Type="http://schemas.openxmlformats.org/officeDocument/2006/relationships/oleObject" Target="file:///\\Mumchfnp01\Research\Share\Customised\Automotive\Bosch%20Dashboard\Apr%202020\2W%20CV%20Maharshi\Copy%20of%20Retail%20sales_PV.xlsx" TargetMode="External"/><Relationship Id="rId2" Type="http://schemas.microsoft.com/office/2011/relationships/chartColorStyle" Target="colors40.xml"/><Relationship Id="rId1" Type="http://schemas.microsoft.com/office/2011/relationships/chartStyle" Target="style40.xml"/></Relationships>
</file>

<file path=ppt/charts/_rels/chart59.xml.rels><?xml version="1.0" encoding="UTF-8" standalone="yes"?>
<Relationships xmlns="http://schemas.openxmlformats.org/package/2006/relationships"><Relationship Id="rId3" Type="http://schemas.openxmlformats.org/officeDocument/2006/relationships/oleObject" Target="file:///\\Mumchfnp01\research\Share\Customised\Automotive\ACMA\2022\April%202022\2W\2W%20Working%20PPT.xlsx" TargetMode="External"/><Relationship Id="rId2" Type="http://schemas.microsoft.com/office/2011/relationships/chartColorStyle" Target="colors41.xml"/><Relationship Id="rId1" Type="http://schemas.microsoft.com/office/2011/relationships/chartStyle" Target="style41.xml"/></Relationships>
</file>

<file path=ppt/charts/_rels/chart6.xml.rels><?xml version="1.0" encoding="UTF-8" standalone="yes"?>
<Relationships xmlns="http://schemas.openxmlformats.org/package/2006/relationships"><Relationship Id="rId1" Type="http://schemas.openxmlformats.org/officeDocument/2006/relationships/oleObject" Target="file:///C:\Users\vishalgor\Desktop\TML\Q3\Hi-frequency%20indicators%20v2.xlsx" TargetMode="External"/></Relationships>
</file>

<file path=ppt/charts/_rels/chart60.xml.rels><?xml version="1.0" encoding="UTF-8" standalone="yes"?>
<Relationships xmlns="http://schemas.openxmlformats.org/package/2006/relationships"><Relationship Id="rId3" Type="http://schemas.openxmlformats.org/officeDocument/2006/relationships/oleObject" Target="file:///\\Mumchfnp01\research\Share\Customised\Automotive\ACMA\2022\April%202022\2W\2W%20Working%20PPT.xlsx" TargetMode="External"/><Relationship Id="rId2" Type="http://schemas.microsoft.com/office/2011/relationships/chartColorStyle" Target="colors42.xml"/><Relationship Id="rId1" Type="http://schemas.microsoft.com/office/2011/relationships/chartStyle" Target="style42.xml"/></Relationships>
</file>

<file path=ppt/charts/_rels/chart61.xml.rels><?xml version="1.0" encoding="UTF-8" standalone="yes"?>
<Relationships xmlns="http://schemas.openxmlformats.org/package/2006/relationships"><Relationship Id="rId3" Type="http://schemas.openxmlformats.org/officeDocument/2006/relationships/oleObject" Target="file:///\\Mumchfnp01\research\Share\Customised\Automotive\ACMA\2022\April%202022\2W\2W%20Working%20PPT.xlsx" TargetMode="External"/><Relationship Id="rId2" Type="http://schemas.microsoft.com/office/2011/relationships/chartColorStyle" Target="colors43.xml"/><Relationship Id="rId1" Type="http://schemas.microsoft.com/office/2011/relationships/chartStyle" Target="style43.xml"/></Relationships>
</file>

<file path=ppt/charts/_rels/chart62.xml.rels><?xml version="1.0" encoding="UTF-8" standalone="yes"?>
<Relationships xmlns="http://schemas.openxmlformats.org/package/2006/relationships"><Relationship Id="rId3" Type="http://schemas.openxmlformats.org/officeDocument/2006/relationships/oleObject" Target="file:///\\Mumchfnp01\Research\Share\Customised\Automotive\ACMA\2021\Jan%202021\Sections\Exports\Working%20for%20PPT\Working%20Exports%20Jan%202021.xlsx" TargetMode="External"/><Relationship Id="rId2" Type="http://schemas.microsoft.com/office/2011/relationships/chartColorStyle" Target="colors44.xml"/><Relationship Id="rId1" Type="http://schemas.microsoft.com/office/2011/relationships/chartStyle" Target="style44.xml"/></Relationships>
</file>

<file path=ppt/charts/_rels/chart63.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64.xml.rels><?xml version="1.0" encoding="UTF-8" standalone="yes"?>
<Relationships xmlns="http://schemas.openxmlformats.org/package/2006/relationships"><Relationship Id="rId3" Type="http://schemas.openxmlformats.org/officeDocument/2006/relationships/oleObject" Target="file:///C:\Users\vishalgor\Desktop\TML\Q4\Copy%20of%20Diesel%20prices%20and%20freight%20rates_Feb22.xlsb" TargetMode="External"/><Relationship Id="rId2" Type="http://schemas.microsoft.com/office/2011/relationships/chartColorStyle" Target="colors45.xml"/><Relationship Id="rId1" Type="http://schemas.microsoft.com/office/2011/relationships/chartStyle" Target="style45.xml"/></Relationships>
</file>

<file path=ppt/charts/_rels/chart6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vishalgor\Desktop\ACMA\Agri.xlsx" TargetMode="External"/></Relationships>
</file>

<file path=ppt/charts/_rels/chart6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vishalgor\Desktop\ACMA\Agri.xlsx" TargetMode="External"/></Relationships>
</file>

<file path=ppt/charts/_rels/chart67.xml.rels><?xml version="1.0" encoding="UTF-8" standalone="yes"?>
<Relationships xmlns="http://schemas.openxmlformats.org/package/2006/relationships"><Relationship Id="rId3" Type="http://schemas.openxmlformats.org/officeDocument/2006/relationships/oleObject" Target="file:///C:\Users\vishalgor\Desktop\ACMA\CVworking2.xlsx" TargetMode="External"/><Relationship Id="rId2" Type="http://schemas.microsoft.com/office/2011/relationships/chartColorStyle" Target="colors46.xml"/><Relationship Id="rId1" Type="http://schemas.microsoft.com/office/2011/relationships/chartStyle" Target="style46.xml"/></Relationships>
</file>

<file path=ppt/charts/_rels/chart68.xml.rels><?xml version="1.0" encoding="UTF-8" standalone="yes"?>
<Relationships xmlns="http://schemas.openxmlformats.org/package/2006/relationships"><Relationship Id="rId3" Type="http://schemas.openxmlformats.org/officeDocument/2006/relationships/oleObject" Target="file:///C:\Users\vishalgor\Desktop\ACMA\CVworking2.xlsx" TargetMode="External"/><Relationship Id="rId2" Type="http://schemas.microsoft.com/office/2011/relationships/chartColorStyle" Target="colors47.xml"/><Relationship Id="rId1" Type="http://schemas.microsoft.com/office/2011/relationships/chartStyle" Target="style47.xml"/></Relationships>
</file>

<file path=ppt/charts/_rels/chart69.xml.rels><?xml version="1.0" encoding="UTF-8" standalone="yes"?>
<Relationships xmlns="http://schemas.openxmlformats.org/package/2006/relationships"><Relationship Id="rId3" Type="http://schemas.openxmlformats.org/officeDocument/2006/relationships/oleObject" Target="file:///C:\Users\vishalgor\Desktop\ACMA\CVworking2.xlsx" TargetMode="External"/><Relationship Id="rId2" Type="http://schemas.microsoft.com/office/2011/relationships/chartColorStyle" Target="colors48.xml"/><Relationship Id="rId1" Type="http://schemas.microsoft.com/office/2011/relationships/chartStyle" Target="style48.xml"/></Relationships>
</file>

<file path=ppt/charts/_rels/chart7.xml.rels><?xml version="1.0" encoding="UTF-8" standalone="yes"?>
<Relationships xmlns="http://schemas.openxmlformats.org/package/2006/relationships"><Relationship Id="rId1" Type="http://schemas.openxmlformats.org/officeDocument/2006/relationships/oleObject" Target="file:///C:\Users\vishalgor\Desktop\TML\Q3\February\Hi-frequency%20indicators%20Jan_repaired.xlsb" TargetMode="External"/></Relationships>
</file>

<file path=ppt/charts/_rels/chart70.xml.rels><?xml version="1.0" encoding="UTF-8" standalone="yes"?>
<Relationships xmlns="http://schemas.openxmlformats.org/package/2006/relationships"><Relationship Id="rId1" Type="http://schemas.openxmlformats.org/officeDocument/2006/relationships/oleObject" Target="file:///C:\Users\vishalgor\Desktop\ACMA\Agri.xlsx" TargetMode="External"/></Relationships>
</file>

<file path=ppt/charts/_rels/chart71.xml.rels><?xml version="1.0" encoding="UTF-8" standalone="yes"?>
<Relationships xmlns="http://schemas.openxmlformats.org/package/2006/relationships"><Relationship Id="rId1" Type="http://schemas.openxmlformats.org/officeDocument/2006/relationships/oleObject" Target="file:///C:\Users\vishalgor\Desktop\TML\Q3\February\08-04-2022\Hi-frequency%20indicators%20Jan_repaired.xlsb" TargetMode="External"/></Relationships>
</file>

<file path=ppt/charts/_rels/chart72.xml.rels><?xml version="1.0" encoding="UTF-8" standalone="yes"?>
<Relationships xmlns="http://schemas.openxmlformats.org/package/2006/relationships"><Relationship Id="rId1" Type="http://schemas.openxmlformats.org/officeDocument/2006/relationships/oleObject" Target="file:///C:\Users\vishalgor\Desktop\TML\Q3\February\08-04-2022\Hi-frequency%20indicators%20Jan_repaired.xlsb" TargetMode="External"/></Relationships>
</file>

<file path=ppt/charts/_rels/chart73.xml.rels><?xml version="1.0" encoding="UTF-8" standalone="yes"?>
<Relationships xmlns="http://schemas.openxmlformats.org/package/2006/relationships"><Relationship Id="rId3" Type="http://schemas.openxmlformats.org/officeDocument/2006/relationships/oleObject" Target="file:///C:\Users\vishalgor\Desktop\TML\Q4\TML%20CV%20excel%20backup.xlsx" TargetMode="External"/><Relationship Id="rId2" Type="http://schemas.microsoft.com/office/2011/relationships/chartColorStyle" Target="colors49.xml"/><Relationship Id="rId1" Type="http://schemas.microsoft.com/office/2011/relationships/chartStyle" Target="style49.xml"/></Relationships>
</file>

<file path=ppt/charts/_rels/chart74.xml.rels><?xml version="1.0" encoding="UTF-8" standalone="yes"?>
<Relationships xmlns="http://schemas.openxmlformats.org/package/2006/relationships"><Relationship Id="rId3" Type="http://schemas.openxmlformats.org/officeDocument/2006/relationships/oleObject" Target="file:///C:\Users\vishalgor\Desktop\JK\PMAY%20G.xlsx" TargetMode="External"/><Relationship Id="rId2" Type="http://schemas.microsoft.com/office/2011/relationships/chartColorStyle" Target="colors50.xml"/><Relationship Id="rId1" Type="http://schemas.microsoft.com/office/2011/relationships/chartStyle" Target="style50.xml"/></Relationships>
</file>

<file path=ppt/charts/_rels/chart75.xml.rels><?xml version="1.0" encoding="UTF-8" standalone="yes"?>
<Relationships xmlns="http://schemas.openxmlformats.org/package/2006/relationships"><Relationship Id="rId3" Type="http://schemas.openxmlformats.org/officeDocument/2006/relationships/oleObject" Target="file:///C:\Users\vishalgor\Desktop\JK\PMAYU_1.xlsx" TargetMode="External"/><Relationship Id="rId2" Type="http://schemas.microsoft.com/office/2011/relationships/chartColorStyle" Target="colors51.xml"/><Relationship Id="rId1" Type="http://schemas.microsoft.com/office/2011/relationships/chartStyle" Target="style51.xml"/></Relationships>
</file>

<file path=ppt/charts/_rels/chart76.xml.rels><?xml version="1.0" encoding="UTF-8" standalone="yes"?>
<Relationships xmlns="http://schemas.openxmlformats.org/package/2006/relationships"><Relationship Id="rId3" Type="http://schemas.openxmlformats.org/officeDocument/2006/relationships/oleObject" Target="file:///C:\Users\vishalgor\Desktop\TML\Q4\MNREGA%20March%202022.xlsb" TargetMode="External"/><Relationship Id="rId2" Type="http://schemas.microsoft.com/office/2011/relationships/chartColorStyle" Target="colors52.xml"/><Relationship Id="rId1" Type="http://schemas.microsoft.com/office/2011/relationships/chartStyle" Target="style52.xml"/></Relationships>
</file>

<file path=ppt/charts/_rels/chart77.xml.rels><?xml version="1.0" encoding="UTF-8" standalone="yes"?>
<Relationships xmlns="http://schemas.openxmlformats.org/package/2006/relationships"><Relationship Id="rId3" Type="http://schemas.openxmlformats.org/officeDocument/2006/relationships/oleObject" Target="file:///C:\Users\vishalgor\Desktop\TML\Q4\MNREGA%20March%202022.xlsb" TargetMode="External"/><Relationship Id="rId2" Type="http://schemas.microsoft.com/office/2011/relationships/chartColorStyle" Target="colors53.xml"/><Relationship Id="rId1" Type="http://schemas.microsoft.com/office/2011/relationships/chartStyle" Target="style53.xml"/></Relationships>
</file>

<file path=ppt/charts/_rels/chart78.xml.rels><?xml version="1.0" encoding="UTF-8" standalone="yes"?>
<Relationships xmlns="http://schemas.openxmlformats.org/package/2006/relationships"><Relationship Id="rId1" Type="http://schemas.openxmlformats.org/officeDocument/2006/relationships/oleObject" Target="file:///C:\Users\vishalgor\Desktop\TML\Q4\TML%20CV%20excel%20backup.xlsx" TargetMode="External"/></Relationships>
</file>

<file path=ppt/charts/_rels/chart79.xml.rels><?xml version="1.0" encoding="UTF-8" standalone="yes"?>
<Relationships xmlns="http://schemas.openxmlformats.org/package/2006/relationships"><Relationship Id="rId3" Type="http://schemas.openxmlformats.org/officeDocument/2006/relationships/oleObject" Target="file:///C:\Users\vishalgor\Desktop\TML\Q4\TML%20CV%20excel%20backup.xlsx" TargetMode="External"/><Relationship Id="rId2" Type="http://schemas.microsoft.com/office/2011/relationships/chartColorStyle" Target="colors54.xml"/><Relationship Id="rId1" Type="http://schemas.microsoft.com/office/2011/relationships/chartStyle" Target="style54.xml"/></Relationships>
</file>

<file path=ppt/charts/_rels/chart8.xml.rels><?xml version="1.0" encoding="UTF-8" standalone="yes"?>
<Relationships xmlns="http://schemas.openxmlformats.org/package/2006/relationships"><Relationship Id="rId1" Type="http://schemas.openxmlformats.org/officeDocument/2006/relationships/oleObject" Target="file:///C:\Users\vishalgor\Desktop\TML\Q3\February\Hi-frequency%20indicators%20Jan_repaired.xlsb" TargetMode="External"/></Relationships>
</file>

<file path=ppt/charts/_rels/chart80.xml.rels><?xml version="1.0" encoding="UTF-8" standalone="yes"?>
<Relationships xmlns="http://schemas.openxmlformats.org/package/2006/relationships"><Relationship Id="rId3" Type="http://schemas.openxmlformats.org/officeDocument/2006/relationships/oleObject" Target="file:///C:\Users\vishalgor\Desktop\TML\Q4\TML%20CV%20excel%20backup.xlsx" TargetMode="External"/><Relationship Id="rId2" Type="http://schemas.microsoft.com/office/2011/relationships/chartColorStyle" Target="colors55.xml"/><Relationship Id="rId1" Type="http://schemas.microsoft.com/office/2011/relationships/chartStyle" Target="style55.xml"/></Relationships>
</file>

<file path=ppt/charts/_rels/chart81.xml.rels><?xml version="1.0" encoding="UTF-8" standalone="yes"?>
<Relationships xmlns="http://schemas.openxmlformats.org/package/2006/relationships"><Relationship Id="rId1" Type="http://schemas.openxmlformats.org/officeDocument/2006/relationships/oleObject" Target="file:///C:\Users\vishalgor\Desktop\TML\Q3\Hi-frequency%20indicators%20v2.xlsx" TargetMode="External"/></Relationships>
</file>

<file path=ppt/charts/_rels/chart82.xml.rels><?xml version="1.0" encoding="UTF-8" standalone="yes"?>
<Relationships xmlns="http://schemas.openxmlformats.org/package/2006/relationships"><Relationship Id="rId1" Type="http://schemas.openxmlformats.org/officeDocument/2006/relationships/oleObject" Target="file:///C:\Users\vishalgor\Desktop\TML\Q4\TML%20CV%20excel%20backup.xlsx" TargetMode="External"/></Relationships>
</file>

<file path=ppt/charts/_rels/chart83.xml.rels><?xml version="1.0" encoding="UTF-8" standalone="yes"?>
<Relationships xmlns="http://schemas.openxmlformats.org/package/2006/relationships"><Relationship Id="rId1" Type="http://schemas.openxmlformats.org/officeDocument/2006/relationships/oleObject" Target="file:///\\Mumchfnp01\Research\Share\Customised\Automotive\Bridgestone%20Sentiment%20Index\2021\1.%20March\Output%20sheet.xlsx" TargetMode="External"/></Relationships>
</file>

<file path=ppt/charts/_rels/chart84.xml.rels><?xml version="1.0" encoding="UTF-8" standalone="yes"?>
<Relationships xmlns="http://schemas.openxmlformats.org/package/2006/relationships"><Relationship Id="rId1" Type="http://schemas.openxmlformats.org/officeDocument/2006/relationships/oleObject" Target="file:///\\Mumchfnp01\Research\Share\Customised\Automotive\Bosch%20Dashboard\October%202020\Vishal%20CV\CV%20charts.xlsx" TargetMode="External"/></Relationships>
</file>

<file path=ppt/charts/_rels/chart85.xml.rels><?xml version="1.0" encoding="UTF-8" standalone="yes"?>
<Relationships xmlns="http://schemas.openxmlformats.org/package/2006/relationships"><Relationship Id="rId3" Type="http://schemas.openxmlformats.org/officeDocument/2006/relationships/oleObject" Target="file:///\\mumchfnp01\research\Share\Customised\Automotive\ACMA\2021\October%202021\CV\CV%20charts.xlsx" TargetMode="External"/><Relationship Id="rId2" Type="http://schemas.microsoft.com/office/2011/relationships/chartColorStyle" Target="colors56.xml"/><Relationship Id="rId1" Type="http://schemas.microsoft.com/office/2011/relationships/chartStyle" Target="style56.xml"/></Relationships>
</file>

<file path=ppt/charts/_rels/chart86.xml.rels><?xml version="1.0" encoding="UTF-8" standalone="yes"?>
<Relationships xmlns="http://schemas.openxmlformats.org/package/2006/relationships"><Relationship Id="rId3" Type="http://schemas.openxmlformats.org/officeDocument/2006/relationships/oleObject" Target="file:///\\mumchfnp01\research\Share\Customised\Automotive\ACMA\2021\October%202021\CV\CV%20charts.xlsx" TargetMode="External"/><Relationship Id="rId2" Type="http://schemas.microsoft.com/office/2011/relationships/chartColorStyle" Target="colors57.xml"/><Relationship Id="rId1" Type="http://schemas.microsoft.com/office/2011/relationships/chartStyle" Target="style57.xml"/></Relationships>
</file>

<file path=ppt/charts/_rels/chart87.xml.rels><?xml version="1.0" encoding="UTF-8" standalone="yes"?>
<Relationships xmlns="http://schemas.openxmlformats.org/package/2006/relationships"><Relationship Id="rId1" Type="http://schemas.openxmlformats.org/officeDocument/2006/relationships/oleObject" Target="file:///C:\Users\vishalgor\Desktop\ACMA\CV%20charts.xlsx" TargetMode="External"/></Relationships>
</file>

<file path=ppt/charts/_rels/chart88.xml.rels><?xml version="1.0" encoding="UTF-8" standalone="yes"?>
<Relationships xmlns="http://schemas.openxmlformats.org/package/2006/relationships"><Relationship Id="rId1" Type="http://schemas.openxmlformats.org/officeDocument/2006/relationships/oleObject" Target="file:///C:\Users\vishalgor\Desktop\ACMA\CV%20Working.xlsx" TargetMode="External"/></Relationships>
</file>

<file path=ppt/charts/_rels/chart89.xml.rels><?xml version="1.0" encoding="UTF-8" standalone="yes"?>
<Relationships xmlns="http://schemas.openxmlformats.org/package/2006/relationships"><Relationship Id="rId3" Type="http://schemas.openxmlformats.org/officeDocument/2006/relationships/oleObject" Target="file:///C:\Users\vishalgor\Desktop\ACMA\CV%20Working.xlsx" TargetMode="External"/><Relationship Id="rId2" Type="http://schemas.microsoft.com/office/2011/relationships/chartColorStyle" Target="colors58.xml"/><Relationship Id="rId1" Type="http://schemas.microsoft.com/office/2011/relationships/chartStyle" Target="style58.xml"/></Relationships>
</file>

<file path=ppt/charts/_rels/chart9.xml.rels><?xml version="1.0" encoding="UTF-8" standalone="yes"?>
<Relationships xmlns="http://schemas.openxmlformats.org/package/2006/relationships"><Relationship Id="rId1" Type="http://schemas.openxmlformats.org/officeDocument/2006/relationships/oleObject" Target="file:///C:\Users\vishalgor\Desktop\TML\Q4\Hi-frequency%20indicators%20Jan_repaired.xlsb" TargetMode="External"/></Relationships>
</file>

<file path=ppt/charts/_rels/chart90.xml.rels><?xml version="1.0" encoding="UTF-8" standalone="yes"?>
<Relationships xmlns="http://schemas.openxmlformats.org/package/2006/relationships"><Relationship Id="rId3" Type="http://schemas.openxmlformats.org/officeDocument/2006/relationships/oleObject" Target="file:///C:\Users\vishalgor\Desktop\ACMA\CV%20Working.xlsx" TargetMode="External"/><Relationship Id="rId2" Type="http://schemas.microsoft.com/office/2011/relationships/chartColorStyle" Target="colors59.xml"/><Relationship Id="rId1" Type="http://schemas.microsoft.com/office/2011/relationships/chartStyle" Target="style59.xml"/></Relationships>
</file>

<file path=ppt/charts/_rels/chart91.xml.rels><?xml version="1.0" encoding="UTF-8" standalone="yes"?>
<Relationships xmlns="http://schemas.openxmlformats.org/package/2006/relationships"><Relationship Id="rId3" Type="http://schemas.openxmlformats.org/officeDocument/2006/relationships/oleObject" Target="file:///C:\Users\vishalgor\Desktop\ACMA\CV%20Working.xlsx" TargetMode="External"/><Relationship Id="rId2" Type="http://schemas.microsoft.com/office/2011/relationships/chartColorStyle" Target="colors60.xml"/><Relationship Id="rId1" Type="http://schemas.microsoft.com/office/2011/relationships/chartStyle" Target="style60.xml"/></Relationships>
</file>

<file path=ppt/charts/_rels/chart92.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93.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94.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95.xml.rels><?xml version="1.0" encoding="UTF-8" standalone="yes"?>
<Relationships xmlns="http://schemas.openxmlformats.org/package/2006/relationships"><Relationship Id="rId1" Type="http://schemas.openxmlformats.org/officeDocument/2006/relationships/oleObject" Target="file:///\\Mumchfnp01\Research\Share\Customised\Automotive\ACMA\2021\Jan%202021\Sections\Exports\Working%20for%20PPT\Working%20Exports%20Jan%202021.xlsx" TargetMode="External"/></Relationships>
</file>

<file path=ppt/charts/_rels/chart96.xml.rels><?xml version="1.0" encoding="UTF-8" standalone="yes"?>
<Relationships xmlns="http://schemas.openxmlformats.org/package/2006/relationships"><Relationship Id="rId1" Type="http://schemas.openxmlformats.org/officeDocument/2006/relationships/oleObject" Target="file:///\\Mumchfnp01\Research\Share\Customised\Automotive\ACMA\2020\Apr%202020\Forecast%20-%20Aditi\Output%20sheet.xlsx" TargetMode="External"/></Relationships>
</file>

<file path=ppt/charts/_rels/chart97.xml.rels><?xml version="1.0" encoding="UTF-8" standalone="yes"?>
<Relationships xmlns="http://schemas.openxmlformats.org/package/2006/relationships"><Relationship Id="rId1" Type="http://schemas.openxmlformats.org/officeDocument/2006/relationships/oleObject" Target="file:///\\Mumchfnp01\Research\Share\Customised\Automotive\ACMA\2020\Apr%202020\Forecast%20-%20Aditi\Output%20sheet.xlsx" TargetMode="External"/></Relationships>
</file>

<file path=ppt/charts/_rels/chart98.xml.rels><?xml version="1.0" encoding="UTF-8" standalone="yes"?>
<Relationships xmlns="http://schemas.openxmlformats.org/package/2006/relationships"><Relationship Id="rId1" Type="http://schemas.openxmlformats.org/officeDocument/2006/relationships/oleObject" Target="file:///\\Mumchfnp01\Research\Share\Customised\Automotive\ACMA\2020\Apr%202020\Forecast%20-%20Aditi\Output%20sheet.xlsx" TargetMode="External"/></Relationships>
</file>

<file path=ppt/charts/_rels/chart99.xml.rels><?xml version="1.0" encoding="UTF-8" standalone="yes"?>
<Relationships xmlns="http://schemas.openxmlformats.org/package/2006/relationships"><Relationship Id="rId3" Type="http://schemas.openxmlformats.org/officeDocument/2006/relationships/oleObject" Target="file:///\\Mumchfnp01\Research\Share\Customised\Automotive\ACMA\2021\July%202021\Forecast\3W%20Forecast.xlsx" TargetMode="External"/><Relationship Id="rId2" Type="http://schemas.microsoft.com/office/2011/relationships/chartColorStyle" Target="colors61.xml"/><Relationship Id="rId1" Type="http://schemas.microsoft.com/office/2011/relationships/chartStyle" Target="style6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GDP!$B$5</c:f>
              <c:strCache>
                <c:ptCount val="1"/>
                <c:pt idx="0">
                  <c:v>GDP Growth (%)</c:v>
                </c:pt>
              </c:strCache>
            </c:strRef>
          </c:tx>
          <c:spPr>
            <a:ln w="28575" cap="rnd">
              <a:solidFill>
                <a:schemeClr val="accent2"/>
              </a:solidFill>
              <a:round/>
            </a:ln>
            <a:effectLst/>
          </c:spPr>
          <c:marker>
            <c:symbol val="circle"/>
            <c:size val="5"/>
            <c:spPr>
              <a:solidFill>
                <a:schemeClr val="accent1"/>
              </a:solidFill>
              <a:ln w="9525">
                <a:solidFill>
                  <a:schemeClr val="accent2"/>
                </a:solidFill>
              </a:ln>
              <a:effectLst/>
            </c:spPr>
          </c:marker>
          <c:dLbls>
            <c:dLbl>
              <c:idx val="8"/>
              <c:tx>
                <c:rich>
                  <a:bodyPr/>
                  <a:lstStyle/>
                  <a:p>
                    <a:fld id="{F9E18CB7-091E-4E2D-B7C7-442622C46CB8}" type="VALUE">
                      <a:rPr lang="en-US"/>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8F7-48B0-A54A-B6DF5959F34F}"/>
                </c:ext>
              </c:extLst>
            </c:dLbl>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DP!$H$3:$Q$3</c:f>
              <c:strCache>
                <c:ptCount val="10"/>
                <c:pt idx="0">
                  <c:v>FY14</c:v>
                </c:pt>
                <c:pt idx="1">
                  <c:v>FY15</c:v>
                </c:pt>
                <c:pt idx="2">
                  <c:v>FY16</c:v>
                </c:pt>
                <c:pt idx="3">
                  <c:v>FY17</c:v>
                </c:pt>
                <c:pt idx="4">
                  <c:v>FY18</c:v>
                </c:pt>
                <c:pt idx="5">
                  <c:v>FY19</c:v>
                </c:pt>
                <c:pt idx="6">
                  <c:v>FY20 </c:v>
                </c:pt>
                <c:pt idx="7">
                  <c:v>FY21</c:v>
                </c:pt>
                <c:pt idx="8">
                  <c:v>FY22 P</c:v>
                </c:pt>
                <c:pt idx="9">
                  <c:v>FY23P</c:v>
                </c:pt>
              </c:strCache>
            </c:strRef>
          </c:cat>
          <c:val>
            <c:numRef>
              <c:f>GDP!$H$5:$Q$5</c:f>
              <c:numCache>
                <c:formatCode>0.0%</c:formatCode>
                <c:ptCount val="10"/>
                <c:pt idx="0">
                  <c:v>6.3861064009235635E-2</c:v>
                </c:pt>
                <c:pt idx="1">
                  <c:v>7.4102276051642102E-2</c:v>
                </c:pt>
                <c:pt idx="2">
                  <c:v>7.996253785665286E-2</c:v>
                </c:pt>
                <c:pt idx="3">
                  <c:v>8.256305501782224E-2</c:v>
                </c:pt>
                <c:pt idx="4">
                  <c:v>6.8000000000000005E-2</c:v>
                </c:pt>
                <c:pt idx="5">
                  <c:v>6.5000000000000002E-2</c:v>
                </c:pt>
                <c:pt idx="6">
                  <c:v>0.04</c:v>
                </c:pt>
                <c:pt idx="7">
                  <c:v>-7.2999999999999995E-2</c:v>
                </c:pt>
                <c:pt idx="8" formatCode="0%">
                  <c:v>9.5000000000000001E-2</c:v>
                </c:pt>
                <c:pt idx="9">
                  <c:v>7.8E-2</c:v>
                </c:pt>
              </c:numCache>
            </c:numRef>
          </c:val>
          <c:smooth val="1"/>
          <c:extLst>
            <c:ext xmlns:c16="http://schemas.microsoft.com/office/drawing/2014/chart" uri="{C3380CC4-5D6E-409C-BE32-E72D297353CC}">
              <c16:uniqueId val="{00000001-78F7-48B0-A54A-B6DF5959F34F}"/>
            </c:ext>
          </c:extLst>
        </c:ser>
        <c:dLbls>
          <c:showLegendKey val="0"/>
          <c:showVal val="0"/>
          <c:showCatName val="0"/>
          <c:showSerName val="0"/>
          <c:showPercent val="0"/>
          <c:showBubbleSize val="0"/>
        </c:dLbls>
        <c:marker val="1"/>
        <c:smooth val="0"/>
        <c:axId val="1329214304"/>
        <c:axId val="1329196352"/>
      </c:lineChart>
      <c:catAx>
        <c:axId val="132921430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29196352"/>
        <c:crosses val="autoZero"/>
        <c:auto val="1"/>
        <c:lblAlgn val="ctr"/>
        <c:lblOffset val="100"/>
        <c:noMultiLvlLbl val="0"/>
      </c:catAx>
      <c:valAx>
        <c:axId val="1329196352"/>
        <c:scaling>
          <c:orientation val="minMax"/>
        </c:scaling>
        <c:delete val="0"/>
        <c:axPos val="l"/>
        <c:title>
          <c:tx>
            <c:rich>
              <a:bodyPr rot="-54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YoY Growth (%)</a:t>
                </a:r>
              </a:p>
            </c:rich>
          </c:tx>
          <c:overlay val="0"/>
          <c:spPr>
            <a:noFill/>
            <a:ln>
              <a:noFill/>
            </a:ln>
            <a:effectLst/>
          </c:spPr>
          <c:txPr>
            <a:bodyPr rot="-54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29214304"/>
        <c:crosses val="autoZero"/>
        <c:crossBetween val="between"/>
        <c:majorUnit val="2.0000000000000004E-2"/>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ort Traffic (2)'!$C$1</c:f>
              <c:strCache>
                <c:ptCount val="1"/>
                <c:pt idx="0">
                  <c:v> Cargo Traffic at Major Ports (million tonnes) </c:v>
                </c:pt>
              </c:strCache>
            </c:strRef>
          </c:tx>
          <c:spPr>
            <a:solidFill>
              <a:schemeClr val="bg1">
                <a:lumMod val="85000"/>
              </a:schemeClr>
            </a:solidFill>
            <a:ln>
              <a:noFill/>
            </a:ln>
            <a:effectLst/>
          </c:spPr>
          <c:invertIfNegative val="0"/>
          <c:dLbls>
            <c:spPr>
              <a:noFill/>
              <a:ln>
                <a:noFill/>
              </a:ln>
              <a:effectLst/>
            </c:spPr>
            <c:txPr>
              <a:bodyPr rot="-5400000" vert="horz"/>
              <a:lstStyle/>
              <a:p>
                <a:pPr>
                  <a:defRPr/>
                </a:pPr>
                <a:endParaRPr lang="en-US"/>
              </a:p>
            </c:txPr>
            <c:dLblPos val="inBase"/>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rt Traffic (2)'!$A$23:$A$49</c:f>
              <c:numCache>
                <c:formatCode>mmm\-yy</c:formatCode>
                <c:ptCount val="27"/>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numCache>
            </c:numRef>
          </c:cat>
          <c:val>
            <c:numRef>
              <c:f>'Port Traffic (2)'!$C$23:$C$49</c:f>
              <c:numCache>
                <c:formatCode>_(* #,##0_);_(* \(#,##0\);_(* "-"??_);_(@_)</c:formatCode>
                <c:ptCount val="27"/>
                <c:pt idx="0">
                  <c:v>61.697000000000003</c:v>
                </c:pt>
                <c:pt idx="1">
                  <c:v>57.23</c:v>
                </c:pt>
                <c:pt idx="2">
                  <c:v>61.866999999999997</c:v>
                </c:pt>
                <c:pt idx="3">
                  <c:v>47.506</c:v>
                </c:pt>
                <c:pt idx="4">
                  <c:v>45.445</c:v>
                </c:pt>
                <c:pt idx="5">
                  <c:v>49.103000000000002</c:v>
                </c:pt>
                <c:pt idx="6">
                  <c:v>51.456000000000003</c:v>
                </c:pt>
                <c:pt idx="7">
                  <c:v>51.667000000000002</c:v>
                </c:pt>
                <c:pt idx="8">
                  <c:v>53.503</c:v>
                </c:pt>
                <c:pt idx="9">
                  <c:v>56.268000000000001</c:v>
                </c:pt>
                <c:pt idx="10">
                  <c:v>63</c:v>
                </c:pt>
                <c:pt idx="11">
                  <c:v>59.936999999999998</c:v>
                </c:pt>
                <c:pt idx="12">
                  <c:v>64.381</c:v>
                </c:pt>
                <c:pt idx="13">
                  <c:v>58.115000000000002</c:v>
                </c:pt>
                <c:pt idx="14">
                  <c:v>72.224999999999994</c:v>
                </c:pt>
                <c:pt idx="15">
                  <c:v>61.527999999999999</c:v>
                </c:pt>
                <c:pt idx="16">
                  <c:v>60.448</c:v>
                </c:pt>
                <c:pt idx="17">
                  <c:v>58.633000000000003</c:v>
                </c:pt>
                <c:pt idx="18">
                  <c:v>55.026000000000003</c:v>
                </c:pt>
                <c:pt idx="19">
                  <c:v>57.591000000000001</c:v>
                </c:pt>
                <c:pt idx="20">
                  <c:v>53.793999999999997</c:v>
                </c:pt>
                <c:pt idx="21">
                  <c:v>59.963000000000001</c:v>
                </c:pt>
                <c:pt idx="22">
                  <c:v>56.070999999999998</c:v>
                </c:pt>
                <c:pt idx="23">
                  <c:v>66.290000000000006</c:v>
                </c:pt>
                <c:pt idx="24">
                  <c:v>62.676000000000002</c:v>
                </c:pt>
                <c:pt idx="25">
                  <c:v>58.500999999999998</c:v>
                </c:pt>
                <c:pt idx="26">
                  <c:v>69.825000000000003</c:v>
                </c:pt>
              </c:numCache>
            </c:numRef>
          </c:val>
          <c:extLst>
            <c:ext xmlns:c16="http://schemas.microsoft.com/office/drawing/2014/chart" uri="{C3380CC4-5D6E-409C-BE32-E72D297353CC}">
              <c16:uniqueId val="{00000000-DC0C-4A67-BC16-FE8CB19B622B}"/>
            </c:ext>
          </c:extLst>
        </c:ser>
        <c:dLbls>
          <c:showLegendKey val="0"/>
          <c:showVal val="1"/>
          <c:showCatName val="0"/>
          <c:showSerName val="0"/>
          <c:showPercent val="0"/>
          <c:showBubbleSize val="0"/>
        </c:dLbls>
        <c:gapWidth val="75"/>
        <c:axId val="1401166960"/>
        <c:axId val="1401159888"/>
        <c:extLst/>
      </c:barChart>
      <c:lineChart>
        <c:grouping val="standard"/>
        <c:varyColors val="0"/>
        <c:ser>
          <c:idx val="1"/>
          <c:order val="1"/>
          <c:tx>
            <c:strRef>
              <c:f>'Port Traffic (2)'!$D$1</c:f>
              <c:strCache>
                <c:ptCount val="1"/>
                <c:pt idx="0">
                  <c:v>% growth y-o-y</c:v>
                </c:pt>
              </c:strCache>
            </c:strRef>
          </c:tx>
          <c:spPr>
            <a:ln>
              <a:solidFill>
                <a:srgbClr val="FF0000"/>
              </a:solidFill>
            </a:ln>
            <a:effectLst/>
          </c:spPr>
          <c:marker>
            <c:symbol val="none"/>
          </c:marker>
          <c:dLbls>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Port Traffic (2)'!$A$23:$A$49</c:f>
              <c:numCache>
                <c:formatCode>mmm\-yy</c:formatCode>
                <c:ptCount val="27"/>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numCache>
            </c:numRef>
          </c:cat>
          <c:val>
            <c:numRef>
              <c:f>'Port Traffic (2)'!$D$23:$D$49</c:f>
              <c:numCache>
                <c:formatCode>0%</c:formatCode>
                <c:ptCount val="27"/>
                <c:pt idx="0">
                  <c:v>2.5412179231485199E-2</c:v>
                </c:pt>
                <c:pt idx="1">
                  <c:v>4.3885889391507282E-2</c:v>
                </c:pt>
                <c:pt idx="2">
                  <c:v>-5.0668262517454599E-2</c:v>
                </c:pt>
                <c:pt idx="3">
                  <c:v>-0.20936657457644037</c:v>
                </c:pt>
                <c:pt idx="4">
                  <c:v>-0.23173803526448356</c:v>
                </c:pt>
                <c:pt idx="5">
                  <c:v>-0.14544030630003479</c:v>
                </c:pt>
                <c:pt idx="6">
                  <c:v>-0.1324374905160931</c:v>
                </c:pt>
                <c:pt idx="7">
                  <c:v>-0.10393687131460272</c:v>
                </c:pt>
                <c:pt idx="8">
                  <c:v>-2.0826851631558729E-2</c:v>
                </c:pt>
                <c:pt idx="9">
                  <c:v>-1.1906016225898153E-2</c:v>
                </c:pt>
                <c:pt idx="10">
                  <c:v>9.2195138864810566E-2</c:v>
                </c:pt>
                <c:pt idx="11">
                  <c:v>-1.6700844885571331E-2</c:v>
                </c:pt>
                <c:pt idx="12">
                  <c:v>4.3502925587953989E-2</c:v>
                </c:pt>
                <c:pt idx="13">
                  <c:v>1.5463917525773363E-2</c:v>
                </c:pt>
                <c:pt idx="14">
                  <c:v>0.16742366689834642</c:v>
                </c:pt>
                <c:pt idx="15">
                  <c:v>0.29516271628846869</c:v>
                </c:pt>
                <c:pt idx="16">
                  <c:v>0.33013532841896809</c:v>
                </c:pt>
                <c:pt idx="17">
                  <c:v>0.19408182799421625</c:v>
                </c:pt>
                <c:pt idx="18">
                  <c:v>6.9379664179104461E-2</c:v>
                </c:pt>
                <c:pt idx="19">
                  <c:v>0.11465732479145285</c:v>
                </c:pt>
                <c:pt idx="20">
                  <c:v>5.4389473487468365E-3</c:v>
                </c:pt>
                <c:pt idx="21">
                  <c:v>6.5667875168834877E-2</c:v>
                </c:pt>
                <c:pt idx="22">
                  <c:v>-0.10998412698412696</c:v>
                </c:pt>
                <c:pt idx="23">
                  <c:v>0.10599462769241041</c:v>
                </c:pt>
                <c:pt idx="24">
                  <c:v>-2.648296857768595E-2</c:v>
                </c:pt>
                <c:pt idx="25">
                  <c:v>6.6420029252343138E-3</c:v>
                </c:pt>
                <c:pt idx="26">
                  <c:v>-3.3229491173416337E-2</c:v>
                </c:pt>
              </c:numCache>
            </c:numRef>
          </c:val>
          <c:smooth val="1"/>
          <c:extLst>
            <c:ext xmlns:c16="http://schemas.microsoft.com/office/drawing/2014/chart" uri="{C3380CC4-5D6E-409C-BE32-E72D297353CC}">
              <c16:uniqueId val="{00000001-DC0C-4A67-BC16-FE8CB19B622B}"/>
            </c:ext>
          </c:extLst>
        </c:ser>
        <c:dLbls>
          <c:showLegendKey val="0"/>
          <c:showVal val="1"/>
          <c:showCatName val="0"/>
          <c:showSerName val="0"/>
          <c:showPercent val="0"/>
          <c:showBubbleSize val="0"/>
        </c:dLbls>
        <c:marker val="1"/>
        <c:smooth val="0"/>
        <c:axId val="1401162608"/>
        <c:axId val="1401158800"/>
      </c:lineChart>
      <c:dateAx>
        <c:axId val="140116696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401159888"/>
        <c:crosses val="autoZero"/>
        <c:auto val="1"/>
        <c:lblOffset val="100"/>
        <c:baseTimeUnit val="months"/>
        <c:majorUnit val="1"/>
        <c:majorTimeUnit val="months"/>
      </c:dateAx>
      <c:valAx>
        <c:axId val="1401159888"/>
        <c:scaling>
          <c:orientation val="minMax"/>
        </c:scaling>
        <c:delete val="0"/>
        <c:axPos val="l"/>
        <c:numFmt formatCode="_(* #,##0_);_(* \(#,##0\);_(* &quot;-&quot;??_);_(@_)" sourceLinked="1"/>
        <c:majorTickMark val="none"/>
        <c:minorTickMark val="none"/>
        <c:tickLblPos val="nextTo"/>
        <c:spPr>
          <a:noFill/>
          <a:ln>
            <a:noFill/>
          </a:ln>
          <a:effectLst/>
        </c:spPr>
        <c:txPr>
          <a:bodyPr rot="-60000000" vert="horz"/>
          <a:lstStyle/>
          <a:p>
            <a:pPr>
              <a:defRPr/>
            </a:pPr>
            <a:endParaRPr lang="en-US"/>
          </a:p>
        </c:txPr>
        <c:crossAx val="1401166960"/>
        <c:crosses val="autoZero"/>
        <c:crossBetween val="between"/>
      </c:valAx>
      <c:valAx>
        <c:axId val="1401158800"/>
        <c:scaling>
          <c:orientation val="minMax"/>
        </c:scaling>
        <c:delete val="0"/>
        <c:axPos val="r"/>
        <c:numFmt formatCode="0%" sourceLinked="1"/>
        <c:majorTickMark val="out"/>
        <c:minorTickMark val="none"/>
        <c:tickLblPos val="nextTo"/>
        <c:spPr>
          <a:ln>
            <a:noFill/>
          </a:ln>
        </c:spPr>
        <c:crossAx val="1401162608"/>
        <c:crosses val="max"/>
        <c:crossBetween val="between"/>
      </c:valAx>
      <c:dateAx>
        <c:axId val="1401162608"/>
        <c:scaling>
          <c:orientation val="minMax"/>
        </c:scaling>
        <c:delete val="1"/>
        <c:axPos val="b"/>
        <c:numFmt formatCode="mmm\-yy" sourceLinked="1"/>
        <c:majorTickMark val="out"/>
        <c:minorTickMark val="none"/>
        <c:tickLblPos val="nextTo"/>
        <c:crossAx val="1401158800"/>
        <c:crosses val="autoZero"/>
        <c:auto val="1"/>
        <c:lblOffset val="100"/>
        <c:baseTimeUnit val="months"/>
        <c:majorUnit val="1"/>
        <c:minorUnit val="1"/>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3W'!$J$66</c:f>
              <c:strCache>
                <c:ptCount val="1"/>
                <c:pt idx="0">
                  <c:v>Bajaj Auto Ltd.</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W'!$K$65:$Q$65</c:f>
              <c:strCache>
                <c:ptCount val="7"/>
                <c:pt idx="0">
                  <c:v>FY 16</c:v>
                </c:pt>
                <c:pt idx="1">
                  <c:v>FY 17</c:v>
                </c:pt>
                <c:pt idx="2">
                  <c:v>FY 18</c:v>
                </c:pt>
                <c:pt idx="3">
                  <c:v>FY 19</c:v>
                </c:pt>
                <c:pt idx="4">
                  <c:v>FY 20</c:v>
                </c:pt>
                <c:pt idx="5">
                  <c:v>FY 21</c:v>
                </c:pt>
                <c:pt idx="6">
                  <c:v>FY 22</c:v>
                </c:pt>
              </c:strCache>
            </c:strRef>
          </c:cat>
          <c:val>
            <c:numRef>
              <c:f>'3W'!$K$66:$Q$66</c:f>
              <c:numCache>
                <c:formatCode>0%</c:formatCode>
                <c:ptCount val="7"/>
                <c:pt idx="0">
                  <c:v>0.69231358838495605</c:v>
                </c:pt>
                <c:pt idx="1">
                  <c:v>0.70334762811978202</c:v>
                </c:pt>
                <c:pt idx="2">
                  <c:v>0.69872336628154186</c:v>
                </c:pt>
                <c:pt idx="3">
                  <c:v>0.66723329745650306</c:v>
                </c:pt>
                <c:pt idx="4">
                  <c:v>0.59083694931387643</c:v>
                </c:pt>
                <c:pt idx="5">
                  <c:v>0.64691645819601418</c:v>
                </c:pt>
                <c:pt idx="6">
                  <c:v>0.61338722910371601</c:v>
                </c:pt>
              </c:numCache>
            </c:numRef>
          </c:val>
          <c:extLst>
            <c:ext xmlns:c16="http://schemas.microsoft.com/office/drawing/2014/chart" uri="{C3380CC4-5D6E-409C-BE32-E72D297353CC}">
              <c16:uniqueId val="{00000000-B027-4E0F-925C-FB163E4FED86}"/>
            </c:ext>
          </c:extLst>
        </c:ser>
        <c:ser>
          <c:idx val="1"/>
          <c:order val="1"/>
          <c:tx>
            <c:strRef>
              <c:f>'3W'!$J$67</c:f>
              <c:strCache>
                <c:ptCount val="1"/>
                <c:pt idx="0">
                  <c:v>TVS Motor Company Lt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W'!$K$65:$Q$65</c:f>
              <c:strCache>
                <c:ptCount val="7"/>
                <c:pt idx="0">
                  <c:v>FY 16</c:v>
                </c:pt>
                <c:pt idx="1">
                  <c:v>FY 17</c:v>
                </c:pt>
                <c:pt idx="2">
                  <c:v>FY 18</c:v>
                </c:pt>
                <c:pt idx="3">
                  <c:v>FY 19</c:v>
                </c:pt>
                <c:pt idx="4">
                  <c:v>FY 20</c:v>
                </c:pt>
                <c:pt idx="5">
                  <c:v>FY 21</c:v>
                </c:pt>
                <c:pt idx="6">
                  <c:v>FY 22</c:v>
                </c:pt>
              </c:strCache>
            </c:strRef>
          </c:cat>
          <c:val>
            <c:numRef>
              <c:f>'3W'!$K$67:$Q$67</c:f>
              <c:numCache>
                <c:formatCode>0%</c:formatCode>
                <c:ptCount val="7"/>
                <c:pt idx="0">
                  <c:v>0.23559678667593048</c:v>
                </c:pt>
                <c:pt idx="1">
                  <c:v>0.20955592988444027</c:v>
                </c:pt>
                <c:pt idx="2">
                  <c:v>0.21589125516401489</c:v>
                </c:pt>
                <c:pt idx="3">
                  <c:v>0.24612151500044918</c:v>
                </c:pt>
                <c:pt idx="4">
                  <c:v>0.3225547574621293</c:v>
                </c:pt>
                <c:pt idx="5">
                  <c:v>0.28999999999999998</c:v>
                </c:pt>
                <c:pt idx="6">
                  <c:v>0.32628019130330377</c:v>
                </c:pt>
              </c:numCache>
            </c:numRef>
          </c:val>
          <c:extLst>
            <c:ext xmlns:c16="http://schemas.microsoft.com/office/drawing/2014/chart" uri="{C3380CC4-5D6E-409C-BE32-E72D297353CC}">
              <c16:uniqueId val="{00000001-B027-4E0F-925C-FB163E4FED86}"/>
            </c:ext>
          </c:extLst>
        </c:ser>
        <c:ser>
          <c:idx val="2"/>
          <c:order val="2"/>
          <c:tx>
            <c:strRef>
              <c:f>'3W'!$J$68</c:f>
              <c:strCache>
                <c:ptCount val="1"/>
                <c:pt idx="0">
                  <c:v>Piaggio Vehicles Pvt. Lt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W'!$K$65:$Q$65</c:f>
              <c:strCache>
                <c:ptCount val="7"/>
                <c:pt idx="0">
                  <c:v>FY 16</c:v>
                </c:pt>
                <c:pt idx="1">
                  <c:v>FY 17</c:v>
                </c:pt>
                <c:pt idx="2">
                  <c:v>FY 18</c:v>
                </c:pt>
                <c:pt idx="3">
                  <c:v>FY 19</c:v>
                </c:pt>
                <c:pt idx="4">
                  <c:v>FY 20</c:v>
                </c:pt>
                <c:pt idx="5">
                  <c:v>FY 21</c:v>
                </c:pt>
                <c:pt idx="6">
                  <c:v>FY 22</c:v>
                </c:pt>
              </c:strCache>
            </c:strRef>
          </c:cat>
          <c:val>
            <c:numRef>
              <c:f>'3W'!$K$68:$Q$68</c:f>
              <c:numCache>
                <c:formatCode>0%</c:formatCode>
                <c:ptCount val="7"/>
                <c:pt idx="0">
                  <c:v>6.0468646848366017E-2</c:v>
                </c:pt>
                <c:pt idx="1">
                  <c:v>6.4701685215561952E-2</c:v>
                </c:pt>
                <c:pt idx="2">
                  <c:v>6.4225384643650171E-2</c:v>
                </c:pt>
                <c:pt idx="3">
                  <c:v>6.9440162907820027E-2</c:v>
                </c:pt>
                <c:pt idx="4">
                  <c:v>7.4194145795538957E-2</c:v>
                </c:pt>
                <c:pt idx="5">
                  <c:v>0.05</c:v>
                </c:pt>
                <c:pt idx="6">
                  <c:v>4.960478658475577E-2</c:v>
                </c:pt>
              </c:numCache>
            </c:numRef>
          </c:val>
          <c:extLst>
            <c:ext xmlns:c16="http://schemas.microsoft.com/office/drawing/2014/chart" uri="{C3380CC4-5D6E-409C-BE32-E72D297353CC}">
              <c16:uniqueId val="{00000002-B027-4E0F-925C-FB163E4FED86}"/>
            </c:ext>
          </c:extLst>
        </c:ser>
        <c:ser>
          <c:idx val="3"/>
          <c:order val="3"/>
          <c:tx>
            <c:strRef>
              <c:f>'3W'!$J$69</c:f>
              <c:strCache>
                <c:ptCount val="1"/>
                <c:pt idx="0">
                  <c:v>Force Motors Ltd.</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W'!$K$65:$Q$65</c:f>
              <c:strCache>
                <c:ptCount val="7"/>
                <c:pt idx="0">
                  <c:v>FY 16</c:v>
                </c:pt>
                <c:pt idx="1">
                  <c:v>FY 17</c:v>
                </c:pt>
                <c:pt idx="2">
                  <c:v>FY 18</c:v>
                </c:pt>
                <c:pt idx="3">
                  <c:v>FY 19</c:v>
                </c:pt>
                <c:pt idx="4">
                  <c:v>FY 20</c:v>
                </c:pt>
                <c:pt idx="5">
                  <c:v>FY 21</c:v>
                </c:pt>
                <c:pt idx="6">
                  <c:v>FY 22</c:v>
                </c:pt>
              </c:strCache>
            </c:strRef>
          </c:cat>
          <c:val>
            <c:numRef>
              <c:f>'3W'!$K$69:$Q$69</c:f>
              <c:numCache>
                <c:formatCode>0%</c:formatCode>
                <c:ptCount val="7"/>
                <c:pt idx="0">
                  <c:v>4.8412500216347999E-3</c:v>
                </c:pt>
                <c:pt idx="1">
                  <c:v>8.7386996403009988E-3</c:v>
                </c:pt>
                <c:pt idx="2">
                  <c:v>4.2991900304985278E-3</c:v>
                </c:pt>
                <c:pt idx="3">
                  <c:v>8.0678829558045596E-4</c:v>
                </c:pt>
                <c:pt idx="4">
                  <c:v>2.3697201539720691E-3</c:v>
                </c:pt>
                <c:pt idx="5">
                  <c:v>5.9143739136409794E-3</c:v>
                </c:pt>
                <c:pt idx="6">
                  <c:v>6.4714946070878274E-3</c:v>
                </c:pt>
              </c:numCache>
            </c:numRef>
          </c:val>
          <c:extLst>
            <c:ext xmlns:c16="http://schemas.microsoft.com/office/drawing/2014/chart" uri="{C3380CC4-5D6E-409C-BE32-E72D297353CC}">
              <c16:uniqueId val="{00000003-B027-4E0F-925C-FB163E4FED86}"/>
            </c:ext>
          </c:extLst>
        </c:ser>
        <c:ser>
          <c:idx val="4"/>
          <c:order val="4"/>
          <c:tx>
            <c:strRef>
              <c:f>'3W'!$J$70</c:f>
              <c:strCache>
                <c:ptCount val="1"/>
                <c:pt idx="0">
                  <c:v>Atul Auto Ltd.</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3W'!$K$65:$Q$65</c:f>
              <c:strCache>
                <c:ptCount val="7"/>
                <c:pt idx="0">
                  <c:v>FY 16</c:v>
                </c:pt>
                <c:pt idx="1">
                  <c:v>FY 17</c:v>
                </c:pt>
                <c:pt idx="2">
                  <c:v>FY 18</c:v>
                </c:pt>
                <c:pt idx="3">
                  <c:v>FY 19</c:v>
                </c:pt>
                <c:pt idx="4">
                  <c:v>FY 20</c:v>
                </c:pt>
                <c:pt idx="5">
                  <c:v>FY 21</c:v>
                </c:pt>
                <c:pt idx="6">
                  <c:v>FY 22</c:v>
                </c:pt>
              </c:strCache>
            </c:strRef>
          </c:cat>
          <c:val>
            <c:numRef>
              <c:f>'3W'!$K$70:$Q$70</c:f>
              <c:numCache>
                <c:formatCode>0%</c:formatCode>
                <c:ptCount val="7"/>
                <c:pt idx="0">
                  <c:v>3.7879443478776881E-3</c:v>
                </c:pt>
                <c:pt idx="1">
                  <c:v>8.4150440980676287E-3</c:v>
                </c:pt>
                <c:pt idx="2">
                  <c:v>8.9527089096645158E-3</c:v>
                </c:pt>
                <c:pt idx="3">
                  <c:v>9.7519214068414947E-3</c:v>
                </c:pt>
                <c:pt idx="4">
                  <c:v>6.7128795286049122E-3</c:v>
                </c:pt>
                <c:pt idx="5">
                  <c:v>2.407486111146457E-3</c:v>
                </c:pt>
                <c:pt idx="6">
                  <c:v>0</c:v>
                </c:pt>
              </c:numCache>
            </c:numRef>
          </c:val>
          <c:extLst>
            <c:ext xmlns:c16="http://schemas.microsoft.com/office/drawing/2014/chart" uri="{C3380CC4-5D6E-409C-BE32-E72D297353CC}">
              <c16:uniqueId val="{00000004-B027-4E0F-925C-FB163E4FED86}"/>
            </c:ext>
          </c:extLst>
        </c:ser>
        <c:dLbls>
          <c:dLblPos val="ctr"/>
          <c:showLegendKey val="0"/>
          <c:showVal val="1"/>
          <c:showCatName val="0"/>
          <c:showSerName val="0"/>
          <c:showPercent val="0"/>
          <c:showBubbleSize val="0"/>
        </c:dLbls>
        <c:gapWidth val="150"/>
        <c:overlap val="100"/>
        <c:axId val="336432512"/>
        <c:axId val="336454784"/>
      </c:barChart>
      <c:catAx>
        <c:axId val="336432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36454784"/>
        <c:crosses val="autoZero"/>
        <c:auto val="1"/>
        <c:lblAlgn val="ctr"/>
        <c:lblOffset val="100"/>
        <c:noMultiLvlLbl val="0"/>
      </c:catAx>
      <c:valAx>
        <c:axId val="336454784"/>
        <c:scaling>
          <c:orientation val="minMax"/>
        </c:scaling>
        <c:delete val="1"/>
        <c:axPos val="l"/>
        <c:numFmt formatCode="0%" sourceLinked="1"/>
        <c:majorTickMark val="none"/>
        <c:minorTickMark val="none"/>
        <c:tickLblPos val="nextTo"/>
        <c:crossAx val="336432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harts!$B$2</c:f>
              <c:strCache>
                <c:ptCount val="1"/>
                <c:pt idx="0">
                  <c:v>Rainfall Deviatio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s!$A$3:$A$15</c:f>
              <c:strCache>
                <c:ptCount val="13"/>
                <c:pt idx="0">
                  <c:v>FY10</c:v>
                </c:pt>
                <c:pt idx="1">
                  <c:v>FY11</c:v>
                </c:pt>
                <c:pt idx="2">
                  <c:v>FY12</c:v>
                </c:pt>
                <c:pt idx="3">
                  <c:v>FY13</c:v>
                </c:pt>
                <c:pt idx="4">
                  <c:v>FY14</c:v>
                </c:pt>
                <c:pt idx="5">
                  <c:v>FY15</c:v>
                </c:pt>
                <c:pt idx="6">
                  <c:v>FY16</c:v>
                </c:pt>
                <c:pt idx="7">
                  <c:v>FY17</c:v>
                </c:pt>
                <c:pt idx="8">
                  <c:v>FY18</c:v>
                </c:pt>
                <c:pt idx="9">
                  <c:v>FY19</c:v>
                </c:pt>
                <c:pt idx="10">
                  <c:v>FY20</c:v>
                </c:pt>
                <c:pt idx="11">
                  <c:v>FY21</c:v>
                </c:pt>
                <c:pt idx="12">
                  <c:v>FY22E</c:v>
                </c:pt>
              </c:strCache>
            </c:strRef>
          </c:cat>
          <c:val>
            <c:numRef>
              <c:f>Charts!$B$3:$B$15</c:f>
              <c:numCache>
                <c:formatCode>0%</c:formatCode>
                <c:ptCount val="13"/>
                <c:pt idx="0">
                  <c:v>-0.21</c:v>
                </c:pt>
                <c:pt idx="1">
                  <c:v>0.04</c:v>
                </c:pt>
                <c:pt idx="2">
                  <c:v>0.02</c:v>
                </c:pt>
                <c:pt idx="3">
                  <c:v>-0.06</c:v>
                </c:pt>
                <c:pt idx="4">
                  <c:v>0.06</c:v>
                </c:pt>
                <c:pt idx="5">
                  <c:v>-0.11</c:v>
                </c:pt>
                <c:pt idx="6">
                  <c:v>-0.16</c:v>
                </c:pt>
                <c:pt idx="7">
                  <c:v>-0.05</c:v>
                </c:pt>
                <c:pt idx="8">
                  <c:v>-0.03</c:v>
                </c:pt>
                <c:pt idx="9">
                  <c:v>-0.09</c:v>
                </c:pt>
                <c:pt idx="10">
                  <c:v>9.9591187826481908E-2</c:v>
                </c:pt>
                <c:pt idx="11">
                  <c:v>0.09</c:v>
                </c:pt>
                <c:pt idx="12">
                  <c:v>-0.01</c:v>
                </c:pt>
              </c:numCache>
            </c:numRef>
          </c:val>
          <c:extLst>
            <c:ext xmlns:c16="http://schemas.microsoft.com/office/drawing/2014/chart" uri="{C3380CC4-5D6E-409C-BE32-E72D297353CC}">
              <c16:uniqueId val="{00000000-8932-4D07-A80D-F763EBA5A32B}"/>
            </c:ext>
          </c:extLst>
        </c:ser>
        <c:dLbls>
          <c:showLegendKey val="0"/>
          <c:showVal val="1"/>
          <c:showCatName val="0"/>
          <c:showSerName val="0"/>
          <c:showPercent val="0"/>
          <c:showBubbleSize val="0"/>
        </c:dLbls>
        <c:gapWidth val="219"/>
        <c:overlap val="-27"/>
        <c:axId val="-8546576"/>
        <c:axId val="-8545488"/>
      </c:barChart>
      <c:catAx>
        <c:axId val="-85465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545488"/>
        <c:crosses val="autoZero"/>
        <c:auto val="1"/>
        <c:lblAlgn val="ctr"/>
        <c:lblOffset val="100"/>
        <c:noMultiLvlLbl val="0"/>
      </c:catAx>
      <c:valAx>
        <c:axId val="-854548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46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Rainfall and Reserviour'!$P$11:$Q$30</c:f>
              <c:multiLvlStrCache>
                <c:ptCount val="20"/>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lvl>
                <c:lvl>
                  <c:pt idx="0">
                    <c:v>FY 2018</c:v>
                  </c:pt>
                  <c:pt idx="4">
                    <c:v>FY 2019</c:v>
                  </c:pt>
                  <c:pt idx="8">
                    <c:v>FY 2020</c:v>
                  </c:pt>
                  <c:pt idx="12">
                    <c:v>FY 2021</c:v>
                  </c:pt>
                  <c:pt idx="16">
                    <c:v>FY 2022</c:v>
                  </c:pt>
                </c:lvl>
              </c:multiLvlStrCache>
            </c:multiLvlStrRef>
          </c:cat>
          <c:val>
            <c:numRef>
              <c:f>'Rainfall and Reserviour'!$R$11:$R$30</c:f>
              <c:numCache>
                <c:formatCode>0%</c:formatCode>
                <c:ptCount val="20"/>
                <c:pt idx="0">
                  <c:v>0.19</c:v>
                </c:pt>
                <c:pt idx="1">
                  <c:v>0.66</c:v>
                </c:pt>
                <c:pt idx="2">
                  <c:v>0.54</c:v>
                </c:pt>
                <c:pt idx="3">
                  <c:v>0.28000000000000003</c:v>
                </c:pt>
                <c:pt idx="4">
                  <c:v>0.18</c:v>
                </c:pt>
                <c:pt idx="5">
                  <c:v>0.39</c:v>
                </c:pt>
                <c:pt idx="6">
                  <c:v>0.44</c:v>
                </c:pt>
                <c:pt idx="7">
                  <c:v>0.31</c:v>
                </c:pt>
                <c:pt idx="8">
                  <c:v>0.16</c:v>
                </c:pt>
                <c:pt idx="9">
                  <c:v>0.87</c:v>
                </c:pt>
                <c:pt idx="10">
                  <c:v>0.79</c:v>
                </c:pt>
                <c:pt idx="11">
                  <c:v>0.52</c:v>
                </c:pt>
                <c:pt idx="12">
                  <c:v>0.33</c:v>
                </c:pt>
                <c:pt idx="13">
                  <c:v>0.86</c:v>
                </c:pt>
                <c:pt idx="14">
                  <c:v>0.74</c:v>
                </c:pt>
                <c:pt idx="15">
                  <c:v>0.67500000000000004</c:v>
                </c:pt>
                <c:pt idx="16">
                  <c:v>0.32</c:v>
                </c:pt>
                <c:pt idx="17">
                  <c:v>0.65</c:v>
                </c:pt>
                <c:pt idx="18">
                  <c:v>0.75</c:v>
                </c:pt>
                <c:pt idx="19">
                  <c:v>0.68</c:v>
                </c:pt>
              </c:numCache>
            </c:numRef>
          </c:val>
          <c:extLst>
            <c:ext xmlns:c16="http://schemas.microsoft.com/office/drawing/2014/chart" uri="{C3380CC4-5D6E-409C-BE32-E72D297353CC}">
              <c16:uniqueId val="{00000000-B5BD-4CB4-89CF-0B9788C09F51}"/>
            </c:ext>
          </c:extLst>
        </c:ser>
        <c:dLbls>
          <c:showLegendKey val="0"/>
          <c:showVal val="0"/>
          <c:showCatName val="0"/>
          <c:showSerName val="0"/>
          <c:showPercent val="0"/>
          <c:showBubbleSize val="0"/>
        </c:dLbls>
        <c:gapWidth val="219"/>
        <c:overlap val="-27"/>
        <c:axId val="1009464904"/>
        <c:axId val="1009469496"/>
      </c:barChart>
      <c:catAx>
        <c:axId val="1009464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09469496"/>
        <c:crosses val="autoZero"/>
        <c:auto val="1"/>
        <c:lblAlgn val="ctr"/>
        <c:lblOffset val="100"/>
        <c:noMultiLvlLbl val="0"/>
      </c:catAx>
      <c:valAx>
        <c:axId val="100946949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0946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C$2</c:f>
              <c:strCache>
                <c:ptCount val="1"/>
                <c:pt idx="0">
                  <c:v>Kharif</c:v>
                </c:pt>
              </c:strCache>
            </c:strRef>
          </c:tx>
          <c:spPr>
            <a:solidFill>
              <a:schemeClr val="bg1">
                <a:lumMod val="6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B$13</c:f>
              <c:strCache>
                <c:ptCount val="7"/>
                <c:pt idx="0">
                  <c:v>2015-16</c:v>
                </c:pt>
                <c:pt idx="1">
                  <c:v>2016-17</c:v>
                </c:pt>
                <c:pt idx="2">
                  <c:v>2017-18</c:v>
                </c:pt>
                <c:pt idx="3">
                  <c:v>2018-19</c:v>
                </c:pt>
                <c:pt idx="4">
                  <c:v>2019-20 E</c:v>
                </c:pt>
                <c:pt idx="5">
                  <c:v>2020-21 E</c:v>
                </c:pt>
                <c:pt idx="6">
                  <c:v>2021-22 P</c:v>
                </c:pt>
              </c:strCache>
            </c:strRef>
          </c:cat>
          <c:val>
            <c:numRef>
              <c:f>Sheet1!$E$7:$E$13</c:f>
              <c:numCache>
                <c:formatCode>0</c:formatCode>
                <c:ptCount val="7"/>
                <c:pt idx="0">
                  <c:v>387.979804</c:v>
                </c:pt>
                <c:pt idx="1">
                  <c:v>361.41143899999997</c:v>
                </c:pt>
                <c:pt idx="2">
                  <c:v>432.45997</c:v>
                </c:pt>
                <c:pt idx="3">
                  <c:v>446.10325722395248</c:v>
                </c:pt>
                <c:pt idx="4">
                  <c:v>435.6713003413364</c:v>
                </c:pt>
                <c:pt idx="5">
                  <c:v>441</c:v>
                </c:pt>
                <c:pt idx="6" formatCode="General">
                  <c:v>442</c:v>
                </c:pt>
              </c:numCache>
            </c:numRef>
          </c:val>
          <c:extLst>
            <c:ext xmlns:c16="http://schemas.microsoft.com/office/drawing/2014/chart" uri="{C3380CC4-5D6E-409C-BE32-E72D297353CC}">
              <c16:uniqueId val="{00000000-190E-4FF4-96D2-9E2AAA258DE9}"/>
            </c:ext>
          </c:extLst>
        </c:ser>
        <c:ser>
          <c:idx val="1"/>
          <c:order val="1"/>
          <c:tx>
            <c:strRef>
              <c:f>Sheet1!$D$2</c:f>
              <c:strCache>
                <c:ptCount val="1"/>
                <c:pt idx="0">
                  <c:v>Rabi</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B$13</c:f>
              <c:strCache>
                <c:ptCount val="7"/>
                <c:pt idx="0">
                  <c:v>2015-16</c:v>
                </c:pt>
                <c:pt idx="1">
                  <c:v>2016-17</c:v>
                </c:pt>
                <c:pt idx="2">
                  <c:v>2017-18</c:v>
                </c:pt>
                <c:pt idx="3">
                  <c:v>2018-19</c:v>
                </c:pt>
                <c:pt idx="4">
                  <c:v>2019-20 E</c:v>
                </c:pt>
                <c:pt idx="5">
                  <c:v>2020-21 E</c:v>
                </c:pt>
                <c:pt idx="6">
                  <c:v>2021-22 P</c:v>
                </c:pt>
              </c:strCache>
            </c:strRef>
          </c:cat>
          <c:val>
            <c:numRef>
              <c:f>Sheet1!$F$7:$F$13</c:f>
              <c:numCache>
                <c:formatCode>0</c:formatCode>
                <c:ptCount val="7"/>
                <c:pt idx="0">
                  <c:v>167.55500000000001</c:v>
                </c:pt>
                <c:pt idx="1">
                  <c:v>198.59452000000002</c:v>
                </c:pt>
                <c:pt idx="2">
                  <c:v>203.80800999999997</c:v>
                </c:pt>
                <c:pt idx="3">
                  <c:v>196.15540000000001</c:v>
                </c:pt>
                <c:pt idx="4">
                  <c:v>188.31545725369233</c:v>
                </c:pt>
                <c:pt idx="5">
                  <c:v>186.4410571139172</c:v>
                </c:pt>
                <c:pt idx="6">
                  <c:v>178.77086831274272</c:v>
                </c:pt>
              </c:numCache>
            </c:numRef>
          </c:val>
          <c:extLst>
            <c:ext xmlns:c16="http://schemas.microsoft.com/office/drawing/2014/chart" uri="{C3380CC4-5D6E-409C-BE32-E72D297353CC}">
              <c16:uniqueId val="{00000001-190E-4FF4-96D2-9E2AAA258DE9}"/>
            </c:ext>
          </c:extLst>
        </c:ser>
        <c:dLbls>
          <c:showLegendKey val="0"/>
          <c:showVal val="0"/>
          <c:showCatName val="0"/>
          <c:showSerName val="0"/>
          <c:showPercent val="0"/>
          <c:showBubbleSize val="0"/>
        </c:dLbls>
        <c:gapWidth val="218"/>
        <c:overlap val="-27"/>
        <c:axId val="1979065728"/>
        <c:axId val="1979067904"/>
      </c:barChart>
      <c:catAx>
        <c:axId val="1979065728"/>
        <c:scaling>
          <c:orientation val="minMax"/>
        </c:scaling>
        <c:delete val="0"/>
        <c:axPos val="b"/>
        <c:numFmt formatCode="General" sourceLinked="0"/>
        <c:majorTickMark val="out"/>
        <c:minorTickMark val="none"/>
        <c:tickLblPos val="nextTo"/>
        <c:crossAx val="1979067904"/>
        <c:crosses val="autoZero"/>
        <c:auto val="0"/>
        <c:lblAlgn val="ctr"/>
        <c:lblOffset val="100"/>
        <c:noMultiLvlLbl val="0"/>
      </c:catAx>
      <c:valAx>
        <c:axId val="1979067904"/>
        <c:scaling>
          <c:orientation val="minMax"/>
        </c:scaling>
        <c:delete val="1"/>
        <c:axPos val="l"/>
        <c:numFmt formatCode="0" sourceLinked="1"/>
        <c:majorTickMark val="out"/>
        <c:minorTickMark val="none"/>
        <c:tickLblPos val="nextTo"/>
        <c:crossAx val="1979065728"/>
        <c:crosses val="autoZero"/>
        <c:crossBetween val="between"/>
      </c:valAx>
    </c:plotArea>
    <c:legend>
      <c:legendPos val="t"/>
      <c:overlay val="0"/>
    </c:legend>
    <c:plotVisOnly val="1"/>
    <c:dispBlanksAs val="gap"/>
    <c:showDLblsOverMax val="0"/>
  </c:chart>
  <c:spPr>
    <a:ln>
      <a:noFill/>
    </a:ln>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MAY G'!$B$6</c:f>
              <c:strCache>
                <c:ptCount val="1"/>
                <c:pt idx="0">
                  <c:v>Target houses (in lakh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MAY G'!$A$7:$A$12</c:f>
              <c:strCache>
                <c:ptCount val="6"/>
                <c:pt idx="0">
                  <c:v>FY17</c:v>
                </c:pt>
                <c:pt idx="1">
                  <c:v>FY18</c:v>
                </c:pt>
                <c:pt idx="2">
                  <c:v>FY19</c:v>
                </c:pt>
                <c:pt idx="3">
                  <c:v>FY20</c:v>
                </c:pt>
                <c:pt idx="4">
                  <c:v>FY21</c:v>
                </c:pt>
                <c:pt idx="5">
                  <c:v>FY22(YTD Mar)</c:v>
                </c:pt>
              </c:strCache>
            </c:strRef>
          </c:cat>
          <c:val>
            <c:numRef>
              <c:f>'PMAY G'!$B$7:$B$12</c:f>
              <c:numCache>
                <c:formatCode>0</c:formatCode>
                <c:ptCount val="6"/>
                <c:pt idx="0">
                  <c:v>4264</c:v>
                </c:pt>
                <c:pt idx="1">
                  <c:v>3170</c:v>
                </c:pt>
                <c:pt idx="2">
                  <c:v>2514</c:v>
                </c:pt>
                <c:pt idx="3">
                  <c:v>5926</c:v>
                </c:pt>
                <c:pt idx="4">
                  <c:v>5609</c:v>
                </c:pt>
                <c:pt idx="5">
                  <c:v>2083</c:v>
                </c:pt>
              </c:numCache>
            </c:numRef>
          </c:val>
          <c:extLst>
            <c:ext xmlns:c16="http://schemas.microsoft.com/office/drawing/2014/chart" uri="{C3380CC4-5D6E-409C-BE32-E72D297353CC}">
              <c16:uniqueId val="{00000000-C0C5-4F77-A9CE-FA255A5FAADB}"/>
            </c:ext>
          </c:extLst>
        </c:ser>
        <c:ser>
          <c:idx val="1"/>
          <c:order val="1"/>
          <c:tx>
            <c:strRef>
              <c:f>'PMAY G'!$C$6</c:f>
              <c:strCache>
                <c:ptCount val="1"/>
                <c:pt idx="0">
                  <c:v>Completed houses (in lakh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MAY G'!$A$7:$A$12</c:f>
              <c:strCache>
                <c:ptCount val="6"/>
                <c:pt idx="0">
                  <c:v>FY17</c:v>
                </c:pt>
                <c:pt idx="1">
                  <c:v>FY18</c:v>
                </c:pt>
                <c:pt idx="2">
                  <c:v>FY19</c:v>
                </c:pt>
                <c:pt idx="3">
                  <c:v>FY20</c:v>
                </c:pt>
                <c:pt idx="4">
                  <c:v>FY21</c:v>
                </c:pt>
                <c:pt idx="5">
                  <c:v>FY22(YTD Mar)</c:v>
                </c:pt>
              </c:strCache>
            </c:strRef>
          </c:cat>
          <c:val>
            <c:numRef>
              <c:f>'PMAY G'!$C$7:$C$12</c:f>
              <c:numCache>
                <c:formatCode>0</c:formatCode>
                <c:ptCount val="6"/>
                <c:pt idx="0">
                  <c:v>3850</c:v>
                </c:pt>
                <c:pt idx="1">
                  <c:v>2850</c:v>
                </c:pt>
                <c:pt idx="2">
                  <c:v>2377</c:v>
                </c:pt>
                <c:pt idx="3">
                  <c:v>3962</c:v>
                </c:pt>
                <c:pt idx="4">
                  <c:v>546</c:v>
                </c:pt>
                <c:pt idx="5">
                  <c:v>1768</c:v>
                </c:pt>
              </c:numCache>
            </c:numRef>
          </c:val>
          <c:extLst>
            <c:ext xmlns:c16="http://schemas.microsoft.com/office/drawing/2014/chart" uri="{C3380CC4-5D6E-409C-BE32-E72D297353CC}">
              <c16:uniqueId val="{00000001-C0C5-4F77-A9CE-FA255A5FAADB}"/>
            </c:ext>
          </c:extLst>
        </c:ser>
        <c:dLbls>
          <c:showLegendKey val="0"/>
          <c:showVal val="0"/>
          <c:showCatName val="0"/>
          <c:showSerName val="0"/>
          <c:showPercent val="0"/>
          <c:showBubbleSize val="0"/>
        </c:dLbls>
        <c:gapWidth val="219"/>
        <c:overlap val="-27"/>
        <c:axId val="1021288312"/>
        <c:axId val="1021288640"/>
      </c:barChart>
      <c:catAx>
        <c:axId val="1021288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21288640"/>
        <c:crosses val="autoZero"/>
        <c:auto val="1"/>
        <c:lblAlgn val="ctr"/>
        <c:lblOffset val="100"/>
        <c:noMultiLvlLbl val="0"/>
      </c:catAx>
      <c:valAx>
        <c:axId val="10212886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21288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36482939632545E-2"/>
          <c:y val="2.5428331875182269E-2"/>
          <c:w val="0.82864348206474192"/>
          <c:h val="0.68491469816272965"/>
        </c:manualLayout>
      </c:layout>
      <c:barChart>
        <c:barDir val="col"/>
        <c:grouping val="clustered"/>
        <c:varyColors val="0"/>
        <c:ser>
          <c:idx val="0"/>
          <c:order val="0"/>
          <c:tx>
            <c:strRef>
              <c:f>Charts!$B$131</c:f>
              <c:strCache>
                <c:ptCount val="1"/>
                <c:pt idx="0">
                  <c:v>Rural Roads Investments</c:v>
                </c:pt>
              </c:strCache>
            </c:strRef>
          </c:tx>
          <c:spPr>
            <a:solidFill>
              <a:schemeClr val="bg1">
                <a:lumMod val="65000"/>
              </a:schemeClr>
            </a:solidFill>
            <a:ln>
              <a:noFill/>
            </a:ln>
            <a:effectLst/>
          </c:spPr>
          <c:invertIfNegative val="0"/>
          <c:cat>
            <c:strRef>
              <c:f>Charts!$A$134:$A$142</c:f>
              <c:strCache>
                <c:ptCount val="9"/>
                <c:pt idx="0">
                  <c:v>FY14</c:v>
                </c:pt>
                <c:pt idx="1">
                  <c:v>FY15</c:v>
                </c:pt>
                <c:pt idx="2">
                  <c:v>FY16</c:v>
                </c:pt>
                <c:pt idx="3">
                  <c:v>FY17</c:v>
                </c:pt>
                <c:pt idx="4">
                  <c:v>FY18</c:v>
                </c:pt>
                <c:pt idx="5">
                  <c:v>FY19</c:v>
                </c:pt>
                <c:pt idx="6">
                  <c:v>FY20</c:v>
                </c:pt>
                <c:pt idx="7">
                  <c:v>FY21 E</c:v>
                </c:pt>
                <c:pt idx="8">
                  <c:v>FY22 P</c:v>
                </c:pt>
              </c:strCache>
            </c:strRef>
          </c:cat>
          <c:val>
            <c:numRef>
              <c:f>Charts!$B$134:$B$142</c:f>
              <c:numCache>
                <c:formatCode>0</c:formatCode>
                <c:ptCount val="9"/>
                <c:pt idx="0">
                  <c:v>143.5</c:v>
                </c:pt>
                <c:pt idx="1">
                  <c:v>169.8</c:v>
                </c:pt>
                <c:pt idx="2">
                  <c:v>164.9</c:v>
                </c:pt>
                <c:pt idx="3">
                  <c:v>159.80000000000001</c:v>
                </c:pt>
                <c:pt idx="4">
                  <c:v>170.2</c:v>
                </c:pt>
                <c:pt idx="5">
                  <c:v>234</c:v>
                </c:pt>
                <c:pt idx="6">
                  <c:v>214</c:v>
                </c:pt>
                <c:pt idx="7">
                  <c:v>226</c:v>
                </c:pt>
                <c:pt idx="8">
                  <c:v>230</c:v>
                </c:pt>
              </c:numCache>
            </c:numRef>
          </c:val>
          <c:extLst>
            <c:ext xmlns:c16="http://schemas.microsoft.com/office/drawing/2014/chart" uri="{C3380CC4-5D6E-409C-BE32-E72D297353CC}">
              <c16:uniqueId val="{00000000-04DF-42EC-B459-851EDDA58308}"/>
            </c:ext>
          </c:extLst>
        </c:ser>
        <c:dLbls>
          <c:showLegendKey val="0"/>
          <c:showVal val="0"/>
          <c:showCatName val="0"/>
          <c:showSerName val="0"/>
          <c:showPercent val="0"/>
          <c:showBubbleSize val="0"/>
        </c:dLbls>
        <c:gapWidth val="219"/>
        <c:overlap val="-27"/>
        <c:axId val="1323813024"/>
        <c:axId val="1323807040"/>
      </c:barChart>
      <c:lineChart>
        <c:grouping val="standard"/>
        <c:varyColors val="0"/>
        <c:ser>
          <c:idx val="1"/>
          <c:order val="1"/>
          <c:tx>
            <c:strRef>
              <c:f>Charts!$C$131</c:f>
              <c:strCache>
                <c:ptCount val="1"/>
                <c:pt idx="0">
                  <c:v>Rural Roads Construction growth rate (RHS)</c:v>
                </c:pt>
              </c:strCache>
            </c:strRef>
          </c:tx>
          <c:spPr>
            <a:ln w="28575" cap="rnd">
              <a:solidFill>
                <a:schemeClr val="accent2"/>
              </a:solidFill>
              <a:round/>
            </a:ln>
            <a:effectLst/>
          </c:spPr>
          <c:marker>
            <c:symbol val="none"/>
          </c:marker>
          <c:cat>
            <c:strRef>
              <c:f>Charts!$A$134:$A$141</c:f>
              <c:strCache>
                <c:ptCount val="8"/>
                <c:pt idx="0">
                  <c:v>FY14</c:v>
                </c:pt>
                <c:pt idx="1">
                  <c:v>FY15</c:v>
                </c:pt>
                <c:pt idx="2">
                  <c:v>FY16</c:v>
                </c:pt>
                <c:pt idx="3">
                  <c:v>FY17</c:v>
                </c:pt>
                <c:pt idx="4">
                  <c:v>FY18</c:v>
                </c:pt>
                <c:pt idx="5">
                  <c:v>FY19</c:v>
                </c:pt>
                <c:pt idx="6">
                  <c:v>FY20</c:v>
                </c:pt>
                <c:pt idx="7">
                  <c:v>FY21 E</c:v>
                </c:pt>
              </c:strCache>
            </c:strRef>
          </c:cat>
          <c:val>
            <c:numRef>
              <c:f>Charts!$C$134:$C$142</c:f>
              <c:numCache>
                <c:formatCode>0%</c:formatCode>
                <c:ptCount val="9"/>
                <c:pt idx="0">
                  <c:v>-3.5714285714285698E-2</c:v>
                </c:pt>
                <c:pt idx="1">
                  <c:v>0.40740740740740744</c:v>
                </c:pt>
                <c:pt idx="2">
                  <c:v>-7.4894736842105125E-2</c:v>
                </c:pt>
                <c:pt idx="3">
                  <c:v>0.3496614894464356</c:v>
                </c:pt>
                <c:pt idx="4">
                  <c:v>2.0149222273742939E-2</c:v>
                </c:pt>
                <c:pt idx="5">
                  <c:v>1.2747407131936672E-2</c:v>
                </c:pt>
                <c:pt idx="6">
                  <c:v>-0.44919316999530789</c:v>
                </c:pt>
                <c:pt idx="7">
                  <c:v>0.33333333333333326</c:v>
                </c:pt>
                <c:pt idx="8">
                  <c:v>2.7777777777777679E-2</c:v>
                </c:pt>
              </c:numCache>
            </c:numRef>
          </c:val>
          <c:smooth val="0"/>
          <c:extLst>
            <c:ext xmlns:c16="http://schemas.microsoft.com/office/drawing/2014/chart" uri="{C3380CC4-5D6E-409C-BE32-E72D297353CC}">
              <c16:uniqueId val="{00000001-04DF-42EC-B459-851EDDA58308}"/>
            </c:ext>
          </c:extLst>
        </c:ser>
        <c:dLbls>
          <c:showLegendKey val="0"/>
          <c:showVal val="0"/>
          <c:showCatName val="0"/>
          <c:showSerName val="0"/>
          <c:showPercent val="0"/>
          <c:showBubbleSize val="0"/>
        </c:dLbls>
        <c:marker val="1"/>
        <c:smooth val="0"/>
        <c:axId val="1346612224"/>
        <c:axId val="1371357072"/>
      </c:lineChart>
      <c:catAx>
        <c:axId val="1323813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323807040"/>
        <c:crosses val="autoZero"/>
        <c:auto val="1"/>
        <c:lblAlgn val="ctr"/>
        <c:lblOffset val="100"/>
        <c:noMultiLvlLbl val="0"/>
      </c:catAx>
      <c:valAx>
        <c:axId val="13238070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323813024"/>
        <c:crosses val="autoZero"/>
        <c:crossBetween val="between"/>
      </c:valAx>
      <c:valAx>
        <c:axId val="1371357072"/>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346612224"/>
        <c:crosses val="max"/>
        <c:crossBetween val="between"/>
      </c:valAx>
      <c:catAx>
        <c:axId val="1346612224"/>
        <c:scaling>
          <c:orientation val="minMax"/>
        </c:scaling>
        <c:delete val="1"/>
        <c:axPos val="b"/>
        <c:numFmt formatCode="General" sourceLinked="1"/>
        <c:majorTickMark val="none"/>
        <c:minorTickMark val="none"/>
        <c:tickLblPos val="nextTo"/>
        <c:crossAx val="13713570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bg1">
                <a:lumMod val="65000"/>
              </a:schemeClr>
            </a:solidFill>
            <a:ln>
              <a:noFill/>
            </a:ln>
            <a:effectLst/>
          </c:spPr>
          <c:invertIfNegative val="0"/>
          <c:cat>
            <c:multiLvlStrRef>
              <c:f>GVA!$A$11:$B$29</c:f>
              <c:multiLvlStrCache>
                <c:ptCount val="19"/>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 </c:v>
                  </c:pt>
                  <c:pt idx="14">
                    <c:v>Q3</c:v>
                  </c:pt>
                  <c:pt idx="15">
                    <c:v>Q4</c:v>
                  </c:pt>
                  <c:pt idx="16">
                    <c:v>Q1</c:v>
                  </c:pt>
                  <c:pt idx="17">
                    <c:v>Q2</c:v>
                  </c:pt>
                  <c:pt idx="18">
                    <c:v>Q3</c:v>
                  </c:pt>
                </c:lvl>
                <c:lvl>
                  <c:pt idx="0">
                    <c:v>2017-18</c:v>
                  </c:pt>
                  <c:pt idx="4">
                    <c:v>2018-19</c:v>
                  </c:pt>
                  <c:pt idx="8">
                    <c:v>2019-20</c:v>
                  </c:pt>
                  <c:pt idx="12">
                    <c:v>2020-21</c:v>
                  </c:pt>
                  <c:pt idx="16">
                    <c:v>2021-22</c:v>
                  </c:pt>
                </c:lvl>
              </c:multiLvlStrCache>
            </c:multiLvlStrRef>
          </c:cat>
          <c:val>
            <c:numRef>
              <c:f>GVA!$C$11:$C$29</c:f>
              <c:numCache>
                <c:formatCode>_(* #,##0.00_);_(* \(#,##0.00\);_(* "-"??_);_(@_)</c:formatCode>
                <c:ptCount val="19"/>
                <c:pt idx="0">
                  <c:v>4.1136600000000003</c:v>
                </c:pt>
                <c:pt idx="1">
                  <c:v>3.4648599999999998</c:v>
                </c:pt>
                <c:pt idx="2">
                  <c:v>5.7727000000000004</c:v>
                </c:pt>
                <c:pt idx="3">
                  <c:v>4.93208</c:v>
                </c:pt>
                <c:pt idx="4">
                  <c:v>4.3485399999999998</c:v>
                </c:pt>
                <c:pt idx="5">
                  <c:v>3.6573799999999999</c:v>
                </c:pt>
                <c:pt idx="6">
                  <c:v>5.9211499999999999</c:v>
                </c:pt>
                <c:pt idx="7">
                  <c:v>5.0119927807788507</c:v>
                </c:pt>
                <c:pt idx="8">
                  <c:v>4.4939</c:v>
                </c:pt>
                <c:pt idx="9">
                  <c:v>3.7860200000000002</c:v>
                </c:pt>
                <c:pt idx="10">
                  <c:v>6.1246</c:v>
                </c:pt>
                <c:pt idx="11">
                  <c:v>5.3062582177043405</c:v>
                </c:pt>
                <c:pt idx="12">
                  <c:v>4.6528</c:v>
                </c:pt>
                <c:pt idx="13">
                  <c:v>3.9010600000000002</c:v>
                </c:pt>
                <c:pt idx="14">
                  <c:v>6.40191</c:v>
                </c:pt>
                <c:pt idx="15">
                  <c:v>5.44503</c:v>
                </c:pt>
                <c:pt idx="16">
                  <c:v>4.7832448911353493</c:v>
                </c:pt>
                <c:pt idx="17">
                  <c:v>4.0800046476493197</c:v>
                </c:pt>
                <c:pt idx="18">
                  <c:v>6.6303690229196501</c:v>
                </c:pt>
              </c:numCache>
            </c:numRef>
          </c:val>
          <c:extLst>
            <c:ext xmlns:c16="http://schemas.microsoft.com/office/drawing/2014/chart" uri="{C3380CC4-5D6E-409C-BE32-E72D297353CC}">
              <c16:uniqueId val="{00000000-31C0-434A-8D91-7D811734FC3B}"/>
            </c:ext>
          </c:extLst>
        </c:ser>
        <c:dLbls>
          <c:showLegendKey val="0"/>
          <c:showVal val="0"/>
          <c:showCatName val="0"/>
          <c:showSerName val="0"/>
          <c:showPercent val="0"/>
          <c:showBubbleSize val="0"/>
        </c:dLbls>
        <c:gapWidth val="219"/>
        <c:overlap val="-27"/>
        <c:axId val="1046337152"/>
        <c:axId val="1046338464"/>
      </c:barChart>
      <c:lineChart>
        <c:grouping val="standard"/>
        <c:varyColors val="0"/>
        <c:ser>
          <c:idx val="1"/>
          <c:order val="1"/>
          <c:spPr>
            <a:ln w="28575" cap="rnd">
              <a:solidFill>
                <a:schemeClr val="accent2"/>
              </a:solidFill>
              <a:round/>
            </a:ln>
            <a:effectLst/>
          </c:spPr>
          <c:marker>
            <c:symbol val="none"/>
          </c:marker>
          <c:cat>
            <c:multiLvlStrRef>
              <c:f>GVA!$A$11:$B$29</c:f>
              <c:multiLvlStrCache>
                <c:ptCount val="19"/>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 </c:v>
                  </c:pt>
                  <c:pt idx="14">
                    <c:v>Q3</c:v>
                  </c:pt>
                  <c:pt idx="15">
                    <c:v>Q4</c:v>
                  </c:pt>
                  <c:pt idx="16">
                    <c:v>Q1</c:v>
                  </c:pt>
                  <c:pt idx="17">
                    <c:v>Q2</c:v>
                  </c:pt>
                  <c:pt idx="18">
                    <c:v>Q3</c:v>
                  </c:pt>
                </c:lvl>
                <c:lvl>
                  <c:pt idx="0">
                    <c:v>2017-18</c:v>
                  </c:pt>
                  <c:pt idx="4">
                    <c:v>2018-19</c:v>
                  </c:pt>
                  <c:pt idx="8">
                    <c:v>2019-20</c:v>
                  </c:pt>
                  <c:pt idx="12">
                    <c:v>2020-21</c:v>
                  </c:pt>
                  <c:pt idx="16">
                    <c:v>2021-22</c:v>
                  </c:pt>
                </c:lvl>
              </c:multiLvlStrCache>
            </c:multiLvlStrRef>
          </c:cat>
          <c:val>
            <c:numRef>
              <c:f>GVA!$D$11:$D$29</c:f>
              <c:numCache>
                <c:formatCode>0%</c:formatCode>
                <c:ptCount val="19"/>
                <c:pt idx="0">
                  <c:v>5.9434136074431487E-2</c:v>
                </c:pt>
                <c:pt idx="1">
                  <c:v>6.1866761765482225E-2</c:v>
                </c:pt>
                <c:pt idx="2">
                  <c:v>5.1112421271599207E-2</c:v>
                </c:pt>
                <c:pt idx="3">
                  <c:v>7.1199435305445924E-2</c:v>
                </c:pt>
                <c:pt idx="4">
                  <c:v>5.7097572478036485E-2</c:v>
                </c:pt>
                <c:pt idx="5">
                  <c:v>5.5563572554158114E-2</c:v>
                </c:pt>
                <c:pt idx="6">
                  <c:v>2.5715869523793122E-2</c:v>
                </c:pt>
                <c:pt idx="7">
                  <c:v>1.6202652994041111E-2</c:v>
                </c:pt>
                <c:pt idx="8">
                  <c:v>3.3427311235495027E-2</c:v>
                </c:pt>
                <c:pt idx="9">
                  <c:v>3.5172719268984798E-2</c:v>
                </c:pt>
                <c:pt idx="10">
                  <c:v>3.4359879415316374E-2</c:v>
                </c:pt>
                <c:pt idx="11">
                  <c:v>5.8712262725917563E-2</c:v>
                </c:pt>
                <c:pt idx="12">
                  <c:v>3.5359042257282036E-2</c:v>
                </c:pt>
                <c:pt idx="13">
                  <c:v>3.038547075821052E-2</c:v>
                </c:pt>
                <c:pt idx="14">
                  <c:v>4.5278058975279922E-2</c:v>
                </c:pt>
                <c:pt idx="15">
                  <c:v>2.6152474418347671E-2</c:v>
                </c:pt>
                <c:pt idx="16">
                  <c:v>2.8035782998484748E-2</c:v>
                </c:pt>
                <c:pt idx="17">
                  <c:v>4.5870775545446607E-2</c:v>
                </c:pt>
                <c:pt idx="18">
                  <c:v>3.5686072269002445E-2</c:v>
                </c:pt>
              </c:numCache>
            </c:numRef>
          </c:val>
          <c:smooth val="0"/>
          <c:extLst>
            <c:ext xmlns:c16="http://schemas.microsoft.com/office/drawing/2014/chart" uri="{C3380CC4-5D6E-409C-BE32-E72D297353CC}">
              <c16:uniqueId val="{00000001-31C0-434A-8D91-7D811734FC3B}"/>
            </c:ext>
          </c:extLst>
        </c:ser>
        <c:dLbls>
          <c:showLegendKey val="0"/>
          <c:showVal val="0"/>
          <c:showCatName val="0"/>
          <c:showSerName val="0"/>
          <c:showPercent val="0"/>
          <c:showBubbleSize val="0"/>
        </c:dLbls>
        <c:marker val="1"/>
        <c:smooth val="0"/>
        <c:axId val="1046334200"/>
        <c:axId val="1046337808"/>
      </c:lineChart>
      <c:catAx>
        <c:axId val="1046337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46338464"/>
        <c:crosses val="autoZero"/>
        <c:auto val="1"/>
        <c:lblAlgn val="ctr"/>
        <c:lblOffset val="100"/>
        <c:noMultiLvlLbl val="0"/>
      </c:catAx>
      <c:valAx>
        <c:axId val="1046338464"/>
        <c:scaling>
          <c:orientation val="minMax"/>
        </c:scaling>
        <c:delete val="0"/>
        <c:axPos val="l"/>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46337152"/>
        <c:crosses val="autoZero"/>
        <c:crossBetween val="between"/>
      </c:valAx>
      <c:valAx>
        <c:axId val="1046337808"/>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46334200"/>
        <c:crosses val="max"/>
        <c:crossBetween val="between"/>
      </c:valAx>
      <c:catAx>
        <c:axId val="1046334200"/>
        <c:scaling>
          <c:orientation val="minMax"/>
        </c:scaling>
        <c:delete val="1"/>
        <c:axPos val="b"/>
        <c:numFmt formatCode="General" sourceLinked="1"/>
        <c:majorTickMark val="none"/>
        <c:minorTickMark val="none"/>
        <c:tickLblPos val="nextTo"/>
        <c:crossAx val="1046337808"/>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cked"/>
        <c:varyColors val="0"/>
        <c:ser>
          <c:idx val="0"/>
          <c:order val="0"/>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lang="en-US"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harts!$A$171:$B$181</c:f>
              <c:multiLvlStrCache>
                <c:ptCount val="11"/>
                <c:lvl>
                  <c:pt idx="0">
                    <c:v>Q1</c:v>
                  </c:pt>
                  <c:pt idx="1">
                    <c:v>Q2</c:v>
                  </c:pt>
                  <c:pt idx="2">
                    <c:v>Q3</c:v>
                  </c:pt>
                  <c:pt idx="3">
                    <c:v>Q4</c:v>
                  </c:pt>
                  <c:pt idx="4">
                    <c:v>Q1</c:v>
                  </c:pt>
                  <c:pt idx="5">
                    <c:v>Q2</c:v>
                  </c:pt>
                  <c:pt idx="6">
                    <c:v>Q3</c:v>
                  </c:pt>
                  <c:pt idx="7">
                    <c:v>Q4</c:v>
                  </c:pt>
                  <c:pt idx="8">
                    <c:v>Q1</c:v>
                  </c:pt>
                  <c:pt idx="9">
                    <c:v>Q2</c:v>
                  </c:pt>
                  <c:pt idx="10">
                    <c:v>Q3</c:v>
                  </c:pt>
                </c:lvl>
                <c:lvl>
                  <c:pt idx="0">
                    <c:v>FY 20</c:v>
                  </c:pt>
                  <c:pt idx="4">
                    <c:v>FY 21</c:v>
                  </c:pt>
                  <c:pt idx="8">
                    <c:v>FY 22</c:v>
                  </c:pt>
                </c:lvl>
              </c:multiLvlStrCache>
            </c:multiLvlStrRef>
          </c:cat>
          <c:val>
            <c:numRef>
              <c:f>Charts!$C$171:$C$181</c:f>
              <c:numCache>
                <c:formatCode>0.0</c:formatCode>
                <c:ptCount val="11"/>
                <c:pt idx="0">
                  <c:v>17.28</c:v>
                </c:pt>
                <c:pt idx="1">
                  <c:v>17.440000000000001</c:v>
                </c:pt>
                <c:pt idx="2">
                  <c:v>16.920000000000002</c:v>
                </c:pt>
                <c:pt idx="3" formatCode="General">
                  <c:v>17.149999999999999</c:v>
                </c:pt>
                <c:pt idx="4">
                  <c:v>16.48</c:v>
                </c:pt>
                <c:pt idx="5">
                  <c:v>16.8</c:v>
                </c:pt>
                <c:pt idx="6">
                  <c:v>16.3</c:v>
                </c:pt>
                <c:pt idx="7">
                  <c:v>16.3</c:v>
                </c:pt>
                <c:pt idx="8">
                  <c:v>15.9</c:v>
                </c:pt>
                <c:pt idx="9">
                  <c:v>16.2</c:v>
                </c:pt>
                <c:pt idx="10">
                  <c:v>15.4</c:v>
                </c:pt>
              </c:numCache>
            </c:numRef>
          </c:val>
          <c:smooth val="0"/>
          <c:extLst>
            <c:ext xmlns:c16="http://schemas.microsoft.com/office/drawing/2014/chart" uri="{C3380CC4-5D6E-409C-BE32-E72D297353CC}">
              <c16:uniqueId val="{00000000-1EE2-4A5F-990A-FD712C6F960F}"/>
            </c:ext>
          </c:extLst>
        </c:ser>
        <c:dLbls>
          <c:dLblPos val="t"/>
          <c:showLegendKey val="0"/>
          <c:showVal val="1"/>
          <c:showCatName val="0"/>
          <c:showSerName val="0"/>
          <c:showPercent val="0"/>
          <c:showBubbleSize val="0"/>
        </c:dLbls>
        <c:smooth val="0"/>
        <c:axId val="-7265360"/>
        <c:axId val="-7261008"/>
      </c:lineChart>
      <c:catAx>
        <c:axId val="-726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7261008"/>
        <c:crosses val="autoZero"/>
        <c:auto val="1"/>
        <c:lblAlgn val="ctr"/>
        <c:lblOffset val="100"/>
        <c:noMultiLvlLbl val="0"/>
      </c:catAx>
      <c:valAx>
        <c:axId val="-726100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US"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7265360"/>
        <c:crosses val="autoZero"/>
        <c:crossBetween val="between"/>
      </c:valAx>
      <c:spPr>
        <a:noFill/>
        <a:ln>
          <a:noFill/>
        </a:ln>
        <a:effectLst/>
      </c:spPr>
    </c:plotArea>
    <c:plotVisOnly val="1"/>
    <c:dispBlanksAs val="zero"/>
    <c:showDLblsOverMax val="0"/>
  </c:chart>
  <c:spPr>
    <a:noFill/>
    <a:ln>
      <a:noFill/>
    </a:ln>
    <a:effectLst/>
  </c:spPr>
  <c:txPr>
    <a:bodyPr/>
    <a:lstStyle/>
    <a:p>
      <a:pPr algn="ctr">
        <a:defRPr lang="en-US"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13575637923613"/>
          <c:y val="6.4710689710966773E-2"/>
          <c:w val="0.77997721436311551"/>
          <c:h val="0.73913105429794479"/>
        </c:manualLayout>
      </c:layout>
      <c:barChart>
        <c:barDir val="col"/>
        <c:grouping val="clustered"/>
        <c:varyColors val="0"/>
        <c:ser>
          <c:idx val="0"/>
          <c:order val="0"/>
          <c:tx>
            <c:strRef>
              <c:f>Irrigation!$C$2</c:f>
              <c:strCache>
                <c:ptCount val="1"/>
                <c:pt idx="0">
                  <c:v>Irrigation Investments</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rrigation!$B$3:$B$13</c:f>
              <c:strCache>
                <c:ptCount val="11"/>
                <c:pt idx="0">
                  <c:v>FY13</c:v>
                </c:pt>
                <c:pt idx="1">
                  <c:v>FY14</c:v>
                </c:pt>
                <c:pt idx="2">
                  <c:v>FY15</c:v>
                </c:pt>
                <c:pt idx="3">
                  <c:v>FY16</c:v>
                </c:pt>
                <c:pt idx="4">
                  <c:v>FY17</c:v>
                </c:pt>
                <c:pt idx="5">
                  <c:v>FY18</c:v>
                </c:pt>
                <c:pt idx="6">
                  <c:v>FY19</c:v>
                </c:pt>
                <c:pt idx="7">
                  <c:v>FY20</c:v>
                </c:pt>
                <c:pt idx="8">
                  <c:v>FY21 </c:v>
                </c:pt>
                <c:pt idx="9">
                  <c:v>FY22 </c:v>
                </c:pt>
                <c:pt idx="10">
                  <c:v>FY23 P</c:v>
                </c:pt>
              </c:strCache>
            </c:strRef>
          </c:cat>
          <c:val>
            <c:numRef>
              <c:f>Irrigation!$C$3:$C$13</c:f>
              <c:numCache>
                <c:formatCode>General</c:formatCode>
                <c:ptCount val="11"/>
                <c:pt idx="0">
                  <c:v>590</c:v>
                </c:pt>
                <c:pt idx="1">
                  <c:v>591</c:v>
                </c:pt>
                <c:pt idx="2">
                  <c:v>577</c:v>
                </c:pt>
                <c:pt idx="3">
                  <c:v>682</c:v>
                </c:pt>
                <c:pt idx="4">
                  <c:v>830</c:v>
                </c:pt>
                <c:pt idx="5">
                  <c:v>842</c:v>
                </c:pt>
                <c:pt idx="6">
                  <c:v>936</c:v>
                </c:pt>
                <c:pt idx="7">
                  <c:v>819</c:v>
                </c:pt>
                <c:pt idx="8">
                  <c:v>721</c:v>
                </c:pt>
                <c:pt idx="9">
                  <c:v>886</c:v>
                </c:pt>
                <c:pt idx="10">
                  <c:v>974</c:v>
                </c:pt>
              </c:numCache>
            </c:numRef>
          </c:val>
          <c:extLst>
            <c:ext xmlns:c16="http://schemas.microsoft.com/office/drawing/2014/chart" uri="{C3380CC4-5D6E-409C-BE32-E72D297353CC}">
              <c16:uniqueId val="{00000000-FC75-4E0F-BCD2-7FB3170B6BC9}"/>
            </c:ext>
          </c:extLst>
        </c:ser>
        <c:dLbls>
          <c:showLegendKey val="0"/>
          <c:showVal val="0"/>
          <c:showCatName val="0"/>
          <c:showSerName val="0"/>
          <c:showPercent val="0"/>
          <c:showBubbleSize val="0"/>
        </c:dLbls>
        <c:gapWidth val="30"/>
        <c:axId val="-7256656"/>
        <c:axId val="-7253936"/>
      </c:barChart>
      <c:catAx>
        <c:axId val="-7256656"/>
        <c:scaling>
          <c:orientation val="minMax"/>
        </c:scaling>
        <c:delete val="0"/>
        <c:axPos val="b"/>
        <c:numFmt formatCode="General" sourceLinked="1"/>
        <c:majorTickMark val="out"/>
        <c:minorTickMark val="none"/>
        <c:tickLblPos val="low"/>
        <c:spPr>
          <a:noFill/>
          <a:ln w="9525" cap="flat" cmpd="sng" algn="ctr">
            <a:solidFill>
              <a:srgbClr val="A6A6A6"/>
            </a:solidFill>
            <a:prstDash val="solid"/>
            <a:round/>
          </a:ln>
          <a:effectLst/>
        </c:spPr>
        <c:txPr>
          <a:bodyPr rot="0" spcFirstLastPara="1" vertOverflow="ellipsis" wrap="square" anchor="ctr" anchorCtr="1"/>
          <a:lstStyle/>
          <a:p>
            <a:pPr>
              <a:defRPr sz="1200" b="0" i="0" u="none" strike="noStrike" kern="1200" baseline="0">
                <a:solidFill>
                  <a:srgbClr val="000000"/>
                </a:solidFill>
                <a:latin typeface="Arial"/>
                <a:ea typeface="Arial"/>
                <a:cs typeface="Arial"/>
              </a:defRPr>
            </a:pPr>
            <a:endParaRPr lang="en-US"/>
          </a:p>
        </c:txPr>
        <c:crossAx val="-7253936"/>
        <c:crosses val="autoZero"/>
        <c:auto val="1"/>
        <c:lblAlgn val="ctr"/>
        <c:lblOffset val="100"/>
        <c:noMultiLvlLbl val="0"/>
      </c:catAx>
      <c:valAx>
        <c:axId val="-7253936"/>
        <c:scaling>
          <c:orientation val="minMax"/>
        </c:scaling>
        <c:delete val="0"/>
        <c:axPos val="l"/>
        <c:title>
          <c:tx>
            <c:rich>
              <a:bodyPr rot="-5400000" spcFirstLastPara="1" vertOverflow="ellipsis" vert="horz" wrap="square" anchor="ctr" anchorCtr="1"/>
              <a:lstStyle/>
              <a:p>
                <a:pPr>
                  <a:defRPr sz="1200" b="0" i="0" u="none" strike="noStrike" kern="1200" baseline="0">
                    <a:solidFill>
                      <a:srgbClr val="000000"/>
                    </a:solidFill>
                    <a:latin typeface="Arial"/>
                    <a:ea typeface="Arial"/>
                    <a:cs typeface="Arial"/>
                  </a:defRPr>
                </a:pPr>
                <a:r>
                  <a:rPr lang="en-US"/>
                  <a:t>Rs billion</a:t>
                </a:r>
              </a:p>
            </c:rich>
          </c:tx>
          <c:layout>
            <c:manualLayout>
              <c:xMode val="edge"/>
              <c:yMode val="edge"/>
              <c:x val="2.9928915291271975E-3"/>
              <c:y val="0.3509844778006955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title>
        <c:numFmt formatCode="General" sourceLinked="1"/>
        <c:majorTickMark val="out"/>
        <c:minorTickMark val="none"/>
        <c:tickLblPos val="nextTo"/>
        <c:spPr>
          <a:noFill/>
          <a:ln>
            <a:solidFill>
              <a:srgbClr val="A6A6A6"/>
            </a:solidFill>
            <a:prstDash val="solid"/>
          </a:ln>
          <a:effectLst/>
        </c:spPr>
        <c:txPr>
          <a:bodyPr rot="-6000000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crossAx val="-7256656"/>
        <c:crosses val="autoZero"/>
        <c:crossBetween val="between"/>
      </c:valAx>
      <c:spPr>
        <a:solidFill>
          <a:srgbClr val="FFFFFF"/>
        </a:solidFill>
        <a:ln>
          <a:noFill/>
        </a:ln>
        <a:effectLst/>
      </c:spPr>
    </c:plotArea>
    <c:legend>
      <c:legendPos val="b"/>
      <c:layout>
        <c:manualLayout>
          <c:xMode val="edge"/>
          <c:yMode val="edge"/>
          <c:x val="8.9294242932748166E-2"/>
          <c:y val="0.92292225604301759"/>
          <c:w val="0.81411878137081606"/>
          <c:h val="6.099245720479968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Arial"/>
              <a:ea typeface="Arial"/>
              <a:cs typeface="Arial"/>
            </a:defRPr>
          </a:pPr>
          <a:endParaRPr lang="en-US"/>
        </a:p>
      </c:txPr>
    </c:legend>
    <c:plotVisOnly val="1"/>
    <c:dispBlanksAs val="gap"/>
    <c:showDLblsOverMax val="0"/>
  </c:chart>
  <c:spPr>
    <a:solidFill>
      <a:srgbClr val="FFFFFF"/>
    </a:solidFill>
    <a:ln w="3175" cap="flat" cmpd="sng" algn="ctr">
      <a:noFill/>
      <a:prstDash val="solid"/>
      <a:round/>
    </a:ln>
    <a:effectLst/>
  </c:spPr>
  <c:txPr>
    <a:bodyPr/>
    <a:lstStyle/>
    <a:p>
      <a:pPr>
        <a:defRPr sz="1200" b="0">
          <a:solidFill>
            <a:srgbClr val="000000"/>
          </a:solidFill>
          <a:latin typeface="Arial"/>
          <a:ea typeface="Arial"/>
          <a:cs typeface="Arial"/>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ural Wages'!$X$41</c:f>
              <c:strCache>
                <c:ptCount val="1"/>
                <c:pt idx="0">
                  <c:v>FY21</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ural Wages'!$U$42:$U$45</c:f>
              <c:strCache>
                <c:ptCount val="4"/>
                <c:pt idx="0">
                  <c:v>Q1</c:v>
                </c:pt>
                <c:pt idx="1">
                  <c:v>Q2</c:v>
                </c:pt>
                <c:pt idx="2">
                  <c:v>Q3</c:v>
                </c:pt>
                <c:pt idx="3">
                  <c:v>Q4</c:v>
                </c:pt>
              </c:strCache>
            </c:strRef>
          </c:cat>
          <c:val>
            <c:numRef>
              <c:f>'Rural Wages'!$X$42:$X$45</c:f>
              <c:numCache>
                <c:formatCode>General</c:formatCode>
                <c:ptCount val="4"/>
                <c:pt idx="0">
                  <c:v>384</c:v>
                </c:pt>
                <c:pt idx="1">
                  <c:v>375</c:v>
                </c:pt>
                <c:pt idx="2">
                  <c:v>373</c:v>
                </c:pt>
                <c:pt idx="3">
                  <c:v>371</c:v>
                </c:pt>
              </c:numCache>
            </c:numRef>
          </c:val>
          <c:extLst>
            <c:ext xmlns:c16="http://schemas.microsoft.com/office/drawing/2014/chart" uri="{C3380CC4-5D6E-409C-BE32-E72D297353CC}">
              <c16:uniqueId val="{00000000-60EE-491E-AC29-F1A2D79642B0}"/>
            </c:ext>
          </c:extLst>
        </c:ser>
        <c:ser>
          <c:idx val="1"/>
          <c:order val="1"/>
          <c:tx>
            <c:strRef>
              <c:f>'Rural Wages'!$Y$41</c:f>
              <c:strCache>
                <c:ptCount val="1"/>
                <c:pt idx="0">
                  <c:v>FY2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rgbClr val="000000"/>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ural Wages'!$U$42:$U$45</c:f>
              <c:strCache>
                <c:ptCount val="4"/>
                <c:pt idx="0">
                  <c:v>Q1</c:v>
                </c:pt>
                <c:pt idx="1">
                  <c:v>Q2</c:v>
                </c:pt>
                <c:pt idx="2">
                  <c:v>Q3</c:v>
                </c:pt>
                <c:pt idx="3">
                  <c:v>Q4</c:v>
                </c:pt>
              </c:strCache>
            </c:strRef>
          </c:cat>
          <c:val>
            <c:numRef>
              <c:f>'Rural Wages'!$Y$42:$Y$45</c:f>
              <c:numCache>
                <c:formatCode>General</c:formatCode>
                <c:ptCount val="4"/>
                <c:pt idx="0">
                  <c:v>367</c:v>
                </c:pt>
                <c:pt idx="1">
                  <c:v>381</c:v>
                </c:pt>
                <c:pt idx="2">
                  <c:v>388</c:v>
                </c:pt>
                <c:pt idx="3">
                  <c:v>391</c:v>
                </c:pt>
              </c:numCache>
            </c:numRef>
          </c:val>
          <c:extLst>
            <c:ext xmlns:c16="http://schemas.microsoft.com/office/drawing/2014/chart" uri="{C3380CC4-5D6E-409C-BE32-E72D297353CC}">
              <c16:uniqueId val="{00000001-60EE-491E-AC29-F1A2D79642B0}"/>
            </c:ext>
          </c:extLst>
        </c:ser>
        <c:dLbls>
          <c:showLegendKey val="0"/>
          <c:showVal val="0"/>
          <c:showCatName val="0"/>
          <c:showSerName val="0"/>
          <c:showPercent val="0"/>
          <c:showBubbleSize val="0"/>
        </c:dLbls>
        <c:gapWidth val="219"/>
        <c:overlap val="-27"/>
        <c:axId val="-2123361152"/>
        <c:axId val="-2123363872"/>
      </c:barChart>
      <c:catAx>
        <c:axId val="-212336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rgbClr val="000000"/>
                </a:solidFill>
                <a:latin typeface="Arial"/>
                <a:ea typeface="Arial"/>
                <a:cs typeface="Arial"/>
              </a:defRPr>
            </a:pPr>
            <a:endParaRPr lang="en-US"/>
          </a:p>
        </c:txPr>
        <c:crossAx val="-2123363872"/>
        <c:crosses val="autoZero"/>
        <c:auto val="1"/>
        <c:lblAlgn val="ctr"/>
        <c:lblOffset val="100"/>
        <c:noMultiLvlLbl val="0"/>
      </c:catAx>
      <c:valAx>
        <c:axId val="-212336387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rgbClr val="000000"/>
                </a:solidFill>
                <a:latin typeface="Arial"/>
                <a:ea typeface="Arial"/>
                <a:cs typeface="Arial"/>
              </a:defRPr>
            </a:pPr>
            <a:endParaRPr lang="en-US"/>
          </a:p>
        </c:txPr>
        <c:crossAx val="-2123361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200" b="0" i="0" u="none" strike="noStrike" kern="1200" baseline="0">
              <a:solidFill>
                <a:srgbClr val="000000"/>
              </a:solidFill>
              <a:latin typeface="Arial"/>
              <a:ea typeface="Arial"/>
              <a:cs typeface="Arial"/>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I$1</c:f>
              <c:strCache>
                <c:ptCount val="1"/>
                <c:pt idx="0">
                  <c:v>Daily average power consumption (MU)</c:v>
                </c:pt>
              </c:strCache>
            </c:strRef>
          </c:tx>
          <c:spPr>
            <a:ln w="38100">
              <a:solidFill>
                <a:srgbClr val="FF0000"/>
              </a:solidFill>
            </a:ln>
          </c:spPr>
          <c:marker>
            <c:symbol val="none"/>
          </c:marker>
          <c:trendline>
            <c:spPr>
              <a:ln>
                <a:prstDash val="dash"/>
                <a:tailEnd type="stealth"/>
              </a:ln>
            </c:spPr>
            <c:trendlineType val="linear"/>
            <c:dispRSqr val="0"/>
            <c:dispEq val="0"/>
          </c:trendline>
          <c:cat>
            <c:numRef>
              <c:f>Sheet2!$H$94:$H$398</c:f>
              <c:numCache>
                <c:formatCode>d\-mmm</c:formatCode>
                <c:ptCount val="305"/>
                <c:pt idx="0">
                  <c:v>44348</c:v>
                </c:pt>
                <c:pt idx="1">
                  <c:v>44349</c:v>
                </c:pt>
                <c:pt idx="2">
                  <c:v>44350</c:v>
                </c:pt>
                <c:pt idx="3">
                  <c:v>44351</c:v>
                </c:pt>
                <c:pt idx="4">
                  <c:v>44352</c:v>
                </c:pt>
                <c:pt idx="5">
                  <c:v>44353</c:v>
                </c:pt>
                <c:pt idx="6">
                  <c:v>44354</c:v>
                </c:pt>
                <c:pt idx="7">
                  <c:v>44355</c:v>
                </c:pt>
                <c:pt idx="8">
                  <c:v>44356</c:v>
                </c:pt>
                <c:pt idx="9">
                  <c:v>44357</c:v>
                </c:pt>
                <c:pt idx="10">
                  <c:v>44358</c:v>
                </c:pt>
                <c:pt idx="11">
                  <c:v>44359</c:v>
                </c:pt>
                <c:pt idx="12">
                  <c:v>44360</c:v>
                </c:pt>
                <c:pt idx="13">
                  <c:v>44361</c:v>
                </c:pt>
                <c:pt idx="14">
                  <c:v>44362</c:v>
                </c:pt>
                <c:pt idx="15">
                  <c:v>44363</c:v>
                </c:pt>
                <c:pt idx="16">
                  <c:v>44364</c:v>
                </c:pt>
                <c:pt idx="17">
                  <c:v>44365</c:v>
                </c:pt>
                <c:pt idx="18">
                  <c:v>44366</c:v>
                </c:pt>
                <c:pt idx="19">
                  <c:v>44367</c:v>
                </c:pt>
                <c:pt idx="20">
                  <c:v>44368</c:v>
                </c:pt>
                <c:pt idx="21">
                  <c:v>44369</c:v>
                </c:pt>
                <c:pt idx="22">
                  <c:v>44370</c:v>
                </c:pt>
                <c:pt idx="23">
                  <c:v>44371</c:v>
                </c:pt>
                <c:pt idx="24">
                  <c:v>44372</c:v>
                </c:pt>
                <c:pt idx="25">
                  <c:v>44373</c:v>
                </c:pt>
                <c:pt idx="26">
                  <c:v>44374</c:v>
                </c:pt>
                <c:pt idx="27">
                  <c:v>44375</c:v>
                </c:pt>
                <c:pt idx="28">
                  <c:v>44376</c:v>
                </c:pt>
                <c:pt idx="29">
                  <c:v>44377</c:v>
                </c:pt>
                <c:pt idx="30">
                  <c:v>44378</c:v>
                </c:pt>
                <c:pt idx="31">
                  <c:v>44379</c:v>
                </c:pt>
                <c:pt idx="32">
                  <c:v>44380</c:v>
                </c:pt>
                <c:pt idx="33">
                  <c:v>44381</c:v>
                </c:pt>
                <c:pt idx="34">
                  <c:v>44382</c:v>
                </c:pt>
                <c:pt idx="35">
                  <c:v>44383</c:v>
                </c:pt>
                <c:pt idx="36">
                  <c:v>44384</c:v>
                </c:pt>
                <c:pt idx="37">
                  <c:v>44385</c:v>
                </c:pt>
                <c:pt idx="38">
                  <c:v>44386</c:v>
                </c:pt>
                <c:pt idx="39">
                  <c:v>44387</c:v>
                </c:pt>
                <c:pt idx="40">
                  <c:v>44388</c:v>
                </c:pt>
                <c:pt idx="41">
                  <c:v>44389</c:v>
                </c:pt>
                <c:pt idx="42">
                  <c:v>44390</c:v>
                </c:pt>
                <c:pt idx="43">
                  <c:v>44391</c:v>
                </c:pt>
                <c:pt idx="44">
                  <c:v>44392</c:v>
                </c:pt>
                <c:pt idx="45">
                  <c:v>44393</c:v>
                </c:pt>
                <c:pt idx="46">
                  <c:v>44394</c:v>
                </c:pt>
                <c:pt idx="47">
                  <c:v>44395</c:v>
                </c:pt>
                <c:pt idx="48">
                  <c:v>44396</c:v>
                </c:pt>
                <c:pt idx="49">
                  <c:v>44397</c:v>
                </c:pt>
                <c:pt idx="50">
                  <c:v>44398</c:v>
                </c:pt>
                <c:pt idx="51">
                  <c:v>44399</c:v>
                </c:pt>
                <c:pt idx="52">
                  <c:v>44400</c:v>
                </c:pt>
                <c:pt idx="53">
                  <c:v>44401</c:v>
                </c:pt>
                <c:pt idx="54">
                  <c:v>44402</c:v>
                </c:pt>
                <c:pt idx="55">
                  <c:v>44403</c:v>
                </c:pt>
                <c:pt idx="56">
                  <c:v>44404</c:v>
                </c:pt>
                <c:pt idx="57">
                  <c:v>44405</c:v>
                </c:pt>
                <c:pt idx="58">
                  <c:v>44406</c:v>
                </c:pt>
                <c:pt idx="59">
                  <c:v>44407</c:v>
                </c:pt>
                <c:pt idx="60">
                  <c:v>44408</c:v>
                </c:pt>
                <c:pt idx="61">
                  <c:v>44409</c:v>
                </c:pt>
                <c:pt idx="62">
                  <c:v>44410</c:v>
                </c:pt>
                <c:pt idx="63">
                  <c:v>44411</c:v>
                </c:pt>
                <c:pt idx="64">
                  <c:v>44412</c:v>
                </c:pt>
                <c:pt idx="65">
                  <c:v>44413</c:v>
                </c:pt>
                <c:pt idx="66">
                  <c:v>44414</c:v>
                </c:pt>
                <c:pt idx="67">
                  <c:v>44415</c:v>
                </c:pt>
                <c:pt idx="68">
                  <c:v>44416</c:v>
                </c:pt>
                <c:pt idx="69">
                  <c:v>44417</c:v>
                </c:pt>
                <c:pt idx="70">
                  <c:v>44418</c:v>
                </c:pt>
                <c:pt idx="71">
                  <c:v>44419</c:v>
                </c:pt>
                <c:pt idx="72">
                  <c:v>44420</c:v>
                </c:pt>
                <c:pt idx="73">
                  <c:v>44421</c:v>
                </c:pt>
                <c:pt idx="74">
                  <c:v>44422</c:v>
                </c:pt>
                <c:pt idx="75">
                  <c:v>44423</c:v>
                </c:pt>
                <c:pt idx="76">
                  <c:v>44424</c:v>
                </c:pt>
                <c:pt idx="77">
                  <c:v>44425</c:v>
                </c:pt>
                <c:pt idx="78">
                  <c:v>44426</c:v>
                </c:pt>
                <c:pt idx="79">
                  <c:v>44427</c:v>
                </c:pt>
                <c:pt idx="80">
                  <c:v>44428</c:v>
                </c:pt>
                <c:pt idx="81">
                  <c:v>44429</c:v>
                </c:pt>
                <c:pt idx="82">
                  <c:v>44430</c:v>
                </c:pt>
                <c:pt idx="83">
                  <c:v>44431</c:v>
                </c:pt>
                <c:pt idx="84">
                  <c:v>44432</c:v>
                </c:pt>
                <c:pt idx="85">
                  <c:v>44433</c:v>
                </c:pt>
                <c:pt idx="86">
                  <c:v>44434</c:v>
                </c:pt>
                <c:pt idx="87">
                  <c:v>44435</c:v>
                </c:pt>
                <c:pt idx="88">
                  <c:v>44436</c:v>
                </c:pt>
                <c:pt idx="89">
                  <c:v>44437</c:v>
                </c:pt>
                <c:pt idx="90">
                  <c:v>44438</c:v>
                </c:pt>
                <c:pt idx="91">
                  <c:v>44439</c:v>
                </c:pt>
                <c:pt idx="92">
                  <c:v>44440</c:v>
                </c:pt>
                <c:pt idx="93">
                  <c:v>44441</c:v>
                </c:pt>
                <c:pt idx="94">
                  <c:v>44442</c:v>
                </c:pt>
                <c:pt idx="95">
                  <c:v>44443</c:v>
                </c:pt>
                <c:pt idx="96">
                  <c:v>44444</c:v>
                </c:pt>
                <c:pt idx="97">
                  <c:v>44445</c:v>
                </c:pt>
                <c:pt idx="98">
                  <c:v>44446</c:v>
                </c:pt>
                <c:pt idx="99">
                  <c:v>44447</c:v>
                </c:pt>
                <c:pt idx="100">
                  <c:v>44448</c:v>
                </c:pt>
                <c:pt idx="101">
                  <c:v>44449</c:v>
                </c:pt>
                <c:pt idx="102">
                  <c:v>44450</c:v>
                </c:pt>
                <c:pt idx="103">
                  <c:v>44451</c:v>
                </c:pt>
                <c:pt idx="104">
                  <c:v>44452</c:v>
                </c:pt>
                <c:pt idx="105">
                  <c:v>44453</c:v>
                </c:pt>
                <c:pt idx="106">
                  <c:v>44454</c:v>
                </c:pt>
                <c:pt idx="107">
                  <c:v>44455</c:v>
                </c:pt>
                <c:pt idx="108">
                  <c:v>44456</c:v>
                </c:pt>
                <c:pt idx="109">
                  <c:v>44457</c:v>
                </c:pt>
                <c:pt idx="110">
                  <c:v>44458</c:v>
                </c:pt>
                <c:pt idx="111">
                  <c:v>44459</c:v>
                </c:pt>
                <c:pt idx="112">
                  <c:v>44460</c:v>
                </c:pt>
                <c:pt idx="113">
                  <c:v>44461</c:v>
                </c:pt>
                <c:pt idx="114">
                  <c:v>44462</c:v>
                </c:pt>
                <c:pt idx="115">
                  <c:v>44463</c:v>
                </c:pt>
                <c:pt idx="116">
                  <c:v>44464</c:v>
                </c:pt>
                <c:pt idx="117">
                  <c:v>44465</c:v>
                </c:pt>
                <c:pt idx="118">
                  <c:v>44466</c:v>
                </c:pt>
                <c:pt idx="119">
                  <c:v>44467</c:v>
                </c:pt>
                <c:pt idx="120">
                  <c:v>44468</c:v>
                </c:pt>
                <c:pt idx="121">
                  <c:v>44469</c:v>
                </c:pt>
                <c:pt idx="122">
                  <c:v>44470</c:v>
                </c:pt>
                <c:pt idx="123">
                  <c:v>44471</c:v>
                </c:pt>
                <c:pt idx="124">
                  <c:v>44472</c:v>
                </c:pt>
                <c:pt idx="125">
                  <c:v>44473</c:v>
                </c:pt>
                <c:pt idx="126">
                  <c:v>44474</c:v>
                </c:pt>
                <c:pt idx="127">
                  <c:v>44475</c:v>
                </c:pt>
                <c:pt idx="128">
                  <c:v>44476</c:v>
                </c:pt>
                <c:pt idx="129">
                  <c:v>44477</c:v>
                </c:pt>
                <c:pt idx="130">
                  <c:v>44478</c:v>
                </c:pt>
                <c:pt idx="131">
                  <c:v>44479</c:v>
                </c:pt>
                <c:pt idx="132">
                  <c:v>44480</c:v>
                </c:pt>
                <c:pt idx="133">
                  <c:v>44481</c:v>
                </c:pt>
                <c:pt idx="134">
                  <c:v>44482</c:v>
                </c:pt>
                <c:pt idx="135">
                  <c:v>44483</c:v>
                </c:pt>
                <c:pt idx="136">
                  <c:v>44484</c:v>
                </c:pt>
                <c:pt idx="137">
                  <c:v>44485</c:v>
                </c:pt>
                <c:pt idx="138">
                  <c:v>44486</c:v>
                </c:pt>
                <c:pt idx="139">
                  <c:v>44487</c:v>
                </c:pt>
                <c:pt idx="140">
                  <c:v>44488</c:v>
                </c:pt>
                <c:pt idx="141">
                  <c:v>44489</c:v>
                </c:pt>
                <c:pt idx="142">
                  <c:v>44490</c:v>
                </c:pt>
                <c:pt idx="143">
                  <c:v>44491</c:v>
                </c:pt>
                <c:pt idx="144">
                  <c:v>44492</c:v>
                </c:pt>
                <c:pt idx="145">
                  <c:v>44493</c:v>
                </c:pt>
                <c:pt idx="146">
                  <c:v>44494</c:v>
                </c:pt>
                <c:pt idx="147">
                  <c:v>44495</c:v>
                </c:pt>
                <c:pt idx="148">
                  <c:v>44496</c:v>
                </c:pt>
                <c:pt idx="149">
                  <c:v>44497</c:v>
                </c:pt>
                <c:pt idx="150">
                  <c:v>44498</c:v>
                </c:pt>
                <c:pt idx="151">
                  <c:v>44499</c:v>
                </c:pt>
                <c:pt idx="152">
                  <c:v>44500</c:v>
                </c:pt>
                <c:pt idx="153">
                  <c:v>44501</c:v>
                </c:pt>
                <c:pt idx="154">
                  <c:v>44502</c:v>
                </c:pt>
                <c:pt idx="155">
                  <c:v>44503</c:v>
                </c:pt>
                <c:pt idx="156">
                  <c:v>44504</c:v>
                </c:pt>
                <c:pt idx="157">
                  <c:v>44505</c:v>
                </c:pt>
                <c:pt idx="158">
                  <c:v>44506</c:v>
                </c:pt>
                <c:pt idx="159">
                  <c:v>44507</c:v>
                </c:pt>
                <c:pt idx="160">
                  <c:v>44508</c:v>
                </c:pt>
                <c:pt idx="161">
                  <c:v>44509</c:v>
                </c:pt>
                <c:pt idx="162">
                  <c:v>44510</c:v>
                </c:pt>
                <c:pt idx="163">
                  <c:v>44511</c:v>
                </c:pt>
                <c:pt idx="164">
                  <c:v>44512</c:v>
                </c:pt>
                <c:pt idx="165">
                  <c:v>44513</c:v>
                </c:pt>
                <c:pt idx="166">
                  <c:v>44514</c:v>
                </c:pt>
                <c:pt idx="167">
                  <c:v>44515</c:v>
                </c:pt>
                <c:pt idx="168">
                  <c:v>44516</c:v>
                </c:pt>
                <c:pt idx="169">
                  <c:v>44517</c:v>
                </c:pt>
                <c:pt idx="170">
                  <c:v>44518</c:v>
                </c:pt>
                <c:pt idx="171">
                  <c:v>44519</c:v>
                </c:pt>
                <c:pt idx="172">
                  <c:v>44520</c:v>
                </c:pt>
                <c:pt idx="173">
                  <c:v>44521</c:v>
                </c:pt>
                <c:pt idx="174">
                  <c:v>44522</c:v>
                </c:pt>
                <c:pt idx="175">
                  <c:v>44523</c:v>
                </c:pt>
                <c:pt idx="176">
                  <c:v>44524</c:v>
                </c:pt>
                <c:pt idx="177">
                  <c:v>44525</c:v>
                </c:pt>
                <c:pt idx="178">
                  <c:v>44526</c:v>
                </c:pt>
                <c:pt idx="179">
                  <c:v>44527</c:v>
                </c:pt>
                <c:pt idx="180">
                  <c:v>44528</c:v>
                </c:pt>
                <c:pt idx="181">
                  <c:v>44529</c:v>
                </c:pt>
                <c:pt idx="182">
                  <c:v>44530</c:v>
                </c:pt>
                <c:pt idx="183">
                  <c:v>44531</c:v>
                </c:pt>
                <c:pt idx="184">
                  <c:v>44532</c:v>
                </c:pt>
                <c:pt idx="185">
                  <c:v>44533</c:v>
                </c:pt>
                <c:pt idx="186">
                  <c:v>44534</c:v>
                </c:pt>
                <c:pt idx="187">
                  <c:v>44535</c:v>
                </c:pt>
                <c:pt idx="188">
                  <c:v>44536</c:v>
                </c:pt>
                <c:pt idx="189">
                  <c:v>44537</c:v>
                </c:pt>
                <c:pt idx="190">
                  <c:v>44538</c:v>
                </c:pt>
                <c:pt idx="191">
                  <c:v>44539</c:v>
                </c:pt>
                <c:pt idx="192">
                  <c:v>44540</c:v>
                </c:pt>
                <c:pt idx="193">
                  <c:v>44541</c:v>
                </c:pt>
                <c:pt idx="194">
                  <c:v>44542</c:v>
                </c:pt>
                <c:pt idx="195">
                  <c:v>44543</c:v>
                </c:pt>
                <c:pt idx="196">
                  <c:v>44544</c:v>
                </c:pt>
                <c:pt idx="197">
                  <c:v>44545</c:v>
                </c:pt>
                <c:pt idx="198">
                  <c:v>44546</c:v>
                </c:pt>
                <c:pt idx="199">
                  <c:v>44547</c:v>
                </c:pt>
                <c:pt idx="200">
                  <c:v>44548</c:v>
                </c:pt>
                <c:pt idx="201">
                  <c:v>44549</c:v>
                </c:pt>
                <c:pt idx="202">
                  <c:v>44550</c:v>
                </c:pt>
                <c:pt idx="203">
                  <c:v>44551</c:v>
                </c:pt>
                <c:pt idx="204">
                  <c:v>44552</c:v>
                </c:pt>
                <c:pt idx="205">
                  <c:v>44553</c:v>
                </c:pt>
                <c:pt idx="206">
                  <c:v>44554</c:v>
                </c:pt>
                <c:pt idx="207">
                  <c:v>44555</c:v>
                </c:pt>
                <c:pt idx="208">
                  <c:v>44556</c:v>
                </c:pt>
                <c:pt idx="209">
                  <c:v>44557</c:v>
                </c:pt>
                <c:pt idx="210">
                  <c:v>44558</c:v>
                </c:pt>
                <c:pt idx="211">
                  <c:v>44559</c:v>
                </c:pt>
                <c:pt idx="212">
                  <c:v>44560</c:v>
                </c:pt>
                <c:pt idx="213">
                  <c:v>44561</c:v>
                </c:pt>
                <c:pt idx="214">
                  <c:v>44562</c:v>
                </c:pt>
                <c:pt idx="215">
                  <c:v>44563</c:v>
                </c:pt>
                <c:pt idx="216">
                  <c:v>44564</c:v>
                </c:pt>
                <c:pt idx="217">
                  <c:v>44565</c:v>
                </c:pt>
                <c:pt idx="218">
                  <c:v>44566</c:v>
                </c:pt>
                <c:pt idx="219">
                  <c:v>44567</c:v>
                </c:pt>
                <c:pt idx="220">
                  <c:v>44568</c:v>
                </c:pt>
                <c:pt idx="221">
                  <c:v>44569</c:v>
                </c:pt>
                <c:pt idx="222">
                  <c:v>44570</c:v>
                </c:pt>
                <c:pt idx="223">
                  <c:v>44571</c:v>
                </c:pt>
                <c:pt idx="224">
                  <c:v>44572</c:v>
                </c:pt>
                <c:pt idx="225">
                  <c:v>44573</c:v>
                </c:pt>
                <c:pt idx="226">
                  <c:v>44574</c:v>
                </c:pt>
                <c:pt idx="227">
                  <c:v>44575</c:v>
                </c:pt>
                <c:pt idx="228">
                  <c:v>44576</c:v>
                </c:pt>
                <c:pt idx="229">
                  <c:v>44577</c:v>
                </c:pt>
                <c:pt idx="230">
                  <c:v>44578</c:v>
                </c:pt>
                <c:pt idx="231">
                  <c:v>44579</c:v>
                </c:pt>
                <c:pt idx="232">
                  <c:v>44580</c:v>
                </c:pt>
                <c:pt idx="233">
                  <c:v>44581</c:v>
                </c:pt>
                <c:pt idx="234">
                  <c:v>44582</c:v>
                </c:pt>
                <c:pt idx="235">
                  <c:v>44583</c:v>
                </c:pt>
                <c:pt idx="236">
                  <c:v>44584</c:v>
                </c:pt>
                <c:pt idx="237">
                  <c:v>44585</c:v>
                </c:pt>
                <c:pt idx="238">
                  <c:v>44586</c:v>
                </c:pt>
                <c:pt idx="239">
                  <c:v>44587</c:v>
                </c:pt>
                <c:pt idx="240">
                  <c:v>44588</c:v>
                </c:pt>
                <c:pt idx="241">
                  <c:v>44589</c:v>
                </c:pt>
                <c:pt idx="242">
                  <c:v>44590</c:v>
                </c:pt>
                <c:pt idx="243">
                  <c:v>44591</c:v>
                </c:pt>
                <c:pt idx="244">
                  <c:v>44592</c:v>
                </c:pt>
                <c:pt idx="245">
                  <c:v>44593</c:v>
                </c:pt>
                <c:pt idx="246">
                  <c:v>44594</c:v>
                </c:pt>
                <c:pt idx="247">
                  <c:v>44595</c:v>
                </c:pt>
                <c:pt idx="248">
                  <c:v>44596</c:v>
                </c:pt>
                <c:pt idx="249">
                  <c:v>44597</c:v>
                </c:pt>
                <c:pt idx="250">
                  <c:v>44598</c:v>
                </c:pt>
                <c:pt idx="251">
                  <c:v>44599</c:v>
                </c:pt>
                <c:pt idx="252">
                  <c:v>44600</c:v>
                </c:pt>
                <c:pt idx="253">
                  <c:v>44601</c:v>
                </c:pt>
                <c:pt idx="254">
                  <c:v>44602</c:v>
                </c:pt>
                <c:pt idx="255">
                  <c:v>44603</c:v>
                </c:pt>
                <c:pt idx="256">
                  <c:v>44604</c:v>
                </c:pt>
                <c:pt idx="257">
                  <c:v>44605</c:v>
                </c:pt>
                <c:pt idx="258">
                  <c:v>44606</c:v>
                </c:pt>
                <c:pt idx="259">
                  <c:v>44607</c:v>
                </c:pt>
                <c:pt idx="260">
                  <c:v>44608</c:v>
                </c:pt>
                <c:pt idx="261">
                  <c:v>44609</c:v>
                </c:pt>
                <c:pt idx="262">
                  <c:v>44610</c:v>
                </c:pt>
                <c:pt idx="263">
                  <c:v>44611</c:v>
                </c:pt>
                <c:pt idx="264">
                  <c:v>44612</c:v>
                </c:pt>
                <c:pt idx="265">
                  <c:v>44613</c:v>
                </c:pt>
                <c:pt idx="266">
                  <c:v>44614</c:v>
                </c:pt>
                <c:pt idx="267">
                  <c:v>44615</c:v>
                </c:pt>
                <c:pt idx="268">
                  <c:v>44616</c:v>
                </c:pt>
                <c:pt idx="269">
                  <c:v>44617</c:v>
                </c:pt>
                <c:pt idx="270">
                  <c:v>44618</c:v>
                </c:pt>
                <c:pt idx="271">
                  <c:v>44619</c:v>
                </c:pt>
                <c:pt idx="272">
                  <c:v>44620</c:v>
                </c:pt>
                <c:pt idx="273">
                  <c:v>44621</c:v>
                </c:pt>
                <c:pt idx="274">
                  <c:v>44622</c:v>
                </c:pt>
                <c:pt idx="275">
                  <c:v>44623</c:v>
                </c:pt>
                <c:pt idx="276">
                  <c:v>44624</c:v>
                </c:pt>
                <c:pt idx="277">
                  <c:v>44625</c:v>
                </c:pt>
                <c:pt idx="278">
                  <c:v>44626</c:v>
                </c:pt>
                <c:pt idx="279">
                  <c:v>44627</c:v>
                </c:pt>
                <c:pt idx="280">
                  <c:v>44628</c:v>
                </c:pt>
                <c:pt idx="281">
                  <c:v>44629</c:v>
                </c:pt>
                <c:pt idx="282">
                  <c:v>44630</c:v>
                </c:pt>
                <c:pt idx="283">
                  <c:v>44631</c:v>
                </c:pt>
                <c:pt idx="284">
                  <c:v>44632</c:v>
                </c:pt>
                <c:pt idx="285">
                  <c:v>44633</c:v>
                </c:pt>
                <c:pt idx="286">
                  <c:v>44634</c:v>
                </c:pt>
                <c:pt idx="287">
                  <c:v>44635</c:v>
                </c:pt>
                <c:pt idx="288">
                  <c:v>44636</c:v>
                </c:pt>
                <c:pt idx="289">
                  <c:v>44637</c:v>
                </c:pt>
                <c:pt idx="290">
                  <c:v>44638</c:v>
                </c:pt>
                <c:pt idx="291">
                  <c:v>44639</c:v>
                </c:pt>
                <c:pt idx="292">
                  <c:v>44640</c:v>
                </c:pt>
                <c:pt idx="293">
                  <c:v>44641</c:v>
                </c:pt>
                <c:pt idx="294">
                  <c:v>44642</c:v>
                </c:pt>
                <c:pt idx="295">
                  <c:v>44643</c:v>
                </c:pt>
                <c:pt idx="296">
                  <c:v>44644</c:v>
                </c:pt>
                <c:pt idx="297">
                  <c:v>44645</c:v>
                </c:pt>
                <c:pt idx="298">
                  <c:v>44646</c:v>
                </c:pt>
                <c:pt idx="299">
                  <c:v>44647</c:v>
                </c:pt>
                <c:pt idx="300">
                  <c:v>44648</c:v>
                </c:pt>
                <c:pt idx="301">
                  <c:v>44649</c:v>
                </c:pt>
                <c:pt idx="302">
                  <c:v>44650</c:v>
                </c:pt>
                <c:pt idx="303">
                  <c:v>44651</c:v>
                </c:pt>
                <c:pt idx="304">
                  <c:v>44652</c:v>
                </c:pt>
              </c:numCache>
            </c:numRef>
          </c:cat>
          <c:val>
            <c:numRef>
              <c:f>Sheet2!$I$94:$I$398</c:f>
              <c:numCache>
                <c:formatCode>_ * #,##0_ ;_ * \-#,##0_ ;_ * "-"??_ ;_ @_ </c:formatCode>
                <c:ptCount val="305"/>
                <c:pt idx="0">
                  <c:v>3535</c:v>
                </c:pt>
                <c:pt idx="1">
                  <c:v>3629</c:v>
                </c:pt>
                <c:pt idx="2">
                  <c:v>3629</c:v>
                </c:pt>
                <c:pt idx="3">
                  <c:v>3677</c:v>
                </c:pt>
                <c:pt idx="4">
                  <c:v>3594</c:v>
                </c:pt>
                <c:pt idx="5">
                  <c:v>3516</c:v>
                </c:pt>
                <c:pt idx="6">
                  <c:v>3783</c:v>
                </c:pt>
                <c:pt idx="7">
                  <c:v>3904</c:v>
                </c:pt>
                <c:pt idx="8">
                  <c:v>3935</c:v>
                </c:pt>
                <c:pt idx="9">
                  <c:v>3906</c:v>
                </c:pt>
                <c:pt idx="10">
                  <c:v>3814</c:v>
                </c:pt>
                <c:pt idx="11">
                  <c:v>3770</c:v>
                </c:pt>
                <c:pt idx="12">
                  <c:v>3587</c:v>
                </c:pt>
                <c:pt idx="13">
                  <c:v>3789</c:v>
                </c:pt>
                <c:pt idx="14">
                  <c:v>3799</c:v>
                </c:pt>
                <c:pt idx="15">
                  <c:v>3773</c:v>
                </c:pt>
                <c:pt idx="16">
                  <c:v>3776</c:v>
                </c:pt>
                <c:pt idx="17">
                  <c:v>3766</c:v>
                </c:pt>
                <c:pt idx="18">
                  <c:v>3682</c:v>
                </c:pt>
                <c:pt idx="19">
                  <c:v>3585</c:v>
                </c:pt>
                <c:pt idx="20">
                  <c:v>3867</c:v>
                </c:pt>
                <c:pt idx="21">
                  <c:v>4047</c:v>
                </c:pt>
                <c:pt idx="22">
                  <c:v>4116</c:v>
                </c:pt>
                <c:pt idx="23">
                  <c:v>4046</c:v>
                </c:pt>
                <c:pt idx="24">
                  <c:v>4077</c:v>
                </c:pt>
                <c:pt idx="25">
                  <c:v>4049</c:v>
                </c:pt>
                <c:pt idx="26">
                  <c:v>3926</c:v>
                </c:pt>
                <c:pt idx="27">
                  <c:v>4134</c:v>
                </c:pt>
                <c:pt idx="28">
                  <c:v>4302</c:v>
                </c:pt>
                <c:pt idx="29">
                  <c:v>4384</c:v>
                </c:pt>
                <c:pt idx="30">
                  <c:v>4321</c:v>
                </c:pt>
                <c:pt idx="31">
                  <c:v>4288</c:v>
                </c:pt>
                <c:pt idx="32">
                  <c:v>4220</c:v>
                </c:pt>
                <c:pt idx="33">
                  <c:v>4191</c:v>
                </c:pt>
                <c:pt idx="34">
                  <c:v>4337</c:v>
                </c:pt>
                <c:pt idx="35">
                  <c:v>4470</c:v>
                </c:pt>
                <c:pt idx="36">
                  <c:v>4508</c:v>
                </c:pt>
                <c:pt idx="37">
                  <c:v>4360</c:v>
                </c:pt>
                <c:pt idx="38">
                  <c:v>4310</c:v>
                </c:pt>
                <c:pt idx="39">
                  <c:v>4278</c:v>
                </c:pt>
                <c:pt idx="40">
                  <c:v>4036</c:v>
                </c:pt>
                <c:pt idx="41">
                  <c:v>4038</c:v>
                </c:pt>
                <c:pt idx="42">
                  <c:v>4034</c:v>
                </c:pt>
                <c:pt idx="43">
                  <c:v>3977</c:v>
                </c:pt>
                <c:pt idx="44">
                  <c:v>4024</c:v>
                </c:pt>
                <c:pt idx="45">
                  <c:v>4198</c:v>
                </c:pt>
                <c:pt idx="46">
                  <c:v>4238</c:v>
                </c:pt>
                <c:pt idx="47">
                  <c:v>3933</c:v>
                </c:pt>
                <c:pt idx="48">
                  <c:v>3851</c:v>
                </c:pt>
                <c:pt idx="49">
                  <c:v>3783</c:v>
                </c:pt>
                <c:pt idx="50">
                  <c:v>3742</c:v>
                </c:pt>
                <c:pt idx="51">
                  <c:v>3805</c:v>
                </c:pt>
                <c:pt idx="52">
                  <c:v>3888</c:v>
                </c:pt>
                <c:pt idx="53">
                  <c:v>3897</c:v>
                </c:pt>
                <c:pt idx="54">
                  <c:v>3870</c:v>
                </c:pt>
                <c:pt idx="55">
                  <c:v>4012</c:v>
                </c:pt>
                <c:pt idx="56">
                  <c:v>3959</c:v>
                </c:pt>
                <c:pt idx="57">
                  <c:v>3746</c:v>
                </c:pt>
                <c:pt idx="58">
                  <c:v>3725</c:v>
                </c:pt>
                <c:pt idx="59">
                  <c:v>3729</c:v>
                </c:pt>
                <c:pt idx="60">
                  <c:v>3741</c:v>
                </c:pt>
                <c:pt idx="61">
                  <c:v>3622</c:v>
                </c:pt>
                <c:pt idx="62">
                  <c:v>3852</c:v>
                </c:pt>
                <c:pt idx="63">
                  <c:v>3959</c:v>
                </c:pt>
                <c:pt idx="64">
                  <c:v>4040</c:v>
                </c:pt>
                <c:pt idx="65">
                  <c:v>4156</c:v>
                </c:pt>
                <c:pt idx="66">
                  <c:v>4213</c:v>
                </c:pt>
                <c:pt idx="67">
                  <c:v>4239</c:v>
                </c:pt>
                <c:pt idx="68">
                  <c:v>4095</c:v>
                </c:pt>
                <c:pt idx="69">
                  <c:v>4246</c:v>
                </c:pt>
                <c:pt idx="70">
                  <c:v>4326</c:v>
                </c:pt>
                <c:pt idx="71">
                  <c:v>4377</c:v>
                </c:pt>
                <c:pt idx="72">
                  <c:v>4428</c:v>
                </c:pt>
                <c:pt idx="73">
                  <c:v>4455</c:v>
                </c:pt>
                <c:pt idx="74">
                  <c:v>4441</c:v>
                </c:pt>
                <c:pt idx="75">
                  <c:v>4261</c:v>
                </c:pt>
                <c:pt idx="76">
                  <c:v>4372</c:v>
                </c:pt>
                <c:pt idx="77">
                  <c:v>4425</c:v>
                </c:pt>
                <c:pt idx="78">
                  <c:v>4384</c:v>
                </c:pt>
                <c:pt idx="79">
                  <c:v>4364</c:v>
                </c:pt>
                <c:pt idx="80">
                  <c:v>4205</c:v>
                </c:pt>
                <c:pt idx="81">
                  <c:v>4014</c:v>
                </c:pt>
                <c:pt idx="82">
                  <c:v>3733</c:v>
                </c:pt>
                <c:pt idx="83">
                  <c:v>3988</c:v>
                </c:pt>
                <c:pt idx="84">
                  <c:v>4208</c:v>
                </c:pt>
                <c:pt idx="85">
                  <c:v>4292</c:v>
                </c:pt>
                <c:pt idx="86">
                  <c:v>4294</c:v>
                </c:pt>
                <c:pt idx="87">
                  <c:v>4272</c:v>
                </c:pt>
                <c:pt idx="88">
                  <c:v>4218</c:v>
                </c:pt>
                <c:pt idx="89">
                  <c:v>4032</c:v>
                </c:pt>
                <c:pt idx="90">
                  <c:v>4027</c:v>
                </c:pt>
                <c:pt idx="91">
                  <c:v>3981</c:v>
                </c:pt>
                <c:pt idx="92">
                  <c:v>3949</c:v>
                </c:pt>
                <c:pt idx="93">
                  <c:v>3985</c:v>
                </c:pt>
                <c:pt idx="94">
                  <c:v>3948</c:v>
                </c:pt>
                <c:pt idx="95">
                  <c:v>3900</c:v>
                </c:pt>
                <c:pt idx="96">
                  <c:v>3795</c:v>
                </c:pt>
                <c:pt idx="97">
                  <c:v>3954</c:v>
                </c:pt>
                <c:pt idx="98">
                  <c:v>3886</c:v>
                </c:pt>
                <c:pt idx="99">
                  <c:v>3914</c:v>
                </c:pt>
                <c:pt idx="100">
                  <c:v>3977</c:v>
                </c:pt>
                <c:pt idx="101">
                  <c:v>3866</c:v>
                </c:pt>
                <c:pt idx="102">
                  <c:v>3686</c:v>
                </c:pt>
                <c:pt idx="103">
                  <c:v>3566</c:v>
                </c:pt>
                <c:pt idx="104">
                  <c:v>3712</c:v>
                </c:pt>
                <c:pt idx="105">
                  <c:v>3673</c:v>
                </c:pt>
                <c:pt idx="106">
                  <c:v>3732</c:v>
                </c:pt>
                <c:pt idx="107">
                  <c:v>3744</c:v>
                </c:pt>
                <c:pt idx="108">
                  <c:v>3757</c:v>
                </c:pt>
                <c:pt idx="109">
                  <c:v>3859</c:v>
                </c:pt>
                <c:pt idx="110">
                  <c:v>3854</c:v>
                </c:pt>
                <c:pt idx="111">
                  <c:v>3995</c:v>
                </c:pt>
                <c:pt idx="112">
                  <c:v>3931</c:v>
                </c:pt>
                <c:pt idx="113">
                  <c:v>3795</c:v>
                </c:pt>
                <c:pt idx="114">
                  <c:v>3729</c:v>
                </c:pt>
                <c:pt idx="115">
                  <c:v>3726</c:v>
                </c:pt>
                <c:pt idx="116">
                  <c:v>3792</c:v>
                </c:pt>
                <c:pt idx="117">
                  <c:v>3649</c:v>
                </c:pt>
                <c:pt idx="118">
                  <c:v>3719</c:v>
                </c:pt>
                <c:pt idx="119">
                  <c:v>3755</c:v>
                </c:pt>
                <c:pt idx="120">
                  <c:v>3792</c:v>
                </c:pt>
                <c:pt idx="121">
                  <c:v>3853</c:v>
                </c:pt>
                <c:pt idx="122">
                  <c:v>4150</c:v>
                </c:pt>
                <c:pt idx="123">
                  <c:v>3649</c:v>
                </c:pt>
                <c:pt idx="124">
                  <c:v>3636</c:v>
                </c:pt>
                <c:pt idx="125">
                  <c:v>3825</c:v>
                </c:pt>
                <c:pt idx="126">
                  <c:v>3830</c:v>
                </c:pt>
                <c:pt idx="127">
                  <c:v>3845</c:v>
                </c:pt>
                <c:pt idx="128">
                  <c:v>3887</c:v>
                </c:pt>
                <c:pt idx="129">
                  <c:v>3900</c:v>
                </c:pt>
                <c:pt idx="130">
                  <c:v>3828</c:v>
                </c:pt>
                <c:pt idx="131">
                  <c:v>3772</c:v>
                </c:pt>
                <c:pt idx="132">
                  <c:v>3890</c:v>
                </c:pt>
                <c:pt idx="133">
                  <c:v>3918</c:v>
                </c:pt>
                <c:pt idx="134">
                  <c:v>3905</c:v>
                </c:pt>
                <c:pt idx="135">
                  <c:v>3838</c:v>
                </c:pt>
                <c:pt idx="136">
                  <c:v>3683</c:v>
                </c:pt>
                <c:pt idx="137">
                  <c:v>3712</c:v>
                </c:pt>
                <c:pt idx="138">
                  <c:v>3562</c:v>
                </c:pt>
                <c:pt idx="139">
                  <c:v>3536</c:v>
                </c:pt>
                <c:pt idx="140">
                  <c:v>3581</c:v>
                </c:pt>
                <c:pt idx="141">
                  <c:v>3640</c:v>
                </c:pt>
                <c:pt idx="142">
                  <c:v>3640</c:v>
                </c:pt>
                <c:pt idx="143">
                  <c:v>3688</c:v>
                </c:pt>
                <c:pt idx="144">
                  <c:v>3623</c:v>
                </c:pt>
                <c:pt idx="145">
                  <c:v>3426</c:v>
                </c:pt>
                <c:pt idx="146">
                  <c:v>3529</c:v>
                </c:pt>
                <c:pt idx="147">
                  <c:v>3605</c:v>
                </c:pt>
                <c:pt idx="148">
                  <c:v>3599</c:v>
                </c:pt>
                <c:pt idx="149">
                  <c:v>3581</c:v>
                </c:pt>
                <c:pt idx="150">
                  <c:v>3555</c:v>
                </c:pt>
                <c:pt idx="151">
                  <c:v>3493</c:v>
                </c:pt>
                <c:pt idx="152">
                  <c:v>3381</c:v>
                </c:pt>
                <c:pt idx="153">
                  <c:v>3425</c:v>
                </c:pt>
                <c:pt idx="154">
                  <c:v>3458</c:v>
                </c:pt>
                <c:pt idx="155">
                  <c:v>3393</c:v>
                </c:pt>
                <c:pt idx="156">
                  <c:v>3071</c:v>
                </c:pt>
                <c:pt idx="157">
                  <c:v>2947</c:v>
                </c:pt>
                <c:pt idx="158">
                  <c:v>3070</c:v>
                </c:pt>
                <c:pt idx="159">
                  <c:v>3092</c:v>
                </c:pt>
                <c:pt idx="160">
                  <c:v>3261</c:v>
                </c:pt>
                <c:pt idx="161">
                  <c:v>3371</c:v>
                </c:pt>
                <c:pt idx="162">
                  <c:v>3402</c:v>
                </c:pt>
                <c:pt idx="163">
                  <c:v>3359</c:v>
                </c:pt>
                <c:pt idx="164">
                  <c:v>3407</c:v>
                </c:pt>
                <c:pt idx="165">
                  <c:v>3409</c:v>
                </c:pt>
                <c:pt idx="166">
                  <c:v>3324</c:v>
                </c:pt>
                <c:pt idx="167">
                  <c:v>3433</c:v>
                </c:pt>
                <c:pt idx="168">
                  <c:v>3467</c:v>
                </c:pt>
                <c:pt idx="169">
                  <c:v>3458</c:v>
                </c:pt>
                <c:pt idx="170">
                  <c:v>3411</c:v>
                </c:pt>
                <c:pt idx="171">
                  <c:v>3328</c:v>
                </c:pt>
                <c:pt idx="172">
                  <c:v>3341</c:v>
                </c:pt>
                <c:pt idx="173">
                  <c:v>3208</c:v>
                </c:pt>
                <c:pt idx="174">
                  <c:v>3355</c:v>
                </c:pt>
                <c:pt idx="175">
                  <c:v>3434</c:v>
                </c:pt>
                <c:pt idx="176">
                  <c:v>3465</c:v>
                </c:pt>
                <c:pt idx="177">
                  <c:v>3473</c:v>
                </c:pt>
                <c:pt idx="178">
                  <c:v>3486</c:v>
                </c:pt>
                <c:pt idx="179">
                  <c:v>3458</c:v>
                </c:pt>
                <c:pt idx="180">
                  <c:v>3310</c:v>
                </c:pt>
                <c:pt idx="181">
                  <c:v>3391</c:v>
                </c:pt>
                <c:pt idx="182">
                  <c:v>3418</c:v>
                </c:pt>
                <c:pt idx="183">
                  <c:v>3354</c:v>
                </c:pt>
                <c:pt idx="184">
                  <c:v>3281</c:v>
                </c:pt>
                <c:pt idx="185">
                  <c:v>3338</c:v>
                </c:pt>
                <c:pt idx="186">
                  <c:v>3356</c:v>
                </c:pt>
                <c:pt idx="187">
                  <c:v>3299</c:v>
                </c:pt>
                <c:pt idx="188">
                  <c:v>3423</c:v>
                </c:pt>
                <c:pt idx="189">
                  <c:v>3505</c:v>
                </c:pt>
                <c:pt idx="190">
                  <c:v>3547</c:v>
                </c:pt>
                <c:pt idx="191">
                  <c:v>3570</c:v>
                </c:pt>
                <c:pt idx="192">
                  <c:v>3574</c:v>
                </c:pt>
                <c:pt idx="193">
                  <c:v>3555</c:v>
                </c:pt>
                <c:pt idx="194">
                  <c:v>3415</c:v>
                </c:pt>
                <c:pt idx="195">
                  <c:v>3532</c:v>
                </c:pt>
                <c:pt idx="196">
                  <c:v>3591</c:v>
                </c:pt>
                <c:pt idx="197">
                  <c:v>3602</c:v>
                </c:pt>
                <c:pt idx="198">
                  <c:v>3630</c:v>
                </c:pt>
                <c:pt idx="199">
                  <c:v>3648</c:v>
                </c:pt>
                <c:pt idx="200">
                  <c:v>3629</c:v>
                </c:pt>
                <c:pt idx="201">
                  <c:v>3481</c:v>
                </c:pt>
                <c:pt idx="202">
                  <c:v>3634</c:v>
                </c:pt>
                <c:pt idx="203">
                  <c:v>3714</c:v>
                </c:pt>
                <c:pt idx="204">
                  <c:v>3736</c:v>
                </c:pt>
                <c:pt idx="205">
                  <c:v>3762</c:v>
                </c:pt>
                <c:pt idx="206">
                  <c:v>3788</c:v>
                </c:pt>
                <c:pt idx="207">
                  <c:v>3721</c:v>
                </c:pt>
                <c:pt idx="208">
                  <c:v>3579</c:v>
                </c:pt>
                <c:pt idx="209">
                  <c:v>3665</c:v>
                </c:pt>
                <c:pt idx="210">
                  <c:v>3592</c:v>
                </c:pt>
                <c:pt idx="211">
                  <c:v>3553</c:v>
                </c:pt>
                <c:pt idx="212">
                  <c:v>3623</c:v>
                </c:pt>
                <c:pt idx="213">
                  <c:v>3655</c:v>
                </c:pt>
                <c:pt idx="214">
                  <c:v>3589</c:v>
                </c:pt>
                <c:pt idx="215">
                  <c:v>3483</c:v>
                </c:pt>
                <c:pt idx="216">
                  <c:v>3665</c:v>
                </c:pt>
                <c:pt idx="217">
                  <c:v>3726</c:v>
                </c:pt>
                <c:pt idx="218">
                  <c:v>3656</c:v>
                </c:pt>
                <c:pt idx="219">
                  <c:v>3581</c:v>
                </c:pt>
                <c:pt idx="220">
                  <c:v>3592</c:v>
                </c:pt>
                <c:pt idx="221">
                  <c:v>3454</c:v>
                </c:pt>
                <c:pt idx="222">
                  <c:v>3359</c:v>
                </c:pt>
                <c:pt idx="223">
                  <c:v>3513</c:v>
                </c:pt>
                <c:pt idx="224">
                  <c:v>3565</c:v>
                </c:pt>
                <c:pt idx="225">
                  <c:v>3564</c:v>
                </c:pt>
                <c:pt idx="226">
                  <c:v>3574</c:v>
                </c:pt>
                <c:pt idx="227">
                  <c:v>3474</c:v>
                </c:pt>
                <c:pt idx="228">
                  <c:v>3443</c:v>
                </c:pt>
                <c:pt idx="229">
                  <c:v>3407</c:v>
                </c:pt>
                <c:pt idx="230">
                  <c:v>3624</c:v>
                </c:pt>
                <c:pt idx="231">
                  <c:v>3713</c:v>
                </c:pt>
                <c:pt idx="232">
                  <c:v>3755</c:v>
                </c:pt>
                <c:pt idx="233">
                  <c:v>3789</c:v>
                </c:pt>
                <c:pt idx="234">
                  <c:v>3812</c:v>
                </c:pt>
                <c:pt idx="235">
                  <c:v>3686</c:v>
                </c:pt>
                <c:pt idx="236">
                  <c:v>3537</c:v>
                </c:pt>
                <c:pt idx="237">
                  <c:v>3734</c:v>
                </c:pt>
                <c:pt idx="238">
                  <c:v>3794</c:v>
                </c:pt>
                <c:pt idx="239">
                  <c:v>3619</c:v>
                </c:pt>
                <c:pt idx="240">
                  <c:v>3739</c:v>
                </c:pt>
                <c:pt idx="241">
                  <c:v>3834</c:v>
                </c:pt>
                <c:pt idx="242">
                  <c:v>3817</c:v>
                </c:pt>
                <c:pt idx="243">
                  <c:v>3723</c:v>
                </c:pt>
                <c:pt idx="244">
                  <c:v>3855</c:v>
                </c:pt>
                <c:pt idx="245">
                  <c:v>3877</c:v>
                </c:pt>
                <c:pt idx="246">
                  <c:v>3904</c:v>
                </c:pt>
                <c:pt idx="247" formatCode="General">
                  <c:v>3837</c:v>
                </c:pt>
                <c:pt idx="248" formatCode="General">
                  <c:v>3827</c:v>
                </c:pt>
                <c:pt idx="249" formatCode="General">
                  <c:v>3860</c:v>
                </c:pt>
                <c:pt idx="250" formatCode="General">
                  <c:v>3748</c:v>
                </c:pt>
                <c:pt idx="251" formatCode="General">
                  <c:v>3875</c:v>
                </c:pt>
                <c:pt idx="252" formatCode="General">
                  <c:v>3936</c:v>
                </c:pt>
                <c:pt idx="253" formatCode="General">
                  <c:v>3900</c:v>
                </c:pt>
                <c:pt idx="254" formatCode="General">
                  <c:v>3890</c:v>
                </c:pt>
                <c:pt idx="255" formatCode="General">
                  <c:v>3893</c:v>
                </c:pt>
                <c:pt idx="256" formatCode="General">
                  <c:v>3866</c:v>
                </c:pt>
                <c:pt idx="257" formatCode="General">
                  <c:v>3765</c:v>
                </c:pt>
                <c:pt idx="258" formatCode="General">
                  <c:v>3875</c:v>
                </c:pt>
                <c:pt idx="259" formatCode="General">
                  <c:v>3922</c:v>
                </c:pt>
                <c:pt idx="260" formatCode="General">
                  <c:v>3953</c:v>
                </c:pt>
                <c:pt idx="261" formatCode="General">
                  <c:v>3945</c:v>
                </c:pt>
                <c:pt idx="262" formatCode="General">
                  <c:v>3975</c:v>
                </c:pt>
                <c:pt idx="263" formatCode="General">
                  <c:v>3948</c:v>
                </c:pt>
                <c:pt idx="264" formatCode="General">
                  <c:v>3802</c:v>
                </c:pt>
                <c:pt idx="265" formatCode="General">
                  <c:v>3936</c:v>
                </c:pt>
                <c:pt idx="266" formatCode="General">
                  <c:v>4003</c:v>
                </c:pt>
                <c:pt idx="267" formatCode="General">
                  <c:v>3997</c:v>
                </c:pt>
                <c:pt idx="268" formatCode="General">
                  <c:v>4041</c:v>
                </c:pt>
                <c:pt idx="269" formatCode="General">
                  <c:v>4042</c:v>
                </c:pt>
                <c:pt idx="270" formatCode="General">
                  <c:v>3961</c:v>
                </c:pt>
                <c:pt idx="271" formatCode="General">
                  <c:v>3869</c:v>
                </c:pt>
                <c:pt idx="272" formatCode="General">
                  <c:v>4003</c:v>
                </c:pt>
                <c:pt idx="273" formatCode="General">
                  <c:v>4008</c:v>
                </c:pt>
                <c:pt idx="274" formatCode="General">
                  <c:v>4014</c:v>
                </c:pt>
                <c:pt idx="275" formatCode="General">
                  <c:v>4051</c:v>
                </c:pt>
                <c:pt idx="276" formatCode="General">
                  <c:v>4080</c:v>
                </c:pt>
                <c:pt idx="277" formatCode="General">
                  <c:v>4072</c:v>
                </c:pt>
                <c:pt idx="278" formatCode="General">
                  <c:v>3955</c:v>
                </c:pt>
                <c:pt idx="279" formatCode="General">
                  <c:v>4056</c:v>
                </c:pt>
                <c:pt idx="280" formatCode="General">
                  <c:v>4105</c:v>
                </c:pt>
                <c:pt idx="281" formatCode="General">
                  <c:v>4118</c:v>
                </c:pt>
                <c:pt idx="282" formatCode="General">
                  <c:v>4133</c:v>
                </c:pt>
                <c:pt idx="283" formatCode="General">
                  <c:v>4174</c:v>
                </c:pt>
                <c:pt idx="284" formatCode="General">
                  <c:v>4151</c:v>
                </c:pt>
                <c:pt idx="285" formatCode="General">
                  <c:v>4053</c:v>
                </c:pt>
                <c:pt idx="286" formatCode="General">
                  <c:v>4220</c:v>
                </c:pt>
                <c:pt idx="287" formatCode="General">
                  <c:v>4299</c:v>
                </c:pt>
                <c:pt idx="288" formatCode="General">
                  <c:v>4353</c:v>
                </c:pt>
                <c:pt idx="289" formatCode="General">
                  <c:v>4358</c:v>
                </c:pt>
                <c:pt idx="290" formatCode="General">
                  <c:v>4046</c:v>
                </c:pt>
                <c:pt idx="291" formatCode="General">
                  <c:v>4100</c:v>
                </c:pt>
                <c:pt idx="292" formatCode="General">
                  <c:v>4152</c:v>
                </c:pt>
                <c:pt idx="293" formatCode="General">
                  <c:v>4320</c:v>
                </c:pt>
                <c:pt idx="294" formatCode="General">
                  <c:v>4338</c:v>
                </c:pt>
                <c:pt idx="295" formatCode="General">
                  <c:v>4344</c:v>
                </c:pt>
                <c:pt idx="296" formatCode="General">
                  <c:v>4329</c:v>
                </c:pt>
                <c:pt idx="297" formatCode="General">
                  <c:v>4060</c:v>
                </c:pt>
                <c:pt idx="298" formatCode="General">
                  <c:v>4270</c:v>
                </c:pt>
                <c:pt idx="299" formatCode="General">
                  <c:v>4192</c:v>
                </c:pt>
                <c:pt idx="300" formatCode="General">
                  <c:v>4330</c:v>
                </c:pt>
                <c:pt idx="301" formatCode="General">
                  <c:v>4430</c:v>
                </c:pt>
                <c:pt idx="302" formatCode="General">
                  <c:v>4437</c:v>
                </c:pt>
                <c:pt idx="303" formatCode="General">
                  <c:v>4463</c:v>
                </c:pt>
                <c:pt idx="304" formatCode="General">
                  <c:v>4440</c:v>
                </c:pt>
              </c:numCache>
            </c:numRef>
          </c:val>
          <c:smooth val="1"/>
          <c:extLst>
            <c:ext xmlns:c16="http://schemas.microsoft.com/office/drawing/2014/chart" uri="{C3380CC4-5D6E-409C-BE32-E72D297353CC}">
              <c16:uniqueId val="{00000001-2847-41D1-81BF-82EDDFD7BFF5}"/>
            </c:ext>
          </c:extLst>
        </c:ser>
        <c:ser>
          <c:idx val="1"/>
          <c:order val="1"/>
          <c:tx>
            <c:strRef>
              <c:f>Sheet2!$J$1</c:f>
              <c:strCache>
                <c:ptCount val="1"/>
                <c:pt idx="0">
                  <c:v>7 day moving average  (MU)</c:v>
                </c:pt>
              </c:strCache>
            </c:strRef>
          </c:tx>
          <c:marker>
            <c:symbol val="none"/>
          </c:marker>
          <c:cat>
            <c:numRef>
              <c:f>Sheet2!$H$94:$H$398</c:f>
              <c:numCache>
                <c:formatCode>d\-mmm</c:formatCode>
                <c:ptCount val="305"/>
                <c:pt idx="0">
                  <c:v>44348</c:v>
                </c:pt>
                <c:pt idx="1">
                  <c:v>44349</c:v>
                </c:pt>
                <c:pt idx="2">
                  <c:v>44350</c:v>
                </c:pt>
                <c:pt idx="3">
                  <c:v>44351</c:v>
                </c:pt>
                <c:pt idx="4">
                  <c:v>44352</c:v>
                </c:pt>
                <c:pt idx="5">
                  <c:v>44353</c:v>
                </c:pt>
                <c:pt idx="6">
                  <c:v>44354</c:v>
                </c:pt>
                <c:pt idx="7">
                  <c:v>44355</c:v>
                </c:pt>
                <c:pt idx="8">
                  <c:v>44356</c:v>
                </c:pt>
                <c:pt idx="9">
                  <c:v>44357</c:v>
                </c:pt>
                <c:pt idx="10">
                  <c:v>44358</c:v>
                </c:pt>
                <c:pt idx="11">
                  <c:v>44359</c:v>
                </c:pt>
                <c:pt idx="12">
                  <c:v>44360</c:v>
                </c:pt>
                <c:pt idx="13">
                  <c:v>44361</c:v>
                </c:pt>
                <c:pt idx="14">
                  <c:v>44362</c:v>
                </c:pt>
                <c:pt idx="15">
                  <c:v>44363</c:v>
                </c:pt>
                <c:pt idx="16">
                  <c:v>44364</c:v>
                </c:pt>
                <c:pt idx="17">
                  <c:v>44365</c:v>
                </c:pt>
                <c:pt idx="18">
                  <c:v>44366</c:v>
                </c:pt>
                <c:pt idx="19">
                  <c:v>44367</c:v>
                </c:pt>
                <c:pt idx="20">
                  <c:v>44368</c:v>
                </c:pt>
                <c:pt idx="21">
                  <c:v>44369</c:v>
                </c:pt>
                <c:pt idx="22">
                  <c:v>44370</c:v>
                </c:pt>
                <c:pt idx="23">
                  <c:v>44371</c:v>
                </c:pt>
                <c:pt idx="24">
                  <c:v>44372</c:v>
                </c:pt>
                <c:pt idx="25">
                  <c:v>44373</c:v>
                </c:pt>
                <c:pt idx="26">
                  <c:v>44374</c:v>
                </c:pt>
                <c:pt idx="27">
                  <c:v>44375</c:v>
                </c:pt>
                <c:pt idx="28">
                  <c:v>44376</c:v>
                </c:pt>
                <c:pt idx="29">
                  <c:v>44377</c:v>
                </c:pt>
                <c:pt idx="30">
                  <c:v>44378</c:v>
                </c:pt>
                <c:pt idx="31">
                  <c:v>44379</c:v>
                </c:pt>
                <c:pt idx="32">
                  <c:v>44380</c:v>
                </c:pt>
                <c:pt idx="33">
                  <c:v>44381</c:v>
                </c:pt>
                <c:pt idx="34">
                  <c:v>44382</c:v>
                </c:pt>
                <c:pt idx="35">
                  <c:v>44383</c:v>
                </c:pt>
                <c:pt idx="36">
                  <c:v>44384</c:v>
                </c:pt>
                <c:pt idx="37">
                  <c:v>44385</c:v>
                </c:pt>
                <c:pt idx="38">
                  <c:v>44386</c:v>
                </c:pt>
                <c:pt idx="39">
                  <c:v>44387</c:v>
                </c:pt>
                <c:pt idx="40">
                  <c:v>44388</c:v>
                </c:pt>
                <c:pt idx="41">
                  <c:v>44389</c:v>
                </c:pt>
                <c:pt idx="42">
                  <c:v>44390</c:v>
                </c:pt>
                <c:pt idx="43">
                  <c:v>44391</c:v>
                </c:pt>
                <c:pt idx="44">
                  <c:v>44392</c:v>
                </c:pt>
                <c:pt idx="45">
                  <c:v>44393</c:v>
                </c:pt>
                <c:pt idx="46">
                  <c:v>44394</c:v>
                </c:pt>
                <c:pt idx="47">
                  <c:v>44395</c:v>
                </c:pt>
                <c:pt idx="48">
                  <c:v>44396</c:v>
                </c:pt>
                <c:pt idx="49">
                  <c:v>44397</c:v>
                </c:pt>
                <c:pt idx="50">
                  <c:v>44398</c:v>
                </c:pt>
                <c:pt idx="51">
                  <c:v>44399</c:v>
                </c:pt>
                <c:pt idx="52">
                  <c:v>44400</c:v>
                </c:pt>
                <c:pt idx="53">
                  <c:v>44401</c:v>
                </c:pt>
                <c:pt idx="54">
                  <c:v>44402</c:v>
                </c:pt>
                <c:pt idx="55">
                  <c:v>44403</c:v>
                </c:pt>
                <c:pt idx="56">
                  <c:v>44404</c:v>
                </c:pt>
                <c:pt idx="57">
                  <c:v>44405</c:v>
                </c:pt>
                <c:pt idx="58">
                  <c:v>44406</c:v>
                </c:pt>
                <c:pt idx="59">
                  <c:v>44407</c:v>
                </c:pt>
                <c:pt idx="60">
                  <c:v>44408</c:v>
                </c:pt>
                <c:pt idx="61">
                  <c:v>44409</c:v>
                </c:pt>
                <c:pt idx="62">
                  <c:v>44410</c:v>
                </c:pt>
                <c:pt idx="63">
                  <c:v>44411</c:v>
                </c:pt>
                <c:pt idx="64">
                  <c:v>44412</c:v>
                </c:pt>
                <c:pt idx="65">
                  <c:v>44413</c:v>
                </c:pt>
                <c:pt idx="66">
                  <c:v>44414</c:v>
                </c:pt>
                <c:pt idx="67">
                  <c:v>44415</c:v>
                </c:pt>
                <c:pt idx="68">
                  <c:v>44416</c:v>
                </c:pt>
                <c:pt idx="69">
                  <c:v>44417</c:v>
                </c:pt>
                <c:pt idx="70">
                  <c:v>44418</c:v>
                </c:pt>
                <c:pt idx="71">
                  <c:v>44419</c:v>
                </c:pt>
                <c:pt idx="72">
                  <c:v>44420</c:v>
                </c:pt>
                <c:pt idx="73">
                  <c:v>44421</c:v>
                </c:pt>
                <c:pt idx="74">
                  <c:v>44422</c:v>
                </c:pt>
                <c:pt idx="75">
                  <c:v>44423</c:v>
                </c:pt>
                <c:pt idx="76">
                  <c:v>44424</c:v>
                </c:pt>
                <c:pt idx="77">
                  <c:v>44425</c:v>
                </c:pt>
                <c:pt idx="78">
                  <c:v>44426</c:v>
                </c:pt>
                <c:pt idx="79">
                  <c:v>44427</c:v>
                </c:pt>
                <c:pt idx="80">
                  <c:v>44428</c:v>
                </c:pt>
                <c:pt idx="81">
                  <c:v>44429</c:v>
                </c:pt>
                <c:pt idx="82">
                  <c:v>44430</c:v>
                </c:pt>
                <c:pt idx="83">
                  <c:v>44431</c:v>
                </c:pt>
                <c:pt idx="84">
                  <c:v>44432</c:v>
                </c:pt>
                <c:pt idx="85">
                  <c:v>44433</c:v>
                </c:pt>
                <c:pt idx="86">
                  <c:v>44434</c:v>
                </c:pt>
                <c:pt idx="87">
                  <c:v>44435</c:v>
                </c:pt>
                <c:pt idx="88">
                  <c:v>44436</c:v>
                </c:pt>
                <c:pt idx="89">
                  <c:v>44437</c:v>
                </c:pt>
                <c:pt idx="90">
                  <c:v>44438</c:v>
                </c:pt>
                <c:pt idx="91">
                  <c:v>44439</c:v>
                </c:pt>
                <c:pt idx="92">
                  <c:v>44440</c:v>
                </c:pt>
                <c:pt idx="93">
                  <c:v>44441</c:v>
                </c:pt>
                <c:pt idx="94">
                  <c:v>44442</c:v>
                </c:pt>
                <c:pt idx="95">
                  <c:v>44443</c:v>
                </c:pt>
                <c:pt idx="96">
                  <c:v>44444</c:v>
                </c:pt>
                <c:pt idx="97">
                  <c:v>44445</c:v>
                </c:pt>
                <c:pt idx="98">
                  <c:v>44446</c:v>
                </c:pt>
                <c:pt idx="99">
                  <c:v>44447</c:v>
                </c:pt>
                <c:pt idx="100">
                  <c:v>44448</c:v>
                </c:pt>
                <c:pt idx="101">
                  <c:v>44449</c:v>
                </c:pt>
                <c:pt idx="102">
                  <c:v>44450</c:v>
                </c:pt>
                <c:pt idx="103">
                  <c:v>44451</c:v>
                </c:pt>
                <c:pt idx="104">
                  <c:v>44452</c:v>
                </c:pt>
                <c:pt idx="105">
                  <c:v>44453</c:v>
                </c:pt>
                <c:pt idx="106">
                  <c:v>44454</c:v>
                </c:pt>
                <c:pt idx="107">
                  <c:v>44455</c:v>
                </c:pt>
                <c:pt idx="108">
                  <c:v>44456</c:v>
                </c:pt>
                <c:pt idx="109">
                  <c:v>44457</c:v>
                </c:pt>
                <c:pt idx="110">
                  <c:v>44458</c:v>
                </c:pt>
                <c:pt idx="111">
                  <c:v>44459</c:v>
                </c:pt>
                <c:pt idx="112">
                  <c:v>44460</c:v>
                </c:pt>
                <c:pt idx="113">
                  <c:v>44461</c:v>
                </c:pt>
                <c:pt idx="114">
                  <c:v>44462</c:v>
                </c:pt>
                <c:pt idx="115">
                  <c:v>44463</c:v>
                </c:pt>
                <c:pt idx="116">
                  <c:v>44464</c:v>
                </c:pt>
                <c:pt idx="117">
                  <c:v>44465</c:v>
                </c:pt>
                <c:pt idx="118">
                  <c:v>44466</c:v>
                </c:pt>
                <c:pt idx="119">
                  <c:v>44467</c:v>
                </c:pt>
                <c:pt idx="120">
                  <c:v>44468</c:v>
                </c:pt>
                <c:pt idx="121">
                  <c:v>44469</c:v>
                </c:pt>
                <c:pt idx="122">
                  <c:v>44470</c:v>
                </c:pt>
                <c:pt idx="123">
                  <c:v>44471</c:v>
                </c:pt>
                <c:pt idx="124">
                  <c:v>44472</c:v>
                </c:pt>
                <c:pt idx="125">
                  <c:v>44473</c:v>
                </c:pt>
                <c:pt idx="126">
                  <c:v>44474</c:v>
                </c:pt>
                <c:pt idx="127">
                  <c:v>44475</c:v>
                </c:pt>
                <c:pt idx="128">
                  <c:v>44476</c:v>
                </c:pt>
                <c:pt idx="129">
                  <c:v>44477</c:v>
                </c:pt>
                <c:pt idx="130">
                  <c:v>44478</c:v>
                </c:pt>
                <c:pt idx="131">
                  <c:v>44479</c:v>
                </c:pt>
                <c:pt idx="132">
                  <c:v>44480</c:v>
                </c:pt>
                <c:pt idx="133">
                  <c:v>44481</c:v>
                </c:pt>
                <c:pt idx="134">
                  <c:v>44482</c:v>
                </c:pt>
                <c:pt idx="135">
                  <c:v>44483</c:v>
                </c:pt>
                <c:pt idx="136">
                  <c:v>44484</c:v>
                </c:pt>
                <c:pt idx="137">
                  <c:v>44485</c:v>
                </c:pt>
                <c:pt idx="138">
                  <c:v>44486</c:v>
                </c:pt>
                <c:pt idx="139">
                  <c:v>44487</c:v>
                </c:pt>
                <c:pt idx="140">
                  <c:v>44488</c:v>
                </c:pt>
                <c:pt idx="141">
                  <c:v>44489</c:v>
                </c:pt>
                <c:pt idx="142">
                  <c:v>44490</c:v>
                </c:pt>
                <c:pt idx="143">
                  <c:v>44491</c:v>
                </c:pt>
                <c:pt idx="144">
                  <c:v>44492</c:v>
                </c:pt>
                <c:pt idx="145">
                  <c:v>44493</c:v>
                </c:pt>
                <c:pt idx="146">
                  <c:v>44494</c:v>
                </c:pt>
                <c:pt idx="147">
                  <c:v>44495</c:v>
                </c:pt>
                <c:pt idx="148">
                  <c:v>44496</c:v>
                </c:pt>
                <c:pt idx="149">
                  <c:v>44497</c:v>
                </c:pt>
                <c:pt idx="150">
                  <c:v>44498</c:v>
                </c:pt>
                <c:pt idx="151">
                  <c:v>44499</c:v>
                </c:pt>
                <c:pt idx="152">
                  <c:v>44500</c:v>
                </c:pt>
                <c:pt idx="153">
                  <c:v>44501</c:v>
                </c:pt>
                <c:pt idx="154">
                  <c:v>44502</c:v>
                </c:pt>
                <c:pt idx="155">
                  <c:v>44503</c:v>
                </c:pt>
                <c:pt idx="156">
                  <c:v>44504</c:v>
                </c:pt>
                <c:pt idx="157">
                  <c:v>44505</c:v>
                </c:pt>
                <c:pt idx="158">
                  <c:v>44506</c:v>
                </c:pt>
                <c:pt idx="159">
                  <c:v>44507</c:v>
                </c:pt>
                <c:pt idx="160">
                  <c:v>44508</c:v>
                </c:pt>
                <c:pt idx="161">
                  <c:v>44509</c:v>
                </c:pt>
                <c:pt idx="162">
                  <c:v>44510</c:v>
                </c:pt>
                <c:pt idx="163">
                  <c:v>44511</c:v>
                </c:pt>
                <c:pt idx="164">
                  <c:v>44512</c:v>
                </c:pt>
                <c:pt idx="165">
                  <c:v>44513</c:v>
                </c:pt>
                <c:pt idx="166">
                  <c:v>44514</c:v>
                </c:pt>
                <c:pt idx="167">
                  <c:v>44515</c:v>
                </c:pt>
                <c:pt idx="168">
                  <c:v>44516</c:v>
                </c:pt>
                <c:pt idx="169">
                  <c:v>44517</c:v>
                </c:pt>
                <c:pt idx="170">
                  <c:v>44518</c:v>
                </c:pt>
                <c:pt idx="171">
                  <c:v>44519</c:v>
                </c:pt>
                <c:pt idx="172">
                  <c:v>44520</c:v>
                </c:pt>
                <c:pt idx="173">
                  <c:v>44521</c:v>
                </c:pt>
                <c:pt idx="174">
                  <c:v>44522</c:v>
                </c:pt>
                <c:pt idx="175">
                  <c:v>44523</c:v>
                </c:pt>
                <c:pt idx="176">
                  <c:v>44524</c:v>
                </c:pt>
                <c:pt idx="177">
                  <c:v>44525</c:v>
                </c:pt>
                <c:pt idx="178">
                  <c:v>44526</c:v>
                </c:pt>
                <c:pt idx="179">
                  <c:v>44527</c:v>
                </c:pt>
                <c:pt idx="180">
                  <c:v>44528</c:v>
                </c:pt>
                <c:pt idx="181">
                  <c:v>44529</c:v>
                </c:pt>
                <c:pt idx="182">
                  <c:v>44530</c:v>
                </c:pt>
                <c:pt idx="183">
                  <c:v>44531</c:v>
                </c:pt>
                <c:pt idx="184">
                  <c:v>44532</c:v>
                </c:pt>
                <c:pt idx="185">
                  <c:v>44533</c:v>
                </c:pt>
                <c:pt idx="186">
                  <c:v>44534</c:v>
                </c:pt>
                <c:pt idx="187">
                  <c:v>44535</c:v>
                </c:pt>
                <c:pt idx="188">
                  <c:v>44536</c:v>
                </c:pt>
                <c:pt idx="189">
                  <c:v>44537</c:v>
                </c:pt>
                <c:pt idx="190">
                  <c:v>44538</c:v>
                </c:pt>
                <c:pt idx="191">
                  <c:v>44539</c:v>
                </c:pt>
                <c:pt idx="192">
                  <c:v>44540</c:v>
                </c:pt>
                <c:pt idx="193">
                  <c:v>44541</c:v>
                </c:pt>
                <c:pt idx="194">
                  <c:v>44542</c:v>
                </c:pt>
                <c:pt idx="195">
                  <c:v>44543</c:v>
                </c:pt>
                <c:pt idx="196">
                  <c:v>44544</c:v>
                </c:pt>
                <c:pt idx="197">
                  <c:v>44545</c:v>
                </c:pt>
                <c:pt idx="198">
                  <c:v>44546</c:v>
                </c:pt>
                <c:pt idx="199">
                  <c:v>44547</c:v>
                </c:pt>
                <c:pt idx="200">
                  <c:v>44548</c:v>
                </c:pt>
                <c:pt idx="201">
                  <c:v>44549</c:v>
                </c:pt>
                <c:pt idx="202">
                  <c:v>44550</c:v>
                </c:pt>
                <c:pt idx="203">
                  <c:v>44551</c:v>
                </c:pt>
                <c:pt idx="204">
                  <c:v>44552</c:v>
                </c:pt>
                <c:pt idx="205">
                  <c:v>44553</c:v>
                </c:pt>
                <c:pt idx="206">
                  <c:v>44554</c:v>
                </c:pt>
                <c:pt idx="207">
                  <c:v>44555</c:v>
                </c:pt>
                <c:pt idx="208">
                  <c:v>44556</c:v>
                </c:pt>
                <c:pt idx="209">
                  <c:v>44557</c:v>
                </c:pt>
                <c:pt idx="210">
                  <c:v>44558</c:v>
                </c:pt>
                <c:pt idx="211">
                  <c:v>44559</c:v>
                </c:pt>
                <c:pt idx="212">
                  <c:v>44560</c:v>
                </c:pt>
                <c:pt idx="213">
                  <c:v>44561</c:v>
                </c:pt>
                <c:pt idx="214">
                  <c:v>44562</c:v>
                </c:pt>
                <c:pt idx="215">
                  <c:v>44563</c:v>
                </c:pt>
                <c:pt idx="216">
                  <c:v>44564</c:v>
                </c:pt>
                <c:pt idx="217">
                  <c:v>44565</c:v>
                </c:pt>
                <c:pt idx="218">
                  <c:v>44566</c:v>
                </c:pt>
                <c:pt idx="219">
                  <c:v>44567</c:v>
                </c:pt>
                <c:pt idx="220">
                  <c:v>44568</c:v>
                </c:pt>
                <c:pt idx="221">
                  <c:v>44569</c:v>
                </c:pt>
                <c:pt idx="222">
                  <c:v>44570</c:v>
                </c:pt>
                <c:pt idx="223">
                  <c:v>44571</c:v>
                </c:pt>
                <c:pt idx="224">
                  <c:v>44572</c:v>
                </c:pt>
                <c:pt idx="225">
                  <c:v>44573</c:v>
                </c:pt>
                <c:pt idx="226">
                  <c:v>44574</c:v>
                </c:pt>
                <c:pt idx="227">
                  <c:v>44575</c:v>
                </c:pt>
                <c:pt idx="228">
                  <c:v>44576</c:v>
                </c:pt>
                <c:pt idx="229">
                  <c:v>44577</c:v>
                </c:pt>
                <c:pt idx="230">
                  <c:v>44578</c:v>
                </c:pt>
                <c:pt idx="231">
                  <c:v>44579</c:v>
                </c:pt>
                <c:pt idx="232">
                  <c:v>44580</c:v>
                </c:pt>
                <c:pt idx="233">
                  <c:v>44581</c:v>
                </c:pt>
                <c:pt idx="234">
                  <c:v>44582</c:v>
                </c:pt>
                <c:pt idx="235">
                  <c:v>44583</c:v>
                </c:pt>
                <c:pt idx="236">
                  <c:v>44584</c:v>
                </c:pt>
                <c:pt idx="237">
                  <c:v>44585</c:v>
                </c:pt>
                <c:pt idx="238">
                  <c:v>44586</c:v>
                </c:pt>
                <c:pt idx="239">
                  <c:v>44587</c:v>
                </c:pt>
                <c:pt idx="240">
                  <c:v>44588</c:v>
                </c:pt>
                <c:pt idx="241">
                  <c:v>44589</c:v>
                </c:pt>
                <c:pt idx="242">
                  <c:v>44590</c:v>
                </c:pt>
                <c:pt idx="243">
                  <c:v>44591</c:v>
                </c:pt>
                <c:pt idx="244">
                  <c:v>44592</c:v>
                </c:pt>
                <c:pt idx="245">
                  <c:v>44593</c:v>
                </c:pt>
                <c:pt idx="246">
                  <c:v>44594</c:v>
                </c:pt>
                <c:pt idx="247">
                  <c:v>44595</c:v>
                </c:pt>
                <c:pt idx="248">
                  <c:v>44596</c:v>
                </c:pt>
                <c:pt idx="249">
                  <c:v>44597</c:v>
                </c:pt>
                <c:pt idx="250">
                  <c:v>44598</c:v>
                </c:pt>
                <c:pt idx="251">
                  <c:v>44599</c:v>
                </c:pt>
                <c:pt idx="252">
                  <c:v>44600</c:v>
                </c:pt>
                <c:pt idx="253">
                  <c:v>44601</c:v>
                </c:pt>
                <c:pt idx="254">
                  <c:v>44602</c:v>
                </c:pt>
                <c:pt idx="255">
                  <c:v>44603</c:v>
                </c:pt>
                <c:pt idx="256">
                  <c:v>44604</c:v>
                </c:pt>
                <c:pt idx="257">
                  <c:v>44605</c:v>
                </c:pt>
                <c:pt idx="258">
                  <c:v>44606</c:v>
                </c:pt>
                <c:pt idx="259">
                  <c:v>44607</c:v>
                </c:pt>
                <c:pt idx="260">
                  <c:v>44608</c:v>
                </c:pt>
                <c:pt idx="261">
                  <c:v>44609</c:v>
                </c:pt>
                <c:pt idx="262">
                  <c:v>44610</c:v>
                </c:pt>
                <c:pt idx="263">
                  <c:v>44611</c:v>
                </c:pt>
                <c:pt idx="264">
                  <c:v>44612</c:v>
                </c:pt>
                <c:pt idx="265">
                  <c:v>44613</c:v>
                </c:pt>
                <c:pt idx="266">
                  <c:v>44614</c:v>
                </c:pt>
                <c:pt idx="267">
                  <c:v>44615</c:v>
                </c:pt>
                <c:pt idx="268">
                  <c:v>44616</c:v>
                </c:pt>
                <c:pt idx="269">
                  <c:v>44617</c:v>
                </c:pt>
                <c:pt idx="270">
                  <c:v>44618</c:v>
                </c:pt>
                <c:pt idx="271">
                  <c:v>44619</c:v>
                </c:pt>
                <c:pt idx="272">
                  <c:v>44620</c:v>
                </c:pt>
                <c:pt idx="273">
                  <c:v>44621</c:v>
                </c:pt>
                <c:pt idx="274">
                  <c:v>44622</c:v>
                </c:pt>
                <c:pt idx="275">
                  <c:v>44623</c:v>
                </c:pt>
                <c:pt idx="276">
                  <c:v>44624</c:v>
                </c:pt>
                <c:pt idx="277">
                  <c:v>44625</c:v>
                </c:pt>
                <c:pt idx="278">
                  <c:v>44626</c:v>
                </c:pt>
                <c:pt idx="279">
                  <c:v>44627</c:v>
                </c:pt>
                <c:pt idx="280">
                  <c:v>44628</c:v>
                </c:pt>
                <c:pt idx="281">
                  <c:v>44629</c:v>
                </c:pt>
                <c:pt idx="282">
                  <c:v>44630</c:v>
                </c:pt>
                <c:pt idx="283">
                  <c:v>44631</c:v>
                </c:pt>
                <c:pt idx="284">
                  <c:v>44632</c:v>
                </c:pt>
                <c:pt idx="285">
                  <c:v>44633</c:v>
                </c:pt>
                <c:pt idx="286">
                  <c:v>44634</c:v>
                </c:pt>
                <c:pt idx="287">
                  <c:v>44635</c:v>
                </c:pt>
                <c:pt idx="288">
                  <c:v>44636</c:v>
                </c:pt>
                <c:pt idx="289">
                  <c:v>44637</c:v>
                </c:pt>
                <c:pt idx="290">
                  <c:v>44638</c:v>
                </c:pt>
                <c:pt idx="291">
                  <c:v>44639</c:v>
                </c:pt>
                <c:pt idx="292">
                  <c:v>44640</c:v>
                </c:pt>
                <c:pt idx="293">
                  <c:v>44641</c:v>
                </c:pt>
                <c:pt idx="294">
                  <c:v>44642</c:v>
                </c:pt>
                <c:pt idx="295">
                  <c:v>44643</c:v>
                </c:pt>
                <c:pt idx="296">
                  <c:v>44644</c:v>
                </c:pt>
                <c:pt idx="297">
                  <c:v>44645</c:v>
                </c:pt>
                <c:pt idx="298">
                  <c:v>44646</c:v>
                </c:pt>
                <c:pt idx="299">
                  <c:v>44647</c:v>
                </c:pt>
                <c:pt idx="300">
                  <c:v>44648</c:v>
                </c:pt>
                <c:pt idx="301">
                  <c:v>44649</c:v>
                </c:pt>
                <c:pt idx="302">
                  <c:v>44650</c:v>
                </c:pt>
                <c:pt idx="303">
                  <c:v>44651</c:v>
                </c:pt>
                <c:pt idx="304">
                  <c:v>44652</c:v>
                </c:pt>
              </c:numCache>
            </c:numRef>
          </c:cat>
          <c:val>
            <c:numRef>
              <c:f>Sheet2!$J$94:$J$398</c:f>
              <c:numCache>
                <c:formatCode>_ * #,##0_ ;_ * \-#,##0_ ;_ * "-"??_ ;_ @_ </c:formatCode>
                <c:ptCount val="305"/>
                <c:pt idx="0">
                  <c:v>3605.8571428571427</c:v>
                </c:pt>
                <c:pt idx="1">
                  <c:v>3627.8571428571427</c:v>
                </c:pt>
                <c:pt idx="2">
                  <c:v>3645.4285714285716</c:v>
                </c:pt>
                <c:pt idx="3">
                  <c:v>3651.8571428571427</c:v>
                </c:pt>
                <c:pt idx="4">
                  <c:v>3632.4285714285716</c:v>
                </c:pt>
                <c:pt idx="5">
                  <c:v>3619</c:v>
                </c:pt>
                <c:pt idx="6">
                  <c:v>3623.2857142857142</c:v>
                </c:pt>
                <c:pt idx="7">
                  <c:v>3676</c:v>
                </c:pt>
                <c:pt idx="8">
                  <c:v>3719.7142857142858</c:v>
                </c:pt>
                <c:pt idx="9">
                  <c:v>3759.2857142857142</c:v>
                </c:pt>
                <c:pt idx="10">
                  <c:v>3778.8571428571427</c:v>
                </c:pt>
                <c:pt idx="11">
                  <c:v>3804</c:v>
                </c:pt>
                <c:pt idx="12">
                  <c:v>3814.1428571428573</c:v>
                </c:pt>
                <c:pt idx="13">
                  <c:v>3815</c:v>
                </c:pt>
                <c:pt idx="14">
                  <c:v>3800</c:v>
                </c:pt>
                <c:pt idx="15">
                  <c:v>3776.8571428571427</c:v>
                </c:pt>
                <c:pt idx="16">
                  <c:v>3758.2857142857142</c:v>
                </c:pt>
                <c:pt idx="17">
                  <c:v>3751.4285714285716</c:v>
                </c:pt>
                <c:pt idx="18">
                  <c:v>3738.8571428571427</c:v>
                </c:pt>
                <c:pt idx="19">
                  <c:v>3738.5714285714284</c:v>
                </c:pt>
                <c:pt idx="20">
                  <c:v>3749.7142857142858</c:v>
                </c:pt>
                <c:pt idx="21">
                  <c:v>3785.1428571428573</c:v>
                </c:pt>
                <c:pt idx="22">
                  <c:v>3834.1428571428573</c:v>
                </c:pt>
                <c:pt idx="23">
                  <c:v>3872.7142857142858</c:v>
                </c:pt>
                <c:pt idx="24">
                  <c:v>3917.1428571428573</c:v>
                </c:pt>
                <c:pt idx="25">
                  <c:v>3969.5714285714284</c:v>
                </c:pt>
                <c:pt idx="26">
                  <c:v>4018.2857142857142</c:v>
                </c:pt>
                <c:pt idx="27">
                  <c:v>4056.4285714285716</c:v>
                </c:pt>
                <c:pt idx="28">
                  <c:v>4092.8571428571427</c:v>
                </c:pt>
                <c:pt idx="29">
                  <c:v>4131.1428571428569</c:v>
                </c:pt>
                <c:pt idx="30">
                  <c:v>4170.4285714285716</c:v>
                </c:pt>
                <c:pt idx="31">
                  <c:v>4200.5714285714284</c:v>
                </c:pt>
                <c:pt idx="32">
                  <c:v>4225</c:v>
                </c:pt>
                <c:pt idx="33">
                  <c:v>4262.8571428571431</c:v>
                </c:pt>
                <c:pt idx="34">
                  <c:v>4291.8571428571431</c:v>
                </c:pt>
                <c:pt idx="35">
                  <c:v>4315.8571428571431</c:v>
                </c:pt>
                <c:pt idx="36">
                  <c:v>4333.5714285714284</c:v>
                </c:pt>
                <c:pt idx="37">
                  <c:v>4339.1428571428569</c:v>
                </c:pt>
                <c:pt idx="38">
                  <c:v>4342.2857142857147</c:v>
                </c:pt>
                <c:pt idx="39">
                  <c:v>4350.5714285714284</c:v>
                </c:pt>
                <c:pt idx="40">
                  <c:v>4328.4285714285716</c:v>
                </c:pt>
                <c:pt idx="41">
                  <c:v>4285.7142857142853</c:v>
                </c:pt>
                <c:pt idx="42">
                  <c:v>4223.4285714285716</c:v>
                </c:pt>
                <c:pt idx="43">
                  <c:v>4147.5714285714284</c:v>
                </c:pt>
                <c:pt idx="44">
                  <c:v>4099.5714285714284</c:v>
                </c:pt>
                <c:pt idx="45">
                  <c:v>4083.5714285714284</c:v>
                </c:pt>
                <c:pt idx="46">
                  <c:v>4077.8571428571427</c:v>
                </c:pt>
                <c:pt idx="47">
                  <c:v>4063.1428571428573</c:v>
                </c:pt>
                <c:pt idx="48">
                  <c:v>4036.4285714285716</c:v>
                </c:pt>
                <c:pt idx="49">
                  <c:v>4000.5714285714284</c:v>
                </c:pt>
                <c:pt idx="50">
                  <c:v>3967</c:v>
                </c:pt>
                <c:pt idx="51">
                  <c:v>3935.7142857142858</c:v>
                </c:pt>
                <c:pt idx="52">
                  <c:v>3891.4285714285716</c:v>
                </c:pt>
                <c:pt idx="53">
                  <c:v>3842.7142857142858</c:v>
                </c:pt>
                <c:pt idx="54">
                  <c:v>3833.7142857142858</c:v>
                </c:pt>
                <c:pt idx="55">
                  <c:v>3856.7142857142858</c:v>
                </c:pt>
                <c:pt idx="56">
                  <c:v>3881.8571428571427</c:v>
                </c:pt>
                <c:pt idx="57">
                  <c:v>3882.4285714285716</c:v>
                </c:pt>
                <c:pt idx="58">
                  <c:v>3871</c:v>
                </c:pt>
                <c:pt idx="59">
                  <c:v>3848.2857142857142</c:v>
                </c:pt>
                <c:pt idx="60">
                  <c:v>3826</c:v>
                </c:pt>
                <c:pt idx="61">
                  <c:v>3790.5714285714284</c:v>
                </c:pt>
                <c:pt idx="62">
                  <c:v>3767.7142857142858</c:v>
                </c:pt>
                <c:pt idx="63">
                  <c:v>3767.7142857142858</c:v>
                </c:pt>
                <c:pt idx="64">
                  <c:v>3809.7142857142858</c:v>
                </c:pt>
                <c:pt idx="65">
                  <c:v>3871.2857142857142</c:v>
                </c:pt>
                <c:pt idx="66">
                  <c:v>3940.4285714285716</c:v>
                </c:pt>
                <c:pt idx="67">
                  <c:v>4011.5714285714284</c:v>
                </c:pt>
                <c:pt idx="68">
                  <c:v>4079.1428571428573</c:v>
                </c:pt>
                <c:pt idx="69">
                  <c:v>4135.4285714285716</c:v>
                </c:pt>
                <c:pt idx="70">
                  <c:v>4187.8571428571431</c:v>
                </c:pt>
                <c:pt idx="71">
                  <c:v>4236</c:v>
                </c:pt>
                <c:pt idx="72">
                  <c:v>4274.8571428571431</c:v>
                </c:pt>
                <c:pt idx="73">
                  <c:v>4309.4285714285716</c:v>
                </c:pt>
                <c:pt idx="74">
                  <c:v>4338.2857142857147</c:v>
                </c:pt>
                <c:pt idx="75">
                  <c:v>4362</c:v>
                </c:pt>
                <c:pt idx="76">
                  <c:v>4380</c:v>
                </c:pt>
                <c:pt idx="77">
                  <c:v>4394.1428571428569</c:v>
                </c:pt>
                <c:pt idx="78">
                  <c:v>4391.25</c:v>
                </c:pt>
                <c:pt idx="79">
                  <c:v>4363.375</c:v>
                </c:pt>
                <c:pt idx="80">
                  <c:v>4350.2857142857147</c:v>
                </c:pt>
                <c:pt idx="81">
                  <c:v>4289.2857142857147</c:v>
                </c:pt>
                <c:pt idx="82">
                  <c:v>4213.8571428571431</c:v>
                </c:pt>
                <c:pt idx="83">
                  <c:v>4159</c:v>
                </c:pt>
                <c:pt idx="84">
                  <c:v>4128</c:v>
                </c:pt>
                <c:pt idx="85">
                  <c:v>4114.8571428571431</c:v>
                </c:pt>
                <c:pt idx="86">
                  <c:v>4104.8571428571431</c:v>
                </c:pt>
                <c:pt idx="87">
                  <c:v>4114.4285714285716</c:v>
                </c:pt>
                <c:pt idx="88">
                  <c:v>4143.5714285714284</c:v>
                </c:pt>
                <c:pt idx="89">
                  <c:v>4186.2857142857147</c:v>
                </c:pt>
                <c:pt idx="90">
                  <c:v>4191.8571428571431</c:v>
                </c:pt>
                <c:pt idx="91">
                  <c:v>4159.4285714285716</c:v>
                </c:pt>
                <c:pt idx="92">
                  <c:v>4110.4285714285716</c:v>
                </c:pt>
                <c:pt idx="93">
                  <c:v>4066.2857142857142</c:v>
                </c:pt>
                <c:pt idx="94">
                  <c:v>4020</c:v>
                </c:pt>
                <c:pt idx="95">
                  <c:v>3974.5714285714284</c:v>
                </c:pt>
                <c:pt idx="96">
                  <c:v>3940.7142857142858</c:v>
                </c:pt>
                <c:pt idx="97">
                  <c:v>3930.2857142857142</c:v>
                </c:pt>
                <c:pt idx="98">
                  <c:v>3916.7142857142858</c:v>
                </c:pt>
                <c:pt idx="99">
                  <c:v>3911.7142857142858</c:v>
                </c:pt>
                <c:pt idx="100">
                  <c:v>3910.5714285714284</c:v>
                </c:pt>
                <c:pt idx="101">
                  <c:v>3898.8571428571427</c:v>
                </c:pt>
                <c:pt idx="102">
                  <c:v>3868.2857142857142</c:v>
                </c:pt>
                <c:pt idx="103">
                  <c:v>3835.5714285714284</c:v>
                </c:pt>
                <c:pt idx="104">
                  <c:v>3801</c:v>
                </c:pt>
                <c:pt idx="105">
                  <c:v>3770.5714285714284</c:v>
                </c:pt>
                <c:pt idx="106">
                  <c:v>3744.5714285714284</c:v>
                </c:pt>
                <c:pt idx="107">
                  <c:v>3711.2857142857142</c:v>
                </c:pt>
                <c:pt idx="108">
                  <c:v>3695.7142857142858</c:v>
                </c:pt>
                <c:pt idx="109">
                  <c:v>3720.4285714285716</c:v>
                </c:pt>
                <c:pt idx="110">
                  <c:v>3761.5714285714284</c:v>
                </c:pt>
                <c:pt idx="111">
                  <c:v>3802</c:v>
                </c:pt>
                <c:pt idx="112">
                  <c:v>3838.8571428571427</c:v>
                </c:pt>
                <c:pt idx="113">
                  <c:v>3847.8571428571427</c:v>
                </c:pt>
                <c:pt idx="114">
                  <c:v>3845.7142857142858</c:v>
                </c:pt>
                <c:pt idx="115">
                  <c:v>3841.2857142857142</c:v>
                </c:pt>
                <c:pt idx="116">
                  <c:v>3831.7142857142858</c:v>
                </c:pt>
                <c:pt idx="117">
                  <c:v>3802.4285714285716</c:v>
                </c:pt>
                <c:pt idx="118">
                  <c:v>3763</c:v>
                </c:pt>
                <c:pt idx="119">
                  <c:v>3737.8571428571427</c:v>
                </c:pt>
                <c:pt idx="120">
                  <c:v>3737.4285714285716</c:v>
                </c:pt>
                <c:pt idx="121">
                  <c:v>3755.1428571428573</c:v>
                </c:pt>
                <c:pt idx="122">
                  <c:v>3815.7142857142858</c:v>
                </c:pt>
                <c:pt idx="123">
                  <c:v>3795.2857142857142</c:v>
                </c:pt>
                <c:pt idx="124">
                  <c:v>3793.4285714285716</c:v>
                </c:pt>
                <c:pt idx="125">
                  <c:v>3808.5714285714284</c:v>
                </c:pt>
                <c:pt idx="126">
                  <c:v>3819.2857142857142</c:v>
                </c:pt>
                <c:pt idx="127">
                  <c:v>3826.8571428571427</c:v>
                </c:pt>
                <c:pt idx="128">
                  <c:v>3831.7142857142858</c:v>
                </c:pt>
                <c:pt idx="129">
                  <c:v>3796</c:v>
                </c:pt>
                <c:pt idx="130">
                  <c:v>3821.5714285714284</c:v>
                </c:pt>
                <c:pt idx="131">
                  <c:v>3841</c:v>
                </c:pt>
                <c:pt idx="132">
                  <c:v>3850.2857142857142</c:v>
                </c:pt>
                <c:pt idx="133">
                  <c:v>3862.8571428571427</c:v>
                </c:pt>
                <c:pt idx="134">
                  <c:v>3871.4285714285716</c:v>
                </c:pt>
                <c:pt idx="135">
                  <c:v>3864.4285714285716</c:v>
                </c:pt>
                <c:pt idx="136">
                  <c:v>3833.4285714285716</c:v>
                </c:pt>
                <c:pt idx="137">
                  <c:v>3816.8571428571427</c:v>
                </c:pt>
                <c:pt idx="138">
                  <c:v>3786.8571428571427</c:v>
                </c:pt>
                <c:pt idx="139">
                  <c:v>3736.2857142857142</c:v>
                </c:pt>
                <c:pt idx="140">
                  <c:v>3688.1428571428573</c:v>
                </c:pt>
                <c:pt idx="141">
                  <c:v>3650.2857142857142</c:v>
                </c:pt>
                <c:pt idx="142">
                  <c:v>3622</c:v>
                </c:pt>
                <c:pt idx="143">
                  <c:v>3622.7142857142858</c:v>
                </c:pt>
                <c:pt idx="144">
                  <c:v>3610</c:v>
                </c:pt>
                <c:pt idx="145">
                  <c:v>3590.5714285714284</c:v>
                </c:pt>
                <c:pt idx="146">
                  <c:v>3589.5714285714284</c:v>
                </c:pt>
                <c:pt idx="147">
                  <c:v>3593</c:v>
                </c:pt>
                <c:pt idx="148">
                  <c:v>3587.1428571428573</c:v>
                </c:pt>
                <c:pt idx="149">
                  <c:v>3578.7142857142858</c:v>
                </c:pt>
                <c:pt idx="150">
                  <c:v>3559.7142857142858</c:v>
                </c:pt>
                <c:pt idx="151">
                  <c:v>3541.1428571428573</c:v>
                </c:pt>
                <c:pt idx="152">
                  <c:v>3534.7142857142858</c:v>
                </c:pt>
                <c:pt idx="153">
                  <c:v>3519.8571428571427</c:v>
                </c:pt>
                <c:pt idx="154">
                  <c:v>3498.8571428571427</c:v>
                </c:pt>
                <c:pt idx="155">
                  <c:v>3469.4285714285716</c:v>
                </c:pt>
                <c:pt idx="156">
                  <c:v>3396.5714285714284</c:v>
                </c:pt>
                <c:pt idx="157">
                  <c:v>3309.7142857142858</c:v>
                </c:pt>
                <c:pt idx="158">
                  <c:v>3249.2857142857142</c:v>
                </c:pt>
                <c:pt idx="159">
                  <c:v>3208</c:v>
                </c:pt>
                <c:pt idx="160">
                  <c:v>3184.5714285714284</c:v>
                </c:pt>
                <c:pt idx="161">
                  <c:v>3172.1428571428573</c:v>
                </c:pt>
                <c:pt idx="162">
                  <c:v>3173.4285714285716</c:v>
                </c:pt>
                <c:pt idx="163">
                  <c:v>3214.5714285714284</c:v>
                </c:pt>
                <c:pt idx="164">
                  <c:v>3280.2857142857142</c:v>
                </c:pt>
                <c:pt idx="165">
                  <c:v>3328.7142857142858</c:v>
                </c:pt>
                <c:pt idx="166">
                  <c:v>3361.8571428571427</c:v>
                </c:pt>
                <c:pt idx="167">
                  <c:v>3386.4285714285716</c:v>
                </c:pt>
                <c:pt idx="168">
                  <c:v>3400.1428571428573</c:v>
                </c:pt>
                <c:pt idx="169">
                  <c:v>3408.1428571428573</c:v>
                </c:pt>
                <c:pt idx="170">
                  <c:v>3415.5714285714284</c:v>
                </c:pt>
                <c:pt idx="171">
                  <c:v>3404.2857142857142</c:v>
                </c:pt>
                <c:pt idx="172">
                  <c:v>3394.5714285714284</c:v>
                </c:pt>
                <c:pt idx="173">
                  <c:v>3378</c:v>
                </c:pt>
                <c:pt idx="174">
                  <c:v>3366.8571428571427</c:v>
                </c:pt>
                <c:pt idx="175">
                  <c:v>3362.1428571428573</c:v>
                </c:pt>
                <c:pt idx="176">
                  <c:v>3363.1428571428573</c:v>
                </c:pt>
                <c:pt idx="177">
                  <c:v>3372</c:v>
                </c:pt>
                <c:pt idx="178">
                  <c:v>3394.5714285714284</c:v>
                </c:pt>
                <c:pt idx="179">
                  <c:v>3411.2857142857142</c:v>
                </c:pt>
                <c:pt idx="180">
                  <c:v>3425.8571428571427</c:v>
                </c:pt>
                <c:pt idx="181">
                  <c:v>3431</c:v>
                </c:pt>
                <c:pt idx="182">
                  <c:v>3428.7142857142858</c:v>
                </c:pt>
                <c:pt idx="183">
                  <c:v>3412.8571428571427</c:v>
                </c:pt>
                <c:pt idx="184">
                  <c:v>3385.4285714285716</c:v>
                </c:pt>
                <c:pt idx="185">
                  <c:v>3364.2857142857142</c:v>
                </c:pt>
                <c:pt idx="186">
                  <c:v>3349.7142857142858</c:v>
                </c:pt>
                <c:pt idx="187">
                  <c:v>3348.1428571428573</c:v>
                </c:pt>
                <c:pt idx="188">
                  <c:v>3352.7142857142858</c:v>
                </c:pt>
                <c:pt idx="189">
                  <c:v>3365.1428571428573</c:v>
                </c:pt>
                <c:pt idx="190">
                  <c:v>3392.7142857142858</c:v>
                </c:pt>
                <c:pt idx="191">
                  <c:v>3434</c:v>
                </c:pt>
                <c:pt idx="192">
                  <c:v>3467.7142857142858</c:v>
                </c:pt>
                <c:pt idx="193">
                  <c:v>3496.1428571428573</c:v>
                </c:pt>
                <c:pt idx="194">
                  <c:v>3512.7142857142858</c:v>
                </c:pt>
                <c:pt idx="195">
                  <c:v>3528.2857142857142</c:v>
                </c:pt>
                <c:pt idx="196">
                  <c:v>3540.5714285714284</c:v>
                </c:pt>
                <c:pt idx="197">
                  <c:v>3548.4285714285716</c:v>
                </c:pt>
                <c:pt idx="198">
                  <c:v>3557</c:v>
                </c:pt>
                <c:pt idx="199">
                  <c:v>3567.5714285714284</c:v>
                </c:pt>
                <c:pt idx="200">
                  <c:v>3578.1428571428573</c:v>
                </c:pt>
                <c:pt idx="201">
                  <c:v>3587.5714285714284</c:v>
                </c:pt>
                <c:pt idx="202">
                  <c:v>3602.1428571428573</c:v>
                </c:pt>
                <c:pt idx="203">
                  <c:v>3619.7142857142858</c:v>
                </c:pt>
                <c:pt idx="204">
                  <c:v>3638.8571428571427</c:v>
                </c:pt>
                <c:pt idx="205">
                  <c:v>3657.7142857142858</c:v>
                </c:pt>
                <c:pt idx="206">
                  <c:v>3677.7142857142858</c:v>
                </c:pt>
                <c:pt idx="207">
                  <c:v>3690.8571428571427</c:v>
                </c:pt>
                <c:pt idx="208">
                  <c:v>3704.8571428571427</c:v>
                </c:pt>
                <c:pt idx="209">
                  <c:v>3709.2857142857142</c:v>
                </c:pt>
                <c:pt idx="210">
                  <c:v>3691.8571428571427</c:v>
                </c:pt>
                <c:pt idx="211">
                  <c:v>3665.7142857142858</c:v>
                </c:pt>
                <c:pt idx="212">
                  <c:v>3645.8571428571427</c:v>
                </c:pt>
                <c:pt idx="213">
                  <c:v>3626.8571428571427</c:v>
                </c:pt>
                <c:pt idx="214">
                  <c:v>3608</c:v>
                </c:pt>
                <c:pt idx="215">
                  <c:v>3594.2857142857142</c:v>
                </c:pt>
                <c:pt idx="216">
                  <c:v>3594.2857142857142</c:v>
                </c:pt>
                <c:pt idx="217">
                  <c:v>3613.4285714285716</c:v>
                </c:pt>
                <c:pt idx="218">
                  <c:v>3628.1428571428573</c:v>
                </c:pt>
                <c:pt idx="219">
                  <c:v>3622.1428571428573</c:v>
                </c:pt>
                <c:pt idx="220">
                  <c:v>3613.1428571428573</c:v>
                </c:pt>
                <c:pt idx="221">
                  <c:v>3593.8571428571427</c:v>
                </c:pt>
                <c:pt idx="222">
                  <c:v>3576.1428571428573</c:v>
                </c:pt>
                <c:pt idx="223">
                  <c:v>3554.4285714285716</c:v>
                </c:pt>
                <c:pt idx="224">
                  <c:v>3531.4285714285716</c:v>
                </c:pt>
                <c:pt idx="225">
                  <c:v>3518.2857142857142</c:v>
                </c:pt>
                <c:pt idx="226">
                  <c:v>3517.2857142857142</c:v>
                </c:pt>
                <c:pt idx="227">
                  <c:v>3500.4285714285716</c:v>
                </c:pt>
                <c:pt idx="228">
                  <c:v>3498.8571428571427</c:v>
                </c:pt>
                <c:pt idx="229">
                  <c:v>3505.7142857142858</c:v>
                </c:pt>
                <c:pt idx="230">
                  <c:v>3521.5714285714284</c:v>
                </c:pt>
                <c:pt idx="231">
                  <c:v>3542.7142857142858</c:v>
                </c:pt>
                <c:pt idx="232">
                  <c:v>3570</c:v>
                </c:pt>
                <c:pt idx="233">
                  <c:v>3600.7142857142858</c:v>
                </c:pt>
                <c:pt idx="234">
                  <c:v>3649</c:v>
                </c:pt>
                <c:pt idx="235">
                  <c:v>3683.7142857142858</c:v>
                </c:pt>
                <c:pt idx="236">
                  <c:v>3702.2857142857142</c:v>
                </c:pt>
                <c:pt idx="237">
                  <c:v>3718</c:v>
                </c:pt>
                <c:pt idx="238">
                  <c:v>3729.5714285714284</c:v>
                </c:pt>
                <c:pt idx="239">
                  <c:v>3710.1428571428573</c:v>
                </c:pt>
                <c:pt idx="240">
                  <c:v>3703</c:v>
                </c:pt>
                <c:pt idx="241">
                  <c:v>3706.1428571428573</c:v>
                </c:pt>
                <c:pt idx="242">
                  <c:v>3724.8571428571427</c:v>
                </c:pt>
                <c:pt idx="243">
                  <c:v>3751.4285714285716</c:v>
                </c:pt>
                <c:pt idx="244">
                  <c:v>3768.7142857142858</c:v>
                </c:pt>
                <c:pt idx="245">
                  <c:v>3780.5714285714284</c:v>
                </c:pt>
                <c:pt idx="246">
                  <c:v>3821.2857142857142</c:v>
                </c:pt>
                <c:pt idx="247">
                  <c:v>3835.2857142857142</c:v>
                </c:pt>
                <c:pt idx="248">
                  <c:v>3834.2857142857142</c:v>
                </c:pt>
                <c:pt idx="249">
                  <c:v>3840.4285714285716</c:v>
                </c:pt>
                <c:pt idx="250">
                  <c:v>3844</c:v>
                </c:pt>
                <c:pt idx="251">
                  <c:v>3846.8571428571427</c:v>
                </c:pt>
                <c:pt idx="252">
                  <c:v>3855.2857142857142</c:v>
                </c:pt>
                <c:pt idx="253">
                  <c:v>3854.7142857142858</c:v>
                </c:pt>
                <c:pt idx="254">
                  <c:v>3862.2857142857142</c:v>
                </c:pt>
                <c:pt idx="255">
                  <c:v>3871.7142857142858</c:v>
                </c:pt>
                <c:pt idx="256">
                  <c:v>3872.5714285714284</c:v>
                </c:pt>
                <c:pt idx="257">
                  <c:v>3875</c:v>
                </c:pt>
                <c:pt idx="258">
                  <c:v>3875</c:v>
                </c:pt>
                <c:pt idx="259">
                  <c:v>3873</c:v>
                </c:pt>
                <c:pt idx="260">
                  <c:v>3880.5714285714284</c:v>
                </c:pt>
                <c:pt idx="261">
                  <c:v>3888.4285714285716</c:v>
                </c:pt>
                <c:pt idx="262">
                  <c:v>3900.1428571428573</c:v>
                </c:pt>
                <c:pt idx="263">
                  <c:v>3911.8571428571427</c:v>
                </c:pt>
                <c:pt idx="264">
                  <c:v>3917.1428571428573</c:v>
                </c:pt>
                <c:pt idx="265">
                  <c:v>3925.8571428571427</c:v>
                </c:pt>
                <c:pt idx="266">
                  <c:v>3937.4285714285716</c:v>
                </c:pt>
                <c:pt idx="267">
                  <c:v>3943.7142857142858</c:v>
                </c:pt>
                <c:pt idx="268">
                  <c:v>3957.4285714285716</c:v>
                </c:pt>
                <c:pt idx="269">
                  <c:v>3967</c:v>
                </c:pt>
                <c:pt idx="270">
                  <c:v>3968.8571428571427</c:v>
                </c:pt>
                <c:pt idx="271">
                  <c:v>3978.4285714285716</c:v>
                </c:pt>
                <c:pt idx="272">
                  <c:v>3988</c:v>
                </c:pt>
                <c:pt idx="273">
                  <c:v>3988.7142857142858</c:v>
                </c:pt>
                <c:pt idx="274">
                  <c:v>3991.1428571428573</c:v>
                </c:pt>
                <c:pt idx="275">
                  <c:v>3992.5714285714284</c:v>
                </c:pt>
                <c:pt idx="276">
                  <c:v>3998</c:v>
                </c:pt>
                <c:pt idx="277">
                  <c:v>4013.8571428571427</c:v>
                </c:pt>
                <c:pt idx="278">
                  <c:v>4026.1428571428573</c:v>
                </c:pt>
                <c:pt idx="279">
                  <c:v>4033.7142857142858</c:v>
                </c:pt>
                <c:pt idx="280">
                  <c:v>4047.5714285714284</c:v>
                </c:pt>
                <c:pt idx="281">
                  <c:v>4062.4285714285716</c:v>
                </c:pt>
                <c:pt idx="282">
                  <c:v>4074.1428571428573</c:v>
                </c:pt>
                <c:pt idx="283">
                  <c:v>4087.5714285714284</c:v>
                </c:pt>
                <c:pt idx="284">
                  <c:v>4098.8571428571431</c:v>
                </c:pt>
                <c:pt idx="285">
                  <c:v>4112.8571428571431</c:v>
                </c:pt>
                <c:pt idx="286">
                  <c:v>4136.2857142857147</c:v>
                </c:pt>
                <c:pt idx="287">
                  <c:v>4164</c:v>
                </c:pt>
                <c:pt idx="288">
                  <c:v>4197.5714285714284</c:v>
                </c:pt>
                <c:pt idx="289">
                  <c:v>4229.7142857142853</c:v>
                </c:pt>
                <c:pt idx="290">
                  <c:v>4211.4285714285716</c:v>
                </c:pt>
                <c:pt idx="291">
                  <c:v>4204.1428571428569</c:v>
                </c:pt>
                <c:pt idx="292">
                  <c:v>4218.2857142857147</c:v>
                </c:pt>
                <c:pt idx="293">
                  <c:v>4232.5714285714284</c:v>
                </c:pt>
                <c:pt idx="294">
                  <c:v>4238.1428571428569</c:v>
                </c:pt>
                <c:pt idx="295">
                  <c:v>4236.8571428571431</c:v>
                </c:pt>
                <c:pt idx="296">
                  <c:v>4232.7142857142853</c:v>
                </c:pt>
                <c:pt idx="297">
                  <c:v>4234.7142857142853</c:v>
                </c:pt>
                <c:pt idx="298">
                  <c:v>4259</c:v>
                </c:pt>
                <c:pt idx="299">
                  <c:v>4264.7142857142853</c:v>
                </c:pt>
                <c:pt idx="300">
                  <c:v>4266.1428571428569</c:v>
                </c:pt>
                <c:pt idx="301">
                  <c:v>4279.2857142857147</c:v>
                </c:pt>
                <c:pt idx="302">
                  <c:v>4292.5714285714284</c:v>
                </c:pt>
                <c:pt idx="303">
                  <c:v>4311.7142857142853</c:v>
                </c:pt>
                <c:pt idx="304">
                  <c:v>4366</c:v>
                </c:pt>
              </c:numCache>
            </c:numRef>
          </c:val>
          <c:smooth val="0"/>
          <c:extLst>
            <c:ext xmlns:c16="http://schemas.microsoft.com/office/drawing/2014/chart" uri="{C3380CC4-5D6E-409C-BE32-E72D297353CC}">
              <c16:uniqueId val="{00000002-2847-41D1-81BF-82EDDFD7BFF5}"/>
            </c:ext>
          </c:extLst>
        </c:ser>
        <c:dLbls>
          <c:showLegendKey val="0"/>
          <c:showVal val="0"/>
          <c:showCatName val="0"/>
          <c:showSerName val="0"/>
          <c:showPercent val="0"/>
          <c:showBubbleSize val="0"/>
        </c:dLbls>
        <c:smooth val="0"/>
        <c:axId val="1493696976"/>
        <c:axId val="1493678480"/>
      </c:lineChart>
      <c:catAx>
        <c:axId val="1493696976"/>
        <c:scaling>
          <c:orientation val="minMax"/>
        </c:scaling>
        <c:delete val="0"/>
        <c:axPos val="b"/>
        <c:numFmt formatCode="d\-mmm" sourceLinked="1"/>
        <c:majorTickMark val="out"/>
        <c:minorTickMark val="none"/>
        <c:tickLblPos val="nextTo"/>
        <c:spPr>
          <a:ln>
            <a:solidFill>
              <a:schemeClr val="bg2"/>
            </a:solidFill>
          </a:ln>
        </c:spPr>
        <c:txPr>
          <a:bodyPr rot="-5400000" vert="horz"/>
          <a:lstStyle/>
          <a:p>
            <a:pPr>
              <a:defRPr/>
            </a:pPr>
            <a:endParaRPr lang="en-US"/>
          </a:p>
        </c:txPr>
        <c:crossAx val="1493678480"/>
        <c:crosses val="autoZero"/>
        <c:auto val="0"/>
        <c:lblAlgn val="ctr"/>
        <c:lblOffset val="100"/>
        <c:noMultiLvlLbl val="0"/>
      </c:catAx>
      <c:valAx>
        <c:axId val="1493678480"/>
        <c:scaling>
          <c:orientation val="minMax"/>
          <c:min val="2500"/>
        </c:scaling>
        <c:delete val="0"/>
        <c:axPos val="l"/>
        <c:majorGridlines/>
        <c:numFmt formatCode="_ * #,##0_ ;_ * \-#,##0_ ;_ * &quot;-&quot;??_ ;_ @_ " sourceLinked="1"/>
        <c:majorTickMark val="out"/>
        <c:minorTickMark val="none"/>
        <c:tickLblPos val="nextTo"/>
        <c:spPr>
          <a:ln>
            <a:solidFill>
              <a:schemeClr val="bg2"/>
            </a:solidFill>
          </a:ln>
        </c:spPr>
        <c:crossAx val="1493696976"/>
        <c:crosses val="autoZero"/>
        <c:crossBetween val="between"/>
      </c:valAx>
    </c:plotArea>
    <c:legend>
      <c:legendPos val="t"/>
      <c:overlay val="0"/>
    </c:legend>
    <c:plotVisOnly val="1"/>
    <c:dispBlanksAs val="gap"/>
    <c:showDLblsOverMax val="0"/>
  </c:chart>
  <c:spPr>
    <a:ln>
      <a:solidFill>
        <a:schemeClr val="bg2"/>
      </a:solidFill>
    </a:ln>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osch-Tractors.xlsx]Capacity utilisation'!$B$1</c:f>
              <c:strCache>
                <c:ptCount val="1"/>
                <c:pt idx="0">
                  <c:v>Capacity utilisation (%)</c:v>
                </c:pt>
              </c:strCache>
            </c:strRef>
          </c:tx>
          <c:spPr>
            <a:solidFill>
              <a:schemeClr val="accent2"/>
            </a:solidFill>
            <a:ln>
              <a:noFill/>
            </a:ln>
            <a:effectLst/>
          </c:spPr>
          <c:invertIfNegative val="0"/>
          <c:dLbls>
            <c:dLbl>
              <c:idx val="9"/>
              <c:tx>
                <c:rich>
                  <a:bodyPr/>
                  <a:lstStyle/>
                  <a:p>
                    <a:r>
                      <a:rPr lang="en-US"/>
                      <a:t>68-7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910-412D-A6A9-54C82D6662E4}"/>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osch-Tractors.xlsx]Capacity utilisation'!$A$2:$A$11</c:f>
              <c:strCache>
                <c:ptCount val="10"/>
                <c:pt idx="0">
                  <c:v>FY 14</c:v>
                </c:pt>
                <c:pt idx="1">
                  <c:v>FY 15</c:v>
                </c:pt>
                <c:pt idx="2">
                  <c:v>FY 16</c:v>
                </c:pt>
                <c:pt idx="3">
                  <c:v>FY 17</c:v>
                </c:pt>
                <c:pt idx="4">
                  <c:v>FY 18</c:v>
                </c:pt>
                <c:pt idx="5">
                  <c:v>FY 19</c:v>
                </c:pt>
                <c:pt idx="6">
                  <c:v>FY 20</c:v>
                </c:pt>
                <c:pt idx="7">
                  <c:v>FY 21</c:v>
                </c:pt>
                <c:pt idx="8">
                  <c:v>FY 22</c:v>
                </c:pt>
                <c:pt idx="9">
                  <c:v>FY23 P</c:v>
                </c:pt>
              </c:strCache>
            </c:strRef>
          </c:cat>
          <c:val>
            <c:numRef>
              <c:f>'[Bosch-Tractors.xlsx]Capacity utilisation'!$B$2:$B$11</c:f>
              <c:numCache>
                <c:formatCode>#,##0</c:formatCode>
                <c:ptCount val="10"/>
                <c:pt idx="0">
                  <c:v>71.149818079482174</c:v>
                </c:pt>
                <c:pt idx="1">
                  <c:v>60.384456224013242</c:v>
                </c:pt>
                <c:pt idx="2">
                  <c:v>56.238890968924274</c:v>
                </c:pt>
                <c:pt idx="3">
                  <c:v>65.563946742187355</c:v>
                </c:pt>
                <c:pt idx="4">
                  <c:v>64.972225417851334</c:v>
                </c:pt>
                <c:pt idx="5">
                  <c:v>72.887323943661968</c:v>
                </c:pt>
                <c:pt idx="6">
                  <c:v>59</c:v>
                </c:pt>
                <c:pt idx="7">
                  <c:v>73</c:v>
                </c:pt>
                <c:pt idx="8">
                  <c:v>71</c:v>
                </c:pt>
                <c:pt idx="9">
                  <c:v>71</c:v>
                </c:pt>
              </c:numCache>
            </c:numRef>
          </c:val>
          <c:extLst>
            <c:ext xmlns:c16="http://schemas.microsoft.com/office/drawing/2014/chart" uri="{C3380CC4-5D6E-409C-BE32-E72D297353CC}">
              <c16:uniqueId val="{00000000-6910-412D-A6A9-54C82D6662E4}"/>
            </c:ext>
          </c:extLst>
        </c:ser>
        <c:ser>
          <c:idx val="1"/>
          <c:order val="1"/>
          <c:tx>
            <c:strRef>
              <c:f>'[Bosch-Tractors.xlsx]Capacity utilisation'!$C$1</c:f>
              <c:strCache>
                <c:ptCount val="1"/>
              </c:strCache>
            </c:strRef>
          </c:tx>
          <c:spPr>
            <a:solidFill>
              <a:schemeClr val="accent2"/>
            </a:solidFill>
            <a:ln>
              <a:noFill/>
            </a:ln>
            <a:effectLst/>
          </c:spPr>
          <c:invertIfNegative val="0"/>
          <c:cat>
            <c:strRef>
              <c:f>'[Bosch-Tractors.xlsx]Capacity utilisation'!$A$2:$A$11</c:f>
              <c:strCache>
                <c:ptCount val="10"/>
                <c:pt idx="0">
                  <c:v>FY 14</c:v>
                </c:pt>
                <c:pt idx="1">
                  <c:v>FY 15</c:v>
                </c:pt>
                <c:pt idx="2">
                  <c:v>FY 16</c:v>
                </c:pt>
                <c:pt idx="3">
                  <c:v>FY 17</c:v>
                </c:pt>
                <c:pt idx="4">
                  <c:v>FY 18</c:v>
                </c:pt>
                <c:pt idx="5">
                  <c:v>FY 19</c:v>
                </c:pt>
                <c:pt idx="6">
                  <c:v>FY 20</c:v>
                </c:pt>
                <c:pt idx="7">
                  <c:v>FY 21</c:v>
                </c:pt>
                <c:pt idx="8">
                  <c:v>FY 22</c:v>
                </c:pt>
                <c:pt idx="9">
                  <c:v>FY23 P</c:v>
                </c:pt>
              </c:strCache>
            </c:strRef>
          </c:cat>
          <c:val>
            <c:numRef>
              <c:f>'[Bosch-Tractors.xlsx]Capacity utilisation'!$C$2:$C$11</c:f>
              <c:numCache>
                <c:formatCode>General</c:formatCode>
                <c:ptCount val="10"/>
                <c:pt idx="7">
                  <c:v>0</c:v>
                </c:pt>
                <c:pt idx="8">
                  <c:v>0</c:v>
                </c:pt>
              </c:numCache>
            </c:numRef>
          </c:val>
          <c:extLst>
            <c:ext xmlns:c16="http://schemas.microsoft.com/office/drawing/2014/chart" uri="{C3380CC4-5D6E-409C-BE32-E72D297353CC}">
              <c16:uniqueId val="{00000001-6910-412D-A6A9-54C82D6662E4}"/>
            </c:ext>
          </c:extLst>
        </c:ser>
        <c:dLbls>
          <c:showLegendKey val="0"/>
          <c:showVal val="0"/>
          <c:showCatName val="0"/>
          <c:showSerName val="0"/>
          <c:showPercent val="0"/>
          <c:showBubbleSize val="0"/>
        </c:dLbls>
        <c:gapWidth val="64"/>
        <c:overlap val="-27"/>
        <c:axId val="-2123342656"/>
        <c:axId val="-2123343200"/>
      </c:barChart>
      <c:catAx>
        <c:axId val="-2123342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23343200"/>
        <c:crosses val="autoZero"/>
        <c:auto val="1"/>
        <c:lblAlgn val="ctr"/>
        <c:lblOffset val="100"/>
        <c:noMultiLvlLbl val="0"/>
      </c:catAx>
      <c:valAx>
        <c:axId val="-212334320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123342656"/>
        <c:crosses val="autoZero"/>
        <c:crossBetween val="between"/>
      </c:valAx>
      <c:spPr>
        <a:noFill/>
        <a:ln>
          <a:noFill/>
        </a:ln>
        <a:effectLst/>
      </c:spPr>
    </c:plotArea>
    <c:legend>
      <c:legendPos val="b"/>
      <c:legendEntry>
        <c:idx val="1"/>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A$14:$A$21</c:f>
              <c:strCache>
                <c:ptCount val="8"/>
                <c:pt idx="0">
                  <c:v>Q1 FY21</c:v>
                </c:pt>
                <c:pt idx="1">
                  <c:v>Q2 FY21</c:v>
                </c:pt>
                <c:pt idx="2">
                  <c:v>Q3 FY21</c:v>
                </c:pt>
                <c:pt idx="3">
                  <c:v>Q4 FY21 </c:v>
                </c:pt>
                <c:pt idx="4">
                  <c:v>Q1FY22 </c:v>
                </c:pt>
                <c:pt idx="5">
                  <c:v>Q2FY22 </c:v>
                </c:pt>
                <c:pt idx="6">
                  <c:v>Q3FY22 </c:v>
                </c:pt>
                <c:pt idx="7">
                  <c:v>Q4FY22</c:v>
                </c:pt>
              </c:strCache>
            </c:strRef>
          </c:cat>
          <c:val>
            <c:numRef>
              <c:f>Production!$B$14:$B$21</c:f>
              <c:numCache>
                <c:formatCode>0</c:formatCode>
                <c:ptCount val="8"/>
                <c:pt idx="0">
                  <c:v>112.196</c:v>
                </c:pt>
                <c:pt idx="1">
                  <c:v>266.31099999999998</c:v>
                </c:pt>
                <c:pt idx="2">
                  <c:v>291.16899999999998</c:v>
                </c:pt>
                <c:pt idx="3">
                  <c:v>295.30099999999999</c:v>
                </c:pt>
                <c:pt idx="4">
                  <c:v>248.601</c:v>
                </c:pt>
                <c:pt idx="5">
                  <c:v>211.40199999999999</c:v>
                </c:pt>
                <c:pt idx="6">
                  <c:v>211.49799999999999</c:v>
                </c:pt>
                <c:pt idx="7">
                  <c:v>191</c:v>
                </c:pt>
              </c:numCache>
            </c:numRef>
          </c:val>
          <c:extLst>
            <c:ext xmlns:c16="http://schemas.microsoft.com/office/drawing/2014/chart" uri="{C3380CC4-5D6E-409C-BE32-E72D297353CC}">
              <c16:uniqueId val="{00000000-714C-428E-9CA1-0C9D5E37C135}"/>
            </c:ext>
          </c:extLst>
        </c:ser>
        <c:dLbls>
          <c:showLegendKey val="0"/>
          <c:showVal val="0"/>
          <c:showCatName val="0"/>
          <c:showSerName val="0"/>
          <c:showPercent val="0"/>
          <c:showBubbleSize val="0"/>
        </c:dLbls>
        <c:gapWidth val="219"/>
        <c:overlap val="-27"/>
        <c:axId val="1044038000"/>
        <c:axId val="1044036360"/>
      </c:barChart>
      <c:catAx>
        <c:axId val="104403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44036360"/>
        <c:crosses val="autoZero"/>
        <c:auto val="1"/>
        <c:lblAlgn val="ctr"/>
        <c:lblOffset val="100"/>
        <c:noMultiLvlLbl val="0"/>
      </c:catAx>
      <c:valAx>
        <c:axId val="104403636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0380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Exports!$A$22</c:f>
              <c:strCache>
                <c:ptCount val="1"/>
                <c:pt idx="0">
                  <c:v>Johndeer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21:$I$21</c:f>
              <c:strCache>
                <c:ptCount val="8"/>
                <c:pt idx="0">
                  <c:v>FY 15</c:v>
                </c:pt>
                <c:pt idx="1">
                  <c:v>FY 16</c:v>
                </c:pt>
                <c:pt idx="2">
                  <c:v>FY 17</c:v>
                </c:pt>
                <c:pt idx="3">
                  <c:v>FY 18</c:v>
                </c:pt>
                <c:pt idx="4">
                  <c:v>FY 19</c:v>
                </c:pt>
                <c:pt idx="5">
                  <c:v>FY 20 </c:v>
                </c:pt>
                <c:pt idx="6">
                  <c:v>FY 21 </c:v>
                </c:pt>
                <c:pt idx="7">
                  <c:v>Q3 FY22</c:v>
                </c:pt>
              </c:strCache>
            </c:strRef>
          </c:cat>
          <c:val>
            <c:numRef>
              <c:f>Exports!$B$22:$I$22</c:f>
              <c:numCache>
                <c:formatCode>0%</c:formatCode>
                <c:ptCount val="8"/>
                <c:pt idx="0">
                  <c:v>0.23</c:v>
                </c:pt>
                <c:pt idx="1">
                  <c:v>0.27</c:v>
                </c:pt>
                <c:pt idx="2">
                  <c:v>0.15</c:v>
                </c:pt>
                <c:pt idx="3">
                  <c:v>0.19</c:v>
                </c:pt>
                <c:pt idx="4">
                  <c:v>0.22</c:v>
                </c:pt>
                <c:pt idx="5">
                  <c:v>0.21</c:v>
                </c:pt>
                <c:pt idx="6">
                  <c:v>0.18</c:v>
                </c:pt>
                <c:pt idx="7">
                  <c:v>0.1</c:v>
                </c:pt>
              </c:numCache>
            </c:numRef>
          </c:val>
          <c:extLst>
            <c:ext xmlns:c16="http://schemas.microsoft.com/office/drawing/2014/chart" uri="{C3380CC4-5D6E-409C-BE32-E72D297353CC}">
              <c16:uniqueId val="{00000000-9DED-4741-A420-1B1373383268}"/>
            </c:ext>
          </c:extLst>
        </c:ser>
        <c:ser>
          <c:idx val="1"/>
          <c:order val="1"/>
          <c:tx>
            <c:strRef>
              <c:f>Exports!$A$23</c:f>
              <c:strCache>
                <c:ptCount val="1"/>
                <c:pt idx="0">
                  <c:v>International Tractors Lt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21:$I$21</c:f>
              <c:strCache>
                <c:ptCount val="8"/>
                <c:pt idx="0">
                  <c:v>FY 15</c:v>
                </c:pt>
                <c:pt idx="1">
                  <c:v>FY 16</c:v>
                </c:pt>
                <c:pt idx="2">
                  <c:v>FY 17</c:v>
                </c:pt>
                <c:pt idx="3">
                  <c:v>FY 18</c:v>
                </c:pt>
                <c:pt idx="4">
                  <c:v>FY 19</c:v>
                </c:pt>
                <c:pt idx="5">
                  <c:v>FY 20 </c:v>
                </c:pt>
                <c:pt idx="6">
                  <c:v>FY 21 </c:v>
                </c:pt>
                <c:pt idx="7">
                  <c:v>Q3 FY22</c:v>
                </c:pt>
              </c:strCache>
            </c:strRef>
          </c:cat>
          <c:val>
            <c:numRef>
              <c:f>Exports!$B$23:$I$23</c:f>
              <c:numCache>
                <c:formatCode>0%</c:formatCode>
                <c:ptCount val="8"/>
                <c:pt idx="0">
                  <c:v>0.15</c:v>
                </c:pt>
                <c:pt idx="1">
                  <c:v>0.12</c:v>
                </c:pt>
                <c:pt idx="2">
                  <c:v>0.16</c:v>
                </c:pt>
                <c:pt idx="3">
                  <c:v>0.16</c:v>
                </c:pt>
                <c:pt idx="4">
                  <c:v>0.2</c:v>
                </c:pt>
                <c:pt idx="5">
                  <c:v>0.24</c:v>
                </c:pt>
                <c:pt idx="6">
                  <c:v>0.25</c:v>
                </c:pt>
                <c:pt idx="7">
                  <c:v>0.3</c:v>
                </c:pt>
              </c:numCache>
            </c:numRef>
          </c:val>
          <c:extLst>
            <c:ext xmlns:c16="http://schemas.microsoft.com/office/drawing/2014/chart" uri="{C3380CC4-5D6E-409C-BE32-E72D297353CC}">
              <c16:uniqueId val="{00000001-9DED-4741-A420-1B1373383268}"/>
            </c:ext>
          </c:extLst>
        </c:ser>
        <c:ser>
          <c:idx val="2"/>
          <c:order val="2"/>
          <c:tx>
            <c:strRef>
              <c:f>Exports!$A$24</c:f>
              <c:strCache>
                <c:ptCount val="1"/>
                <c:pt idx="0">
                  <c:v>TAF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21:$I$21</c:f>
              <c:strCache>
                <c:ptCount val="8"/>
                <c:pt idx="0">
                  <c:v>FY 15</c:v>
                </c:pt>
                <c:pt idx="1">
                  <c:v>FY 16</c:v>
                </c:pt>
                <c:pt idx="2">
                  <c:v>FY 17</c:v>
                </c:pt>
                <c:pt idx="3">
                  <c:v>FY 18</c:v>
                </c:pt>
                <c:pt idx="4">
                  <c:v>FY 19</c:v>
                </c:pt>
                <c:pt idx="5">
                  <c:v>FY 20 </c:v>
                </c:pt>
                <c:pt idx="6">
                  <c:v>FY 21 </c:v>
                </c:pt>
                <c:pt idx="7">
                  <c:v>Q3 FY22</c:v>
                </c:pt>
              </c:strCache>
            </c:strRef>
          </c:cat>
          <c:val>
            <c:numRef>
              <c:f>Exports!$B$24:$I$24</c:f>
              <c:numCache>
                <c:formatCode>0%</c:formatCode>
                <c:ptCount val="8"/>
                <c:pt idx="0">
                  <c:v>0.21</c:v>
                </c:pt>
                <c:pt idx="1">
                  <c:v>0.22</c:v>
                </c:pt>
                <c:pt idx="2">
                  <c:v>0.21</c:v>
                </c:pt>
                <c:pt idx="3">
                  <c:v>0.21</c:v>
                </c:pt>
                <c:pt idx="4">
                  <c:v>0.18</c:v>
                </c:pt>
                <c:pt idx="5">
                  <c:v>0.17</c:v>
                </c:pt>
                <c:pt idx="6">
                  <c:v>0.16</c:v>
                </c:pt>
                <c:pt idx="7">
                  <c:v>0.2</c:v>
                </c:pt>
              </c:numCache>
            </c:numRef>
          </c:val>
          <c:extLst>
            <c:ext xmlns:c16="http://schemas.microsoft.com/office/drawing/2014/chart" uri="{C3380CC4-5D6E-409C-BE32-E72D297353CC}">
              <c16:uniqueId val="{00000002-9DED-4741-A420-1B1373383268}"/>
            </c:ext>
          </c:extLst>
        </c:ser>
        <c:ser>
          <c:idx val="3"/>
          <c:order val="3"/>
          <c:tx>
            <c:strRef>
              <c:f>Exports!$A$25</c:f>
              <c:strCache>
                <c:ptCount val="1"/>
                <c:pt idx="0">
                  <c:v>Mahindra &amp; Mahindra Ltd.</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21:$I$21</c:f>
              <c:strCache>
                <c:ptCount val="8"/>
                <c:pt idx="0">
                  <c:v>FY 15</c:v>
                </c:pt>
                <c:pt idx="1">
                  <c:v>FY 16</c:v>
                </c:pt>
                <c:pt idx="2">
                  <c:v>FY 17</c:v>
                </c:pt>
                <c:pt idx="3">
                  <c:v>FY 18</c:v>
                </c:pt>
                <c:pt idx="4">
                  <c:v>FY 19</c:v>
                </c:pt>
                <c:pt idx="5">
                  <c:v>FY 20 </c:v>
                </c:pt>
                <c:pt idx="6">
                  <c:v>FY 21 </c:v>
                </c:pt>
                <c:pt idx="7">
                  <c:v>Q3 FY22</c:v>
                </c:pt>
              </c:strCache>
            </c:strRef>
          </c:cat>
          <c:val>
            <c:numRef>
              <c:f>Exports!$B$25:$I$25</c:f>
              <c:numCache>
                <c:formatCode>0%</c:formatCode>
                <c:ptCount val="8"/>
                <c:pt idx="0">
                  <c:v>0.19</c:v>
                </c:pt>
                <c:pt idx="1">
                  <c:v>0.15</c:v>
                </c:pt>
                <c:pt idx="2">
                  <c:v>0.19</c:v>
                </c:pt>
                <c:pt idx="3">
                  <c:v>0.18</c:v>
                </c:pt>
                <c:pt idx="4">
                  <c:v>0.15</c:v>
                </c:pt>
                <c:pt idx="5">
                  <c:v>0.13</c:v>
                </c:pt>
                <c:pt idx="6">
                  <c:v>0.12</c:v>
                </c:pt>
                <c:pt idx="7">
                  <c:v>0.15</c:v>
                </c:pt>
              </c:numCache>
            </c:numRef>
          </c:val>
          <c:extLst>
            <c:ext xmlns:c16="http://schemas.microsoft.com/office/drawing/2014/chart" uri="{C3380CC4-5D6E-409C-BE32-E72D297353CC}">
              <c16:uniqueId val="{00000003-9DED-4741-A420-1B1373383268}"/>
            </c:ext>
          </c:extLst>
        </c:ser>
        <c:ser>
          <c:idx val="4"/>
          <c:order val="4"/>
          <c:tx>
            <c:strRef>
              <c:f>Exports!$A$26</c:f>
              <c:strCache>
                <c:ptCount val="1"/>
                <c:pt idx="0">
                  <c:v>Others</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21:$I$21</c:f>
              <c:strCache>
                <c:ptCount val="8"/>
                <c:pt idx="0">
                  <c:v>FY 15</c:v>
                </c:pt>
                <c:pt idx="1">
                  <c:v>FY 16</c:v>
                </c:pt>
                <c:pt idx="2">
                  <c:v>FY 17</c:v>
                </c:pt>
                <c:pt idx="3">
                  <c:v>FY 18</c:v>
                </c:pt>
                <c:pt idx="4">
                  <c:v>FY 19</c:v>
                </c:pt>
                <c:pt idx="5">
                  <c:v>FY 20 </c:v>
                </c:pt>
                <c:pt idx="6">
                  <c:v>FY 21 </c:v>
                </c:pt>
                <c:pt idx="7">
                  <c:v>Q3 FY22</c:v>
                </c:pt>
              </c:strCache>
            </c:strRef>
          </c:cat>
          <c:val>
            <c:numRef>
              <c:f>Exports!$B$26:$I$26</c:f>
              <c:numCache>
                <c:formatCode>0%</c:formatCode>
                <c:ptCount val="8"/>
                <c:pt idx="0">
                  <c:v>0.23</c:v>
                </c:pt>
                <c:pt idx="1">
                  <c:v>0.23</c:v>
                </c:pt>
                <c:pt idx="2">
                  <c:v>0.28999999999999998</c:v>
                </c:pt>
                <c:pt idx="3">
                  <c:v>0.25</c:v>
                </c:pt>
                <c:pt idx="4">
                  <c:v>0.23</c:v>
                </c:pt>
                <c:pt idx="5">
                  <c:v>0.25</c:v>
                </c:pt>
                <c:pt idx="6">
                  <c:v>0.28999999999999998</c:v>
                </c:pt>
                <c:pt idx="7">
                  <c:v>0.25</c:v>
                </c:pt>
              </c:numCache>
            </c:numRef>
          </c:val>
          <c:extLst>
            <c:ext xmlns:c16="http://schemas.microsoft.com/office/drawing/2014/chart" uri="{C3380CC4-5D6E-409C-BE32-E72D297353CC}">
              <c16:uniqueId val="{00000004-9DED-4741-A420-1B1373383268}"/>
            </c:ext>
          </c:extLst>
        </c:ser>
        <c:dLbls>
          <c:showLegendKey val="0"/>
          <c:showVal val="0"/>
          <c:showCatName val="0"/>
          <c:showSerName val="0"/>
          <c:showPercent val="0"/>
          <c:showBubbleSize val="0"/>
        </c:dLbls>
        <c:gapWidth val="150"/>
        <c:overlap val="100"/>
        <c:axId val="431107912"/>
        <c:axId val="431109552"/>
      </c:barChart>
      <c:catAx>
        <c:axId val="431107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31109552"/>
        <c:crosses val="autoZero"/>
        <c:auto val="1"/>
        <c:lblAlgn val="ctr"/>
        <c:lblOffset val="100"/>
        <c:noMultiLvlLbl val="0"/>
      </c:catAx>
      <c:valAx>
        <c:axId val="43110955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31107912"/>
        <c:crosses val="autoZero"/>
        <c:crossBetween val="between"/>
      </c:valAx>
      <c:spPr>
        <a:noFill/>
        <a:ln>
          <a:noFill/>
        </a:ln>
        <a:effectLst/>
      </c:spPr>
    </c:plotArea>
    <c:legend>
      <c:legendPos val="b"/>
      <c:layout>
        <c:manualLayout>
          <c:xMode val="edge"/>
          <c:yMode val="edge"/>
          <c:x val="1.4432212506317526E-2"/>
          <c:y val="0.8230369717883228"/>
          <c:w val="0.9666533021997723"/>
          <c:h val="0.15388140772440664"/>
        </c:manualLayout>
      </c:layout>
      <c:overlay val="0"/>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Exports!$A$5</c:f>
              <c:strCache>
                <c:ptCount val="1"/>
                <c:pt idx="0">
                  <c:v>Upto 30 hp</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4:$I$4</c:f>
              <c:strCache>
                <c:ptCount val="8"/>
                <c:pt idx="0">
                  <c:v>FY15</c:v>
                </c:pt>
                <c:pt idx="1">
                  <c:v>FY16</c:v>
                </c:pt>
                <c:pt idx="2">
                  <c:v>FY17</c:v>
                </c:pt>
                <c:pt idx="3">
                  <c:v>FY18</c:v>
                </c:pt>
                <c:pt idx="4">
                  <c:v>FY19</c:v>
                </c:pt>
                <c:pt idx="5">
                  <c:v>FY20 </c:v>
                </c:pt>
                <c:pt idx="6">
                  <c:v>FY21 </c:v>
                </c:pt>
                <c:pt idx="7">
                  <c:v>Q3 FY22</c:v>
                </c:pt>
              </c:strCache>
            </c:strRef>
          </c:cat>
          <c:val>
            <c:numRef>
              <c:f>Exports!$B$5:$I$5</c:f>
              <c:numCache>
                <c:formatCode>0%</c:formatCode>
                <c:ptCount val="8"/>
                <c:pt idx="0">
                  <c:v>0.01</c:v>
                </c:pt>
                <c:pt idx="1">
                  <c:v>0.02</c:v>
                </c:pt>
                <c:pt idx="2">
                  <c:v>0.03</c:v>
                </c:pt>
                <c:pt idx="3">
                  <c:v>0.04</c:v>
                </c:pt>
                <c:pt idx="4">
                  <c:v>0.06</c:v>
                </c:pt>
                <c:pt idx="5">
                  <c:v>0.09</c:v>
                </c:pt>
                <c:pt idx="6">
                  <c:v>0.12</c:v>
                </c:pt>
                <c:pt idx="7">
                  <c:v>0.17</c:v>
                </c:pt>
              </c:numCache>
            </c:numRef>
          </c:val>
          <c:extLst>
            <c:ext xmlns:c16="http://schemas.microsoft.com/office/drawing/2014/chart" uri="{C3380CC4-5D6E-409C-BE32-E72D297353CC}">
              <c16:uniqueId val="{00000000-B88D-40A4-9EB4-259FADE724AF}"/>
            </c:ext>
          </c:extLst>
        </c:ser>
        <c:ser>
          <c:idx val="1"/>
          <c:order val="1"/>
          <c:tx>
            <c:strRef>
              <c:f>Exports!$A$6</c:f>
              <c:strCache>
                <c:ptCount val="1"/>
                <c:pt idx="0">
                  <c:v>31-40 hp</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4:$I$4</c:f>
              <c:strCache>
                <c:ptCount val="8"/>
                <c:pt idx="0">
                  <c:v>FY15</c:v>
                </c:pt>
                <c:pt idx="1">
                  <c:v>FY16</c:v>
                </c:pt>
                <c:pt idx="2">
                  <c:v>FY17</c:v>
                </c:pt>
                <c:pt idx="3">
                  <c:v>FY18</c:v>
                </c:pt>
                <c:pt idx="4">
                  <c:v>FY19</c:v>
                </c:pt>
                <c:pt idx="5">
                  <c:v>FY20 </c:v>
                </c:pt>
                <c:pt idx="6">
                  <c:v>FY21 </c:v>
                </c:pt>
                <c:pt idx="7">
                  <c:v>Q3 FY22</c:v>
                </c:pt>
              </c:strCache>
            </c:strRef>
          </c:cat>
          <c:val>
            <c:numRef>
              <c:f>Exports!$B$6:$I$6</c:f>
              <c:numCache>
                <c:formatCode>0%</c:formatCode>
                <c:ptCount val="8"/>
                <c:pt idx="0">
                  <c:v>7.0000000000000007E-2</c:v>
                </c:pt>
                <c:pt idx="1">
                  <c:v>0.06</c:v>
                </c:pt>
                <c:pt idx="2">
                  <c:v>0.08</c:v>
                </c:pt>
                <c:pt idx="3">
                  <c:v>0.06</c:v>
                </c:pt>
                <c:pt idx="4">
                  <c:v>0.05</c:v>
                </c:pt>
                <c:pt idx="5">
                  <c:v>0.06</c:v>
                </c:pt>
                <c:pt idx="6">
                  <c:v>0.04</c:v>
                </c:pt>
                <c:pt idx="7">
                  <c:v>0.03</c:v>
                </c:pt>
              </c:numCache>
            </c:numRef>
          </c:val>
          <c:extLst>
            <c:ext xmlns:c16="http://schemas.microsoft.com/office/drawing/2014/chart" uri="{C3380CC4-5D6E-409C-BE32-E72D297353CC}">
              <c16:uniqueId val="{00000001-B88D-40A4-9EB4-259FADE724AF}"/>
            </c:ext>
          </c:extLst>
        </c:ser>
        <c:ser>
          <c:idx val="2"/>
          <c:order val="2"/>
          <c:tx>
            <c:strRef>
              <c:f>Exports!$A$7</c:f>
              <c:strCache>
                <c:ptCount val="1"/>
                <c:pt idx="0">
                  <c:v>41-50 hp</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4:$I$4</c:f>
              <c:strCache>
                <c:ptCount val="8"/>
                <c:pt idx="0">
                  <c:v>FY15</c:v>
                </c:pt>
                <c:pt idx="1">
                  <c:v>FY16</c:v>
                </c:pt>
                <c:pt idx="2">
                  <c:v>FY17</c:v>
                </c:pt>
                <c:pt idx="3">
                  <c:v>FY18</c:v>
                </c:pt>
                <c:pt idx="4">
                  <c:v>FY19</c:v>
                </c:pt>
                <c:pt idx="5">
                  <c:v>FY20 </c:v>
                </c:pt>
                <c:pt idx="6">
                  <c:v>FY21 </c:v>
                </c:pt>
                <c:pt idx="7">
                  <c:v>Q3 FY22</c:v>
                </c:pt>
              </c:strCache>
            </c:strRef>
          </c:cat>
          <c:val>
            <c:numRef>
              <c:f>Exports!$B$7:$I$7</c:f>
              <c:numCache>
                <c:formatCode>0%</c:formatCode>
                <c:ptCount val="8"/>
                <c:pt idx="0">
                  <c:v>0.23</c:v>
                </c:pt>
                <c:pt idx="1">
                  <c:v>0.26</c:v>
                </c:pt>
                <c:pt idx="2">
                  <c:v>0.28000000000000003</c:v>
                </c:pt>
                <c:pt idx="3">
                  <c:v>0.3</c:v>
                </c:pt>
                <c:pt idx="4">
                  <c:v>0.26</c:v>
                </c:pt>
                <c:pt idx="5">
                  <c:v>0.25</c:v>
                </c:pt>
                <c:pt idx="6">
                  <c:v>0.24</c:v>
                </c:pt>
                <c:pt idx="7">
                  <c:v>0.25</c:v>
                </c:pt>
              </c:numCache>
            </c:numRef>
          </c:val>
          <c:extLst>
            <c:ext xmlns:c16="http://schemas.microsoft.com/office/drawing/2014/chart" uri="{C3380CC4-5D6E-409C-BE32-E72D297353CC}">
              <c16:uniqueId val="{00000002-B88D-40A4-9EB4-259FADE724AF}"/>
            </c:ext>
          </c:extLst>
        </c:ser>
        <c:ser>
          <c:idx val="3"/>
          <c:order val="3"/>
          <c:tx>
            <c:strRef>
              <c:f>Exports!$A$8</c:f>
              <c:strCache>
                <c:ptCount val="1"/>
                <c:pt idx="0">
                  <c:v>51 hp and abov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ports!$B$4:$I$4</c:f>
              <c:strCache>
                <c:ptCount val="8"/>
                <c:pt idx="0">
                  <c:v>FY15</c:v>
                </c:pt>
                <c:pt idx="1">
                  <c:v>FY16</c:v>
                </c:pt>
                <c:pt idx="2">
                  <c:v>FY17</c:v>
                </c:pt>
                <c:pt idx="3">
                  <c:v>FY18</c:v>
                </c:pt>
                <c:pt idx="4">
                  <c:v>FY19</c:v>
                </c:pt>
                <c:pt idx="5">
                  <c:v>FY20 </c:v>
                </c:pt>
                <c:pt idx="6">
                  <c:v>FY21 </c:v>
                </c:pt>
                <c:pt idx="7">
                  <c:v>Q3 FY22</c:v>
                </c:pt>
              </c:strCache>
            </c:strRef>
          </c:cat>
          <c:val>
            <c:numRef>
              <c:f>Exports!$B$8:$I$8</c:f>
              <c:numCache>
                <c:formatCode>0%</c:formatCode>
                <c:ptCount val="8"/>
                <c:pt idx="0">
                  <c:v>0.68</c:v>
                </c:pt>
                <c:pt idx="1">
                  <c:v>0.67</c:v>
                </c:pt>
                <c:pt idx="2">
                  <c:v>0.61</c:v>
                </c:pt>
                <c:pt idx="3">
                  <c:v>0.6</c:v>
                </c:pt>
                <c:pt idx="4">
                  <c:v>0.63</c:v>
                </c:pt>
                <c:pt idx="5">
                  <c:v>0.61</c:v>
                </c:pt>
                <c:pt idx="6">
                  <c:v>0.61</c:v>
                </c:pt>
                <c:pt idx="7">
                  <c:v>0.55000000000000004</c:v>
                </c:pt>
              </c:numCache>
            </c:numRef>
          </c:val>
          <c:extLst>
            <c:ext xmlns:c16="http://schemas.microsoft.com/office/drawing/2014/chart" uri="{C3380CC4-5D6E-409C-BE32-E72D297353CC}">
              <c16:uniqueId val="{00000003-B88D-40A4-9EB4-259FADE724AF}"/>
            </c:ext>
          </c:extLst>
        </c:ser>
        <c:dLbls>
          <c:showLegendKey val="0"/>
          <c:showVal val="0"/>
          <c:showCatName val="0"/>
          <c:showSerName val="0"/>
          <c:showPercent val="0"/>
          <c:showBubbleSize val="0"/>
        </c:dLbls>
        <c:gapWidth val="150"/>
        <c:overlap val="100"/>
        <c:axId val="1089477576"/>
        <c:axId val="1089475936"/>
      </c:barChart>
      <c:catAx>
        <c:axId val="1089477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89475936"/>
        <c:crosses val="autoZero"/>
        <c:auto val="1"/>
        <c:lblAlgn val="ctr"/>
        <c:lblOffset val="100"/>
        <c:noMultiLvlLbl val="0"/>
      </c:catAx>
      <c:valAx>
        <c:axId val="10894759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89477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a:defRPr lang="en-US"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892749697868361E-2"/>
          <c:y val="0.15263944618746664"/>
          <c:w val="0.9451334093305106"/>
          <c:h val="0.57652505613047444"/>
        </c:manualLayout>
      </c:layout>
      <c:barChart>
        <c:barDir val="col"/>
        <c:grouping val="clustered"/>
        <c:varyColors val="0"/>
        <c:ser>
          <c:idx val="0"/>
          <c:order val="0"/>
          <c:spPr>
            <a:solidFill>
              <a:schemeClr val="accent6"/>
            </a:solidFill>
            <a:ln>
              <a:noFill/>
            </a:ln>
            <a:effectLst/>
          </c:spPr>
          <c:invertIfNegative val="0"/>
          <c:cat>
            <c:multiLvlStrRef>
              <c:f>Sheet1!$S$6:$AG$7</c:f>
              <c:multiLvlStrCache>
                <c:ptCount val="15"/>
                <c:lvl>
                  <c:pt idx="0">
                    <c:v>FY19 E</c:v>
                  </c:pt>
                  <c:pt idx="1">
                    <c:v>FY20 E</c:v>
                  </c:pt>
                  <c:pt idx="2">
                    <c:v>FY21 E</c:v>
                  </c:pt>
                  <c:pt idx="3">
                    <c:v>FY22 P</c:v>
                  </c:pt>
                  <c:pt idx="4">
                    <c:v>FY23 P</c:v>
                  </c:pt>
                  <c:pt idx="5">
                    <c:v>FY19 E</c:v>
                  </c:pt>
                  <c:pt idx="6">
                    <c:v>FY20 E</c:v>
                  </c:pt>
                  <c:pt idx="7">
                    <c:v>FY21 E</c:v>
                  </c:pt>
                  <c:pt idx="8">
                    <c:v>FY22 P</c:v>
                  </c:pt>
                  <c:pt idx="9">
                    <c:v>FY23 P</c:v>
                  </c:pt>
                  <c:pt idx="10">
                    <c:v>FY19 E</c:v>
                  </c:pt>
                  <c:pt idx="11">
                    <c:v>FY20 E</c:v>
                  </c:pt>
                  <c:pt idx="12">
                    <c:v>FY21 E</c:v>
                  </c:pt>
                  <c:pt idx="13">
                    <c:v>FY22 P</c:v>
                  </c:pt>
                  <c:pt idx="14">
                    <c:v>FY23 P</c:v>
                  </c:pt>
                </c:lvl>
                <c:lvl>
                  <c:pt idx="0">
                    <c:v> OEM (60%)</c:v>
                  </c:pt>
                  <c:pt idx="5">
                    <c:v>Replacement (19%)</c:v>
                  </c:pt>
                  <c:pt idx="10">
                    <c:v>Exports (21%)</c:v>
                  </c:pt>
                </c:lvl>
              </c:multiLvlStrCache>
            </c:multiLvlStrRef>
          </c:cat>
          <c:val>
            <c:numRef>
              <c:f>Sheet1!$S$8:$AG$8</c:f>
              <c:numCache>
                <c:formatCode>_ * #,##0_ ;_ * \-#,##0_ ;_ * "-"??_ ;_ @_ </c:formatCode>
                <c:ptCount val="15"/>
                <c:pt idx="0">
                  <c:v>2413</c:v>
                </c:pt>
                <c:pt idx="1">
                  <c:v>2419</c:v>
                </c:pt>
                <c:pt idx="2">
                  <c:v>2051</c:v>
                </c:pt>
                <c:pt idx="3">
                  <c:v>2471</c:v>
                </c:pt>
                <c:pt idx="4">
                  <c:v>2905</c:v>
                </c:pt>
                <c:pt idx="5">
                  <c:v>556</c:v>
                </c:pt>
                <c:pt idx="6">
                  <c:v>694</c:v>
                </c:pt>
                <c:pt idx="7">
                  <c:v>645</c:v>
                </c:pt>
                <c:pt idx="8">
                  <c:v>740</c:v>
                </c:pt>
                <c:pt idx="9">
                  <c:v>792</c:v>
                </c:pt>
                <c:pt idx="10">
                  <c:v>687</c:v>
                </c:pt>
                <c:pt idx="11">
                  <c:v>651</c:v>
                </c:pt>
                <c:pt idx="12">
                  <c:v>636</c:v>
                </c:pt>
                <c:pt idx="13">
                  <c:v>891</c:v>
                </c:pt>
                <c:pt idx="14">
                  <c:v>971</c:v>
                </c:pt>
              </c:numCache>
            </c:numRef>
          </c:val>
          <c:extLst>
            <c:ext xmlns:c16="http://schemas.microsoft.com/office/drawing/2014/chart" uri="{C3380CC4-5D6E-409C-BE32-E72D297353CC}">
              <c16:uniqueId val="{00000000-3C6A-4166-94D4-A0C7A2FD1AFC}"/>
            </c:ext>
          </c:extLst>
        </c:ser>
        <c:dLbls>
          <c:showLegendKey val="0"/>
          <c:showVal val="0"/>
          <c:showCatName val="0"/>
          <c:showSerName val="0"/>
          <c:showPercent val="0"/>
          <c:showBubbleSize val="0"/>
        </c:dLbls>
        <c:gapWidth val="219"/>
        <c:overlap val="-27"/>
        <c:axId val="1830490720"/>
        <c:axId val="1830491264"/>
      </c:barChart>
      <c:catAx>
        <c:axId val="1830490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30491264"/>
        <c:crosses val="autoZero"/>
        <c:auto val="1"/>
        <c:lblAlgn val="ctr"/>
        <c:lblOffset val="100"/>
        <c:noMultiLvlLbl val="0"/>
      </c:catAx>
      <c:valAx>
        <c:axId val="1830491264"/>
        <c:scaling>
          <c:orientation val="minMax"/>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0490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IN" sz="126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IN" dirty="0"/>
              <a:t>FY21 </a:t>
            </a:r>
          </a:p>
        </c:rich>
      </c:tx>
      <c:overlay val="0"/>
      <c:spPr>
        <a:noFill/>
        <a:ln>
          <a:noFill/>
        </a:ln>
        <a:effectLst/>
      </c:spPr>
    </c:title>
    <c:autoTitleDeleted val="0"/>
    <c:plotArea>
      <c:layout>
        <c:manualLayout>
          <c:layoutTarget val="inner"/>
          <c:xMode val="edge"/>
          <c:yMode val="edge"/>
          <c:x val="0.26679177602799647"/>
          <c:y val="0.17171296296296296"/>
          <c:w val="0.43030555555555561"/>
          <c:h val="0.71717592592592605"/>
        </c:manualLayout>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lang="en-IN"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pieChart>
        <c:varyColors val="1"/>
        <c:ser>
          <c:idx val="0"/>
          <c:order val="0"/>
          <c:tx>
            <c:strRef>
              <c:f>Sheet2!$C$23</c:f>
              <c:strCache>
                <c:ptCount val="1"/>
                <c:pt idx="0">
                  <c:v>FY20</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BCC-4135-B1CE-52DDC5F1CDA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BCC-4135-B1CE-52DDC5F1CDA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BCC-4135-B1CE-52DDC5F1CDA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BCC-4135-B1CE-52DDC5F1CDA7}"/>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2!$B$24:$B$27</c:f>
              <c:strCache>
                <c:ptCount val="4"/>
                <c:pt idx="0">
                  <c:v>Europe</c:v>
                </c:pt>
                <c:pt idx="1">
                  <c:v>N. America</c:v>
                </c:pt>
                <c:pt idx="2">
                  <c:v>Asia</c:v>
                </c:pt>
                <c:pt idx="3">
                  <c:v>Others</c:v>
                </c:pt>
              </c:strCache>
            </c:strRef>
          </c:cat>
          <c:val>
            <c:numRef>
              <c:f>Sheet2!$C$24:$C$27</c:f>
              <c:numCache>
                <c:formatCode>0%</c:formatCode>
                <c:ptCount val="4"/>
                <c:pt idx="0">
                  <c:v>0.28000000000000003</c:v>
                </c:pt>
                <c:pt idx="1">
                  <c:v>0.28996916821066793</c:v>
                </c:pt>
                <c:pt idx="2">
                  <c:v>0.22</c:v>
                </c:pt>
                <c:pt idx="3">
                  <c:v>0.21</c:v>
                </c:pt>
              </c:numCache>
            </c:numRef>
          </c:val>
          <c:extLst>
            <c:ext xmlns:c16="http://schemas.microsoft.com/office/drawing/2014/chart" uri="{C3380CC4-5D6E-409C-BE32-E72D297353CC}">
              <c16:uniqueId val="{00000008-DBCC-4135-B1CE-52DDC5F1CDA7}"/>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20043479592149174"/>
          <c:y val="0.92321452518247493"/>
          <c:w val="0.79657392119500581"/>
          <c:h val="7.24896802815243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4999928073533713"/>
          <c:y val="4.6256072558129677E-2"/>
        </c:manualLayout>
      </c:layout>
      <c:overlay val="0"/>
      <c:spPr>
        <a:noFill/>
        <a:ln>
          <a:noFill/>
        </a:ln>
        <a:effectLst/>
      </c:spPr>
      <c:txPr>
        <a:bodyPr rot="0" spcFirstLastPara="1" vertOverflow="ellipsis" vert="horz" wrap="square" anchor="ctr" anchorCtr="1"/>
        <a:lstStyle/>
        <a:p>
          <a:pPr>
            <a:defRPr lang="en-US" sz="11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6679177602799647"/>
          <c:y val="0.17171296296296296"/>
          <c:w val="0.43030555555555561"/>
          <c:h val="0.71717592592592605"/>
        </c:manualLayout>
      </c:layout>
      <c:pieChart>
        <c:varyColors val="1"/>
        <c:ser>
          <c:idx val="0"/>
          <c:order val="0"/>
          <c:tx>
            <c:strRef>
              <c:f>Sheet2!$D$23</c:f>
              <c:strCache>
                <c:ptCount val="1"/>
                <c:pt idx="0">
                  <c:v>FY21 </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33-451D-A0F3-FB40C42247B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33-451D-A0F3-FB40C42247B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C33-451D-A0F3-FB40C42247B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C33-451D-A0F3-FB40C42247B6}"/>
              </c:ext>
            </c:extLst>
          </c:dPt>
          <c:dLbls>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2!$D$24:$D$27</c:f>
              <c:numCache>
                <c:formatCode>0%</c:formatCode>
                <c:ptCount val="4"/>
                <c:pt idx="0">
                  <c:v>0.3</c:v>
                </c:pt>
                <c:pt idx="1">
                  <c:v>0.2899584814335372</c:v>
                </c:pt>
                <c:pt idx="2">
                  <c:v>0.22</c:v>
                </c:pt>
                <c:pt idx="3">
                  <c:v>0.19</c:v>
                </c:pt>
              </c:numCache>
            </c:numRef>
          </c:val>
          <c:extLst>
            <c:ext xmlns:c16="http://schemas.microsoft.com/office/drawing/2014/chart" uri="{C3380CC4-5D6E-409C-BE32-E72D297353CC}">
              <c16:uniqueId val="{00000008-1C33-451D-A0F3-FB40C42247B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43032376509576E-2"/>
          <c:y val="0.25198895435873153"/>
          <c:w val="0.89841108339049913"/>
          <c:h val="0.64722299004086015"/>
        </c:manualLayout>
      </c:layout>
      <c:barChart>
        <c:barDir val="col"/>
        <c:grouping val="clustered"/>
        <c:varyColors val="0"/>
        <c:ser>
          <c:idx val="0"/>
          <c:order val="0"/>
          <c:tx>
            <c:strRef>
              <c:f>Sheet2!$B$3</c:f>
              <c:strCache>
                <c:ptCount val="1"/>
                <c:pt idx="0">
                  <c:v>Exports</c:v>
                </c:pt>
              </c:strCache>
            </c:strRef>
          </c:tx>
          <c:spPr>
            <a:solidFill>
              <a:schemeClr val="accent6"/>
            </a:solidFill>
            <a:ln>
              <a:noFill/>
            </a:ln>
            <a:effectLst/>
          </c:spPr>
          <c:invertIfNegative val="0"/>
          <c:cat>
            <c:strRef>
              <c:f>Sheet2!$C$2:$G$2</c:f>
              <c:strCache>
                <c:ptCount val="5"/>
                <c:pt idx="0">
                  <c:v>FY19 E</c:v>
                </c:pt>
                <c:pt idx="1">
                  <c:v>FY20 E</c:v>
                </c:pt>
                <c:pt idx="2">
                  <c:v>FY21 E</c:v>
                </c:pt>
                <c:pt idx="3">
                  <c:v>FY22 P</c:v>
                </c:pt>
                <c:pt idx="4">
                  <c:v>FY23 P</c:v>
                </c:pt>
              </c:strCache>
            </c:strRef>
          </c:cat>
          <c:val>
            <c:numRef>
              <c:f>Sheet2!$C$3:$G$3</c:f>
              <c:numCache>
                <c:formatCode>0</c:formatCode>
                <c:ptCount val="5"/>
                <c:pt idx="0">
                  <c:v>687</c:v>
                </c:pt>
                <c:pt idx="1">
                  <c:v>651</c:v>
                </c:pt>
                <c:pt idx="2">
                  <c:v>636</c:v>
                </c:pt>
                <c:pt idx="3">
                  <c:v>891</c:v>
                </c:pt>
                <c:pt idx="4">
                  <c:v>971</c:v>
                </c:pt>
              </c:numCache>
            </c:numRef>
          </c:val>
          <c:extLst>
            <c:ext xmlns:c16="http://schemas.microsoft.com/office/drawing/2014/chart" uri="{C3380CC4-5D6E-409C-BE32-E72D297353CC}">
              <c16:uniqueId val="{00000000-08FB-4222-A413-158B5D477785}"/>
            </c:ext>
          </c:extLst>
        </c:ser>
        <c:dLbls>
          <c:showLegendKey val="0"/>
          <c:showVal val="0"/>
          <c:showCatName val="0"/>
          <c:showSerName val="0"/>
          <c:showPercent val="0"/>
          <c:showBubbleSize val="0"/>
        </c:dLbls>
        <c:gapWidth val="219"/>
        <c:overlap val="-27"/>
        <c:axId val="1830492896"/>
        <c:axId val="1830493440"/>
      </c:barChart>
      <c:catAx>
        <c:axId val="1830492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30493440"/>
        <c:crosses val="autoZero"/>
        <c:auto val="1"/>
        <c:lblAlgn val="ctr"/>
        <c:lblOffset val="100"/>
        <c:noMultiLvlLbl val="0"/>
      </c:catAx>
      <c:valAx>
        <c:axId val="18304934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304928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B$34</c:f>
              <c:strCache>
                <c:ptCount val="1"/>
                <c:pt idx="0">
                  <c:v>Imports</c:v>
                </c:pt>
              </c:strCache>
            </c:strRef>
          </c:tx>
          <c:spPr>
            <a:solidFill>
              <a:schemeClr val="accent6"/>
            </a:solidFill>
            <a:ln>
              <a:noFill/>
            </a:ln>
            <a:effectLst/>
          </c:spPr>
          <c:invertIfNegative val="0"/>
          <c:cat>
            <c:strRef>
              <c:f>Sheet2!$C$33:$G$33</c:f>
              <c:strCache>
                <c:ptCount val="5"/>
                <c:pt idx="0">
                  <c:v>FY19 E</c:v>
                </c:pt>
                <c:pt idx="1">
                  <c:v>FY20 E</c:v>
                </c:pt>
                <c:pt idx="2">
                  <c:v>FY21 E</c:v>
                </c:pt>
                <c:pt idx="3">
                  <c:v>FY22 P</c:v>
                </c:pt>
                <c:pt idx="4">
                  <c:v>FY23 P</c:v>
                </c:pt>
              </c:strCache>
            </c:strRef>
          </c:cat>
          <c:val>
            <c:numRef>
              <c:f>Sheet2!$C$34:$G$34</c:f>
              <c:numCache>
                <c:formatCode>General</c:formatCode>
                <c:ptCount val="5"/>
                <c:pt idx="0">
                  <c:v>981</c:v>
                </c:pt>
                <c:pt idx="1">
                  <c:v>635</c:v>
                </c:pt>
                <c:pt idx="2">
                  <c:v>511</c:v>
                </c:pt>
                <c:pt idx="3">
                  <c:v>767</c:v>
                </c:pt>
                <c:pt idx="4">
                  <c:v>805</c:v>
                </c:pt>
              </c:numCache>
            </c:numRef>
          </c:val>
          <c:extLst>
            <c:ext xmlns:c16="http://schemas.microsoft.com/office/drawing/2014/chart" uri="{C3380CC4-5D6E-409C-BE32-E72D297353CC}">
              <c16:uniqueId val="{00000000-A561-4013-95D5-135A718EDEAC}"/>
            </c:ext>
          </c:extLst>
        </c:ser>
        <c:dLbls>
          <c:showLegendKey val="0"/>
          <c:showVal val="0"/>
          <c:showCatName val="0"/>
          <c:showSerName val="0"/>
          <c:showPercent val="0"/>
          <c:showBubbleSize val="0"/>
        </c:dLbls>
        <c:gapWidth val="219"/>
        <c:overlap val="-27"/>
        <c:axId val="1830494528"/>
        <c:axId val="1672862928"/>
      </c:barChart>
      <c:catAx>
        <c:axId val="1830494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2862928"/>
        <c:crosses val="autoZero"/>
        <c:auto val="1"/>
        <c:lblAlgn val="ctr"/>
        <c:lblOffset val="100"/>
        <c:noMultiLvlLbl val="0"/>
      </c:catAx>
      <c:valAx>
        <c:axId val="16728629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30494528"/>
        <c:crosses val="autoZero"/>
        <c:crossBetween val="between"/>
      </c:valAx>
      <c:spPr>
        <a:noFill/>
        <a:ln>
          <a:noFill/>
        </a:ln>
        <a:effectLst/>
      </c:spPr>
    </c:plotArea>
    <c:plotVisOnly val="1"/>
    <c:dispBlanksAs val="gap"/>
    <c:showDLblsOverMax val="0"/>
  </c:chart>
  <c:spPr>
    <a:noFill/>
    <a:ln>
      <a:noFill/>
    </a:ln>
    <a:effectLst/>
  </c:spPr>
  <c:txPr>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i-frequency indicators Jan_repaired.xlsb]Posoco (2)'!$B$1</c:f>
              <c:strCache>
                <c:ptCount val="1"/>
                <c:pt idx="0">
                  <c:v>Power consumption Pan India (Billion Units)</c:v>
                </c:pt>
              </c:strCache>
            </c:strRef>
          </c:tx>
          <c:spPr>
            <a:solidFill>
              <a:schemeClr val="bg1">
                <a:lumMod val="85000"/>
              </a:schemeClr>
            </a:solidFill>
            <a:ln>
              <a:noFill/>
            </a:ln>
            <a:effectLst/>
          </c:spPr>
          <c:invertIfNegative val="0"/>
          <c:cat>
            <c:numRef>
              <c:f>'[Hi-frequency indicators Jan_repaired.xlsb]Posoco (2)'!$A$3:$A$29</c:f>
              <c:numCache>
                <c:formatCode>mmm\-yy</c:formatCode>
                <c:ptCount val="27"/>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numCache>
            </c:numRef>
          </c:cat>
          <c:val>
            <c:numRef>
              <c:f>'[Hi-frequency indicators Jan_repaired.xlsb]Posoco (2)'!$B$3:$B$29</c:f>
              <c:numCache>
                <c:formatCode>General</c:formatCode>
                <c:ptCount val="27"/>
                <c:pt idx="0">
                  <c:v>106</c:v>
                </c:pt>
                <c:pt idx="1">
                  <c:v>105</c:v>
                </c:pt>
                <c:pt idx="2">
                  <c:v>100</c:v>
                </c:pt>
                <c:pt idx="3">
                  <c:v>85</c:v>
                </c:pt>
                <c:pt idx="4">
                  <c:v>103</c:v>
                </c:pt>
                <c:pt idx="5">
                  <c:v>107</c:v>
                </c:pt>
                <c:pt idx="6">
                  <c:v>114</c:v>
                </c:pt>
                <c:pt idx="7">
                  <c:v>111</c:v>
                </c:pt>
                <c:pt idx="8">
                  <c:v>115</c:v>
                </c:pt>
                <c:pt idx="9">
                  <c:v>112</c:v>
                </c:pt>
                <c:pt idx="10">
                  <c:v>99</c:v>
                </c:pt>
                <c:pt idx="11">
                  <c:v>106</c:v>
                </c:pt>
                <c:pt idx="12">
                  <c:v>111</c:v>
                </c:pt>
                <c:pt idx="13">
                  <c:v>105</c:v>
                </c:pt>
                <c:pt idx="14">
                  <c:v>123</c:v>
                </c:pt>
                <c:pt idx="15">
                  <c:v>117</c:v>
                </c:pt>
                <c:pt idx="16">
                  <c:v>111</c:v>
                </c:pt>
                <c:pt idx="17">
                  <c:v>116</c:v>
                </c:pt>
                <c:pt idx="18">
                  <c:v>126</c:v>
                </c:pt>
                <c:pt idx="19">
                  <c:v>130</c:v>
                </c:pt>
                <c:pt idx="20">
                  <c:v>113</c:v>
                </c:pt>
                <c:pt idx="21">
                  <c:v>115</c:v>
                </c:pt>
                <c:pt idx="22">
                  <c:v>101</c:v>
                </c:pt>
                <c:pt idx="23">
                  <c:v>110</c:v>
                </c:pt>
                <c:pt idx="24">
                  <c:v>113</c:v>
                </c:pt>
                <c:pt idx="25">
                  <c:v>110</c:v>
                </c:pt>
                <c:pt idx="26" formatCode="0">
                  <c:v>129.5</c:v>
                </c:pt>
              </c:numCache>
            </c:numRef>
          </c:val>
          <c:extLst>
            <c:ext xmlns:c16="http://schemas.microsoft.com/office/drawing/2014/chart" uri="{C3380CC4-5D6E-409C-BE32-E72D297353CC}">
              <c16:uniqueId val="{00000000-DED0-4CA7-A68D-FC81970FAC14}"/>
            </c:ext>
          </c:extLst>
        </c:ser>
        <c:dLbls>
          <c:showLegendKey val="0"/>
          <c:showVal val="0"/>
          <c:showCatName val="0"/>
          <c:showSerName val="0"/>
          <c:showPercent val="0"/>
          <c:showBubbleSize val="0"/>
        </c:dLbls>
        <c:gapWidth val="75"/>
        <c:axId val="1401152272"/>
        <c:axId val="1401178384"/>
      </c:barChart>
      <c:lineChart>
        <c:grouping val="standard"/>
        <c:varyColors val="0"/>
        <c:ser>
          <c:idx val="2"/>
          <c:order val="1"/>
          <c:tx>
            <c:strRef>
              <c:f>'[Hi-frequency indicators Jan_repaired.xlsb]Posoco (2)'!$C$1</c:f>
              <c:strCache>
                <c:ptCount val="1"/>
                <c:pt idx="0">
                  <c:v>Growth rate Y-o-Y</c:v>
                </c:pt>
              </c:strCache>
            </c:strRef>
          </c:tx>
          <c:spPr>
            <a:ln w="28575" cap="rnd">
              <a:solidFill>
                <a:schemeClr val="accent3"/>
              </a:solidFill>
              <a:round/>
            </a:ln>
            <a:effectLst/>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i-frequency indicators Jan_repaired.xlsb]Posoco (2)'!$A$3:$A$29</c:f>
              <c:numCache>
                <c:formatCode>mmm\-yy</c:formatCode>
                <c:ptCount val="27"/>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pt idx="26">
                  <c:v>44621</c:v>
                </c:pt>
              </c:numCache>
            </c:numRef>
          </c:cat>
          <c:val>
            <c:numRef>
              <c:f>'[Hi-frequency indicators Jan_repaired.xlsb]Posoco (2)'!$C$3:$C$29</c:f>
              <c:numCache>
                <c:formatCode>0%</c:formatCode>
                <c:ptCount val="27"/>
                <c:pt idx="0">
                  <c:v>0.02</c:v>
                </c:pt>
                <c:pt idx="1">
                  <c:v>0.1</c:v>
                </c:pt>
                <c:pt idx="2">
                  <c:v>-0.1</c:v>
                </c:pt>
                <c:pt idx="3">
                  <c:v>-0.25</c:v>
                </c:pt>
                <c:pt idx="4">
                  <c:v>-0.16</c:v>
                </c:pt>
                <c:pt idx="5">
                  <c:v>-0.11</c:v>
                </c:pt>
                <c:pt idx="6">
                  <c:v>-0.03</c:v>
                </c:pt>
                <c:pt idx="7">
                  <c:v>-0.02</c:v>
                </c:pt>
                <c:pt idx="8">
                  <c:v>0.04</c:v>
                </c:pt>
                <c:pt idx="9">
                  <c:v>0.11</c:v>
                </c:pt>
                <c:pt idx="10">
                  <c:v>0.04</c:v>
                </c:pt>
                <c:pt idx="11">
                  <c:v>0.04</c:v>
                </c:pt>
                <c:pt idx="12">
                  <c:v>0.05</c:v>
                </c:pt>
                <c:pt idx="13">
                  <c:v>0</c:v>
                </c:pt>
                <c:pt idx="14">
                  <c:v>0.22999999999999998</c:v>
                </c:pt>
                <c:pt idx="15">
                  <c:v>0.37647058823529411</c:v>
                </c:pt>
                <c:pt idx="16">
                  <c:v>7.7669902912621325E-2</c:v>
                </c:pt>
                <c:pt idx="17">
                  <c:v>8.4112149532710179E-2</c:v>
                </c:pt>
                <c:pt idx="18">
                  <c:v>0.10526315789473695</c:v>
                </c:pt>
                <c:pt idx="19">
                  <c:v>0.1711711711711712</c:v>
                </c:pt>
                <c:pt idx="20">
                  <c:v>-1.7391304347826098E-2</c:v>
                </c:pt>
                <c:pt idx="21">
                  <c:v>2.6785714285714191E-2</c:v>
                </c:pt>
                <c:pt idx="22">
                  <c:v>2.020202020202011E-2</c:v>
                </c:pt>
                <c:pt idx="23">
                  <c:v>3.7735849056603765E-2</c:v>
                </c:pt>
                <c:pt idx="24">
                  <c:v>1.8018018018018056E-2</c:v>
                </c:pt>
                <c:pt idx="25">
                  <c:v>4.7619047619047672E-2</c:v>
                </c:pt>
                <c:pt idx="26">
                  <c:v>5.2845528455284452E-2</c:v>
                </c:pt>
              </c:numCache>
            </c:numRef>
          </c:val>
          <c:smooth val="1"/>
          <c:extLst>
            <c:ext xmlns:c16="http://schemas.microsoft.com/office/drawing/2014/chart" uri="{C3380CC4-5D6E-409C-BE32-E72D297353CC}">
              <c16:uniqueId val="{00000001-DED0-4CA7-A68D-FC81970FAC14}"/>
            </c:ext>
          </c:extLst>
        </c:ser>
        <c:dLbls>
          <c:showLegendKey val="0"/>
          <c:showVal val="0"/>
          <c:showCatName val="0"/>
          <c:showSerName val="0"/>
          <c:showPercent val="0"/>
          <c:showBubbleSize val="0"/>
        </c:dLbls>
        <c:marker val="1"/>
        <c:smooth val="0"/>
        <c:axId val="1401157712"/>
        <c:axId val="1401179472"/>
      </c:lineChart>
      <c:dateAx>
        <c:axId val="1401152272"/>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401178384"/>
        <c:crosses val="autoZero"/>
        <c:auto val="1"/>
        <c:lblOffset val="100"/>
        <c:baseTimeUnit val="months"/>
      </c:dateAx>
      <c:valAx>
        <c:axId val="1401178384"/>
        <c:scaling>
          <c:orientation val="minMax"/>
        </c:scaling>
        <c:delete val="0"/>
        <c:axPos val="l"/>
        <c:numFmt formatCode="General" sourceLinked="1"/>
        <c:majorTickMark val="none"/>
        <c:minorTickMark val="none"/>
        <c:tickLblPos val="nextTo"/>
        <c:spPr>
          <a:noFill/>
          <a:ln>
            <a:noFill/>
          </a:ln>
          <a:effectLst/>
        </c:spPr>
        <c:txPr>
          <a:bodyPr rot="-60000000" vert="horz"/>
          <a:lstStyle/>
          <a:p>
            <a:pPr>
              <a:defRPr/>
            </a:pPr>
            <a:endParaRPr lang="en-US"/>
          </a:p>
        </c:txPr>
        <c:crossAx val="1401152272"/>
        <c:crosses val="autoZero"/>
        <c:crossBetween val="between"/>
      </c:valAx>
      <c:valAx>
        <c:axId val="1401179472"/>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157712"/>
        <c:crosses val="max"/>
        <c:crossBetween val="between"/>
      </c:valAx>
      <c:dateAx>
        <c:axId val="1401157712"/>
        <c:scaling>
          <c:orientation val="minMax"/>
        </c:scaling>
        <c:delete val="1"/>
        <c:axPos val="b"/>
        <c:numFmt formatCode="mmm\-yy" sourceLinked="1"/>
        <c:majorTickMark val="out"/>
        <c:minorTickMark val="none"/>
        <c:tickLblPos val="nextTo"/>
        <c:crossAx val="1401179472"/>
        <c:crosses val="autoZero"/>
        <c:auto val="1"/>
        <c:lblOffset val="100"/>
        <c:baseTimeUnit val="months"/>
      </c:date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spPr>
            <a:solidFill>
              <a:schemeClr val="accent6"/>
            </a:solidFill>
            <a:ln>
              <a:noFill/>
            </a:ln>
            <a:effectLst/>
          </c:spPr>
          <c:cat>
            <c:strRef>
              <c:f>Sheet2!$C$39:$G$39</c:f>
              <c:strCache>
                <c:ptCount val="5"/>
                <c:pt idx="0">
                  <c:v>FY19 E</c:v>
                </c:pt>
                <c:pt idx="1">
                  <c:v>FY20 E</c:v>
                </c:pt>
                <c:pt idx="2">
                  <c:v>FY21 E</c:v>
                </c:pt>
                <c:pt idx="3">
                  <c:v>FY22 P</c:v>
                </c:pt>
                <c:pt idx="4">
                  <c:v>FY23 P</c:v>
                </c:pt>
              </c:strCache>
            </c:strRef>
          </c:cat>
          <c:val>
            <c:numRef>
              <c:f>Sheet2!$C$40:$G$40</c:f>
              <c:numCache>
                <c:formatCode>0.0%</c:formatCode>
                <c:ptCount val="5"/>
                <c:pt idx="0">
                  <c:v>0.30062844202964489</c:v>
                </c:pt>
                <c:pt idx="1">
                  <c:v>0.16942369263607257</c:v>
                </c:pt>
                <c:pt idx="2">
                  <c:v>0.15933894605550358</c:v>
                </c:pt>
                <c:pt idx="3">
                  <c:v>0.19285893889866734</c:v>
                </c:pt>
                <c:pt idx="4">
                  <c:v>0.17884914463452567</c:v>
                </c:pt>
              </c:numCache>
            </c:numRef>
          </c:val>
          <c:extLst>
            <c:ext xmlns:c16="http://schemas.microsoft.com/office/drawing/2014/chart" uri="{C3380CC4-5D6E-409C-BE32-E72D297353CC}">
              <c16:uniqueId val="{00000000-8B2D-4A9D-AF50-BFF7F8522260}"/>
            </c:ext>
          </c:extLst>
        </c:ser>
        <c:dLbls>
          <c:showLegendKey val="0"/>
          <c:showVal val="0"/>
          <c:showCatName val="0"/>
          <c:showSerName val="0"/>
          <c:showPercent val="0"/>
          <c:showBubbleSize val="0"/>
        </c:dLbls>
        <c:axId val="1672865648"/>
        <c:axId val="1830141280"/>
      </c:areaChart>
      <c:catAx>
        <c:axId val="16728656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30141280"/>
        <c:crosses val="autoZero"/>
        <c:auto val="1"/>
        <c:lblAlgn val="ctr"/>
        <c:lblOffset val="100"/>
        <c:noMultiLvlLbl val="0"/>
      </c:catAx>
      <c:valAx>
        <c:axId val="1830141280"/>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2865648"/>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rtl="0">
                  <a:defRPr lang="en-US" sz="12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4!$B$4:$P$5</c:f>
              <c:multiLvlStrCache>
                <c:ptCount val="15"/>
                <c:lvl>
                  <c:pt idx="0">
                    <c:v>Q1</c:v>
                  </c:pt>
                  <c:pt idx="1">
                    <c:v>Q2</c:v>
                  </c:pt>
                  <c:pt idx="2">
                    <c:v>Q3</c:v>
                  </c:pt>
                  <c:pt idx="3">
                    <c:v>Q4</c:v>
                  </c:pt>
                  <c:pt idx="4">
                    <c:v>Q1</c:v>
                  </c:pt>
                  <c:pt idx="5">
                    <c:v>Q2</c:v>
                  </c:pt>
                  <c:pt idx="6">
                    <c:v>Q3</c:v>
                  </c:pt>
                  <c:pt idx="7">
                    <c:v>Q4</c:v>
                  </c:pt>
                  <c:pt idx="8">
                    <c:v>Q1</c:v>
                  </c:pt>
                  <c:pt idx="9">
                    <c:v>Q2</c:v>
                  </c:pt>
                  <c:pt idx="10">
                    <c:v>Q3</c:v>
                  </c:pt>
                  <c:pt idx="11">
                    <c:v>Q4 </c:v>
                  </c:pt>
                  <c:pt idx="12">
                    <c:v>Q1 E</c:v>
                  </c:pt>
                  <c:pt idx="13">
                    <c:v>Q2 E</c:v>
                  </c:pt>
                  <c:pt idx="14">
                    <c:v>Q3 E</c:v>
                  </c:pt>
                </c:lvl>
                <c:lvl>
                  <c:pt idx="0">
                    <c:v>FY19</c:v>
                  </c:pt>
                  <c:pt idx="4">
                    <c:v>FY20</c:v>
                  </c:pt>
                  <c:pt idx="8">
                    <c:v>FY21</c:v>
                  </c:pt>
                  <c:pt idx="12">
                    <c:v>FY22</c:v>
                  </c:pt>
                </c:lvl>
              </c:multiLvlStrCache>
            </c:multiLvlStrRef>
          </c:cat>
          <c:val>
            <c:numRef>
              <c:f>Sheet4!$B$6:$P$6</c:f>
              <c:numCache>
                <c:formatCode>0</c:formatCode>
                <c:ptCount val="15"/>
                <c:pt idx="0">
                  <c:v>221.45771619999996</c:v>
                </c:pt>
                <c:pt idx="1">
                  <c:v>229.9890169</c:v>
                </c:pt>
                <c:pt idx="2">
                  <c:v>217.35305159999999</c:v>
                </c:pt>
                <c:pt idx="3">
                  <c:v>214.41447960000002</c:v>
                </c:pt>
                <c:pt idx="4">
                  <c:v>207.54928145599365</c:v>
                </c:pt>
                <c:pt idx="5">
                  <c:v>185.15619638061523</c:v>
                </c:pt>
                <c:pt idx="6">
                  <c:v>182.93423569999996</c:v>
                </c:pt>
                <c:pt idx="7">
                  <c:v>173.335876713</c:v>
                </c:pt>
                <c:pt idx="8">
                  <c:v>80.065470499999975</c:v>
                </c:pt>
                <c:pt idx="9">
                  <c:v>187.16958629999999</c:v>
                </c:pt>
                <c:pt idx="10">
                  <c:v>216.83388079899999</c:v>
                </c:pt>
                <c:pt idx="11">
                  <c:v>240.71485369999999</c:v>
                </c:pt>
                <c:pt idx="12">
                  <c:v>245</c:v>
                </c:pt>
                <c:pt idx="13">
                  <c:v>310</c:v>
                </c:pt>
                <c:pt idx="14">
                  <c:v>296</c:v>
                </c:pt>
              </c:numCache>
            </c:numRef>
          </c:val>
          <c:extLst>
            <c:ext xmlns:c16="http://schemas.microsoft.com/office/drawing/2014/chart" uri="{C3380CC4-5D6E-409C-BE32-E72D297353CC}">
              <c16:uniqueId val="{00000000-10D6-49D8-9013-C7F3EE8CC952}"/>
            </c:ext>
          </c:extLst>
        </c:ser>
        <c:dLbls>
          <c:showLegendKey val="0"/>
          <c:showVal val="0"/>
          <c:showCatName val="0"/>
          <c:showSerName val="0"/>
          <c:showPercent val="0"/>
          <c:showBubbleSize val="0"/>
        </c:dLbls>
        <c:gapWidth val="219"/>
        <c:overlap val="-27"/>
        <c:axId val="1899413312"/>
        <c:axId val="1899406240"/>
      </c:barChart>
      <c:catAx>
        <c:axId val="1899413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rtl="0">
              <a:defRPr lang="en-US" sz="12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crossAx val="1899406240"/>
        <c:crosses val="autoZero"/>
        <c:auto val="1"/>
        <c:lblAlgn val="ctr"/>
        <c:lblOffset val="100"/>
        <c:noMultiLvlLbl val="0"/>
      </c:catAx>
      <c:valAx>
        <c:axId val="1899406240"/>
        <c:scaling>
          <c:orientation val="minMax"/>
        </c:scaling>
        <c:delete val="1"/>
        <c:axPos val="l"/>
        <c:numFmt formatCode="0" sourceLinked="1"/>
        <c:majorTickMark val="none"/>
        <c:minorTickMark val="none"/>
        <c:tickLblPos val="nextTo"/>
        <c:crossAx val="18994133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Sheet4!$A$7</c:f>
              <c:strCache>
                <c:ptCount val="1"/>
                <c:pt idx="0">
                  <c:v>EBITDA margin</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4!$B$4:$P$5</c:f>
              <c:multiLvlStrCache>
                <c:ptCount val="15"/>
                <c:lvl>
                  <c:pt idx="0">
                    <c:v>Q1</c:v>
                  </c:pt>
                  <c:pt idx="1">
                    <c:v>Q2</c:v>
                  </c:pt>
                  <c:pt idx="2">
                    <c:v>Q3</c:v>
                  </c:pt>
                  <c:pt idx="3">
                    <c:v>Q4</c:v>
                  </c:pt>
                  <c:pt idx="4">
                    <c:v>Q1</c:v>
                  </c:pt>
                  <c:pt idx="5">
                    <c:v>Q2</c:v>
                  </c:pt>
                  <c:pt idx="6">
                    <c:v>Q3</c:v>
                  </c:pt>
                  <c:pt idx="7">
                    <c:v>Q4</c:v>
                  </c:pt>
                  <c:pt idx="8">
                    <c:v>Q1</c:v>
                  </c:pt>
                  <c:pt idx="9">
                    <c:v>Q2</c:v>
                  </c:pt>
                  <c:pt idx="10">
                    <c:v>Q3</c:v>
                  </c:pt>
                  <c:pt idx="11">
                    <c:v>Q4 </c:v>
                  </c:pt>
                  <c:pt idx="12">
                    <c:v>Q1 E</c:v>
                  </c:pt>
                  <c:pt idx="13">
                    <c:v>Q2 E</c:v>
                  </c:pt>
                  <c:pt idx="14">
                    <c:v>Q3 E</c:v>
                  </c:pt>
                </c:lvl>
                <c:lvl>
                  <c:pt idx="0">
                    <c:v>FY19</c:v>
                  </c:pt>
                  <c:pt idx="4">
                    <c:v>FY20</c:v>
                  </c:pt>
                  <c:pt idx="8">
                    <c:v>FY21</c:v>
                  </c:pt>
                  <c:pt idx="12">
                    <c:v>FY22</c:v>
                  </c:pt>
                </c:lvl>
              </c:multiLvlStrCache>
            </c:multiLvlStrRef>
          </c:cat>
          <c:val>
            <c:numRef>
              <c:f>Sheet4!$B$7:$P$7</c:f>
              <c:numCache>
                <c:formatCode>0.0%</c:formatCode>
                <c:ptCount val="15"/>
                <c:pt idx="0">
                  <c:v>0.15287870290066691</c:v>
                </c:pt>
                <c:pt idx="1">
                  <c:v>0.14841008305557918</c:v>
                </c:pt>
                <c:pt idx="2">
                  <c:v>0.14468854091763766</c:v>
                </c:pt>
                <c:pt idx="3">
                  <c:v>0.15175034522248748</c:v>
                </c:pt>
                <c:pt idx="4">
                  <c:v>0.14340179729012451</c:v>
                </c:pt>
                <c:pt idx="5">
                  <c:v>0.13464324480110168</c:v>
                </c:pt>
                <c:pt idx="6">
                  <c:v>0.13515363597957733</c:v>
                </c:pt>
                <c:pt idx="7">
                  <c:v>0.12075020981504775</c:v>
                </c:pt>
                <c:pt idx="8">
                  <c:v>-7.4211216931523803E-3</c:v>
                </c:pt>
                <c:pt idx="9">
                  <c:v>0.13513447724065414</c:v>
                </c:pt>
                <c:pt idx="10">
                  <c:v>0.1368223581535272</c:v>
                </c:pt>
                <c:pt idx="11">
                  <c:v>0.1425478784236737</c:v>
                </c:pt>
                <c:pt idx="12" formatCode="0.00%">
                  <c:v>0.12</c:v>
                </c:pt>
                <c:pt idx="13" formatCode="0%">
                  <c:v>0.13</c:v>
                </c:pt>
                <c:pt idx="14" formatCode="0%">
                  <c:v>0.124</c:v>
                </c:pt>
              </c:numCache>
            </c:numRef>
          </c:val>
          <c:smooth val="0"/>
          <c:extLst>
            <c:ext xmlns:c16="http://schemas.microsoft.com/office/drawing/2014/chart" uri="{C3380CC4-5D6E-409C-BE32-E72D297353CC}">
              <c16:uniqueId val="{00000000-827D-43C8-91A4-6C2646DDE0F7}"/>
            </c:ext>
          </c:extLst>
        </c:ser>
        <c:ser>
          <c:idx val="2"/>
          <c:order val="1"/>
          <c:tx>
            <c:strRef>
              <c:f>Sheet4!$A$8</c:f>
              <c:strCache>
                <c:ptCount val="1"/>
                <c:pt idx="0">
                  <c:v>Net Margi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4!$B$4:$P$5</c:f>
              <c:multiLvlStrCache>
                <c:ptCount val="15"/>
                <c:lvl>
                  <c:pt idx="0">
                    <c:v>Q1</c:v>
                  </c:pt>
                  <c:pt idx="1">
                    <c:v>Q2</c:v>
                  </c:pt>
                  <c:pt idx="2">
                    <c:v>Q3</c:v>
                  </c:pt>
                  <c:pt idx="3">
                    <c:v>Q4</c:v>
                  </c:pt>
                  <c:pt idx="4">
                    <c:v>Q1</c:v>
                  </c:pt>
                  <c:pt idx="5">
                    <c:v>Q2</c:v>
                  </c:pt>
                  <c:pt idx="6">
                    <c:v>Q3</c:v>
                  </c:pt>
                  <c:pt idx="7">
                    <c:v>Q4</c:v>
                  </c:pt>
                  <c:pt idx="8">
                    <c:v>Q1</c:v>
                  </c:pt>
                  <c:pt idx="9">
                    <c:v>Q2</c:v>
                  </c:pt>
                  <c:pt idx="10">
                    <c:v>Q3</c:v>
                  </c:pt>
                  <c:pt idx="11">
                    <c:v>Q4 </c:v>
                  </c:pt>
                  <c:pt idx="12">
                    <c:v>Q1 E</c:v>
                  </c:pt>
                  <c:pt idx="13">
                    <c:v>Q2 E</c:v>
                  </c:pt>
                  <c:pt idx="14">
                    <c:v>Q3 E</c:v>
                  </c:pt>
                </c:lvl>
                <c:lvl>
                  <c:pt idx="0">
                    <c:v>FY19</c:v>
                  </c:pt>
                  <c:pt idx="4">
                    <c:v>FY20</c:v>
                  </c:pt>
                  <c:pt idx="8">
                    <c:v>FY21</c:v>
                  </c:pt>
                  <c:pt idx="12">
                    <c:v>FY22</c:v>
                  </c:pt>
                </c:lvl>
              </c:multiLvlStrCache>
            </c:multiLvlStrRef>
          </c:cat>
          <c:val>
            <c:numRef>
              <c:f>Sheet4!$B$8:$P$8</c:f>
              <c:numCache>
                <c:formatCode>0.0%</c:formatCode>
                <c:ptCount val="15"/>
                <c:pt idx="0">
                  <c:v>8.7500714504342936E-2</c:v>
                </c:pt>
                <c:pt idx="1">
                  <c:v>9.5382808256179813E-2</c:v>
                </c:pt>
                <c:pt idx="2">
                  <c:v>8.3197157651500847E-2</c:v>
                </c:pt>
                <c:pt idx="3">
                  <c:v>8.9690748665278125E-2</c:v>
                </c:pt>
                <c:pt idx="4">
                  <c:v>7.5114137799574571E-2</c:v>
                </c:pt>
                <c:pt idx="5">
                  <c:v>9.1624686038536893E-2</c:v>
                </c:pt>
                <c:pt idx="6">
                  <c:v>6.6287582275666959E-2</c:v>
                </c:pt>
                <c:pt idx="7">
                  <c:v>7.2877425127533285E-2</c:v>
                </c:pt>
                <c:pt idx="8">
                  <c:v>-6.5654987938901843E-2</c:v>
                </c:pt>
                <c:pt idx="9">
                  <c:v>6.6337630196493094E-2</c:v>
                </c:pt>
                <c:pt idx="10">
                  <c:v>8.6332914971682481E-2</c:v>
                </c:pt>
                <c:pt idx="11">
                  <c:v>9.0703975946624354E-2</c:v>
                </c:pt>
                <c:pt idx="12">
                  <c:v>0.125</c:v>
                </c:pt>
                <c:pt idx="13">
                  <c:v>8.5999999999999993E-2</c:v>
                </c:pt>
                <c:pt idx="14">
                  <c:v>7.400000000000001E-2</c:v>
                </c:pt>
              </c:numCache>
            </c:numRef>
          </c:val>
          <c:smooth val="0"/>
          <c:extLst>
            <c:ext xmlns:c16="http://schemas.microsoft.com/office/drawing/2014/chart" uri="{C3380CC4-5D6E-409C-BE32-E72D297353CC}">
              <c16:uniqueId val="{00000001-827D-43C8-91A4-6C2646DDE0F7}"/>
            </c:ext>
          </c:extLst>
        </c:ser>
        <c:dLbls>
          <c:showLegendKey val="0"/>
          <c:showVal val="0"/>
          <c:showCatName val="0"/>
          <c:showSerName val="0"/>
          <c:showPercent val="0"/>
          <c:showBubbleSize val="0"/>
        </c:dLbls>
        <c:marker val="1"/>
        <c:smooth val="0"/>
        <c:axId val="1899406784"/>
        <c:axId val="1899408416"/>
      </c:lineChart>
      <c:catAx>
        <c:axId val="1899406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rtl="0">
              <a:defRPr lang="en-US" sz="12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crossAx val="1899408416"/>
        <c:crosses val="autoZero"/>
        <c:auto val="1"/>
        <c:lblAlgn val="ctr"/>
        <c:lblOffset val="100"/>
        <c:noMultiLvlLbl val="0"/>
      </c:catAx>
      <c:valAx>
        <c:axId val="1899408416"/>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US" sz="12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crossAx val="1899406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2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lgn="ctr" rtl="0">
        <a:defRPr lang="en-US" sz="1200" b="0" i="0" u="none" strike="noStrike" kern="1200" spc="0" baseline="0">
          <a:solidFill>
            <a:prstClr val="black">
              <a:lumMod val="65000"/>
              <a:lumOff val="35000"/>
            </a:prstClr>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way bill_charts (2)'!$D$1</c:f>
              <c:strCache>
                <c:ptCount val="1"/>
                <c:pt idx="0">
                  <c:v>Intra State E-way bills generated (millions)</c:v>
                </c:pt>
              </c:strCache>
            </c:strRef>
          </c:tx>
          <c:spPr>
            <a:solidFill>
              <a:schemeClr val="bg1">
                <a:lumMod val="85000"/>
              </a:schemeClr>
            </a:solidFill>
            <a:ln>
              <a:noFill/>
            </a:ln>
            <a:effectLst/>
          </c:spPr>
          <c:invertIfNegative val="0"/>
          <c:dLbls>
            <c:spPr>
              <a:noFill/>
              <a:ln>
                <a:noFill/>
              </a:ln>
              <a:effectLst/>
            </c:spPr>
            <c:txPr>
              <a:bodyPr rot="-5400000" vert="horz"/>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D$17:$D$49</c:f>
              <c:numCache>
                <c:formatCode>_ * #,##0_ ;_ * \-#,##0_ ;_ * "-"??_ ;_ @_ </c:formatCode>
                <c:ptCount val="33"/>
                <c:pt idx="0">
                  <c:v>31.024588999999999</c:v>
                </c:pt>
                <c:pt idx="1">
                  <c:v>30.039708000000001</c:v>
                </c:pt>
                <c:pt idx="2">
                  <c:v>30.086136</c:v>
                </c:pt>
                <c:pt idx="3">
                  <c:v>30.711355000000001</c:v>
                </c:pt>
                <c:pt idx="4">
                  <c:v>31.684403</c:v>
                </c:pt>
                <c:pt idx="5">
                  <c:v>32.684113000000004</c:v>
                </c:pt>
                <c:pt idx="6">
                  <c:v>33.455970000000001</c:v>
                </c:pt>
                <c:pt idx="7">
                  <c:v>33.503633999999998</c:v>
                </c:pt>
                <c:pt idx="8">
                  <c:v>24.295894000000001</c:v>
                </c:pt>
                <c:pt idx="9">
                  <c:v>6.1662330000000001</c:v>
                </c:pt>
                <c:pt idx="10">
                  <c:v>17.092904000000001</c:v>
                </c:pt>
                <c:pt idx="11">
                  <c:v>25.111329999999999</c:v>
                </c:pt>
                <c:pt idx="12">
                  <c:v>29.844929</c:v>
                </c:pt>
                <c:pt idx="13">
                  <c:v>30.472821</c:v>
                </c:pt>
                <c:pt idx="14">
                  <c:v>34.622548000000002</c:v>
                </c:pt>
                <c:pt idx="15" formatCode="0">
                  <c:v>37.86</c:v>
                </c:pt>
                <c:pt idx="16">
                  <c:v>34.700000000000003</c:v>
                </c:pt>
                <c:pt idx="17" formatCode="0">
                  <c:v>38.35</c:v>
                </c:pt>
                <c:pt idx="18" formatCode="0">
                  <c:v>37.799999999999997</c:v>
                </c:pt>
                <c:pt idx="19" formatCode="0">
                  <c:v>38.36</c:v>
                </c:pt>
                <c:pt idx="20" formatCode="0">
                  <c:v>42.84</c:v>
                </c:pt>
                <c:pt idx="21" formatCode="0">
                  <c:v>35.57</c:v>
                </c:pt>
                <c:pt idx="22" formatCode="0">
                  <c:v>25.15</c:v>
                </c:pt>
                <c:pt idx="23" formatCode="0">
                  <c:v>33.997999999999998</c:v>
                </c:pt>
                <c:pt idx="24" formatCode="0">
                  <c:v>39.265999999999998</c:v>
                </c:pt>
                <c:pt idx="25" formatCode="0">
                  <c:v>39.764142857142858</c:v>
                </c:pt>
                <c:pt idx="26" formatCode="0">
                  <c:v>40.027000000000001</c:v>
                </c:pt>
                <c:pt idx="27" formatCode="0">
                  <c:v>43.213000000000001</c:v>
                </c:pt>
                <c:pt idx="28" formatCode="0">
                  <c:v>37.26</c:v>
                </c:pt>
                <c:pt idx="29" formatCode="0">
                  <c:v>43.481999999999999</c:v>
                </c:pt>
                <c:pt idx="30" formatCode="0">
                  <c:v>42.131</c:v>
                </c:pt>
                <c:pt idx="31" formatCode="0">
                  <c:v>42.31</c:v>
                </c:pt>
                <c:pt idx="32" formatCode="0">
                  <c:v>47.89</c:v>
                </c:pt>
              </c:numCache>
            </c:numRef>
          </c:val>
          <c:extLst>
            <c:ext xmlns:c16="http://schemas.microsoft.com/office/drawing/2014/chart" uri="{C3380CC4-5D6E-409C-BE32-E72D297353CC}">
              <c16:uniqueId val="{00000000-2071-41AC-B384-A95CBE28DFC7}"/>
            </c:ext>
          </c:extLst>
        </c:ser>
        <c:dLbls>
          <c:showLegendKey val="0"/>
          <c:showVal val="1"/>
          <c:showCatName val="0"/>
          <c:showSerName val="0"/>
          <c:showPercent val="0"/>
          <c:showBubbleSize val="0"/>
        </c:dLbls>
        <c:gapWidth val="75"/>
        <c:axId val="1401193072"/>
        <c:axId val="1401202864"/>
      </c:barChart>
      <c:lineChart>
        <c:grouping val="standard"/>
        <c:varyColors val="0"/>
        <c:ser>
          <c:idx val="1"/>
          <c:order val="1"/>
          <c:tx>
            <c:strRef>
              <c:f>'E-way bill_charts (2)'!$E$1</c:f>
              <c:strCache>
                <c:ptCount val="1"/>
                <c:pt idx="0">
                  <c:v>Y-o-Y growth</c:v>
                </c:pt>
              </c:strCache>
            </c:strRef>
          </c:tx>
          <c:spPr>
            <a:ln w="28575" cap="rnd">
              <a:solidFill>
                <a:srgbClr val="FF0000"/>
              </a:solidFill>
              <a:round/>
            </a:ln>
            <a:effectLst/>
          </c:spPr>
          <c:marker>
            <c:symbol val="square"/>
            <c:size val="5"/>
            <c:spPr>
              <a:solidFill>
                <a:srgbClr val="FF0000"/>
              </a:solidFill>
              <a:ln w="9525">
                <a:solidFill>
                  <a:srgbClr val="FF0000"/>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1-2071-41AC-B384-A95CBE28DFC7}"/>
                </c:ext>
              </c:extLst>
            </c:dLbl>
            <c:dLbl>
              <c:idx val="2"/>
              <c:delete val="1"/>
              <c:extLst>
                <c:ext xmlns:c15="http://schemas.microsoft.com/office/drawing/2012/chart" uri="{CE6537A1-D6FC-4f65-9D91-7224C49458BB}"/>
                <c:ext xmlns:c16="http://schemas.microsoft.com/office/drawing/2014/chart" uri="{C3380CC4-5D6E-409C-BE32-E72D297353CC}">
                  <c16:uniqueId val="{00000002-2071-41AC-B384-A95CBE28DFC7}"/>
                </c:ext>
              </c:extLst>
            </c:dLbl>
            <c:dLbl>
              <c:idx val="5"/>
              <c:delete val="1"/>
              <c:extLst>
                <c:ext xmlns:c15="http://schemas.microsoft.com/office/drawing/2012/chart" uri="{CE6537A1-D6FC-4f65-9D91-7224C49458BB}"/>
                <c:ext xmlns:c16="http://schemas.microsoft.com/office/drawing/2014/chart" uri="{C3380CC4-5D6E-409C-BE32-E72D297353CC}">
                  <c16:uniqueId val="{00000003-2071-41AC-B384-A95CBE28DFC7}"/>
                </c:ext>
              </c:extLst>
            </c:dLbl>
            <c:dLbl>
              <c:idx val="7"/>
              <c:delete val="1"/>
              <c:extLst>
                <c:ext xmlns:c15="http://schemas.microsoft.com/office/drawing/2012/chart" uri="{CE6537A1-D6FC-4f65-9D91-7224C49458BB}"/>
                <c:ext xmlns:c16="http://schemas.microsoft.com/office/drawing/2014/chart" uri="{C3380CC4-5D6E-409C-BE32-E72D297353CC}">
                  <c16:uniqueId val="{00000004-2071-41AC-B384-A95CBE28DFC7}"/>
                </c:ext>
              </c:extLst>
            </c:dLbl>
            <c:dLbl>
              <c:idx val="12"/>
              <c:delete val="1"/>
              <c:extLst>
                <c:ext xmlns:c15="http://schemas.microsoft.com/office/drawing/2012/chart" uri="{CE6537A1-D6FC-4f65-9D91-7224C49458BB}"/>
                <c:ext xmlns:c16="http://schemas.microsoft.com/office/drawing/2014/chart" uri="{C3380CC4-5D6E-409C-BE32-E72D297353CC}">
                  <c16:uniqueId val="{00000005-2071-41AC-B384-A95CBE28DFC7}"/>
                </c:ext>
              </c:extLst>
            </c:dLbl>
            <c:dLbl>
              <c:idx val="15"/>
              <c:delete val="1"/>
              <c:extLst>
                <c:ext xmlns:c15="http://schemas.microsoft.com/office/drawing/2012/chart" uri="{CE6537A1-D6FC-4f65-9D91-7224C49458BB}"/>
                <c:ext xmlns:c16="http://schemas.microsoft.com/office/drawing/2014/chart" uri="{C3380CC4-5D6E-409C-BE32-E72D297353CC}">
                  <c16:uniqueId val="{00000006-2071-41AC-B384-A95CBE28DFC7}"/>
                </c:ext>
              </c:extLst>
            </c:dLbl>
            <c:dLbl>
              <c:idx val="19"/>
              <c:delete val="1"/>
              <c:extLst>
                <c:ext xmlns:c15="http://schemas.microsoft.com/office/drawing/2012/chart" uri="{CE6537A1-D6FC-4f65-9D91-7224C49458BB}"/>
                <c:ext xmlns:c16="http://schemas.microsoft.com/office/drawing/2014/chart" uri="{C3380CC4-5D6E-409C-BE32-E72D297353CC}">
                  <c16:uniqueId val="{00000007-2071-41AC-B384-A95CBE28DFC7}"/>
                </c:ext>
              </c:extLst>
            </c:dLbl>
            <c:dLbl>
              <c:idx val="23"/>
              <c:delete val="1"/>
              <c:extLst>
                <c:ext xmlns:c15="http://schemas.microsoft.com/office/drawing/2012/chart" uri="{CE6537A1-D6FC-4f65-9D91-7224C49458BB}"/>
                <c:ext xmlns:c16="http://schemas.microsoft.com/office/drawing/2014/chart" uri="{C3380CC4-5D6E-409C-BE32-E72D297353CC}">
                  <c16:uniqueId val="{00000008-2071-41AC-B384-A95CBE28DFC7}"/>
                </c:ext>
              </c:extLst>
            </c:dLbl>
            <c:dLbl>
              <c:idx val="25"/>
              <c:delete val="1"/>
              <c:extLst>
                <c:ext xmlns:c15="http://schemas.microsoft.com/office/drawing/2012/chart" uri="{CE6537A1-D6FC-4f65-9D91-7224C49458BB}"/>
                <c:ext xmlns:c16="http://schemas.microsoft.com/office/drawing/2014/chart" uri="{C3380CC4-5D6E-409C-BE32-E72D297353CC}">
                  <c16:uniqueId val="{00000009-2071-41AC-B384-A95CBE28DFC7}"/>
                </c:ext>
              </c:extLst>
            </c:dLbl>
            <c:dLbl>
              <c:idx val="27"/>
              <c:delete val="1"/>
              <c:extLst>
                <c:ext xmlns:c15="http://schemas.microsoft.com/office/drawing/2012/chart" uri="{CE6537A1-D6FC-4f65-9D91-7224C49458BB}"/>
                <c:ext xmlns:c16="http://schemas.microsoft.com/office/drawing/2014/chart" uri="{C3380CC4-5D6E-409C-BE32-E72D297353CC}">
                  <c16:uniqueId val="{0000000A-2071-41AC-B384-A95CBE28DFC7}"/>
                </c:ext>
              </c:extLst>
            </c:dLbl>
            <c:dLbl>
              <c:idx val="30"/>
              <c:delete val="1"/>
              <c:extLst>
                <c:ext xmlns:c15="http://schemas.microsoft.com/office/drawing/2012/chart" uri="{CE6537A1-D6FC-4f65-9D91-7224C49458BB}"/>
                <c:ext xmlns:c16="http://schemas.microsoft.com/office/drawing/2014/chart" uri="{C3380CC4-5D6E-409C-BE32-E72D297353CC}">
                  <c16:uniqueId val="{0000000B-2071-41AC-B384-A95CBE28DFC7}"/>
                </c:ext>
              </c:extLst>
            </c:dLbl>
            <c:dLbl>
              <c:idx val="31"/>
              <c:delete val="1"/>
              <c:extLst>
                <c:ext xmlns:c15="http://schemas.microsoft.com/office/drawing/2012/chart" uri="{CE6537A1-D6FC-4f65-9D91-7224C49458BB}"/>
                <c:ext xmlns:c16="http://schemas.microsoft.com/office/drawing/2014/chart" uri="{C3380CC4-5D6E-409C-BE32-E72D297353CC}">
                  <c16:uniqueId val="{0000000C-2071-41AC-B384-A95CBE28DFC7}"/>
                </c:ext>
              </c:extLst>
            </c:dLbl>
            <c:spPr>
              <a:noFill/>
              <a:ln>
                <a:noFill/>
              </a:ln>
              <a:effectLst/>
            </c:spPr>
            <c:txPr>
              <a:bodyPr rot="0" vert="horz"/>
              <a:lstStyle/>
              <a:p>
                <a:pPr>
                  <a:defRPr>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E$17:$E$49</c:f>
              <c:numCache>
                <c:formatCode>0%</c:formatCode>
                <c:ptCount val="33"/>
                <c:pt idx="0">
                  <c:v>0.14794616605692013</c:v>
                </c:pt>
                <c:pt idx="1">
                  <c:v>0.1115044143878714</c:v>
                </c:pt>
                <c:pt idx="2">
                  <c:v>0.11322230481980222</c:v>
                </c:pt>
                <c:pt idx="3">
                  <c:v>2.9357190328520577E-3</c:v>
                </c:pt>
                <c:pt idx="4">
                  <c:v>0.18465555560831581</c:v>
                </c:pt>
                <c:pt idx="5">
                  <c:v>0.12882683026010811</c:v>
                </c:pt>
                <c:pt idx="6">
                  <c:v>0.13159857924992147</c:v>
                </c:pt>
                <c:pt idx="7">
                  <c:v>0.15302665921467784</c:v>
                </c:pt>
                <c:pt idx="8">
                  <c:v>-0.24435685658172057</c:v>
                </c:pt>
                <c:pt idx="9">
                  <c:v>-0.79773795209444009</c:v>
                </c:pt>
                <c:pt idx="10">
                  <c:v>-0.46054187047686845</c:v>
                </c:pt>
                <c:pt idx="11">
                  <c:v>-0.15448065992942539</c:v>
                </c:pt>
                <c:pt idx="12">
                  <c:v>-3.8023388480665998E-2</c:v>
                </c:pt>
                <c:pt idx="13">
                  <c:v>1.4418016313607174E-2</c:v>
                </c:pt>
                <c:pt idx="14">
                  <c:v>0.15078081146744804</c:v>
                </c:pt>
                <c:pt idx="15">
                  <c:v>0.23276879186867516</c:v>
                </c:pt>
                <c:pt idx="16">
                  <c:v>9.5176071330742795E-2</c:v>
                </c:pt>
                <c:pt idx="17">
                  <c:v>0.17335293755715497</c:v>
                </c:pt>
                <c:pt idx="18">
                  <c:v>0.12984319390530286</c:v>
                </c:pt>
                <c:pt idx="19">
                  <c:v>0.14495042537773672</c:v>
                </c:pt>
                <c:pt idx="20">
                  <c:v>0.76326090326209028</c:v>
                </c:pt>
                <c:pt idx="22">
                  <c:v>0.47137080978164958</c:v>
                </c:pt>
                <c:pt idx="23">
                  <c:v>0.35389085325229686</c:v>
                </c:pt>
                <c:pt idx="24">
                  <c:v>0.31566739528849275</c:v>
                </c:pt>
                <c:pt idx="25">
                  <c:v>0.30490520904326046</c:v>
                </c:pt>
                <c:pt idx="26">
                  <c:v>0.15609631041597516</c:v>
                </c:pt>
                <c:pt idx="27">
                  <c:v>0.14138932910723723</c:v>
                </c:pt>
                <c:pt idx="28">
                  <c:v>7.3775216138328492E-2</c:v>
                </c:pt>
                <c:pt idx="29">
                  <c:v>0.13382007822685793</c:v>
                </c:pt>
                <c:pt idx="30">
                  <c:v>0.11457671957671978</c:v>
                </c:pt>
                <c:pt idx="31">
                  <c:v>0.10297184567257567</c:v>
                </c:pt>
                <c:pt idx="32">
                  <c:v>0.11788048552754438</c:v>
                </c:pt>
              </c:numCache>
            </c:numRef>
          </c:val>
          <c:smooth val="1"/>
          <c:extLst>
            <c:ext xmlns:c16="http://schemas.microsoft.com/office/drawing/2014/chart" uri="{C3380CC4-5D6E-409C-BE32-E72D297353CC}">
              <c16:uniqueId val="{0000000D-2071-41AC-B384-A95CBE28DFC7}"/>
            </c:ext>
          </c:extLst>
        </c:ser>
        <c:dLbls>
          <c:showLegendKey val="0"/>
          <c:showVal val="1"/>
          <c:showCatName val="0"/>
          <c:showSerName val="0"/>
          <c:showPercent val="0"/>
          <c:showBubbleSize val="0"/>
        </c:dLbls>
        <c:marker val="1"/>
        <c:smooth val="0"/>
        <c:axId val="1401185456"/>
        <c:axId val="1401202320"/>
      </c:lineChart>
      <c:dateAx>
        <c:axId val="140119307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vert="horz"/>
          <a:lstStyle/>
          <a:p>
            <a:pPr>
              <a:defRPr/>
            </a:pPr>
            <a:endParaRPr lang="en-US"/>
          </a:p>
        </c:txPr>
        <c:crossAx val="1401202864"/>
        <c:crosses val="autoZero"/>
        <c:auto val="1"/>
        <c:lblOffset val="100"/>
        <c:baseTimeUnit val="months"/>
        <c:majorUnit val="1"/>
        <c:majorTimeUnit val="months"/>
      </c:dateAx>
      <c:valAx>
        <c:axId val="1401202864"/>
        <c:scaling>
          <c:orientation val="minMax"/>
        </c:scaling>
        <c:delete val="0"/>
        <c:axPos val="l"/>
        <c:numFmt formatCode="_ * #,##0_ ;_ * \-#,##0_ ;_ * &quot;-&quot;??_ ;_ @_ " sourceLinked="1"/>
        <c:majorTickMark val="none"/>
        <c:minorTickMark val="none"/>
        <c:tickLblPos val="nextTo"/>
        <c:spPr>
          <a:noFill/>
          <a:ln>
            <a:noFill/>
          </a:ln>
          <a:effectLst/>
        </c:spPr>
        <c:txPr>
          <a:bodyPr rot="-60000000" vert="horz"/>
          <a:lstStyle/>
          <a:p>
            <a:pPr>
              <a:defRPr/>
            </a:pPr>
            <a:endParaRPr lang="en-US"/>
          </a:p>
        </c:txPr>
        <c:crossAx val="1401193072"/>
        <c:crosses val="autoZero"/>
        <c:crossBetween val="between"/>
      </c:valAx>
      <c:valAx>
        <c:axId val="1401202320"/>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185456"/>
        <c:crosses val="max"/>
        <c:crossBetween val="between"/>
      </c:valAx>
      <c:dateAx>
        <c:axId val="1401185456"/>
        <c:scaling>
          <c:orientation val="minMax"/>
        </c:scaling>
        <c:delete val="1"/>
        <c:axPos val="b"/>
        <c:numFmt formatCode="mmm\-yy" sourceLinked="1"/>
        <c:majorTickMark val="out"/>
        <c:minorTickMark val="none"/>
        <c:tickLblPos val="nextTo"/>
        <c:crossAx val="1401202320"/>
        <c:crosses val="autoZero"/>
        <c:auto val="1"/>
        <c:lblOffset val="100"/>
        <c:baseTimeUnit val="month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way bill_charts (2)'!$F$1</c:f>
              <c:strCache>
                <c:ptCount val="1"/>
                <c:pt idx="0">
                  <c:v>Inter State E-way bills generated (millions)</c:v>
                </c:pt>
              </c:strCache>
            </c:strRef>
          </c:tx>
          <c:spPr>
            <a:solidFill>
              <a:schemeClr val="bg1">
                <a:lumMod val="85000"/>
              </a:schemeClr>
            </a:solidFill>
            <a:ln>
              <a:noFill/>
            </a:ln>
            <a:effectLst/>
          </c:spPr>
          <c:invertIfNegative val="0"/>
          <c:dLbls>
            <c:spPr>
              <a:noFill/>
              <a:ln>
                <a:noFill/>
              </a:ln>
              <a:effectLst/>
            </c:spPr>
            <c:txPr>
              <a:bodyPr rot="-5400000"/>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F$17:$F$49</c:f>
              <c:numCache>
                <c:formatCode>_ * #,##0_ ;_ * \-#,##0_ ;_ * "-"??_ ;_ @_ </c:formatCode>
                <c:ptCount val="33"/>
                <c:pt idx="0">
                  <c:v>21.144303000000001</c:v>
                </c:pt>
                <c:pt idx="1">
                  <c:v>21.182768999999997</c:v>
                </c:pt>
                <c:pt idx="2">
                  <c:v>22.322188000000001</c:v>
                </c:pt>
                <c:pt idx="3">
                  <c:v>22.159777000000002</c:v>
                </c:pt>
                <c:pt idx="4">
                  <c:v>21.701746000000004</c:v>
                </c:pt>
                <c:pt idx="5">
                  <c:v>22.709599999999995</c:v>
                </c:pt>
                <c:pt idx="6">
                  <c:v>23.466682999999996</c:v>
                </c:pt>
                <c:pt idx="7">
                  <c:v>23.682062999999999</c:v>
                </c:pt>
                <c:pt idx="8">
                  <c:v>16.362916000000002</c:v>
                </c:pt>
                <c:pt idx="9">
                  <c:v>2.4432139999999993</c:v>
                </c:pt>
                <c:pt idx="10">
                  <c:v>8.3997659999999996</c:v>
                </c:pt>
                <c:pt idx="11">
                  <c:v>14.815816000000002</c:v>
                </c:pt>
                <c:pt idx="12" formatCode="0">
                  <c:v>18.521609000000002</c:v>
                </c:pt>
                <c:pt idx="13" formatCode="0">
                  <c:v>18.970984999999999</c:v>
                </c:pt>
                <c:pt idx="14" formatCode="0">
                  <c:v>22.817374999999998</c:v>
                </c:pt>
                <c:pt idx="15" formatCode="0">
                  <c:v>26.32</c:v>
                </c:pt>
                <c:pt idx="16" formatCode="0">
                  <c:v>22.9</c:v>
                </c:pt>
                <c:pt idx="17" formatCode="0">
                  <c:v>25.84</c:v>
                </c:pt>
                <c:pt idx="18" formatCode="0">
                  <c:v>25.06</c:v>
                </c:pt>
                <c:pt idx="19" formatCode="0">
                  <c:v>25.47</c:v>
                </c:pt>
                <c:pt idx="20" formatCode="0">
                  <c:v>28.388000000000002</c:v>
                </c:pt>
                <c:pt idx="21" formatCode="0">
                  <c:v>22.98</c:v>
                </c:pt>
                <c:pt idx="22" formatCode="0">
                  <c:v>14.83</c:v>
                </c:pt>
                <c:pt idx="23" formatCode="0">
                  <c:v>20.69</c:v>
                </c:pt>
                <c:pt idx="24" formatCode="0">
                  <c:v>24.896999999999998</c:v>
                </c:pt>
                <c:pt idx="25" formatCode="0">
                  <c:v>26.073285714285714</c:v>
                </c:pt>
                <c:pt idx="26" formatCode="0">
                  <c:v>27.91</c:v>
                </c:pt>
                <c:pt idx="27" formatCode="0">
                  <c:v>30.292999999999999</c:v>
                </c:pt>
                <c:pt idx="28" formatCode="0">
                  <c:v>23.890999999999998</c:v>
                </c:pt>
                <c:pt idx="29" formatCode="0">
                  <c:v>28.152000000000001</c:v>
                </c:pt>
                <c:pt idx="30" formatCode="0">
                  <c:v>26.710999999999999</c:v>
                </c:pt>
                <c:pt idx="31" formatCode="0">
                  <c:v>26.83</c:v>
                </c:pt>
                <c:pt idx="32" formatCode="0">
                  <c:v>30.27</c:v>
                </c:pt>
              </c:numCache>
            </c:numRef>
          </c:val>
          <c:extLst>
            <c:ext xmlns:c16="http://schemas.microsoft.com/office/drawing/2014/chart" uri="{C3380CC4-5D6E-409C-BE32-E72D297353CC}">
              <c16:uniqueId val="{00000000-3633-4890-AA86-6CDD709AD966}"/>
            </c:ext>
          </c:extLst>
        </c:ser>
        <c:dLbls>
          <c:showLegendKey val="0"/>
          <c:showVal val="1"/>
          <c:showCatName val="0"/>
          <c:showSerName val="0"/>
          <c:showPercent val="0"/>
          <c:showBubbleSize val="0"/>
        </c:dLbls>
        <c:gapWidth val="75"/>
        <c:axId val="1401212656"/>
        <c:axId val="1401194160"/>
      </c:barChart>
      <c:lineChart>
        <c:grouping val="standard"/>
        <c:varyColors val="0"/>
        <c:ser>
          <c:idx val="1"/>
          <c:order val="1"/>
          <c:tx>
            <c:strRef>
              <c:f>'E-way bill_charts (2)'!$G$1</c:f>
              <c:strCache>
                <c:ptCount val="1"/>
                <c:pt idx="0">
                  <c:v>Y-o-Y growth</c:v>
                </c:pt>
              </c:strCache>
            </c:strRef>
          </c:tx>
          <c:spPr>
            <a:ln w="28575" cap="rnd">
              <a:solidFill>
                <a:srgbClr val="FF0000"/>
              </a:solidFill>
              <a:round/>
            </a:ln>
            <a:effectLst/>
          </c:spPr>
          <c:marker>
            <c:symbol val="square"/>
            <c:size val="5"/>
            <c:spPr>
              <a:solidFill>
                <a:srgbClr val="FF0000"/>
              </a:solidFill>
              <a:ln w="9525">
                <a:solidFill>
                  <a:srgbClr val="FF0000"/>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1-3633-4890-AA86-6CDD709AD966}"/>
                </c:ext>
              </c:extLst>
            </c:dLbl>
            <c:dLbl>
              <c:idx val="6"/>
              <c:delete val="1"/>
              <c:extLst>
                <c:ext xmlns:c15="http://schemas.microsoft.com/office/drawing/2012/chart" uri="{CE6537A1-D6FC-4f65-9D91-7224C49458BB}"/>
                <c:ext xmlns:c16="http://schemas.microsoft.com/office/drawing/2014/chart" uri="{C3380CC4-5D6E-409C-BE32-E72D297353CC}">
                  <c16:uniqueId val="{00000002-3633-4890-AA86-6CDD709AD966}"/>
                </c:ext>
              </c:extLst>
            </c:dLbl>
            <c:dLbl>
              <c:idx val="12"/>
              <c:delete val="1"/>
              <c:extLst>
                <c:ext xmlns:c15="http://schemas.microsoft.com/office/drawing/2012/chart" uri="{CE6537A1-D6FC-4f65-9D91-7224C49458BB}"/>
                <c:ext xmlns:c16="http://schemas.microsoft.com/office/drawing/2014/chart" uri="{C3380CC4-5D6E-409C-BE32-E72D297353CC}">
                  <c16:uniqueId val="{00000003-3633-4890-AA86-6CDD709AD966}"/>
                </c:ext>
              </c:extLst>
            </c:dLbl>
            <c:dLbl>
              <c:idx val="13"/>
              <c:delete val="1"/>
              <c:extLst>
                <c:ext xmlns:c15="http://schemas.microsoft.com/office/drawing/2012/chart" uri="{CE6537A1-D6FC-4f65-9D91-7224C49458BB}"/>
                <c:ext xmlns:c16="http://schemas.microsoft.com/office/drawing/2014/chart" uri="{C3380CC4-5D6E-409C-BE32-E72D297353CC}">
                  <c16:uniqueId val="{00000004-3633-4890-AA86-6CDD709AD966}"/>
                </c:ext>
              </c:extLst>
            </c:dLbl>
            <c:dLbl>
              <c:idx val="16"/>
              <c:delete val="1"/>
              <c:extLst>
                <c:ext xmlns:c15="http://schemas.microsoft.com/office/drawing/2012/chart" uri="{CE6537A1-D6FC-4f65-9D91-7224C49458BB}"/>
                <c:ext xmlns:c16="http://schemas.microsoft.com/office/drawing/2014/chart" uri="{C3380CC4-5D6E-409C-BE32-E72D297353CC}">
                  <c16:uniqueId val="{00000005-3633-4890-AA86-6CDD709AD966}"/>
                </c:ext>
              </c:extLst>
            </c:dLbl>
            <c:dLbl>
              <c:idx val="18"/>
              <c:delete val="1"/>
              <c:extLst>
                <c:ext xmlns:c15="http://schemas.microsoft.com/office/drawing/2012/chart" uri="{CE6537A1-D6FC-4f65-9D91-7224C49458BB}"/>
                <c:ext xmlns:c16="http://schemas.microsoft.com/office/drawing/2014/chart" uri="{C3380CC4-5D6E-409C-BE32-E72D297353CC}">
                  <c16:uniqueId val="{00000006-3633-4890-AA86-6CDD709AD966}"/>
                </c:ext>
              </c:extLst>
            </c:dLbl>
            <c:dLbl>
              <c:idx val="23"/>
              <c:delete val="1"/>
              <c:extLst>
                <c:ext xmlns:c15="http://schemas.microsoft.com/office/drawing/2012/chart" uri="{CE6537A1-D6FC-4f65-9D91-7224C49458BB}"/>
                <c:ext xmlns:c16="http://schemas.microsoft.com/office/drawing/2014/chart" uri="{C3380CC4-5D6E-409C-BE32-E72D297353CC}">
                  <c16:uniqueId val="{00000007-3633-4890-AA86-6CDD709AD966}"/>
                </c:ext>
              </c:extLst>
            </c:dLbl>
            <c:dLbl>
              <c:idx val="25"/>
              <c:delete val="1"/>
              <c:extLst>
                <c:ext xmlns:c15="http://schemas.microsoft.com/office/drawing/2012/chart" uri="{CE6537A1-D6FC-4f65-9D91-7224C49458BB}"/>
                <c:ext xmlns:c16="http://schemas.microsoft.com/office/drawing/2014/chart" uri="{C3380CC4-5D6E-409C-BE32-E72D297353CC}">
                  <c16:uniqueId val="{00000008-3633-4890-AA86-6CDD709AD966}"/>
                </c:ext>
              </c:extLst>
            </c:dLbl>
            <c:dLbl>
              <c:idx val="26"/>
              <c:delete val="1"/>
              <c:extLst>
                <c:ext xmlns:c15="http://schemas.microsoft.com/office/drawing/2012/chart" uri="{CE6537A1-D6FC-4f65-9D91-7224C49458BB}"/>
                <c:ext xmlns:c16="http://schemas.microsoft.com/office/drawing/2014/chart" uri="{C3380CC4-5D6E-409C-BE32-E72D297353CC}">
                  <c16:uniqueId val="{00000009-3633-4890-AA86-6CDD709AD966}"/>
                </c:ext>
              </c:extLst>
            </c:dLbl>
            <c:dLbl>
              <c:idx val="29"/>
              <c:delete val="1"/>
              <c:extLst>
                <c:ext xmlns:c15="http://schemas.microsoft.com/office/drawing/2012/chart" uri="{CE6537A1-D6FC-4f65-9D91-7224C49458BB}"/>
                <c:ext xmlns:c16="http://schemas.microsoft.com/office/drawing/2014/chart" uri="{C3380CC4-5D6E-409C-BE32-E72D297353CC}">
                  <c16:uniqueId val="{0000000A-3633-4890-AA86-6CDD709AD966}"/>
                </c:ext>
              </c:extLst>
            </c:dLbl>
            <c:dLbl>
              <c:idx val="31"/>
              <c:delete val="1"/>
              <c:extLst>
                <c:ext xmlns:c15="http://schemas.microsoft.com/office/drawing/2012/chart" uri="{CE6537A1-D6FC-4f65-9D91-7224C49458BB}"/>
                <c:ext xmlns:c16="http://schemas.microsoft.com/office/drawing/2014/chart" uri="{C3380CC4-5D6E-409C-BE32-E72D297353CC}">
                  <c16:uniqueId val="{0000000B-3633-4890-AA86-6CDD709AD966}"/>
                </c:ext>
              </c:extLst>
            </c:dLbl>
            <c:spPr>
              <a:noFill/>
              <a:ln>
                <a:noFill/>
              </a:ln>
              <a:effectLst/>
            </c:spPr>
            <c:txPr>
              <a:bodyPr rot="0" vert="horz"/>
              <a:lstStyle/>
              <a:p>
                <a:pPr>
                  <a:defRPr>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G$17:$G$49</c:f>
              <c:numCache>
                <c:formatCode>0%</c:formatCode>
                <c:ptCount val="33"/>
                <c:pt idx="0">
                  <c:v>5.3753954635472612E-2</c:v>
                </c:pt>
                <c:pt idx="1">
                  <c:v>5.5670957982378866E-2</c:v>
                </c:pt>
                <c:pt idx="2">
                  <c:v>0.11245539193779464</c:v>
                </c:pt>
                <c:pt idx="3">
                  <c:v>-3.1760582393131398E-2</c:v>
                </c:pt>
                <c:pt idx="4">
                  <c:v>0.18480279097425467</c:v>
                </c:pt>
                <c:pt idx="5">
                  <c:v>8.0151815609747601E-2</c:v>
                </c:pt>
                <c:pt idx="6">
                  <c:v>9.3903416351221791E-2</c:v>
                </c:pt>
                <c:pt idx="7">
                  <c:v>0.12886049886806794</c:v>
                </c:pt>
                <c:pt idx="8">
                  <c:v>-0.28089264871454112</c:v>
                </c:pt>
                <c:pt idx="9">
                  <c:v>-0.88913748715073992</c:v>
                </c:pt>
                <c:pt idx="10">
                  <c:v>-0.62815242562929874</c:v>
                </c:pt>
                <c:pt idx="11">
                  <c:v>-0.26092260312916549</c:v>
                </c:pt>
                <c:pt idx="12">
                  <c:v>-0.12403785549232804</c:v>
                </c:pt>
                <c:pt idx="13">
                  <c:v>-0.10441430013233866</c:v>
                </c:pt>
                <c:pt idx="14">
                  <c:v>2.2183622859909491E-2</c:v>
                </c:pt>
                <c:pt idx="15">
                  <c:v>0.18773758418236786</c:v>
                </c:pt>
                <c:pt idx="16">
                  <c:v>5.5214635725622907E-2</c:v>
                </c:pt>
                <c:pt idx="17">
                  <c:v>0.13784478810723244</c:v>
                </c:pt>
                <c:pt idx="18">
                  <c:v>6.7896983992156157E-2</c:v>
                </c:pt>
                <c:pt idx="19">
                  <c:v>7.5497518945034425E-2</c:v>
                </c:pt>
                <c:pt idx="20">
                  <c:v>0.73489859631376198</c:v>
                </c:pt>
                <c:pt idx="22">
                  <c:v>0.76552537296872325</c:v>
                </c:pt>
                <c:pt idx="23">
                  <c:v>0.39648062583930566</c:v>
                </c:pt>
                <c:pt idx="24">
                  <c:v>0.34421366955754196</c:v>
                </c:pt>
                <c:pt idx="25">
                  <c:v>0.37437701386015099</c:v>
                </c:pt>
                <c:pt idx="26">
                  <c:v>0.22319066062594861</c:v>
                </c:pt>
                <c:pt idx="27">
                  <c:v>0.1509498480243161</c:v>
                </c:pt>
                <c:pt idx="28">
                  <c:v>4.3275109170305637E-2</c:v>
                </c:pt>
                <c:pt idx="29">
                  <c:v>8.9473684210526372E-2</c:v>
                </c:pt>
                <c:pt idx="30">
                  <c:v>6.5881883479648851E-2</c:v>
                </c:pt>
                <c:pt idx="31">
                  <c:v>5.3396152336081748E-2</c:v>
                </c:pt>
                <c:pt idx="32">
                  <c:v>6.6295617866704237E-2</c:v>
                </c:pt>
              </c:numCache>
            </c:numRef>
          </c:val>
          <c:smooth val="1"/>
          <c:extLst>
            <c:ext xmlns:c16="http://schemas.microsoft.com/office/drawing/2014/chart" uri="{C3380CC4-5D6E-409C-BE32-E72D297353CC}">
              <c16:uniqueId val="{0000000C-3633-4890-AA86-6CDD709AD966}"/>
            </c:ext>
          </c:extLst>
        </c:ser>
        <c:dLbls>
          <c:showLegendKey val="0"/>
          <c:showVal val="1"/>
          <c:showCatName val="0"/>
          <c:showSerName val="0"/>
          <c:showPercent val="0"/>
          <c:showBubbleSize val="0"/>
        </c:dLbls>
        <c:marker val="1"/>
        <c:smooth val="0"/>
        <c:axId val="1401192528"/>
        <c:axId val="1401191984"/>
      </c:lineChart>
      <c:dateAx>
        <c:axId val="140121265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vert="horz"/>
          <a:lstStyle/>
          <a:p>
            <a:pPr>
              <a:defRPr/>
            </a:pPr>
            <a:endParaRPr lang="en-US"/>
          </a:p>
        </c:txPr>
        <c:crossAx val="1401194160"/>
        <c:crosses val="autoZero"/>
        <c:auto val="1"/>
        <c:lblOffset val="100"/>
        <c:baseTimeUnit val="months"/>
        <c:majorUnit val="1"/>
        <c:majorTimeUnit val="months"/>
      </c:dateAx>
      <c:valAx>
        <c:axId val="1401194160"/>
        <c:scaling>
          <c:orientation val="minMax"/>
        </c:scaling>
        <c:delete val="0"/>
        <c:axPos val="l"/>
        <c:numFmt formatCode="_ * #,##0_ ;_ * \-#,##0_ ;_ * &quot;-&quot;??_ ;_ @_ " sourceLinked="1"/>
        <c:majorTickMark val="none"/>
        <c:minorTickMark val="none"/>
        <c:tickLblPos val="nextTo"/>
        <c:spPr>
          <a:noFill/>
          <a:ln>
            <a:noFill/>
          </a:ln>
          <a:effectLst/>
        </c:spPr>
        <c:txPr>
          <a:bodyPr rot="-60000000" vert="horz"/>
          <a:lstStyle/>
          <a:p>
            <a:pPr>
              <a:defRPr/>
            </a:pPr>
            <a:endParaRPr lang="en-US"/>
          </a:p>
        </c:txPr>
        <c:crossAx val="1401212656"/>
        <c:crosses val="autoZero"/>
        <c:crossBetween val="between"/>
      </c:valAx>
      <c:valAx>
        <c:axId val="1401191984"/>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192528"/>
        <c:crosses val="max"/>
        <c:crossBetween val="between"/>
      </c:valAx>
      <c:dateAx>
        <c:axId val="1401192528"/>
        <c:scaling>
          <c:orientation val="minMax"/>
        </c:scaling>
        <c:delete val="1"/>
        <c:axPos val="b"/>
        <c:numFmt formatCode="mmm\-yy" sourceLinked="1"/>
        <c:majorTickMark val="out"/>
        <c:minorTickMark val="none"/>
        <c:tickLblPos val="nextTo"/>
        <c:crossAx val="1401191984"/>
        <c:crosses val="autoZero"/>
        <c:auto val="1"/>
        <c:lblOffset val="100"/>
        <c:baseTimeUnit val="month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C$5</c:f>
              <c:strCache>
                <c:ptCount val="1"/>
                <c:pt idx="0">
                  <c:v>Doses administered per day (mn)</c:v>
                </c:pt>
              </c:strCache>
            </c:strRef>
          </c:tx>
          <c:spPr>
            <a:solidFill>
              <a:schemeClr val="accent5"/>
            </a:solidFill>
            <a:ln>
              <a:noFill/>
            </a:ln>
            <a:effectLst/>
          </c:spPr>
          <c:invertIfNegative val="0"/>
          <c:cat>
            <c:multiLvlStrRef>
              <c:f>Sheet2!$A$12:$B$432</c:f>
              <c:multiLvlStrCache>
                <c:ptCount val="421"/>
                <c:lvl>
                  <c:pt idx="0">
                    <c:v>1-Feb</c:v>
                  </c:pt>
                  <c:pt idx="1">
                    <c:v>2-Feb</c:v>
                  </c:pt>
                  <c:pt idx="2">
                    <c:v>3-Feb</c:v>
                  </c:pt>
                  <c:pt idx="3">
                    <c:v>4-Feb</c:v>
                  </c:pt>
                  <c:pt idx="4">
                    <c:v>5-Feb</c:v>
                  </c:pt>
                  <c:pt idx="5">
                    <c:v>6-Feb</c:v>
                  </c:pt>
                  <c:pt idx="6">
                    <c:v>7-Feb</c:v>
                  </c:pt>
                  <c:pt idx="7">
                    <c:v>8-Feb</c:v>
                  </c:pt>
                  <c:pt idx="8">
                    <c:v>9-Feb</c:v>
                  </c:pt>
                  <c:pt idx="9">
                    <c:v>10-Feb</c:v>
                  </c:pt>
                  <c:pt idx="10">
                    <c:v>11-Feb</c:v>
                  </c:pt>
                  <c:pt idx="11">
                    <c:v>12-Feb</c:v>
                  </c:pt>
                  <c:pt idx="12">
                    <c:v>13-Feb</c:v>
                  </c:pt>
                  <c:pt idx="13">
                    <c:v>14-Feb</c:v>
                  </c:pt>
                  <c:pt idx="14">
                    <c:v>15-Feb</c:v>
                  </c:pt>
                  <c:pt idx="15">
                    <c:v>16-Feb</c:v>
                  </c:pt>
                  <c:pt idx="16">
                    <c:v>17-Feb</c:v>
                  </c:pt>
                  <c:pt idx="17">
                    <c:v>18-Feb</c:v>
                  </c:pt>
                  <c:pt idx="18">
                    <c:v>19-Feb</c:v>
                  </c:pt>
                  <c:pt idx="19">
                    <c:v>20-Feb</c:v>
                  </c:pt>
                  <c:pt idx="20">
                    <c:v>21-Feb</c:v>
                  </c:pt>
                  <c:pt idx="21">
                    <c:v>22-Feb</c:v>
                  </c:pt>
                  <c:pt idx="22">
                    <c:v>23-Feb</c:v>
                  </c:pt>
                  <c:pt idx="23">
                    <c:v>24-Feb</c:v>
                  </c:pt>
                  <c:pt idx="24">
                    <c:v>25-Feb</c:v>
                  </c:pt>
                  <c:pt idx="25">
                    <c:v>26-Feb</c:v>
                  </c:pt>
                  <c:pt idx="26">
                    <c:v>27-Feb</c:v>
                  </c:pt>
                  <c:pt idx="27">
                    <c:v>28-Feb</c:v>
                  </c:pt>
                  <c:pt idx="28">
                    <c:v>1-Mar</c:v>
                  </c:pt>
                  <c:pt idx="29">
                    <c:v>2-Mar</c:v>
                  </c:pt>
                  <c:pt idx="30">
                    <c:v>3-Mar</c:v>
                  </c:pt>
                  <c:pt idx="31">
                    <c:v>4-Mar</c:v>
                  </c:pt>
                  <c:pt idx="32">
                    <c:v>5-Mar</c:v>
                  </c:pt>
                  <c:pt idx="33">
                    <c:v>6-Mar</c:v>
                  </c:pt>
                  <c:pt idx="34">
                    <c:v>7-Mar</c:v>
                  </c:pt>
                  <c:pt idx="35">
                    <c:v>8-Mar</c:v>
                  </c:pt>
                  <c:pt idx="36">
                    <c:v>9-Mar</c:v>
                  </c:pt>
                  <c:pt idx="37">
                    <c:v>10-Mar</c:v>
                  </c:pt>
                  <c:pt idx="38">
                    <c:v>11-Mar</c:v>
                  </c:pt>
                  <c:pt idx="39">
                    <c:v>12-Mar</c:v>
                  </c:pt>
                  <c:pt idx="40">
                    <c:v>13-Mar</c:v>
                  </c:pt>
                  <c:pt idx="41">
                    <c:v>14-Mar</c:v>
                  </c:pt>
                  <c:pt idx="42">
                    <c:v>15-Mar</c:v>
                  </c:pt>
                  <c:pt idx="43">
                    <c:v>16-Mar</c:v>
                  </c:pt>
                  <c:pt idx="44">
                    <c:v>17-Mar</c:v>
                  </c:pt>
                  <c:pt idx="45">
                    <c:v>18-Mar</c:v>
                  </c:pt>
                  <c:pt idx="46">
                    <c:v>19-Mar</c:v>
                  </c:pt>
                  <c:pt idx="47">
                    <c:v>20-Mar</c:v>
                  </c:pt>
                  <c:pt idx="48">
                    <c:v>21-Mar</c:v>
                  </c:pt>
                  <c:pt idx="49">
                    <c:v>22-Mar</c:v>
                  </c:pt>
                  <c:pt idx="50">
                    <c:v>23-Mar</c:v>
                  </c:pt>
                  <c:pt idx="51">
                    <c:v>24-Mar</c:v>
                  </c:pt>
                  <c:pt idx="52">
                    <c:v>25-Mar</c:v>
                  </c:pt>
                  <c:pt idx="53">
                    <c:v>26-Mar</c:v>
                  </c:pt>
                  <c:pt idx="54">
                    <c:v>27-Mar</c:v>
                  </c:pt>
                  <c:pt idx="55">
                    <c:v>28-Mar</c:v>
                  </c:pt>
                  <c:pt idx="56">
                    <c:v>29-Mar</c:v>
                  </c:pt>
                  <c:pt idx="57">
                    <c:v>30-Mar</c:v>
                  </c:pt>
                  <c:pt idx="58">
                    <c:v>31-Mar</c:v>
                  </c:pt>
                  <c:pt idx="59">
                    <c:v>1-Apr</c:v>
                  </c:pt>
                  <c:pt idx="60">
                    <c:v>2-Apr</c:v>
                  </c:pt>
                  <c:pt idx="61">
                    <c:v>3-Apr</c:v>
                  </c:pt>
                  <c:pt idx="62">
                    <c:v>4-Apr</c:v>
                  </c:pt>
                  <c:pt idx="63">
                    <c:v>5-Apr</c:v>
                  </c:pt>
                  <c:pt idx="64">
                    <c:v>6-Apr</c:v>
                  </c:pt>
                  <c:pt idx="65">
                    <c:v>7-Apr</c:v>
                  </c:pt>
                  <c:pt idx="66">
                    <c:v>8-Apr</c:v>
                  </c:pt>
                  <c:pt idx="67">
                    <c:v>9-Apr</c:v>
                  </c:pt>
                  <c:pt idx="68">
                    <c:v>10-Apr</c:v>
                  </c:pt>
                  <c:pt idx="69">
                    <c:v>11-Apr</c:v>
                  </c:pt>
                  <c:pt idx="70">
                    <c:v>12-Apr</c:v>
                  </c:pt>
                  <c:pt idx="71">
                    <c:v>13-Apr</c:v>
                  </c:pt>
                  <c:pt idx="72">
                    <c:v>14-Apr</c:v>
                  </c:pt>
                  <c:pt idx="73">
                    <c:v>15-Apr</c:v>
                  </c:pt>
                  <c:pt idx="74">
                    <c:v>16-Apr</c:v>
                  </c:pt>
                  <c:pt idx="75">
                    <c:v>17-Apr</c:v>
                  </c:pt>
                  <c:pt idx="76">
                    <c:v>18-Apr</c:v>
                  </c:pt>
                  <c:pt idx="77">
                    <c:v>19-Apr</c:v>
                  </c:pt>
                  <c:pt idx="78">
                    <c:v>20-Apr</c:v>
                  </c:pt>
                  <c:pt idx="79">
                    <c:v>21-Apr</c:v>
                  </c:pt>
                  <c:pt idx="80">
                    <c:v>22-Apr</c:v>
                  </c:pt>
                  <c:pt idx="81">
                    <c:v>23-Apr</c:v>
                  </c:pt>
                  <c:pt idx="82">
                    <c:v>24-Apr</c:v>
                  </c:pt>
                  <c:pt idx="83">
                    <c:v>25-Apr</c:v>
                  </c:pt>
                  <c:pt idx="84">
                    <c:v>26-Apr</c:v>
                  </c:pt>
                  <c:pt idx="85">
                    <c:v>27-Apr</c:v>
                  </c:pt>
                  <c:pt idx="86">
                    <c:v>28-Apr</c:v>
                  </c:pt>
                  <c:pt idx="87">
                    <c:v>29-Apr</c:v>
                  </c:pt>
                  <c:pt idx="88">
                    <c:v>30-Apr</c:v>
                  </c:pt>
                  <c:pt idx="89">
                    <c:v>1-May</c:v>
                  </c:pt>
                  <c:pt idx="90">
                    <c:v>2-May</c:v>
                  </c:pt>
                  <c:pt idx="91">
                    <c:v>3-May</c:v>
                  </c:pt>
                  <c:pt idx="92">
                    <c:v>4-May</c:v>
                  </c:pt>
                  <c:pt idx="93">
                    <c:v>5-May</c:v>
                  </c:pt>
                  <c:pt idx="94">
                    <c:v>6-May</c:v>
                  </c:pt>
                  <c:pt idx="95">
                    <c:v>7-May</c:v>
                  </c:pt>
                  <c:pt idx="96">
                    <c:v>8-May</c:v>
                  </c:pt>
                  <c:pt idx="97">
                    <c:v>9-May</c:v>
                  </c:pt>
                  <c:pt idx="98">
                    <c:v>10-May</c:v>
                  </c:pt>
                  <c:pt idx="99">
                    <c:v>11-May</c:v>
                  </c:pt>
                  <c:pt idx="100">
                    <c:v>12-May</c:v>
                  </c:pt>
                  <c:pt idx="101">
                    <c:v>13-May</c:v>
                  </c:pt>
                  <c:pt idx="102">
                    <c:v>14-May</c:v>
                  </c:pt>
                  <c:pt idx="103">
                    <c:v>15-May</c:v>
                  </c:pt>
                  <c:pt idx="104">
                    <c:v>16-May</c:v>
                  </c:pt>
                  <c:pt idx="105">
                    <c:v>17-May</c:v>
                  </c:pt>
                  <c:pt idx="106">
                    <c:v>18-May</c:v>
                  </c:pt>
                  <c:pt idx="107">
                    <c:v>19-May</c:v>
                  </c:pt>
                  <c:pt idx="108">
                    <c:v>20-May</c:v>
                  </c:pt>
                  <c:pt idx="109">
                    <c:v>21-May</c:v>
                  </c:pt>
                  <c:pt idx="110">
                    <c:v>22-May</c:v>
                  </c:pt>
                  <c:pt idx="111">
                    <c:v>23-May</c:v>
                  </c:pt>
                  <c:pt idx="112">
                    <c:v>24-May</c:v>
                  </c:pt>
                  <c:pt idx="113">
                    <c:v>25-May</c:v>
                  </c:pt>
                  <c:pt idx="114">
                    <c:v>26-May</c:v>
                  </c:pt>
                  <c:pt idx="115">
                    <c:v>27-May</c:v>
                  </c:pt>
                  <c:pt idx="116">
                    <c:v>28-May</c:v>
                  </c:pt>
                  <c:pt idx="117">
                    <c:v>29-May</c:v>
                  </c:pt>
                  <c:pt idx="118">
                    <c:v>30-May</c:v>
                  </c:pt>
                  <c:pt idx="119">
                    <c:v>31-May</c:v>
                  </c:pt>
                  <c:pt idx="120">
                    <c:v>1-Jun</c:v>
                  </c:pt>
                  <c:pt idx="121">
                    <c:v>2-Jun</c:v>
                  </c:pt>
                  <c:pt idx="122">
                    <c:v>3-Jun</c:v>
                  </c:pt>
                  <c:pt idx="123">
                    <c:v>4-Jun</c:v>
                  </c:pt>
                  <c:pt idx="124">
                    <c:v>5-Jun</c:v>
                  </c:pt>
                  <c:pt idx="125">
                    <c:v>6-Jun</c:v>
                  </c:pt>
                  <c:pt idx="126">
                    <c:v>7-Jun</c:v>
                  </c:pt>
                  <c:pt idx="127">
                    <c:v>8-Jun</c:v>
                  </c:pt>
                  <c:pt idx="128">
                    <c:v>9-Jun</c:v>
                  </c:pt>
                  <c:pt idx="129">
                    <c:v>10-Jun</c:v>
                  </c:pt>
                  <c:pt idx="130">
                    <c:v>11-Jun</c:v>
                  </c:pt>
                  <c:pt idx="131">
                    <c:v>12-Jun</c:v>
                  </c:pt>
                  <c:pt idx="132">
                    <c:v>13-Jun</c:v>
                  </c:pt>
                  <c:pt idx="133">
                    <c:v>14-Jun</c:v>
                  </c:pt>
                  <c:pt idx="134">
                    <c:v>15-Jun</c:v>
                  </c:pt>
                  <c:pt idx="135">
                    <c:v>16-Jun</c:v>
                  </c:pt>
                  <c:pt idx="136">
                    <c:v>17-Jun</c:v>
                  </c:pt>
                  <c:pt idx="137">
                    <c:v>18-Jun</c:v>
                  </c:pt>
                  <c:pt idx="138">
                    <c:v>19-Jun</c:v>
                  </c:pt>
                  <c:pt idx="139">
                    <c:v>20-Jun</c:v>
                  </c:pt>
                  <c:pt idx="140">
                    <c:v>21-Jun</c:v>
                  </c:pt>
                  <c:pt idx="141">
                    <c:v>22-Jun</c:v>
                  </c:pt>
                  <c:pt idx="142">
                    <c:v>23-Jun</c:v>
                  </c:pt>
                  <c:pt idx="143">
                    <c:v>24-Jun</c:v>
                  </c:pt>
                  <c:pt idx="144">
                    <c:v>25-Jun</c:v>
                  </c:pt>
                  <c:pt idx="145">
                    <c:v>26-Jun</c:v>
                  </c:pt>
                  <c:pt idx="146">
                    <c:v>27-Jun</c:v>
                  </c:pt>
                  <c:pt idx="147">
                    <c:v>28-Jun</c:v>
                  </c:pt>
                  <c:pt idx="148">
                    <c:v>29-Jun</c:v>
                  </c:pt>
                  <c:pt idx="149">
                    <c:v>30-Jun</c:v>
                  </c:pt>
                  <c:pt idx="150">
                    <c:v>1-Jul</c:v>
                  </c:pt>
                  <c:pt idx="151">
                    <c:v>2-Jul</c:v>
                  </c:pt>
                  <c:pt idx="152">
                    <c:v>3-Jul</c:v>
                  </c:pt>
                  <c:pt idx="153">
                    <c:v>4-Jul</c:v>
                  </c:pt>
                  <c:pt idx="154">
                    <c:v>5-Jul</c:v>
                  </c:pt>
                  <c:pt idx="155">
                    <c:v>6-Jul</c:v>
                  </c:pt>
                  <c:pt idx="156">
                    <c:v>7-Jul</c:v>
                  </c:pt>
                  <c:pt idx="157">
                    <c:v>8-Jul</c:v>
                  </c:pt>
                  <c:pt idx="158">
                    <c:v>9-Jul</c:v>
                  </c:pt>
                  <c:pt idx="159">
                    <c:v>10-Jul</c:v>
                  </c:pt>
                  <c:pt idx="160">
                    <c:v>11-Jul</c:v>
                  </c:pt>
                  <c:pt idx="161">
                    <c:v>12-Jul</c:v>
                  </c:pt>
                  <c:pt idx="162">
                    <c:v>13-Jul</c:v>
                  </c:pt>
                  <c:pt idx="163">
                    <c:v>14-Jul</c:v>
                  </c:pt>
                  <c:pt idx="164">
                    <c:v>15-Jul</c:v>
                  </c:pt>
                  <c:pt idx="165">
                    <c:v>16-Jul</c:v>
                  </c:pt>
                  <c:pt idx="166">
                    <c:v>17-Jul</c:v>
                  </c:pt>
                  <c:pt idx="167">
                    <c:v>18-Jul</c:v>
                  </c:pt>
                  <c:pt idx="168">
                    <c:v>19-Jul</c:v>
                  </c:pt>
                  <c:pt idx="169">
                    <c:v>20-Jul</c:v>
                  </c:pt>
                  <c:pt idx="170">
                    <c:v>21-Jul</c:v>
                  </c:pt>
                  <c:pt idx="171">
                    <c:v>22-Jul</c:v>
                  </c:pt>
                  <c:pt idx="172">
                    <c:v>23-Jul</c:v>
                  </c:pt>
                  <c:pt idx="173">
                    <c:v>24-Jul</c:v>
                  </c:pt>
                  <c:pt idx="174">
                    <c:v>25-Jul</c:v>
                  </c:pt>
                  <c:pt idx="175">
                    <c:v>26-Jul</c:v>
                  </c:pt>
                  <c:pt idx="176">
                    <c:v>27-Jul</c:v>
                  </c:pt>
                  <c:pt idx="177">
                    <c:v>28-Jul</c:v>
                  </c:pt>
                  <c:pt idx="178">
                    <c:v>29-Jul</c:v>
                  </c:pt>
                  <c:pt idx="179">
                    <c:v>30-Jul</c:v>
                  </c:pt>
                  <c:pt idx="180">
                    <c:v>31-Jul</c:v>
                  </c:pt>
                  <c:pt idx="181">
                    <c:v>1-Aug</c:v>
                  </c:pt>
                  <c:pt idx="182">
                    <c:v>2-Aug</c:v>
                  </c:pt>
                  <c:pt idx="183">
                    <c:v>3-Aug</c:v>
                  </c:pt>
                  <c:pt idx="184">
                    <c:v>4-Aug</c:v>
                  </c:pt>
                  <c:pt idx="185">
                    <c:v>5-Aug</c:v>
                  </c:pt>
                  <c:pt idx="186">
                    <c:v>6-Aug</c:v>
                  </c:pt>
                  <c:pt idx="187">
                    <c:v>7-Aug</c:v>
                  </c:pt>
                  <c:pt idx="188">
                    <c:v>8-Aug</c:v>
                  </c:pt>
                  <c:pt idx="189">
                    <c:v>9-Aug</c:v>
                  </c:pt>
                  <c:pt idx="190">
                    <c:v>10-Aug</c:v>
                  </c:pt>
                  <c:pt idx="191">
                    <c:v>11-Aug</c:v>
                  </c:pt>
                  <c:pt idx="192">
                    <c:v>12-Aug</c:v>
                  </c:pt>
                  <c:pt idx="193">
                    <c:v>13-Aug</c:v>
                  </c:pt>
                  <c:pt idx="194">
                    <c:v>14-Aug</c:v>
                  </c:pt>
                  <c:pt idx="195">
                    <c:v>15-Aug</c:v>
                  </c:pt>
                  <c:pt idx="196">
                    <c:v>16-Aug</c:v>
                  </c:pt>
                  <c:pt idx="197">
                    <c:v>17-Aug</c:v>
                  </c:pt>
                  <c:pt idx="198">
                    <c:v>18-Aug</c:v>
                  </c:pt>
                  <c:pt idx="199">
                    <c:v>19-Aug</c:v>
                  </c:pt>
                  <c:pt idx="200">
                    <c:v>20-Aug</c:v>
                  </c:pt>
                  <c:pt idx="201">
                    <c:v>21-Aug</c:v>
                  </c:pt>
                  <c:pt idx="202">
                    <c:v>22-Aug</c:v>
                  </c:pt>
                  <c:pt idx="203">
                    <c:v>23-Aug</c:v>
                  </c:pt>
                  <c:pt idx="204">
                    <c:v>24-Aug</c:v>
                  </c:pt>
                  <c:pt idx="205">
                    <c:v>25-Aug</c:v>
                  </c:pt>
                  <c:pt idx="206">
                    <c:v>26-Aug</c:v>
                  </c:pt>
                  <c:pt idx="207">
                    <c:v>27-Aug</c:v>
                  </c:pt>
                  <c:pt idx="208">
                    <c:v>28-Aug</c:v>
                  </c:pt>
                  <c:pt idx="209">
                    <c:v>29-Aug</c:v>
                  </c:pt>
                  <c:pt idx="210">
                    <c:v>30-Aug</c:v>
                  </c:pt>
                  <c:pt idx="211">
                    <c:v>31-Aug</c:v>
                  </c:pt>
                  <c:pt idx="212">
                    <c:v>1-Sep</c:v>
                  </c:pt>
                  <c:pt idx="213">
                    <c:v>2-Sep</c:v>
                  </c:pt>
                  <c:pt idx="214">
                    <c:v>3-Sep</c:v>
                  </c:pt>
                  <c:pt idx="215">
                    <c:v>4-Sep</c:v>
                  </c:pt>
                  <c:pt idx="216">
                    <c:v>5-Sep</c:v>
                  </c:pt>
                  <c:pt idx="217">
                    <c:v>6-Sep</c:v>
                  </c:pt>
                  <c:pt idx="218">
                    <c:v>7-Sep</c:v>
                  </c:pt>
                  <c:pt idx="219">
                    <c:v>8-Sep</c:v>
                  </c:pt>
                  <c:pt idx="220">
                    <c:v>9-Sep</c:v>
                  </c:pt>
                  <c:pt idx="221">
                    <c:v>10-Sep</c:v>
                  </c:pt>
                  <c:pt idx="222">
                    <c:v>11-Sep</c:v>
                  </c:pt>
                  <c:pt idx="223">
                    <c:v>12-Sep</c:v>
                  </c:pt>
                  <c:pt idx="224">
                    <c:v>13-Sep</c:v>
                  </c:pt>
                  <c:pt idx="225">
                    <c:v>14-Sep</c:v>
                  </c:pt>
                  <c:pt idx="226">
                    <c:v>15-Sep</c:v>
                  </c:pt>
                  <c:pt idx="227">
                    <c:v>16-Sep</c:v>
                  </c:pt>
                  <c:pt idx="228">
                    <c:v>17-Sep</c:v>
                  </c:pt>
                  <c:pt idx="229">
                    <c:v>18-Sep</c:v>
                  </c:pt>
                  <c:pt idx="230">
                    <c:v>19-Sep</c:v>
                  </c:pt>
                  <c:pt idx="231">
                    <c:v>20-Sep</c:v>
                  </c:pt>
                  <c:pt idx="232">
                    <c:v>21-Sep</c:v>
                  </c:pt>
                  <c:pt idx="233">
                    <c:v>22-Sep</c:v>
                  </c:pt>
                  <c:pt idx="234">
                    <c:v>23-Sep</c:v>
                  </c:pt>
                  <c:pt idx="235">
                    <c:v>24-Sep</c:v>
                  </c:pt>
                  <c:pt idx="236">
                    <c:v>25-Sep</c:v>
                  </c:pt>
                  <c:pt idx="237">
                    <c:v>26-Sep</c:v>
                  </c:pt>
                  <c:pt idx="238">
                    <c:v>27-Sep</c:v>
                  </c:pt>
                  <c:pt idx="239">
                    <c:v>28-Sep</c:v>
                  </c:pt>
                  <c:pt idx="240">
                    <c:v>29-Sep</c:v>
                  </c:pt>
                  <c:pt idx="241">
                    <c:v>30-Sep</c:v>
                  </c:pt>
                  <c:pt idx="242">
                    <c:v>1-Oct</c:v>
                  </c:pt>
                  <c:pt idx="243">
                    <c:v>2-Oct</c:v>
                  </c:pt>
                  <c:pt idx="244">
                    <c:v>3-Oct</c:v>
                  </c:pt>
                  <c:pt idx="245">
                    <c:v>4-Oct</c:v>
                  </c:pt>
                  <c:pt idx="246">
                    <c:v>5-Oct</c:v>
                  </c:pt>
                  <c:pt idx="247">
                    <c:v>6-Oct</c:v>
                  </c:pt>
                  <c:pt idx="248">
                    <c:v>7-Oct</c:v>
                  </c:pt>
                  <c:pt idx="249">
                    <c:v>8-Oct</c:v>
                  </c:pt>
                  <c:pt idx="250">
                    <c:v>9-Oct</c:v>
                  </c:pt>
                  <c:pt idx="251">
                    <c:v>10-Oct</c:v>
                  </c:pt>
                  <c:pt idx="252">
                    <c:v>11-Oct</c:v>
                  </c:pt>
                  <c:pt idx="253">
                    <c:v>12-Oct</c:v>
                  </c:pt>
                  <c:pt idx="254">
                    <c:v>13-Oct</c:v>
                  </c:pt>
                  <c:pt idx="255">
                    <c:v>14-Oct</c:v>
                  </c:pt>
                  <c:pt idx="256">
                    <c:v>15-Oct</c:v>
                  </c:pt>
                  <c:pt idx="257">
                    <c:v>16-Oct</c:v>
                  </c:pt>
                  <c:pt idx="258">
                    <c:v>17-Oct</c:v>
                  </c:pt>
                  <c:pt idx="259">
                    <c:v>18-Oct</c:v>
                  </c:pt>
                  <c:pt idx="260">
                    <c:v>19-Oct</c:v>
                  </c:pt>
                  <c:pt idx="261">
                    <c:v>20-Oct</c:v>
                  </c:pt>
                  <c:pt idx="262">
                    <c:v>21-Oct</c:v>
                  </c:pt>
                  <c:pt idx="263">
                    <c:v>22-Oct</c:v>
                  </c:pt>
                  <c:pt idx="264">
                    <c:v>23-Oct</c:v>
                  </c:pt>
                  <c:pt idx="265">
                    <c:v>24-Oct</c:v>
                  </c:pt>
                  <c:pt idx="266">
                    <c:v>25-Oct</c:v>
                  </c:pt>
                  <c:pt idx="267">
                    <c:v>26-Oct</c:v>
                  </c:pt>
                  <c:pt idx="268">
                    <c:v>27-Oct</c:v>
                  </c:pt>
                  <c:pt idx="269">
                    <c:v>28-Oct</c:v>
                  </c:pt>
                  <c:pt idx="270">
                    <c:v>29-Oct</c:v>
                  </c:pt>
                  <c:pt idx="271">
                    <c:v>30-Oct</c:v>
                  </c:pt>
                  <c:pt idx="272">
                    <c:v>31-Oct</c:v>
                  </c:pt>
                  <c:pt idx="273">
                    <c:v>1-Nov</c:v>
                  </c:pt>
                  <c:pt idx="274">
                    <c:v>2-Nov</c:v>
                  </c:pt>
                  <c:pt idx="275">
                    <c:v>3-Nov</c:v>
                  </c:pt>
                  <c:pt idx="276">
                    <c:v>4-Nov</c:v>
                  </c:pt>
                  <c:pt idx="277">
                    <c:v>5-Nov</c:v>
                  </c:pt>
                  <c:pt idx="278">
                    <c:v>6-Nov</c:v>
                  </c:pt>
                  <c:pt idx="279">
                    <c:v>7-Nov</c:v>
                  </c:pt>
                  <c:pt idx="280">
                    <c:v>8-Nov</c:v>
                  </c:pt>
                  <c:pt idx="281">
                    <c:v>9-Nov</c:v>
                  </c:pt>
                  <c:pt idx="282">
                    <c:v>10-Nov</c:v>
                  </c:pt>
                  <c:pt idx="283">
                    <c:v>11-Nov</c:v>
                  </c:pt>
                  <c:pt idx="284">
                    <c:v>12-Nov</c:v>
                  </c:pt>
                  <c:pt idx="285">
                    <c:v>13-Nov</c:v>
                  </c:pt>
                  <c:pt idx="286">
                    <c:v>14-Nov</c:v>
                  </c:pt>
                  <c:pt idx="287">
                    <c:v>15-Nov</c:v>
                  </c:pt>
                  <c:pt idx="288">
                    <c:v>16-Nov</c:v>
                  </c:pt>
                  <c:pt idx="289">
                    <c:v>17-Nov</c:v>
                  </c:pt>
                  <c:pt idx="290">
                    <c:v>18-Nov</c:v>
                  </c:pt>
                  <c:pt idx="291">
                    <c:v>19-Nov</c:v>
                  </c:pt>
                  <c:pt idx="292">
                    <c:v>20-Nov</c:v>
                  </c:pt>
                  <c:pt idx="293">
                    <c:v>21-Nov</c:v>
                  </c:pt>
                  <c:pt idx="294">
                    <c:v>22-Nov</c:v>
                  </c:pt>
                  <c:pt idx="295">
                    <c:v>23-Nov</c:v>
                  </c:pt>
                  <c:pt idx="296">
                    <c:v>24-Nov</c:v>
                  </c:pt>
                  <c:pt idx="297">
                    <c:v>25-Nov</c:v>
                  </c:pt>
                  <c:pt idx="298">
                    <c:v>26-Nov</c:v>
                  </c:pt>
                  <c:pt idx="299">
                    <c:v>27-Nov</c:v>
                  </c:pt>
                  <c:pt idx="300">
                    <c:v>28-Nov</c:v>
                  </c:pt>
                  <c:pt idx="301">
                    <c:v>29-Nov</c:v>
                  </c:pt>
                  <c:pt idx="302">
                    <c:v>30-Nov</c:v>
                  </c:pt>
                  <c:pt idx="303">
                    <c:v>1-Dec</c:v>
                  </c:pt>
                  <c:pt idx="304">
                    <c:v>2-Dec</c:v>
                  </c:pt>
                  <c:pt idx="305">
                    <c:v>3-Dec</c:v>
                  </c:pt>
                  <c:pt idx="306">
                    <c:v>4-Dec</c:v>
                  </c:pt>
                  <c:pt idx="307">
                    <c:v>5-Dec</c:v>
                  </c:pt>
                  <c:pt idx="308">
                    <c:v>6-Dec</c:v>
                  </c:pt>
                  <c:pt idx="309">
                    <c:v>7-Dec</c:v>
                  </c:pt>
                  <c:pt idx="310">
                    <c:v>8-Dec</c:v>
                  </c:pt>
                  <c:pt idx="311">
                    <c:v>9-Dec</c:v>
                  </c:pt>
                  <c:pt idx="312">
                    <c:v>10-Dec</c:v>
                  </c:pt>
                  <c:pt idx="313">
                    <c:v>11-Dec</c:v>
                  </c:pt>
                  <c:pt idx="314">
                    <c:v>12-Dec</c:v>
                  </c:pt>
                  <c:pt idx="315">
                    <c:v>13-Dec</c:v>
                  </c:pt>
                  <c:pt idx="316">
                    <c:v>14-Dec</c:v>
                  </c:pt>
                  <c:pt idx="317">
                    <c:v>15-Dec</c:v>
                  </c:pt>
                  <c:pt idx="318">
                    <c:v>16-Dec</c:v>
                  </c:pt>
                  <c:pt idx="319">
                    <c:v>17-Dec</c:v>
                  </c:pt>
                  <c:pt idx="320">
                    <c:v>18-Dec</c:v>
                  </c:pt>
                  <c:pt idx="321">
                    <c:v>19-Dec</c:v>
                  </c:pt>
                  <c:pt idx="322">
                    <c:v>20-Dec</c:v>
                  </c:pt>
                  <c:pt idx="323">
                    <c:v>21-Dec</c:v>
                  </c:pt>
                  <c:pt idx="324">
                    <c:v>22-Dec</c:v>
                  </c:pt>
                  <c:pt idx="325">
                    <c:v>23-Dec</c:v>
                  </c:pt>
                  <c:pt idx="326">
                    <c:v>24-Dec</c:v>
                  </c:pt>
                  <c:pt idx="327">
                    <c:v>25-Dec</c:v>
                  </c:pt>
                  <c:pt idx="328">
                    <c:v>26-Dec</c:v>
                  </c:pt>
                  <c:pt idx="329">
                    <c:v>27-Dec</c:v>
                  </c:pt>
                  <c:pt idx="330">
                    <c:v>28-Dec</c:v>
                  </c:pt>
                  <c:pt idx="331">
                    <c:v>29-Dec</c:v>
                  </c:pt>
                  <c:pt idx="332">
                    <c:v>30-Dec</c:v>
                  </c:pt>
                  <c:pt idx="333">
                    <c:v>31-Dec</c:v>
                  </c:pt>
                  <c:pt idx="334">
                    <c:v>1-Jan</c:v>
                  </c:pt>
                  <c:pt idx="335">
                    <c:v>2-Jan</c:v>
                  </c:pt>
                  <c:pt idx="336">
                    <c:v>3-Jan</c:v>
                  </c:pt>
                  <c:pt idx="337">
                    <c:v>4-Jan</c:v>
                  </c:pt>
                  <c:pt idx="338">
                    <c:v>5-Jan</c:v>
                  </c:pt>
                  <c:pt idx="339">
                    <c:v>6-Jan</c:v>
                  </c:pt>
                  <c:pt idx="340">
                    <c:v>7-Jan</c:v>
                  </c:pt>
                  <c:pt idx="341">
                    <c:v>8-Jan</c:v>
                  </c:pt>
                  <c:pt idx="342">
                    <c:v>9-Jan</c:v>
                  </c:pt>
                  <c:pt idx="343">
                    <c:v>10-Jan</c:v>
                  </c:pt>
                  <c:pt idx="344">
                    <c:v>11-Jan</c:v>
                  </c:pt>
                  <c:pt idx="345">
                    <c:v>12-Jan</c:v>
                  </c:pt>
                  <c:pt idx="346">
                    <c:v>13-Jan</c:v>
                  </c:pt>
                  <c:pt idx="347">
                    <c:v>14-Jan</c:v>
                  </c:pt>
                  <c:pt idx="348">
                    <c:v>15-Jan</c:v>
                  </c:pt>
                  <c:pt idx="349">
                    <c:v>16-Jan</c:v>
                  </c:pt>
                  <c:pt idx="350">
                    <c:v>17-Jan</c:v>
                  </c:pt>
                  <c:pt idx="351">
                    <c:v>18-Jan</c:v>
                  </c:pt>
                  <c:pt idx="352">
                    <c:v>19-Jan</c:v>
                  </c:pt>
                  <c:pt idx="353">
                    <c:v>20-Jan</c:v>
                  </c:pt>
                  <c:pt idx="354">
                    <c:v>21-Jan</c:v>
                  </c:pt>
                  <c:pt idx="355">
                    <c:v>22-Jan</c:v>
                  </c:pt>
                  <c:pt idx="356">
                    <c:v>23-Jan</c:v>
                  </c:pt>
                  <c:pt idx="357">
                    <c:v>24-Jan</c:v>
                  </c:pt>
                  <c:pt idx="358">
                    <c:v>25-Jan</c:v>
                  </c:pt>
                  <c:pt idx="359">
                    <c:v>26-Jan</c:v>
                  </c:pt>
                  <c:pt idx="360">
                    <c:v>27-Jan</c:v>
                  </c:pt>
                  <c:pt idx="361">
                    <c:v>28-Jan</c:v>
                  </c:pt>
                  <c:pt idx="362">
                    <c:v>29-Jan</c:v>
                  </c:pt>
                  <c:pt idx="363">
                    <c:v>30-Jan</c:v>
                  </c:pt>
                  <c:pt idx="364">
                    <c:v>31-Jan</c:v>
                  </c:pt>
                  <c:pt idx="365">
                    <c:v>1-Feb</c:v>
                  </c:pt>
                  <c:pt idx="366">
                    <c:v>2-Feb</c:v>
                  </c:pt>
                  <c:pt idx="367">
                    <c:v>3-Feb</c:v>
                  </c:pt>
                  <c:pt idx="368">
                    <c:v>4-Feb</c:v>
                  </c:pt>
                  <c:pt idx="369">
                    <c:v>5-Feb</c:v>
                  </c:pt>
                  <c:pt idx="370">
                    <c:v>6-Feb</c:v>
                  </c:pt>
                  <c:pt idx="371">
                    <c:v>7-Feb</c:v>
                  </c:pt>
                  <c:pt idx="372">
                    <c:v>8-Feb</c:v>
                  </c:pt>
                  <c:pt idx="373">
                    <c:v>9-Feb</c:v>
                  </c:pt>
                  <c:pt idx="374">
                    <c:v>10-Feb</c:v>
                  </c:pt>
                  <c:pt idx="375">
                    <c:v>11-Feb</c:v>
                  </c:pt>
                  <c:pt idx="376">
                    <c:v>12-Feb</c:v>
                  </c:pt>
                  <c:pt idx="377">
                    <c:v>13-Feb</c:v>
                  </c:pt>
                  <c:pt idx="378">
                    <c:v>14-Feb</c:v>
                  </c:pt>
                  <c:pt idx="379">
                    <c:v>15-Feb</c:v>
                  </c:pt>
                  <c:pt idx="380">
                    <c:v>16-Feb</c:v>
                  </c:pt>
                  <c:pt idx="381">
                    <c:v>17-Feb</c:v>
                  </c:pt>
                  <c:pt idx="382">
                    <c:v>18-Feb</c:v>
                  </c:pt>
                  <c:pt idx="383">
                    <c:v>19-Feb</c:v>
                  </c:pt>
                  <c:pt idx="384">
                    <c:v>20-Feb</c:v>
                  </c:pt>
                  <c:pt idx="385">
                    <c:v>21-Feb</c:v>
                  </c:pt>
                  <c:pt idx="386">
                    <c:v>22-Feb</c:v>
                  </c:pt>
                  <c:pt idx="387">
                    <c:v>23-Feb</c:v>
                  </c:pt>
                  <c:pt idx="388">
                    <c:v>24-Feb</c:v>
                  </c:pt>
                  <c:pt idx="389">
                    <c:v>25-Feb</c:v>
                  </c:pt>
                  <c:pt idx="390">
                    <c:v>26-Feb</c:v>
                  </c:pt>
                  <c:pt idx="391">
                    <c:v>27-Feb</c:v>
                  </c:pt>
                  <c:pt idx="392">
                    <c:v>28-Feb</c:v>
                  </c:pt>
                  <c:pt idx="393">
                    <c:v>1-Mar</c:v>
                  </c:pt>
                  <c:pt idx="394">
                    <c:v>2-Mar</c:v>
                  </c:pt>
                  <c:pt idx="395">
                    <c:v>3-Mar</c:v>
                  </c:pt>
                  <c:pt idx="396">
                    <c:v>4-Mar</c:v>
                  </c:pt>
                  <c:pt idx="397">
                    <c:v>5-Mar</c:v>
                  </c:pt>
                  <c:pt idx="398">
                    <c:v>6-Mar</c:v>
                  </c:pt>
                  <c:pt idx="399">
                    <c:v>7-Mar</c:v>
                  </c:pt>
                  <c:pt idx="400">
                    <c:v>8-Mar</c:v>
                  </c:pt>
                  <c:pt idx="401">
                    <c:v>9-Mar</c:v>
                  </c:pt>
                  <c:pt idx="402">
                    <c:v>10-Mar</c:v>
                  </c:pt>
                  <c:pt idx="403">
                    <c:v>11-Mar</c:v>
                  </c:pt>
                  <c:pt idx="404">
                    <c:v>12-Mar</c:v>
                  </c:pt>
                  <c:pt idx="405">
                    <c:v>13-Mar</c:v>
                  </c:pt>
                  <c:pt idx="406">
                    <c:v>14-Mar</c:v>
                  </c:pt>
                  <c:pt idx="407">
                    <c:v>15-Mar</c:v>
                  </c:pt>
                  <c:pt idx="408">
                    <c:v>16-Mar</c:v>
                  </c:pt>
                  <c:pt idx="409">
                    <c:v>17-Mar</c:v>
                  </c:pt>
                  <c:pt idx="410">
                    <c:v>18-Mar</c:v>
                  </c:pt>
                  <c:pt idx="411">
                    <c:v>19-Mar</c:v>
                  </c:pt>
                  <c:pt idx="412">
                    <c:v>20-Mar</c:v>
                  </c:pt>
                  <c:pt idx="413">
                    <c:v>21-Mar</c:v>
                  </c:pt>
                  <c:pt idx="414">
                    <c:v>22-Mar</c:v>
                  </c:pt>
                  <c:pt idx="415">
                    <c:v>23-Mar</c:v>
                  </c:pt>
                  <c:pt idx="416">
                    <c:v>24-Mar</c:v>
                  </c:pt>
                  <c:pt idx="417">
                    <c:v>25-Mar</c:v>
                  </c:pt>
                  <c:pt idx="418">
                    <c:v>26-Mar</c:v>
                  </c:pt>
                  <c:pt idx="419">
                    <c:v>27-Mar</c:v>
                  </c:pt>
                  <c:pt idx="420">
                    <c:v>28-Mar</c:v>
                  </c:pt>
                </c:lvl>
                <c:lvl>
                  <c:pt idx="0">
                    <c:v>Feb</c:v>
                  </c:pt>
                  <c:pt idx="28">
                    <c:v>Mar</c:v>
                  </c:pt>
                  <c:pt idx="59">
                    <c:v>Apr</c:v>
                  </c:pt>
                  <c:pt idx="89">
                    <c:v>May</c:v>
                  </c:pt>
                  <c:pt idx="120">
                    <c:v>Jun</c:v>
                  </c:pt>
                  <c:pt idx="150">
                    <c:v>Jul</c:v>
                  </c:pt>
                  <c:pt idx="181">
                    <c:v>Aug</c:v>
                  </c:pt>
                  <c:pt idx="212">
                    <c:v>Sep</c:v>
                  </c:pt>
                  <c:pt idx="242">
                    <c:v>Oct</c:v>
                  </c:pt>
                  <c:pt idx="273">
                    <c:v>Nov</c:v>
                  </c:pt>
                  <c:pt idx="303">
                    <c:v>Dec</c:v>
                  </c:pt>
                  <c:pt idx="334">
                    <c:v>Jan</c:v>
                  </c:pt>
                  <c:pt idx="365">
                    <c:v>Feb</c:v>
                  </c:pt>
                  <c:pt idx="393">
                    <c:v>March</c:v>
                  </c:pt>
                </c:lvl>
              </c:multiLvlStrCache>
            </c:multiLvlStrRef>
          </c:cat>
          <c:val>
            <c:numRef>
              <c:f>Sheet2!$C$12:$C$432</c:f>
              <c:numCache>
                <c:formatCode>General</c:formatCode>
                <c:ptCount val="421"/>
                <c:pt idx="0">
                  <c:v>191313</c:v>
                </c:pt>
                <c:pt idx="1">
                  <c:v>188762</c:v>
                </c:pt>
                <c:pt idx="2">
                  <c:v>310634</c:v>
                </c:pt>
                <c:pt idx="3">
                  <c:v>509893</c:v>
                </c:pt>
                <c:pt idx="4">
                  <c:v>457404</c:v>
                </c:pt>
                <c:pt idx="5">
                  <c:v>358473</c:v>
                </c:pt>
                <c:pt idx="6">
                  <c:v>37040</c:v>
                </c:pt>
                <c:pt idx="7">
                  <c:v>446646</c:v>
                </c:pt>
                <c:pt idx="8">
                  <c:v>352553</c:v>
                </c:pt>
                <c:pt idx="9">
                  <c:v>405553</c:v>
                </c:pt>
                <c:pt idx="10">
                  <c:v>487896</c:v>
                </c:pt>
                <c:pt idx="11">
                  <c:v>462637</c:v>
                </c:pt>
                <c:pt idx="12">
                  <c:v>84807</c:v>
                </c:pt>
                <c:pt idx="15">
                  <c:v>340570</c:v>
                </c:pt>
                <c:pt idx="16">
                  <c:v>329416</c:v>
                </c:pt>
                <c:pt idx="17">
                  <c:v>659766</c:v>
                </c:pt>
                <c:pt idx="18">
                  <c:v>603419</c:v>
                </c:pt>
                <c:pt idx="19">
                  <c:v>388381</c:v>
                </c:pt>
                <c:pt idx="20">
                  <c:v>246850</c:v>
                </c:pt>
                <c:pt idx="21">
                  <c:v>338921</c:v>
                </c:pt>
                <c:pt idx="22">
                  <c:v>483298</c:v>
                </c:pt>
                <c:pt idx="23">
                  <c:v>459241</c:v>
                </c:pt>
                <c:pt idx="24">
                  <c:v>700414</c:v>
                </c:pt>
                <c:pt idx="25">
                  <c:v>689893</c:v>
                </c:pt>
                <c:pt idx="26">
                  <c:v>485607</c:v>
                </c:pt>
                <c:pt idx="27">
                  <c:v>58719</c:v>
                </c:pt>
                <c:pt idx="28">
                  <c:v>552870</c:v>
                </c:pt>
                <c:pt idx="29">
                  <c:v>766613</c:v>
                </c:pt>
                <c:pt idx="30">
                  <c:v>995299</c:v>
                </c:pt>
                <c:pt idx="31">
                  <c:v>1389455</c:v>
                </c:pt>
                <c:pt idx="32">
                  <c:v>1492201</c:v>
                </c:pt>
                <c:pt idx="33">
                  <c:v>1424640</c:v>
                </c:pt>
                <c:pt idx="34">
                  <c:v>66666</c:v>
                </c:pt>
                <c:pt idx="35">
                  <c:v>2019723</c:v>
                </c:pt>
                <c:pt idx="36">
                  <c:v>1359173</c:v>
                </c:pt>
                <c:pt idx="37">
                  <c:v>1317105</c:v>
                </c:pt>
                <c:pt idx="38">
                  <c:v>479909</c:v>
                </c:pt>
                <c:pt idx="39">
                  <c:v>2053537</c:v>
                </c:pt>
                <c:pt idx="40">
                  <c:v>1519952</c:v>
                </c:pt>
                <c:pt idx="41">
                  <c:v>169629</c:v>
                </c:pt>
                <c:pt idx="42">
                  <c:v>3039394</c:v>
                </c:pt>
                <c:pt idx="43">
                  <c:v>2117104</c:v>
                </c:pt>
                <c:pt idx="44">
                  <c:v>2078719</c:v>
                </c:pt>
                <c:pt idx="45">
                  <c:v>2196562</c:v>
                </c:pt>
                <c:pt idx="46">
                  <c:v>2723575</c:v>
                </c:pt>
                <c:pt idx="47">
                  <c:v>2540449</c:v>
                </c:pt>
                <c:pt idx="48">
                  <c:v>462157</c:v>
                </c:pt>
                <c:pt idx="49">
                  <c:v>3428596</c:v>
                </c:pt>
                <c:pt idx="50">
                  <c:v>2346692</c:v>
                </c:pt>
                <c:pt idx="51">
                  <c:v>2304423</c:v>
                </c:pt>
                <c:pt idx="52">
                  <c:v>2358731</c:v>
                </c:pt>
                <c:pt idx="53">
                  <c:v>2605333</c:v>
                </c:pt>
                <c:pt idx="54">
                  <c:v>2160009</c:v>
                </c:pt>
                <c:pt idx="55">
                  <c:v>260653</c:v>
                </c:pt>
                <c:pt idx="56">
                  <c:v>582919</c:v>
                </c:pt>
                <c:pt idx="57">
                  <c:v>1940999</c:v>
                </c:pt>
                <c:pt idx="58">
                  <c:v>2063543</c:v>
                </c:pt>
                <c:pt idx="59">
                  <c:v>3671242</c:v>
                </c:pt>
                <c:pt idx="60">
                  <c:v>4265157</c:v>
                </c:pt>
                <c:pt idx="61">
                  <c:v>2925356</c:v>
                </c:pt>
                <c:pt idx="62">
                  <c:v>3125512</c:v>
                </c:pt>
                <c:pt idx="63">
                  <c:v>4005763</c:v>
                </c:pt>
                <c:pt idx="64">
                  <c:v>3966548</c:v>
                </c:pt>
                <c:pt idx="65">
                  <c:v>3121199</c:v>
                </c:pt>
                <c:pt idx="66">
                  <c:v>4135589</c:v>
                </c:pt>
                <c:pt idx="67">
                  <c:v>3740898</c:v>
                </c:pt>
                <c:pt idx="68">
                  <c:v>3519987</c:v>
                </c:pt>
                <c:pt idx="69">
                  <c:v>2933418</c:v>
                </c:pt>
                <c:pt idx="70">
                  <c:v>4004520</c:v>
                </c:pt>
                <c:pt idx="71">
                  <c:v>2646493</c:v>
                </c:pt>
                <c:pt idx="72">
                  <c:v>3313660</c:v>
                </c:pt>
                <c:pt idx="73">
                  <c:v>2730271</c:v>
                </c:pt>
                <c:pt idx="74">
                  <c:v>2714132</c:v>
                </c:pt>
                <c:pt idx="75">
                  <c:v>2684949</c:v>
                </c:pt>
                <c:pt idx="76">
                  <c:v>1229976</c:v>
                </c:pt>
                <c:pt idx="77">
                  <c:v>3276547</c:v>
                </c:pt>
                <c:pt idx="80">
                  <c:v>3108503</c:v>
                </c:pt>
                <c:pt idx="84">
                  <c:v>3339774</c:v>
                </c:pt>
                <c:pt idx="85">
                  <c:v>2354286</c:v>
                </c:pt>
                <c:pt idx="86">
                  <c:v>2174159</c:v>
                </c:pt>
                <c:pt idx="87">
                  <c:v>2215380</c:v>
                </c:pt>
                <c:pt idx="88">
                  <c:v>2729335</c:v>
                </c:pt>
                <c:pt idx="89">
                  <c:v>1628218</c:v>
                </c:pt>
                <c:pt idx="90">
                  <c:v>585186</c:v>
                </c:pt>
                <c:pt idx="91">
                  <c:v>1870625</c:v>
                </c:pt>
                <c:pt idx="92">
                  <c:v>1668616</c:v>
                </c:pt>
                <c:pt idx="93">
                  <c:v>2180486</c:v>
                </c:pt>
                <c:pt idx="94">
                  <c:v>2672365</c:v>
                </c:pt>
                <c:pt idx="95">
                  <c:v>2586397</c:v>
                </c:pt>
                <c:pt idx="96">
                  <c:v>2303857</c:v>
                </c:pt>
                <c:pt idx="97">
                  <c:v>811011</c:v>
                </c:pt>
                <c:pt idx="98">
                  <c:v>2794050</c:v>
                </c:pt>
                <c:pt idx="99">
                  <c:v>2763725</c:v>
                </c:pt>
                <c:pt idx="100">
                  <c:v>2182934</c:v>
                </c:pt>
                <c:pt idx="101">
                  <c:v>2316269</c:v>
                </c:pt>
                <c:pt idx="102">
                  <c:v>1284567</c:v>
                </c:pt>
                <c:pt idx="103">
                  <c:v>1898123</c:v>
                </c:pt>
                <c:pt idx="104">
                  <c:v>706470</c:v>
                </c:pt>
                <c:pt idx="105">
                  <c:v>1566198</c:v>
                </c:pt>
                <c:pt idx="106">
                  <c:v>1374398</c:v>
                </c:pt>
                <c:pt idx="107">
                  <c:v>1218998</c:v>
                </c:pt>
                <c:pt idx="108">
                  <c:v>1476285</c:v>
                </c:pt>
                <c:pt idx="111">
                  <c:v>876743</c:v>
                </c:pt>
                <c:pt idx="112">
                  <c:v>2446471</c:v>
                </c:pt>
                <c:pt idx="113">
                  <c:v>1341068</c:v>
                </c:pt>
                <c:pt idx="114">
                  <c:v>2918836</c:v>
                </c:pt>
                <c:pt idx="115">
                  <c:v>2777551</c:v>
                </c:pt>
                <c:pt idx="116">
                  <c:v>1963636</c:v>
                </c:pt>
                <c:pt idx="117">
                  <c:v>3922151</c:v>
                </c:pt>
                <c:pt idx="118">
                  <c:v>1576170</c:v>
                </c:pt>
                <c:pt idx="119">
                  <c:v>1784772</c:v>
                </c:pt>
                <c:pt idx="120">
                  <c:v>2685843</c:v>
                </c:pt>
                <c:pt idx="121">
                  <c:v>2542428</c:v>
                </c:pt>
                <c:pt idx="122">
                  <c:v>2666218</c:v>
                </c:pt>
                <c:pt idx="123">
                  <c:v>5263384</c:v>
                </c:pt>
                <c:pt idx="124">
                  <c:v>1963376</c:v>
                </c:pt>
                <c:pt idx="125">
                  <c:v>2469901</c:v>
                </c:pt>
                <c:pt idx="126">
                  <c:v>2449607</c:v>
                </c:pt>
                <c:pt idx="127">
                  <c:v>3190277</c:v>
                </c:pt>
                <c:pt idx="128">
                  <c:v>3175576</c:v>
                </c:pt>
                <c:pt idx="129">
                  <c:v>3425398</c:v>
                </c:pt>
                <c:pt idx="130">
                  <c:v>3421339</c:v>
                </c:pt>
                <c:pt idx="131">
                  <c:v>2484825</c:v>
                </c:pt>
                <c:pt idx="132">
                  <c:v>3242349</c:v>
                </c:pt>
                <c:pt idx="133">
                  <c:v>3329948</c:v>
                </c:pt>
                <c:pt idx="134">
                  <c:v>2545002</c:v>
                </c:pt>
                <c:pt idx="135">
                  <c:v>3020534</c:v>
                </c:pt>
                <c:pt idx="136">
                  <c:v>4644350</c:v>
                </c:pt>
                <c:pt idx="137">
                  <c:v>3385690</c:v>
                </c:pt>
                <c:pt idx="138">
                  <c:v>4552372</c:v>
                </c:pt>
                <c:pt idx="139">
                  <c:v>3378287</c:v>
                </c:pt>
                <c:pt idx="140">
                  <c:v>9027343</c:v>
                </c:pt>
                <c:pt idx="141">
                  <c:v>6541514</c:v>
                </c:pt>
                <c:pt idx="142">
                  <c:v>3514882</c:v>
                </c:pt>
                <c:pt idx="143">
                  <c:v>6683689</c:v>
                </c:pt>
                <c:pt idx="144">
                  <c:v>6607501</c:v>
                </c:pt>
                <c:pt idx="145">
                  <c:v>8179856</c:v>
                </c:pt>
                <c:pt idx="146">
                  <c:v>3189028</c:v>
                </c:pt>
                <c:pt idx="147">
                  <c:v>3393166</c:v>
                </c:pt>
                <c:pt idx="148">
                  <c:v>6000335</c:v>
                </c:pt>
                <c:pt idx="149">
                  <c:v>1734226</c:v>
                </c:pt>
                <c:pt idx="150">
                  <c:v>5583510</c:v>
                </c:pt>
                <c:pt idx="151">
                  <c:v>930145</c:v>
                </c:pt>
                <c:pt idx="152">
                  <c:v>8628796</c:v>
                </c:pt>
                <c:pt idx="153">
                  <c:v>3077960</c:v>
                </c:pt>
                <c:pt idx="154">
                  <c:v>3850947</c:v>
                </c:pt>
                <c:pt idx="155">
                  <c:v>3078149</c:v>
                </c:pt>
                <c:pt idx="156">
                  <c:v>3763117</c:v>
                </c:pt>
                <c:pt idx="157">
                  <c:v>10920459</c:v>
                </c:pt>
                <c:pt idx="160">
                  <c:v>1319915</c:v>
                </c:pt>
                <c:pt idx="161">
                  <c:v>4115145</c:v>
                </c:pt>
                <c:pt idx="162">
                  <c:v>6230289</c:v>
                </c:pt>
                <c:pt idx="163">
                  <c:v>3642556</c:v>
                </c:pt>
                <c:pt idx="164">
                  <c:v>4003276</c:v>
                </c:pt>
                <c:pt idx="165">
                  <c:v>4352112</c:v>
                </c:pt>
                <c:pt idx="166">
                  <c:v>5235836</c:v>
                </c:pt>
                <c:pt idx="169">
                  <c:v>3626054</c:v>
                </c:pt>
                <c:pt idx="170">
                  <c:v>2378696</c:v>
                </c:pt>
                <c:pt idx="171">
                  <c:v>5565879</c:v>
                </c:pt>
                <c:pt idx="172">
                  <c:v>4465231</c:v>
                </c:pt>
                <c:pt idx="173">
                  <c:v>5268603</c:v>
                </c:pt>
                <c:pt idx="174">
                  <c:v>2045137</c:v>
                </c:pt>
                <c:pt idx="175">
                  <c:v>6716394</c:v>
                </c:pt>
                <c:pt idx="176">
                  <c:v>4244264</c:v>
                </c:pt>
                <c:pt idx="177">
                  <c:v>4549598</c:v>
                </c:pt>
                <c:pt idx="178">
                  <c:v>5327497</c:v>
                </c:pt>
                <c:pt idx="179">
                  <c:v>5484725</c:v>
                </c:pt>
                <c:pt idx="184">
                  <c:v>4055725</c:v>
                </c:pt>
                <c:pt idx="185">
                  <c:v>5985300</c:v>
                </c:pt>
                <c:pt idx="186">
                  <c:v>5682014</c:v>
                </c:pt>
                <c:pt idx="187">
                  <c:v>5800883</c:v>
                </c:pt>
                <c:pt idx="188">
                  <c:v>1854267</c:v>
                </c:pt>
                <c:pt idx="189">
                  <c:v>5835509</c:v>
                </c:pt>
                <c:pt idx="190">
                  <c:v>4580256</c:v>
                </c:pt>
                <c:pt idx="191">
                  <c:v>4590495</c:v>
                </c:pt>
                <c:pt idx="194">
                  <c:v>7656387</c:v>
                </c:pt>
                <c:pt idx="197">
                  <c:v>6000278</c:v>
                </c:pt>
                <c:pt idx="198">
                  <c:v>5631199</c:v>
                </c:pt>
                <c:pt idx="199">
                  <c:v>4444193</c:v>
                </c:pt>
                <c:pt idx="200">
                  <c:v>6609756</c:v>
                </c:pt>
                <c:pt idx="201">
                  <c:v>3160356</c:v>
                </c:pt>
                <c:pt idx="202">
                  <c:v>4406004</c:v>
                </c:pt>
                <c:pt idx="203">
                  <c:v>1467406</c:v>
                </c:pt>
                <c:pt idx="204">
                  <c:v>6492274</c:v>
                </c:pt>
                <c:pt idx="205">
                  <c:v>9191734</c:v>
                </c:pt>
                <c:pt idx="206">
                  <c:v>6467973</c:v>
                </c:pt>
                <c:pt idx="207">
                  <c:v>11149316</c:v>
                </c:pt>
                <c:pt idx="208">
                  <c:v>10324239</c:v>
                </c:pt>
                <c:pt idx="209">
                  <c:v>6723085</c:v>
                </c:pt>
                <c:pt idx="210">
                  <c:v>6717760</c:v>
                </c:pt>
                <c:pt idx="211">
                  <c:v>5493614</c:v>
                </c:pt>
                <c:pt idx="212">
                  <c:v>16777691</c:v>
                </c:pt>
                <c:pt idx="213">
                  <c:v>8198711</c:v>
                </c:pt>
                <c:pt idx="214">
                  <c:v>5879308</c:v>
                </c:pt>
                <c:pt idx="215">
                  <c:v>2090034</c:v>
                </c:pt>
                <c:pt idx="216">
                  <c:v>6770544</c:v>
                </c:pt>
                <c:pt idx="217">
                  <c:v>3938050</c:v>
                </c:pt>
                <c:pt idx="218">
                  <c:v>11214841</c:v>
                </c:pt>
                <c:pt idx="219">
                  <c:v>10882406</c:v>
                </c:pt>
                <c:pt idx="220">
                  <c:v>10359429</c:v>
                </c:pt>
                <c:pt idx="221">
                  <c:v>3204492</c:v>
                </c:pt>
                <c:pt idx="222">
                  <c:v>9314241</c:v>
                </c:pt>
                <c:pt idx="223">
                  <c:v>6849164</c:v>
                </c:pt>
                <c:pt idx="224">
                  <c:v>10006433</c:v>
                </c:pt>
                <c:pt idx="225">
                  <c:v>2429500</c:v>
                </c:pt>
                <c:pt idx="226">
                  <c:v>8636646</c:v>
                </c:pt>
                <c:pt idx="227">
                  <c:v>9990926</c:v>
                </c:pt>
                <c:pt idx="228">
                  <c:v>6046209</c:v>
                </c:pt>
                <c:pt idx="229">
                  <c:v>18627269</c:v>
                </c:pt>
                <c:pt idx="230">
                  <c:v>8763577</c:v>
                </c:pt>
                <c:pt idx="231">
                  <c:v>7453820</c:v>
                </c:pt>
                <c:pt idx="232">
                  <c:v>9603746</c:v>
                </c:pt>
                <c:pt idx="233">
                  <c:v>5461711</c:v>
                </c:pt>
                <c:pt idx="234">
                  <c:v>9941864</c:v>
                </c:pt>
                <c:pt idx="235">
                  <c:v>10413980</c:v>
                </c:pt>
                <c:pt idx="236">
                  <c:v>4502882</c:v>
                </c:pt>
                <c:pt idx="237">
                  <c:v>3635047</c:v>
                </c:pt>
                <c:pt idx="238">
                  <c:v>12982370</c:v>
                </c:pt>
                <c:pt idx="239">
                  <c:v>4470545</c:v>
                </c:pt>
                <c:pt idx="240">
                  <c:v>6447804</c:v>
                </c:pt>
                <c:pt idx="241">
                  <c:v>6732827</c:v>
                </c:pt>
                <c:pt idx="242">
                  <c:v>6778692</c:v>
                </c:pt>
                <c:pt idx="243">
                  <c:v>7800286</c:v>
                </c:pt>
                <c:pt idx="244">
                  <c:v>5151203</c:v>
                </c:pt>
                <c:pt idx="245">
                  <c:v>4924856</c:v>
                </c:pt>
                <c:pt idx="246">
                  <c:v>7048921</c:v>
                </c:pt>
                <c:pt idx="247">
                  <c:v>5397701</c:v>
                </c:pt>
                <c:pt idx="248">
                  <c:v>3646908</c:v>
                </c:pt>
                <c:pt idx="249">
                  <c:v>8045908</c:v>
                </c:pt>
                <c:pt idx="250">
                  <c:v>7814151</c:v>
                </c:pt>
                <c:pt idx="251">
                  <c:v>8105914</c:v>
                </c:pt>
                <c:pt idx="252">
                  <c:v>3768263</c:v>
                </c:pt>
                <c:pt idx="253">
                  <c:v>6431534</c:v>
                </c:pt>
                <c:pt idx="254">
                  <c:v>4564718</c:v>
                </c:pt>
                <c:pt idx="255">
                  <c:v>2457704</c:v>
                </c:pt>
                <c:pt idx="256">
                  <c:v>2801396</c:v>
                </c:pt>
                <c:pt idx="257">
                  <c:v>1522695</c:v>
                </c:pt>
                <c:pt idx="258">
                  <c:v>3658554</c:v>
                </c:pt>
                <c:pt idx="259">
                  <c:v>2610042</c:v>
                </c:pt>
                <c:pt idx="260">
                  <c:v>8158313</c:v>
                </c:pt>
                <c:pt idx="261">
                  <c:v>10285981</c:v>
                </c:pt>
                <c:pt idx="262">
                  <c:v>5805257</c:v>
                </c:pt>
                <c:pt idx="263">
                  <c:v>6741374</c:v>
                </c:pt>
                <c:pt idx="264">
                  <c:v>3691768</c:v>
                </c:pt>
                <c:pt idx="265">
                  <c:v>8630419</c:v>
                </c:pt>
                <c:pt idx="266">
                  <c:v>1882099</c:v>
                </c:pt>
                <c:pt idx="267">
                  <c:v>6700130</c:v>
                </c:pt>
                <c:pt idx="268">
                  <c:v>5718331</c:v>
                </c:pt>
                <c:pt idx="269">
                  <c:v>5890123</c:v>
                </c:pt>
                <c:pt idx="270">
                  <c:v>9250102</c:v>
                </c:pt>
                <c:pt idx="271">
                  <c:v>6780798</c:v>
                </c:pt>
                <c:pt idx="272">
                  <c:v>4141918</c:v>
                </c:pt>
                <c:pt idx="273">
                  <c:v>5022978</c:v>
                </c:pt>
                <c:pt idx="274">
                  <c:v>2064317</c:v>
                </c:pt>
                <c:pt idx="275">
                  <c:v>5340775</c:v>
                </c:pt>
                <c:pt idx="276">
                  <c:v>2047902</c:v>
                </c:pt>
                <c:pt idx="277">
                  <c:v>686300</c:v>
                </c:pt>
                <c:pt idx="278">
                  <c:v>2383854</c:v>
                </c:pt>
                <c:pt idx="279">
                  <c:v>2964808</c:v>
                </c:pt>
                <c:pt idx="280">
                  <c:v>5093752</c:v>
                </c:pt>
                <c:pt idx="281">
                  <c:v>3912102</c:v>
                </c:pt>
                <c:pt idx="282">
                  <c:v>5658232</c:v>
                </c:pt>
                <c:pt idx="283">
                  <c:v>4969221</c:v>
                </c:pt>
                <c:pt idx="284">
                  <c:v>8647724</c:v>
                </c:pt>
                <c:pt idx="285">
                  <c:v>7757037</c:v>
                </c:pt>
                <c:pt idx="286">
                  <c:v>3709083</c:v>
                </c:pt>
                <c:pt idx="287">
                  <c:v>4092054</c:v>
                </c:pt>
                <c:pt idx="288">
                  <c:v>6706723</c:v>
                </c:pt>
                <c:pt idx="289">
                  <c:v>7318494</c:v>
                </c:pt>
                <c:pt idx="290">
                  <c:v>7780179</c:v>
                </c:pt>
                <c:pt idx="291">
                  <c:v>4808670</c:v>
                </c:pt>
                <c:pt idx="292">
                  <c:v>10089449</c:v>
                </c:pt>
                <c:pt idx="293">
                  <c:v>4372222</c:v>
                </c:pt>
                <c:pt idx="294">
                  <c:v>7786149</c:v>
                </c:pt>
                <c:pt idx="295">
                  <c:v>8103834</c:v>
                </c:pt>
                <c:pt idx="296">
                  <c:v>9822019</c:v>
                </c:pt>
                <c:pt idx="297">
                  <c:v>4759413</c:v>
                </c:pt>
                <c:pt idx="298">
                  <c:v>12229439</c:v>
                </c:pt>
                <c:pt idx="299">
                  <c:v>1734965</c:v>
                </c:pt>
                <c:pt idx="300">
                  <c:v>10701655</c:v>
                </c:pt>
                <c:pt idx="301">
                  <c:v>5297305</c:v>
                </c:pt>
                <c:pt idx="302">
                  <c:v>8563136</c:v>
                </c:pt>
                <c:pt idx="303">
                  <c:v>8462034</c:v>
                </c:pt>
                <c:pt idx="304">
                  <c:v>10349235</c:v>
                </c:pt>
                <c:pt idx="305">
                  <c:v>5861617</c:v>
                </c:pt>
                <c:pt idx="306">
                  <c:v>12078217</c:v>
                </c:pt>
                <c:pt idx="307">
                  <c:v>4957313</c:v>
                </c:pt>
                <c:pt idx="308">
                  <c:v>4954505</c:v>
                </c:pt>
                <c:pt idx="309">
                  <c:v>8244156</c:v>
                </c:pt>
                <c:pt idx="310">
                  <c:v>7912859</c:v>
                </c:pt>
                <c:pt idx="311">
                  <c:v>8369461</c:v>
                </c:pt>
                <c:pt idx="312">
                  <c:v>4130549</c:v>
                </c:pt>
                <c:pt idx="313">
                  <c:v>15119160</c:v>
                </c:pt>
                <c:pt idx="314">
                  <c:v>3904978</c:v>
                </c:pt>
                <c:pt idx="315">
                  <c:v>4066337</c:v>
                </c:pt>
                <c:pt idx="316">
                  <c:v>10825862</c:v>
                </c:pt>
                <c:pt idx="317">
                  <c:v>6193933</c:v>
                </c:pt>
                <c:pt idx="318">
                  <c:v>4005890</c:v>
                </c:pt>
                <c:pt idx="319">
                  <c:v>8875675</c:v>
                </c:pt>
                <c:pt idx="320">
                  <c:v>7690566</c:v>
                </c:pt>
                <c:pt idx="321">
                  <c:v>3371373</c:v>
                </c:pt>
                <c:pt idx="322">
                  <c:v>3794326</c:v>
                </c:pt>
                <c:pt idx="323">
                  <c:v>8298483</c:v>
                </c:pt>
                <c:pt idx="324">
                  <c:v>2528607</c:v>
                </c:pt>
                <c:pt idx="325">
                  <c:v>7171011</c:v>
                </c:pt>
                <c:pt idx="326">
                  <c:v>6335281</c:v>
                </c:pt>
                <c:pt idx="327">
                  <c:v>9425221</c:v>
                </c:pt>
                <c:pt idx="328">
                  <c:v>749812</c:v>
                </c:pt>
                <c:pt idx="329">
                  <c:v>3715516</c:v>
                </c:pt>
                <c:pt idx="330">
                  <c:v>7622655</c:v>
                </c:pt>
                <c:pt idx="331">
                  <c:v>9126067</c:v>
                </c:pt>
                <c:pt idx="332">
                  <c:v>3521656</c:v>
                </c:pt>
                <c:pt idx="333">
                  <c:v>10147925</c:v>
                </c:pt>
                <c:pt idx="334">
                  <c:v>5204380</c:v>
                </c:pt>
                <c:pt idx="335">
                  <c:v>2516432</c:v>
                </c:pt>
                <c:pt idx="336">
                  <c:v>7939936</c:v>
                </c:pt>
                <c:pt idx="337">
                  <c:v>7804099</c:v>
                </c:pt>
                <c:pt idx="338">
                  <c:v>9873694</c:v>
                </c:pt>
                <c:pt idx="339">
                  <c:v>9787059</c:v>
                </c:pt>
                <c:pt idx="340">
                  <c:v>13600889</c:v>
                </c:pt>
                <c:pt idx="341">
                  <c:v>2415504</c:v>
                </c:pt>
                <c:pt idx="342">
                  <c:v>9697867</c:v>
                </c:pt>
                <c:pt idx="343">
                  <c:v>6517469</c:v>
                </c:pt>
                <c:pt idx="344">
                  <c:v>13619197</c:v>
                </c:pt>
                <c:pt idx="345">
                  <c:v>6455760</c:v>
                </c:pt>
                <c:pt idx="346">
                  <c:v>9622002</c:v>
                </c:pt>
                <c:pt idx="347">
                  <c:v>2558832</c:v>
                </c:pt>
                <c:pt idx="348">
                  <c:v>9160005</c:v>
                </c:pt>
                <c:pt idx="349">
                  <c:v>5057459</c:v>
                </c:pt>
                <c:pt idx="350">
                  <c:v>5167283</c:v>
                </c:pt>
                <c:pt idx="351">
                  <c:v>143011</c:v>
                </c:pt>
                <c:pt idx="352">
                  <c:v>16445190</c:v>
                </c:pt>
                <c:pt idx="353">
                  <c:v>7882289</c:v>
                </c:pt>
                <c:pt idx="354">
                  <c:v>9279228</c:v>
                </c:pt>
                <c:pt idx="355">
                  <c:v>7475099</c:v>
                </c:pt>
                <c:pt idx="356">
                  <c:v>5122818</c:v>
                </c:pt>
                <c:pt idx="357">
                  <c:v>1208921</c:v>
                </c:pt>
                <c:pt idx="358">
                  <c:v>6892485</c:v>
                </c:pt>
                <c:pt idx="359">
                  <c:v>5871190</c:v>
                </c:pt>
                <c:pt idx="360">
                  <c:v>2929184</c:v>
                </c:pt>
                <c:pt idx="361">
                  <c:v>6181288</c:v>
                </c:pt>
                <c:pt idx="362">
                  <c:v>5167292</c:v>
                </c:pt>
                <c:pt idx="363">
                  <c:v>6900866</c:v>
                </c:pt>
                <c:pt idx="364">
                  <c:v>7423888</c:v>
                </c:pt>
                <c:pt idx="365">
                  <c:v>6377839</c:v>
                </c:pt>
                <c:pt idx="366">
                  <c:v>5866803</c:v>
                </c:pt>
                <c:pt idx="367">
                  <c:v>4487064</c:v>
                </c:pt>
                <c:pt idx="368">
                  <c:v>5530743</c:v>
                </c:pt>
                <c:pt idx="369">
                  <c:v>6128678</c:v>
                </c:pt>
                <c:pt idx="370">
                  <c:v>2709031</c:v>
                </c:pt>
                <c:pt idx="371">
                  <c:v>161848</c:v>
                </c:pt>
                <c:pt idx="372">
                  <c:v>6631347</c:v>
                </c:pt>
                <c:pt idx="373">
                  <c:v>7344189</c:v>
                </c:pt>
                <c:pt idx="374">
                  <c:v>375231</c:v>
                </c:pt>
                <c:pt idx="375">
                  <c:v>9774452</c:v>
                </c:pt>
                <c:pt idx="376">
                  <c:v>3198018</c:v>
                </c:pt>
                <c:pt idx="377">
                  <c:v>4540768</c:v>
                </c:pt>
                <c:pt idx="378">
                  <c:v>1817599</c:v>
                </c:pt>
                <c:pt idx="379">
                  <c:v>6339189</c:v>
                </c:pt>
                <c:pt idx="380">
                  <c:v>2581447</c:v>
                </c:pt>
                <c:pt idx="381">
                  <c:v>5281682</c:v>
                </c:pt>
                <c:pt idx="382">
                  <c:v>4004946</c:v>
                </c:pt>
                <c:pt idx="383">
                  <c:v>3530534</c:v>
                </c:pt>
                <c:pt idx="384">
                  <c:v>1939340</c:v>
                </c:pt>
                <c:pt idx="385">
                  <c:v>2384269</c:v>
                </c:pt>
                <c:pt idx="386">
                  <c:v>3732039</c:v>
                </c:pt>
                <c:pt idx="387">
                  <c:v>2168065</c:v>
                </c:pt>
                <c:pt idx="388">
                  <c:v>3279790</c:v>
                </c:pt>
                <c:pt idx="389">
                  <c:v>3625865</c:v>
                </c:pt>
                <c:pt idx="390">
                  <c:v>3721083</c:v>
                </c:pt>
                <c:pt idx="391">
                  <c:v>1406918</c:v>
                </c:pt>
                <c:pt idx="392">
                  <c:v>1453832</c:v>
                </c:pt>
                <c:pt idx="393">
                  <c:v>1495732</c:v>
                </c:pt>
                <c:pt idx="394">
                  <c:v>1579294</c:v>
                </c:pt>
                <c:pt idx="395">
                  <c:v>3191366</c:v>
                </c:pt>
                <c:pt idx="396">
                  <c:v>2636405</c:v>
                </c:pt>
                <c:pt idx="397">
                  <c:v>2767904</c:v>
                </c:pt>
                <c:pt idx="398">
                  <c:v>996160</c:v>
                </c:pt>
                <c:pt idx="399">
                  <c:v>1471620</c:v>
                </c:pt>
                <c:pt idx="400">
                  <c:v>2235935</c:v>
                </c:pt>
                <c:pt idx="401">
                  <c:v>1967095</c:v>
                </c:pt>
                <c:pt idx="402">
                  <c:v>1923632</c:v>
                </c:pt>
                <c:pt idx="403">
                  <c:v>2773692</c:v>
                </c:pt>
                <c:pt idx="404">
                  <c:v>1194234</c:v>
                </c:pt>
                <c:pt idx="405">
                  <c:v>1308487</c:v>
                </c:pt>
                <c:pt idx="406">
                  <c:v>1795410</c:v>
                </c:pt>
                <c:pt idx="407">
                  <c:v>1657684</c:v>
                </c:pt>
                <c:pt idx="408">
                  <c:v>1832454</c:v>
                </c:pt>
                <c:pt idx="409">
                  <c:v>2009649</c:v>
                </c:pt>
                <c:pt idx="410">
                  <c:v>1214292</c:v>
                </c:pt>
                <c:pt idx="411">
                  <c:v>1243139</c:v>
                </c:pt>
                <c:pt idx="412">
                  <c:v>911900</c:v>
                </c:pt>
                <c:pt idx="413">
                  <c:v>2498778</c:v>
                </c:pt>
                <c:pt idx="414">
                  <c:v>2556290</c:v>
                </c:pt>
                <c:pt idx="415">
                  <c:v>4134489</c:v>
                </c:pt>
                <c:pt idx="416">
                  <c:v>3694442</c:v>
                </c:pt>
                <c:pt idx="417">
                  <c:v>1997100</c:v>
                </c:pt>
                <c:pt idx="418">
                  <c:v>4019460</c:v>
                </c:pt>
                <c:pt idx="419">
                  <c:v>1062451</c:v>
                </c:pt>
                <c:pt idx="420">
                  <c:v>1692273</c:v>
                </c:pt>
              </c:numCache>
            </c:numRef>
          </c:val>
          <c:extLst>
            <c:ext xmlns:c16="http://schemas.microsoft.com/office/drawing/2014/chart" uri="{C3380CC4-5D6E-409C-BE32-E72D297353CC}">
              <c16:uniqueId val="{00000000-12A7-458E-A3C5-D0F20277190C}"/>
            </c:ext>
          </c:extLst>
        </c:ser>
        <c:dLbls>
          <c:showLegendKey val="0"/>
          <c:showVal val="0"/>
          <c:showCatName val="0"/>
          <c:showSerName val="0"/>
          <c:showPercent val="0"/>
          <c:showBubbleSize val="0"/>
        </c:dLbls>
        <c:gapWidth val="219"/>
        <c:overlap val="-27"/>
        <c:axId val="454652336"/>
        <c:axId val="454650040"/>
      </c:barChart>
      <c:lineChart>
        <c:grouping val="standard"/>
        <c:varyColors val="0"/>
        <c:ser>
          <c:idx val="1"/>
          <c:order val="1"/>
          <c:tx>
            <c:strRef>
              <c:f>Sheet2!$D$5</c:f>
              <c:strCache>
                <c:ptCount val="1"/>
                <c:pt idx="0">
                  <c:v>Doses administered per day (mn) - 7 day mov average</c:v>
                </c:pt>
              </c:strCache>
            </c:strRef>
          </c:tx>
          <c:spPr>
            <a:ln w="28575" cap="rnd">
              <a:solidFill>
                <a:srgbClr val="FF0000"/>
              </a:solidFill>
              <a:round/>
            </a:ln>
            <a:effectLst/>
          </c:spPr>
          <c:marker>
            <c:symbol val="none"/>
          </c:marker>
          <c:cat>
            <c:multiLvlStrRef>
              <c:f>Sheet2!$A$12:$B$432</c:f>
              <c:multiLvlStrCache>
                <c:ptCount val="421"/>
                <c:lvl>
                  <c:pt idx="0">
                    <c:v>1-Feb</c:v>
                  </c:pt>
                  <c:pt idx="1">
                    <c:v>2-Feb</c:v>
                  </c:pt>
                  <c:pt idx="2">
                    <c:v>3-Feb</c:v>
                  </c:pt>
                  <c:pt idx="3">
                    <c:v>4-Feb</c:v>
                  </c:pt>
                  <c:pt idx="4">
                    <c:v>5-Feb</c:v>
                  </c:pt>
                  <c:pt idx="5">
                    <c:v>6-Feb</c:v>
                  </c:pt>
                  <c:pt idx="6">
                    <c:v>7-Feb</c:v>
                  </c:pt>
                  <c:pt idx="7">
                    <c:v>8-Feb</c:v>
                  </c:pt>
                  <c:pt idx="8">
                    <c:v>9-Feb</c:v>
                  </c:pt>
                  <c:pt idx="9">
                    <c:v>10-Feb</c:v>
                  </c:pt>
                  <c:pt idx="10">
                    <c:v>11-Feb</c:v>
                  </c:pt>
                  <c:pt idx="11">
                    <c:v>12-Feb</c:v>
                  </c:pt>
                  <c:pt idx="12">
                    <c:v>13-Feb</c:v>
                  </c:pt>
                  <c:pt idx="13">
                    <c:v>14-Feb</c:v>
                  </c:pt>
                  <c:pt idx="14">
                    <c:v>15-Feb</c:v>
                  </c:pt>
                  <c:pt idx="15">
                    <c:v>16-Feb</c:v>
                  </c:pt>
                  <c:pt idx="16">
                    <c:v>17-Feb</c:v>
                  </c:pt>
                  <c:pt idx="17">
                    <c:v>18-Feb</c:v>
                  </c:pt>
                  <c:pt idx="18">
                    <c:v>19-Feb</c:v>
                  </c:pt>
                  <c:pt idx="19">
                    <c:v>20-Feb</c:v>
                  </c:pt>
                  <c:pt idx="20">
                    <c:v>21-Feb</c:v>
                  </c:pt>
                  <c:pt idx="21">
                    <c:v>22-Feb</c:v>
                  </c:pt>
                  <c:pt idx="22">
                    <c:v>23-Feb</c:v>
                  </c:pt>
                  <c:pt idx="23">
                    <c:v>24-Feb</c:v>
                  </c:pt>
                  <c:pt idx="24">
                    <c:v>25-Feb</c:v>
                  </c:pt>
                  <c:pt idx="25">
                    <c:v>26-Feb</c:v>
                  </c:pt>
                  <c:pt idx="26">
                    <c:v>27-Feb</c:v>
                  </c:pt>
                  <c:pt idx="27">
                    <c:v>28-Feb</c:v>
                  </c:pt>
                  <c:pt idx="28">
                    <c:v>1-Mar</c:v>
                  </c:pt>
                  <c:pt idx="29">
                    <c:v>2-Mar</c:v>
                  </c:pt>
                  <c:pt idx="30">
                    <c:v>3-Mar</c:v>
                  </c:pt>
                  <c:pt idx="31">
                    <c:v>4-Mar</c:v>
                  </c:pt>
                  <c:pt idx="32">
                    <c:v>5-Mar</c:v>
                  </c:pt>
                  <c:pt idx="33">
                    <c:v>6-Mar</c:v>
                  </c:pt>
                  <c:pt idx="34">
                    <c:v>7-Mar</c:v>
                  </c:pt>
                  <c:pt idx="35">
                    <c:v>8-Mar</c:v>
                  </c:pt>
                  <c:pt idx="36">
                    <c:v>9-Mar</c:v>
                  </c:pt>
                  <c:pt idx="37">
                    <c:v>10-Mar</c:v>
                  </c:pt>
                  <c:pt idx="38">
                    <c:v>11-Mar</c:v>
                  </c:pt>
                  <c:pt idx="39">
                    <c:v>12-Mar</c:v>
                  </c:pt>
                  <c:pt idx="40">
                    <c:v>13-Mar</c:v>
                  </c:pt>
                  <c:pt idx="41">
                    <c:v>14-Mar</c:v>
                  </c:pt>
                  <c:pt idx="42">
                    <c:v>15-Mar</c:v>
                  </c:pt>
                  <c:pt idx="43">
                    <c:v>16-Mar</c:v>
                  </c:pt>
                  <c:pt idx="44">
                    <c:v>17-Mar</c:v>
                  </c:pt>
                  <c:pt idx="45">
                    <c:v>18-Mar</c:v>
                  </c:pt>
                  <c:pt idx="46">
                    <c:v>19-Mar</c:v>
                  </c:pt>
                  <c:pt idx="47">
                    <c:v>20-Mar</c:v>
                  </c:pt>
                  <c:pt idx="48">
                    <c:v>21-Mar</c:v>
                  </c:pt>
                  <c:pt idx="49">
                    <c:v>22-Mar</c:v>
                  </c:pt>
                  <c:pt idx="50">
                    <c:v>23-Mar</c:v>
                  </c:pt>
                  <c:pt idx="51">
                    <c:v>24-Mar</c:v>
                  </c:pt>
                  <c:pt idx="52">
                    <c:v>25-Mar</c:v>
                  </c:pt>
                  <c:pt idx="53">
                    <c:v>26-Mar</c:v>
                  </c:pt>
                  <c:pt idx="54">
                    <c:v>27-Mar</c:v>
                  </c:pt>
                  <c:pt idx="55">
                    <c:v>28-Mar</c:v>
                  </c:pt>
                  <c:pt idx="56">
                    <c:v>29-Mar</c:v>
                  </c:pt>
                  <c:pt idx="57">
                    <c:v>30-Mar</c:v>
                  </c:pt>
                  <c:pt idx="58">
                    <c:v>31-Mar</c:v>
                  </c:pt>
                  <c:pt idx="59">
                    <c:v>1-Apr</c:v>
                  </c:pt>
                  <c:pt idx="60">
                    <c:v>2-Apr</c:v>
                  </c:pt>
                  <c:pt idx="61">
                    <c:v>3-Apr</c:v>
                  </c:pt>
                  <c:pt idx="62">
                    <c:v>4-Apr</c:v>
                  </c:pt>
                  <c:pt idx="63">
                    <c:v>5-Apr</c:v>
                  </c:pt>
                  <c:pt idx="64">
                    <c:v>6-Apr</c:v>
                  </c:pt>
                  <c:pt idx="65">
                    <c:v>7-Apr</c:v>
                  </c:pt>
                  <c:pt idx="66">
                    <c:v>8-Apr</c:v>
                  </c:pt>
                  <c:pt idx="67">
                    <c:v>9-Apr</c:v>
                  </c:pt>
                  <c:pt idx="68">
                    <c:v>10-Apr</c:v>
                  </c:pt>
                  <c:pt idx="69">
                    <c:v>11-Apr</c:v>
                  </c:pt>
                  <c:pt idx="70">
                    <c:v>12-Apr</c:v>
                  </c:pt>
                  <c:pt idx="71">
                    <c:v>13-Apr</c:v>
                  </c:pt>
                  <c:pt idx="72">
                    <c:v>14-Apr</c:v>
                  </c:pt>
                  <c:pt idx="73">
                    <c:v>15-Apr</c:v>
                  </c:pt>
                  <c:pt idx="74">
                    <c:v>16-Apr</c:v>
                  </c:pt>
                  <c:pt idx="75">
                    <c:v>17-Apr</c:v>
                  </c:pt>
                  <c:pt idx="76">
                    <c:v>18-Apr</c:v>
                  </c:pt>
                  <c:pt idx="77">
                    <c:v>19-Apr</c:v>
                  </c:pt>
                  <c:pt idx="78">
                    <c:v>20-Apr</c:v>
                  </c:pt>
                  <c:pt idx="79">
                    <c:v>21-Apr</c:v>
                  </c:pt>
                  <c:pt idx="80">
                    <c:v>22-Apr</c:v>
                  </c:pt>
                  <c:pt idx="81">
                    <c:v>23-Apr</c:v>
                  </c:pt>
                  <c:pt idx="82">
                    <c:v>24-Apr</c:v>
                  </c:pt>
                  <c:pt idx="83">
                    <c:v>25-Apr</c:v>
                  </c:pt>
                  <c:pt idx="84">
                    <c:v>26-Apr</c:v>
                  </c:pt>
                  <c:pt idx="85">
                    <c:v>27-Apr</c:v>
                  </c:pt>
                  <c:pt idx="86">
                    <c:v>28-Apr</c:v>
                  </c:pt>
                  <c:pt idx="87">
                    <c:v>29-Apr</c:v>
                  </c:pt>
                  <c:pt idx="88">
                    <c:v>30-Apr</c:v>
                  </c:pt>
                  <c:pt idx="89">
                    <c:v>1-May</c:v>
                  </c:pt>
                  <c:pt idx="90">
                    <c:v>2-May</c:v>
                  </c:pt>
                  <c:pt idx="91">
                    <c:v>3-May</c:v>
                  </c:pt>
                  <c:pt idx="92">
                    <c:v>4-May</c:v>
                  </c:pt>
                  <c:pt idx="93">
                    <c:v>5-May</c:v>
                  </c:pt>
                  <c:pt idx="94">
                    <c:v>6-May</c:v>
                  </c:pt>
                  <c:pt idx="95">
                    <c:v>7-May</c:v>
                  </c:pt>
                  <c:pt idx="96">
                    <c:v>8-May</c:v>
                  </c:pt>
                  <c:pt idx="97">
                    <c:v>9-May</c:v>
                  </c:pt>
                  <c:pt idx="98">
                    <c:v>10-May</c:v>
                  </c:pt>
                  <c:pt idx="99">
                    <c:v>11-May</c:v>
                  </c:pt>
                  <c:pt idx="100">
                    <c:v>12-May</c:v>
                  </c:pt>
                  <c:pt idx="101">
                    <c:v>13-May</c:v>
                  </c:pt>
                  <c:pt idx="102">
                    <c:v>14-May</c:v>
                  </c:pt>
                  <c:pt idx="103">
                    <c:v>15-May</c:v>
                  </c:pt>
                  <c:pt idx="104">
                    <c:v>16-May</c:v>
                  </c:pt>
                  <c:pt idx="105">
                    <c:v>17-May</c:v>
                  </c:pt>
                  <c:pt idx="106">
                    <c:v>18-May</c:v>
                  </c:pt>
                  <c:pt idx="107">
                    <c:v>19-May</c:v>
                  </c:pt>
                  <c:pt idx="108">
                    <c:v>20-May</c:v>
                  </c:pt>
                  <c:pt idx="109">
                    <c:v>21-May</c:v>
                  </c:pt>
                  <c:pt idx="110">
                    <c:v>22-May</c:v>
                  </c:pt>
                  <c:pt idx="111">
                    <c:v>23-May</c:v>
                  </c:pt>
                  <c:pt idx="112">
                    <c:v>24-May</c:v>
                  </c:pt>
                  <c:pt idx="113">
                    <c:v>25-May</c:v>
                  </c:pt>
                  <c:pt idx="114">
                    <c:v>26-May</c:v>
                  </c:pt>
                  <c:pt idx="115">
                    <c:v>27-May</c:v>
                  </c:pt>
                  <c:pt idx="116">
                    <c:v>28-May</c:v>
                  </c:pt>
                  <c:pt idx="117">
                    <c:v>29-May</c:v>
                  </c:pt>
                  <c:pt idx="118">
                    <c:v>30-May</c:v>
                  </c:pt>
                  <c:pt idx="119">
                    <c:v>31-May</c:v>
                  </c:pt>
                  <c:pt idx="120">
                    <c:v>1-Jun</c:v>
                  </c:pt>
                  <c:pt idx="121">
                    <c:v>2-Jun</c:v>
                  </c:pt>
                  <c:pt idx="122">
                    <c:v>3-Jun</c:v>
                  </c:pt>
                  <c:pt idx="123">
                    <c:v>4-Jun</c:v>
                  </c:pt>
                  <c:pt idx="124">
                    <c:v>5-Jun</c:v>
                  </c:pt>
                  <c:pt idx="125">
                    <c:v>6-Jun</c:v>
                  </c:pt>
                  <c:pt idx="126">
                    <c:v>7-Jun</c:v>
                  </c:pt>
                  <c:pt idx="127">
                    <c:v>8-Jun</c:v>
                  </c:pt>
                  <c:pt idx="128">
                    <c:v>9-Jun</c:v>
                  </c:pt>
                  <c:pt idx="129">
                    <c:v>10-Jun</c:v>
                  </c:pt>
                  <c:pt idx="130">
                    <c:v>11-Jun</c:v>
                  </c:pt>
                  <c:pt idx="131">
                    <c:v>12-Jun</c:v>
                  </c:pt>
                  <c:pt idx="132">
                    <c:v>13-Jun</c:v>
                  </c:pt>
                  <c:pt idx="133">
                    <c:v>14-Jun</c:v>
                  </c:pt>
                  <c:pt idx="134">
                    <c:v>15-Jun</c:v>
                  </c:pt>
                  <c:pt idx="135">
                    <c:v>16-Jun</c:v>
                  </c:pt>
                  <c:pt idx="136">
                    <c:v>17-Jun</c:v>
                  </c:pt>
                  <c:pt idx="137">
                    <c:v>18-Jun</c:v>
                  </c:pt>
                  <c:pt idx="138">
                    <c:v>19-Jun</c:v>
                  </c:pt>
                  <c:pt idx="139">
                    <c:v>20-Jun</c:v>
                  </c:pt>
                  <c:pt idx="140">
                    <c:v>21-Jun</c:v>
                  </c:pt>
                  <c:pt idx="141">
                    <c:v>22-Jun</c:v>
                  </c:pt>
                  <c:pt idx="142">
                    <c:v>23-Jun</c:v>
                  </c:pt>
                  <c:pt idx="143">
                    <c:v>24-Jun</c:v>
                  </c:pt>
                  <c:pt idx="144">
                    <c:v>25-Jun</c:v>
                  </c:pt>
                  <c:pt idx="145">
                    <c:v>26-Jun</c:v>
                  </c:pt>
                  <c:pt idx="146">
                    <c:v>27-Jun</c:v>
                  </c:pt>
                  <c:pt idx="147">
                    <c:v>28-Jun</c:v>
                  </c:pt>
                  <c:pt idx="148">
                    <c:v>29-Jun</c:v>
                  </c:pt>
                  <c:pt idx="149">
                    <c:v>30-Jun</c:v>
                  </c:pt>
                  <c:pt idx="150">
                    <c:v>1-Jul</c:v>
                  </c:pt>
                  <c:pt idx="151">
                    <c:v>2-Jul</c:v>
                  </c:pt>
                  <c:pt idx="152">
                    <c:v>3-Jul</c:v>
                  </c:pt>
                  <c:pt idx="153">
                    <c:v>4-Jul</c:v>
                  </c:pt>
                  <c:pt idx="154">
                    <c:v>5-Jul</c:v>
                  </c:pt>
                  <c:pt idx="155">
                    <c:v>6-Jul</c:v>
                  </c:pt>
                  <c:pt idx="156">
                    <c:v>7-Jul</c:v>
                  </c:pt>
                  <c:pt idx="157">
                    <c:v>8-Jul</c:v>
                  </c:pt>
                  <c:pt idx="158">
                    <c:v>9-Jul</c:v>
                  </c:pt>
                  <c:pt idx="159">
                    <c:v>10-Jul</c:v>
                  </c:pt>
                  <c:pt idx="160">
                    <c:v>11-Jul</c:v>
                  </c:pt>
                  <c:pt idx="161">
                    <c:v>12-Jul</c:v>
                  </c:pt>
                  <c:pt idx="162">
                    <c:v>13-Jul</c:v>
                  </c:pt>
                  <c:pt idx="163">
                    <c:v>14-Jul</c:v>
                  </c:pt>
                  <c:pt idx="164">
                    <c:v>15-Jul</c:v>
                  </c:pt>
                  <c:pt idx="165">
                    <c:v>16-Jul</c:v>
                  </c:pt>
                  <c:pt idx="166">
                    <c:v>17-Jul</c:v>
                  </c:pt>
                  <c:pt idx="167">
                    <c:v>18-Jul</c:v>
                  </c:pt>
                  <c:pt idx="168">
                    <c:v>19-Jul</c:v>
                  </c:pt>
                  <c:pt idx="169">
                    <c:v>20-Jul</c:v>
                  </c:pt>
                  <c:pt idx="170">
                    <c:v>21-Jul</c:v>
                  </c:pt>
                  <c:pt idx="171">
                    <c:v>22-Jul</c:v>
                  </c:pt>
                  <c:pt idx="172">
                    <c:v>23-Jul</c:v>
                  </c:pt>
                  <c:pt idx="173">
                    <c:v>24-Jul</c:v>
                  </c:pt>
                  <c:pt idx="174">
                    <c:v>25-Jul</c:v>
                  </c:pt>
                  <c:pt idx="175">
                    <c:v>26-Jul</c:v>
                  </c:pt>
                  <c:pt idx="176">
                    <c:v>27-Jul</c:v>
                  </c:pt>
                  <c:pt idx="177">
                    <c:v>28-Jul</c:v>
                  </c:pt>
                  <c:pt idx="178">
                    <c:v>29-Jul</c:v>
                  </c:pt>
                  <c:pt idx="179">
                    <c:v>30-Jul</c:v>
                  </c:pt>
                  <c:pt idx="180">
                    <c:v>31-Jul</c:v>
                  </c:pt>
                  <c:pt idx="181">
                    <c:v>1-Aug</c:v>
                  </c:pt>
                  <c:pt idx="182">
                    <c:v>2-Aug</c:v>
                  </c:pt>
                  <c:pt idx="183">
                    <c:v>3-Aug</c:v>
                  </c:pt>
                  <c:pt idx="184">
                    <c:v>4-Aug</c:v>
                  </c:pt>
                  <c:pt idx="185">
                    <c:v>5-Aug</c:v>
                  </c:pt>
                  <c:pt idx="186">
                    <c:v>6-Aug</c:v>
                  </c:pt>
                  <c:pt idx="187">
                    <c:v>7-Aug</c:v>
                  </c:pt>
                  <c:pt idx="188">
                    <c:v>8-Aug</c:v>
                  </c:pt>
                  <c:pt idx="189">
                    <c:v>9-Aug</c:v>
                  </c:pt>
                  <c:pt idx="190">
                    <c:v>10-Aug</c:v>
                  </c:pt>
                  <c:pt idx="191">
                    <c:v>11-Aug</c:v>
                  </c:pt>
                  <c:pt idx="192">
                    <c:v>12-Aug</c:v>
                  </c:pt>
                  <c:pt idx="193">
                    <c:v>13-Aug</c:v>
                  </c:pt>
                  <c:pt idx="194">
                    <c:v>14-Aug</c:v>
                  </c:pt>
                  <c:pt idx="195">
                    <c:v>15-Aug</c:v>
                  </c:pt>
                  <c:pt idx="196">
                    <c:v>16-Aug</c:v>
                  </c:pt>
                  <c:pt idx="197">
                    <c:v>17-Aug</c:v>
                  </c:pt>
                  <c:pt idx="198">
                    <c:v>18-Aug</c:v>
                  </c:pt>
                  <c:pt idx="199">
                    <c:v>19-Aug</c:v>
                  </c:pt>
                  <c:pt idx="200">
                    <c:v>20-Aug</c:v>
                  </c:pt>
                  <c:pt idx="201">
                    <c:v>21-Aug</c:v>
                  </c:pt>
                  <c:pt idx="202">
                    <c:v>22-Aug</c:v>
                  </c:pt>
                  <c:pt idx="203">
                    <c:v>23-Aug</c:v>
                  </c:pt>
                  <c:pt idx="204">
                    <c:v>24-Aug</c:v>
                  </c:pt>
                  <c:pt idx="205">
                    <c:v>25-Aug</c:v>
                  </c:pt>
                  <c:pt idx="206">
                    <c:v>26-Aug</c:v>
                  </c:pt>
                  <c:pt idx="207">
                    <c:v>27-Aug</c:v>
                  </c:pt>
                  <c:pt idx="208">
                    <c:v>28-Aug</c:v>
                  </c:pt>
                  <c:pt idx="209">
                    <c:v>29-Aug</c:v>
                  </c:pt>
                  <c:pt idx="210">
                    <c:v>30-Aug</c:v>
                  </c:pt>
                  <c:pt idx="211">
                    <c:v>31-Aug</c:v>
                  </c:pt>
                  <c:pt idx="212">
                    <c:v>1-Sep</c:v>
                  </c:pt>
                  <c:pt idx="213">
                    <c:v>2-Sep</c:v>
                  </c:pt>
                  <c:pt idx="214">
                    <c:v>3-Sep</c:v>
                  </c:pt>
                  <c:pt idx="215">
                    <c:v>4-Sep</c:v>
                  </c:pt>
                  <c:pt idx="216">
                    <c:v>5-Sep</c:v>
                  </c:pt>
                  <c:pt idx="217">
                    <c:v>6-Sep</c:v>
                  </c:pt>
                  <c:pt idx="218">
                    <c:v>7-Sep</c:v>
                  </c:pt>
                  <c:pt idx="219">
                    <c:v>8-Sep</c:v>
                  </c:pt>
                  <c:pt idx="220">
                    <c:v>9-Sep</c:v>
                  </c:pt>
                  <c:pt idx="221">
                    <c:v>10-Sep</c:v>
                  </c:pt>
                  <c:pt idx="222">
                    <c:v>11-Sep</c:v>
                  </c:pt>
                  <c:pt idx="223">
                    <c:v>12-Sep</c:v>
                  </c:pt>
                  <c:pt idx="224">
                    <c:v>13-Sep</c:v>
                  </c:pt>
                  <c:pt idx="225">
                    <c:v>14-Sep</c:v>
                  </c:pt>
                  <c:pt idx="226">
                    <c:v>15-Sep</c:v>
                  </c:pt>
                  <c:pt idx="227">
                    <c:v>16-Sep</c:v>
                  </c:pt>
                  <c:pt idx="228">
                    <c:v>17-Sep</c:v>
                  </c:pt>
                  <c:pt idx="229">
                    <c:v>18-Sep</c:v>
                  </c:pt>
                  <c:pt idx="230">
                    <c:v>19-Sep</c:v>
                  </c:pt>
                  <c:pt idx="231">
                    <c:v>20-Sep</c:v>
                  </c:pt>
                  <c:pt idx="232">
                    <c:v>21-Sep</c:v>
                  </c:pt>
                  <c:pt idx="233">
                    <c:v>22-Sep</c:v>
                  </c:pt>
                  <c:pt idx="234">
                    <c:v>23-Sep</c:v>
                  </c:pt>
                  <c:pt idx="235">
                    <c:v>24-Sep</c:v>
                  </c:pt>
                  <c:pt idx="236">
                    <c:v>25-Sep</c:v>
                  </c:pt>
                  <c:pt idx="237">
                    <c:v>26-Sep</c:v>
                  </c:pt>
                  <c:pt idx="238">
                    <c:v>27-Sep</c:v>
                  </c:pt>
                  <c:pt idx="239">
                    <c:v>28-Sep</c:v>
                  </c:pt>
                  <c:pt idx="240">
                    <c:v>29-Sep</c:v>
                  </c:pt>
                  <c:pt idx="241">
                    <c:v>30-Sep</c:v>
                  </c:pt>
                  <c:pt idx="242">
                    <c:v>1-Oct</c:v>
                  </c:pt>
                  <c:pt idx="243">
                    <c:v>2-Oct</c:v>
                  </c:pt>
                  <c:pt idx="244">
                    <c:v>3-Oct</c:v>
                  </c:pt>
                  <c:pt idx="245">
                    <c:v>4-Oct</c:v>
                  </c:pt>
                  <c:pt idx="246">
                    <c:v>5-Oct</c:v>
                  </c:pt>
                  <c:pt idx="247">
                    <c:v>6-Oct</c:v>
                  </c:pt>
                  <c:pt idx="248">
                    <c:v>7-Oct</c:v>
                  </c:pt>
                  <c:pt idx="249">
                    <c:v>8-Oct</c:v>
                  </c:pt>
                  <c:pt idx="250">
                    <c:v>9-Oct</c:v>
                  </c:pt>
                  <c:pt idx="251">
                    <c:v>10-Oct</c:v>
                  </c:pt>
                  <c:pt idx="252">
                    <c:v>11-Oct</c:v>
                  </c:pt>
                  <c:pt idx="253">
                    <c:v>12-Oct</c:v>
                  </c:pt>
                  <c:pt idx="254">
                    <c:v>13-Oct</c:v>
                  </c:pt>
                  <c:pt idx="255">
                    <c:v>14-Oct</c:v>
                  </c:pt>
                  <c:pt idx="256">
                    <c:v>15-Oct</c:v>
                  </c:pt>
                  <c:pt idx="257">
                    <c:v>16-Oct</c:v>
                  </c:pt>
                  <c:pt idx="258">
                    <c:v>17-Oct</c:v>
                  </c:pt>
                  <c:pt idx="259">
                    <c:v>18-Oct</c:v>
                  </c:pt>
                  <c:pt idx="260">
                    <c:v>19-Oct</c:v>
                  </c:pt>
                  <c:pt idx="261">
                    <c:v>20-Oct</c:v>
                  </c:pt>
                  <c:pt idx="262">
                    <c:v>21-Oct</c:v>
                  </c:pt>
                  <c:pt idx="263">
                    <c:v>22-Oct</c:v>
                  </c:pt>
                  <c:pt idx="264">
                    <c:v>23-Oct</c:v>
                  </c:pt>
                  <c:pt idx="265">
                    <c:v>24-Oct</c:v>
                  </c:pt>
                  <c:pt idx="266">
                    <c:v>25-Oct</c:v>
                  </c:pt>
                  <c:pt idx="267">
                    <c:v>26-Oct</c:v>
                  </c:pt>
                  <c:pt idx="268">
                    <c:v>27-Oct</c:v>
                  </c:pt>
                  <c:pt idx="269">
                    <c:v>28-Oct</c:v>
                  </c:pt>
                  <c:pt idx="270">
                    <c:v>29-Oct</c:v>
                  </c:pt>
                  <c:pt idx="271">
                    <c:v>30-Oct</c:v>
                  </c:pt>
                  <c:pt idx="272">
                    <c:v>31-Oct</c:v>
                  </c:pt>
                  <c:pt idx="273">
                    <c:v>1-Nov</c:v>
                  </c:pt>
                  <c:pt idx="274">
                    <c:v>2-Nov</c:v>
                  </c:pt>
                  <c:pt idx="275">
                    <c:v>3-Nov</c:v>
                  </c:pt>
                  <c:pt idx="276">
                    <c:v>4-Nov</c:v>
                  </c:pt>
                  <c:pt idx="277">
                    <c:v>5-Nov</c:v>
                  </c:pt>
                  <c:pt idx="278">
                    <c:v>6-Nov</c:v>
                  </c:pt>
                  <c:pt idx="279">
                    <c:v>7-Nov</c:v>
                  </c:pt>
                  <c:pt idx="280">
                    <c:v>8-Nov</c:v>
                  </c:pt>
                  <c:pt idx="281">
                    <c:v>9-Nov</c:v>
                  </c:pt>
                  <c:pt idx="282">
                    <c:v>10-Nov</c:v>
                  </c:pt>
                  <c:pt idx="283">
                    <c:v>11-Nov</c:v>
                  </c:pt>
                  <c:pt idx="284">
                    <c:v>12-Nov</c:v>
                  </c:pt>
                  <c:pt idx="285">
                    <c:v>13-Nov</c:v>
                  </c:pt>
                  <c:pt idx="286">
                    <c:v>14-Nov</c:v>
                  </c:pt>
                  <c:pt idx="287">
                    <c:v>15-Nov</c:v>
                  </c:pt>
                  <c:pt idx="288">
                    <c:v>16-Nov</c:v>
                  </c:pt>
                  <c:pt idx="289">
                    <c:v>17-Nov</c:v>
                  </c:pt>
                  <c:pt idx="290">
                    <c:v>18-Nov</c:v>
                  </c:pt>
                  <c:pt idx="291">
                    <c:v>19-Nov</c:v>
                  </c:pt>
                  <c:pt idx="292">
                    <c:v>20-Nov</c:v>
                  </c:pt>
                  <c:pt idx="293">
                    <c:v>21-Nov</c:v>
                  </c:pt>
                  <c:pt idx="294">
                    <c:v>22-Nov</c:v>
                  </c:pt>
                  <c:pt idx="295">
                    <c:v>23-Nov</c:v>
                  </c:pt>
                  <c:pt idx="296">
                    <c:v>24-Nov</c:v>
                  </c:pt>
                  <c:pt idx="297">
                    <c:v>25-Nov</c:v>
                  </c:pt>
                  <c:pt idx="298">
                    <c:v>26-Nov</c:v>
                  </c:pt>
                  <c:pt idx="299">
                    <c:v>27-Nov</c:v>
                  </c:pt>
                  <c:pt idx="300">
                    <c:v>28-Nov</c:v>
                  </c:pt>
                  <c:pt idx="301">
                    <c:v>29-Nov</c:v>
                  </c:pt>
                  <c:pt idx="302">
                    <c:v>30-Nov</c:v>
                  </c:pt>
                  <c:pt idx="303">
                    <c:v>1-Dec</c:v>
                  </c:pt>
                  <c:pt idx="304">
                    <c:v>2-Dec</c:v>
                  </c:pt>
                  <c:pt idx="305">
                    <c:v>3-Dec</c:v>
                  </c:pt>
                  <c:pt idx="306">
                    <c:v>4-Dec</c:v>
                  </c:pt>
                  <c:pt idx="307">
                    <c:v>5-Dec</c:v>
                  </c:pt>
                  <c:pt idx="308">
                    <c:v>6-Dec</c:v>
                  </c:pt>
                  <c:pt idx="309">
                    <c:v>7-Dec</c:v>
                  </c:pt>
                  <c:pt idx="310">
                    <c:v>8-Dec</c:v>
                  </c:pt>
                  <c:pt idx="311">
                    <c:v>9-Dec</c:v>
                  </c:pt>
                  <c:pt idx="312">
                    <c:v>10-Dec</c:v>
                  </c:pt>
                  <c:pt idx="313">
                    <c:v>11-Dec</c:v>
                  </c:pt>
                  <c:pt idx="314">
                    <c:v>12-Dec</c:v>
                  </c:pt>
                  <c:pt idx="315">
                    <c:v>13-Dec</c:v>
                  </c:pt>
                  <c:pt idx="316">
                    <c:v>14-Dec</c:v>
                  </c:pt>
                  <c:pt idx="317">
                    <c:v>15-Dec</c:v>
                  </c:pt>
                  <c:pt idx="318">
                    <c:v>16-Dec</c:v>
                  </c:pt>
                  <c:pt idx="319">
                    <c:v>17-Dec</c:v>
                  </c:pt>
                  <c:pt idx="320">
                    <c:v>18-Dec</c:v>
                  </c:pt>
                  <c:pt idx="321">
                    <c:v>19-Dec</c:v>
                  </c:pt>
                  <c:pt idx="322">
                    <c:v>20-Dec</c:v>
                  </c:pt>
                  <c:pt idx="323">
                    <c:v>21-Dec</c:v>
                  </c:pt>
                  <c:pt idx="324">
                    <c:v>22-Dec</c:v>
                  </c:pt>
                  <c:pt idx="325">
                    <c:v>23-Dec</c:v>
                  </c:pt>
                  <c:pt idx="326">
                    <c:v>24-Dec</c:v>
                  </c:pt>
                  <c:pt idx="327">
                    <c:v>25-Dec</c:v>
                  </c:pt>
                  <c:pt idx="328">
                    <c:v>26-Dec</c:v>
                  </c:pt>
                  <c:pt idx="329">
                    <c:v>27-Dec</c:v>
                  </c:pt>
                  <c:pt idx="330">
                    <c:v>28-Dec</c:v>
                  </c:pt>
                  <c:pt idx="331">
                    <c:v>29-Dec</c:v>
                  </c:pt>
                  <c:pt idx="332">
                    <c:v>30-Dec</c:v>
                  </c:pt>
                  <c:pt idx="333">
                    <c:v>31-Dec</c:v>
                  </c:pt>
                  <c:pt idx="334">
                    <c:v>1-Jan</c:v>
                  </c:pt>
                  <c:pt idx="335">
                    <c:v>2-Jan</c:v>
                  </c:pt>
                  <c:pt idx="336">
                    <c:v>3-Jan</c:v>
                  </c:pt>
                  <c:pt idx="337">
                    <c:v>4-Jan</c:v>
                  </c:pt>
                  <c:pt idx="338">
                    <c:v>5-Jan</c:v>
                  </c:pt>
                  <c:pt idx="339">
                    <c:v>6-Jan</c:v>
                  </c:pt>
                  <c:pt idx="340">
                    <c:v>7-Jan</c:v>
                  </c:pt>
                  <c:pt idx="341">
                    <c:v>8-Jan</c:v>
                  </c:pt>
                  <c:pt idx="342">
                    <c:v>9-Jan</c:v>
                  </c:pt>
                  <c:pt idx="343">
                    <c:v>10-Jan</c:v>
                  </c:pt>
                  <c:pt idx="344">
                    <c:v>11-Jan</c:v>
                  </c:pt>
                  <c:pt idx="345">
                    <c:v>12-Jan</c:v>
                  </c:pt>
                  <c:pt idx="346">
                    <c:v>13-Jan</c:v>
                  </c:pt>
                  <c:pt idx="347">
                    <c:v>14-Jan</c:v>
                  </c:pt>
                  <c:pt idx="348">
                    <c:v>15-Jan</c:v>
                  </c:pt>
                  <c:pt idx="349">
                    <c:v>16-Jan</c:v>
                  </c:pt>
                  <c:pt idx="350">
                    <c:v>17-Jan</c:v>
                  </c:pt>
                  <c:pt idx="351">
                    <c:v>18-Jan</c:v>
                  </c:pt>
                  <c:pt idx="352">
                    <c:v>19-Jan</c:v>
                  </c:pt>
                  <c:pt idx="353">
                    <c:v>20-Jan</c:v>
                  </c:pt>
                  <c:pt idx="354">
                    <c:v>21-Jan</c:v>
                  </c:pt>
                  <c:pt idx="355">
                    <c:v>22-Jan</c:v>
                  </c:pt>
                  <c:pt idx="356">
                    <c:v>23-Jan</c:v>
                  </c:pt>
                  <c:pt idx="357">
                    <c:v>24-Jan</c:v>
                  </c:pt>
                  <c:pt idx="358">
                    <c:v>25-Jan</c:v>
                  </c:pt>
                  <c:pt idx="359">
                    <c:v>26-Jan</c:v>
                  </c:pt>
                  <c:pt idx="360">
                    <c:v>27-Jan</c:v>
                  </c:pt>
                  <c:pt idx="361">
                    <c:v>28-Jan</c:v>
                  </c:pt>
                  <c:pt idx="362">
                    <c:v>29-Jan</c:v>
                  </c:pt>
                  <c:pt idx="363">
                    <c:v>30-Jan</c:v>
                  </c:pt>
                  <c:pt idx="364">
                    <c:v>31-Jan</c:v>
                  </c:pt>
                  <c:pt idx="365">
                    <c:v>1-Feb</c:v>
                  </c:pt>
                  <c:pt idx="366">
                    <c:v>2-Feb</c:v>
                  </c:pt>
                  <c:pt idx="367">
                    <c:v>3-Feb</c:v>
                  </c:pt>
                  <c:pt idx="368">
                    <c:v>4-Feb</c:v>
                  </c:pt>
                  <c:pt idx="369">
                    <c:v>5-Feb</c:v>
                  </c:pt>
                  <c:pt idx="370">
                    <c:v>6-Feb</c:v>
                  </c:pt>
                  <c:pt idx="371">
                    <c:v>7-Feb</c:v>
                  </c:pt>
                  <c:pt idx="372">
                    <c:v>8-Feb</c:v>
                  </c:pt>
                  <c:pt idx="373">
                    <c:v>9-Feb</c:v>
                  </c:pt>
                  <c:pt idx="374">
                    <c:v>10-Feb</c:v>
                  </c:pt>
                  <c:pt idx="375">
                    <c:v>11-Feb</c:v>
                  </c:pt>
                  <c:pt idx="376">
                    <c:v>12-Feb</c:v>
                  </c:pt>
                  <c:pt idx="377">
                    <c:v>13-Feb</c:v>
                  </c:pt>
                  <c:pt idx="378">
                    <c:v>14-Feb</c:v>
                  </c:pt>
                  <c:pt idx="379">
                    <c:v>15-Feb</c:v>
                  </c:pt>
                  <c:pt idx="380">
                    <c:v>16-Feb</c:v>
                  </c:pt>
                  <c:pt idx="381">
                    <c:v>17-Feb</c:v>
                  </c:pt>
                  <c:pt idx="382">
                    <c:v>18-Feb</c:v>
                  </c:pt>
                  <c:pt idx="383">
                    <c:v>19-Feb</c:v>
                  </c:pt>
                  <c:pt idx="384">
                    <c:v>20-Feb</c:v>
                  </c:pt>
                  <c:pt idx="385">
                    <c:v>21-Feb</c:v>
                  </c:pt>
                  <c:pt idx="386">
                    <c:v>22-Feb</c:v>
                  </c:pt>
                  <c:pt idx="387">
                    <c:v>23-Feb</c:v>
                  </c:pt>
                  <c:pt idx="388">
                    <c:v>24-Feb</c:v>
                  </c:pt>
                  <c:pt idx="389">
                    <c:v>25-Feb</c:v>
                  </c:pt>
                  <c:pt idx="390">
                    <c:v>26-Feb</c:v>
                  </c:pt>
                  <c:pt idx="391">
                    <c:v>27-Feb</c:v>
                  </c:pt>
                  <c:pt idx="392">
                    <c:v>28-Feb</c:v>
                  </c:pt>
                  <c:pt idx="393">
                    <c:v>1-Mar</c:v>
                  </c:pt>
                  <c:pt idx="394">
                    <c:v>2-Mar</c:v>
                  </c:pt>
                  <c:pt idx="395">
                    <c:v>3-Mar</c:v>
                  </c:pt>
                  <c:pt idx="396">
                    <c:v>4-Mar</c:v>
                  </c:pt>
                  <c:pt idx="397">
                    <c:v>5-Mar</c:v>
                  </c:pt>
                  <c:pt idx="398">
                    <c:v>6-Mar</c:v>
                  </c:pt>
                  <c:pt idx="399">
                    <c:v>7-Mar</c:v>
                  </c:pt>
                  <c:pt idx="400">
                    <c:v>8-Mar</c:v>
                  </c:pt>
                  <c:pt idx="401">
                    <c:v>9-Mar</c:v>
                  </c:pt>
                  <c:pt idx="402">
                    <c:v>10-Mar</c:v>
                  </c:pt>
                  <c:pt idx="403">
                    <c:v>11-Mar</c:v>
                  </c:pt>
                  <c:pt idx="404">
                    <c:v>12-Mar</c:v>
                  </c:pt>
                  <c:pt idx="405">
                    <c:v>13-Mar</c:v>
                  </c:pt>
                  <c:pt idx="406">
                    <c:v>14-Mar</c:v>
                  </c:pt>
                  <c:pt idx="407">
                    <c:v>15-Mar</c:v>
                  </c:pt>
                  <c:pt idx="408">
                    <c:v>16-Mar</c:v>
                  </c:pt>
                  <c:pt idx="409">
                    <c:v>17-Mar</c:v>
                  </c:pt>
                  <c:pt idx="410">
                    <c:v>18-Mar</c:v>
                  </c:pt>
                  <c:pt idx="411">
                    <c:v>19-Mar</c:v>
                  </c:pt>
                  <c:pt idx="412">
                    <c:v>20-Mar</c:v>
                  </c:pt>
                  <c:pt idx="413">
                    <c:v>21-Mar</c:v>
                  </c:pt>
                  <c:pt idx="414">
                    <c:v>22-Mar</c:v>
                  </c:pt>
                  <c:pt idx="415">
                    <c:v>23-Mar</c:v>
                  </c:pt>
                  <c:pt idx="416">
                    <c:v>24-Mar</c:v>
                  </c:pt>
                  <c:pt idx="417">
                    <c:v>25-Mar</c:v>
                  </c:pt>
                  <c:pt idx="418">
                    <c:v>26-Mar</c:v>
                  </c:pt>
                  <c:pt idx="419">
                    <c:v>27-Mar</c:v>
                  </c:pt>
                  <c:pt idx="420">
                    <c:v>28-Mar</c:v>
                  </c:pt>
                </c:lvl>
                <c:lvl>
                  <c:pt idx="0">
                    <c:v>Feb</c:v>
                  </c:pt>
                  <c:pt idx="28">
                    <c:v>Mar</c:v>
                  </c:pt>
                  <c:pt idx="59">
                    <c:v>Apr</c:v>
                  </c:pt>
                  <c:pt idx="89">
                    <c:v>May</c:v>
                  </c:pt>
                  <c:pt idx="120">
                    <c:v>Jun</c:v>
                  </c:pt>
                  <c:pt idx="150">
                    <c:v>Jul</c:v>
                  </c:pt>
                  <c:pt idx="181">
                    <c:v>Aug</c:v>
                  </c:pt>
                  <c:pt idx="212">
                    <c:v>Sep</c:v>
                  </c:pt>
                  <c:pt idx="242">
                    <c:v>Oct</c:v>
                  </c:pt>
                  <c:pt idx="273">
                    <c:v>Nov</c:v>
                  </c:pt>
                  <c:pt idx="303">
                    <c:v>Dec</c:v>
                  </c:pt>
                  <c:pt idx="334">
                    <c:v>Jan</c:v>
                  </c:pt>
                  <c:pt idx="365">
                    <c:v>Feb</c:v>
                  </c:pt>
                  <c:pt idx="393">
                    <c:v>March</c:v>
                  </c:pt>
                </c:lvl>
              </c:multiLvlStrCache>
            </c:multiLvlStrRef>
          </c:cat>
          <c:val>
            <c:numRef>
              <c:f>Sheet2!$D$12:$D$432</c:f>
              <c:numCache>
                <c:formatCode>General</c:formatCode>
                <c:ptCount val="421"/>
                <c:pt idx="0">
                  <c:v>275192.42857142858</c:v>
                </c:pt>
                <c:pt idx="1">
                  <c:v>301348.28571428574</c:v>
                </c:pt>
                <c:pt idx="2">
                  <c:v>299081.85714285716</c:v>
                </c:pt>
                <c:pt idx="3">
                  <c:v>290198.85714285716</c:v>
                </c:pt>
                <c:pt idx="4">
                  <c:v>273831.71428571426</c:v>
                </c:pt>
                <c:pt idx="5">
                  <c:v>290141.14285714284</c:v>
                </c:pt>
                <c:pt idx="6">
                  <c:v>293359.85714285716</c:v>
                </c:pt>
                <c:pt idx="7">
                  <c:v>329836</c:v>
                </c:pt>
                <c:pt idx="8">
                  <c:v>353234.71428571426</c:v>
                </c:pt>
                <c:pt idx="9">
                  <c:v>366794.57142857142</c:v>
                </c:pt>
                <c:pt idx="10">
                  <c:v>363652.14285714284</c:v>
                </c:pt>
                <c:pt idx="11">
                  <c:v>364399.71428571426</c:v>
                </c:pt>
                <c:pt idx="12">
                  <c:v>325304.57142857142</c:v>
                </c:pt>
                <c:pt idx="13">
                  <c:v>373348.66666666669</c:v>
                </c:pt>
                <c:pt idx="14">
                  <c:v>358689.2</c:v>
                </c:pt>
                <c:pt idx="15">
                  <c:v>356292.6</c:v>
                </c:pt>
                <c:pt idx="16">
                  <c:v>341065.2</c:v>
                </c:pt>
                <c:pt idx="17">
                  <c:v>375439.2</c:v>
                </c:pt>
                <c:pt idx="18">
                  <c:v>403595.6</c:v>
                </c:pt>
                <c:pt idx="19">
                  <c:v>464310.4</c:v>
                </c:pt>
                <c:pt idx="20">
                  <c:v>428067</c:v>
                </c:pt>
                <c:pt idx="21">
                  <c:v>415331.85714285716</c:v>
                </c:pt>
                <c:pt idx="22">
                  <c:v>435721.57142857142</c:v>
                </c:pt>
                <c:pt idx="23">
                  <c:v>454268</c:v>
                </c:pt>
                <c:pt idx="24">
                  <c:v>460074.85714285716</c:v>
                </c:pt>
                <c:pt idx="25">
                  <c:v>472428.28571428574</c:v>
                </c:pt>
                <c:pt idx="26">
                  <c:v>486317.71428571426</c:v>
                </c:pt>
                <c:pt idx="27">
                  <c:v>459441.85714285716</c:v>
                </c:pt>
                <c:pt idx="28">
                  <c:v>490006</c:v>
                </c:pt>
                <c:pt idx="29">
                  <c:v>530479.57142857148</c:v>
                </c:pt>
                <c:pt idx="30">
                  <c:v>607059.28571428568</c:v>
                </c:pt>
                <c:pt idx="31">
                  <c:v>705493.71428571432</c:v>
                </c:pt>
                <c:pt idx="32">
                  <c:v>820109.14285714284</c:v>
                </c:pt>
                <c:pt idx="33">
                  <c:v>954256.71428571432</c:v>
                </c:pt>
                <c:pt idx="34">
                  <c:v>955392</c:v>
                </c:pt>
                <c:pt idx="35">
                  <c:v>1164942.4285714286</c:v>
                </c:pt>
                <c:pt idx="36">
                  <c:v>1249593.857142857</c:v>
                </c:pt>
                <c:pt idx="37">
                  <c:v>1295566.142857143</c:v>
                </c:pt>
                <c:pt idx="38">
                  <c:v>1165631</c:v>
                </c:pt>
                <c:pt idx="39">
                  <c:v>1245821.857142857</c:v>
                </c:pt>
                <c:pt idx="40">
                  <c:v>1259437.857142857</c:v>
                </c:pt>
                <c:pt idx="41">
                  <c:v>1274146.857142857</c:v>
                </c:pt>
                <c:pt idx="42">
                  <c:v>1419814.142857143</c:v>
                </c:pt>
                <c:pt idx="43">
                  <c:v>1528090</c:v>
                </c:pt>
                <c:pt idx="44">
                  <c:v>1636892</c:v>
                </c:pt>
                <c:pt idx="45">
                  <c:v>1882128.142857143</c:v>
                </c:pt>
                <c:pt idx="46">
                  <c:v>1977847.857142857</c:v>
                </c:pt>
                <c:pt idx="47">
                  <c:v>2123633.1428571427</c:v>
                </c:pt>
                <c:pt idx="48">
                  <c:v>2165422.8571428573</c:v>
                </c:pt>
                <c:pt idx="49">
                  <c:v>2221023.1428571427</c:v>
                </c:pt>
                <c:pt idx="50">
                  <c:v>2253821.4285714286</c:v>
                </c:pt>
                <c:pt idx="51">
                  <c:v>2286064.8571428573</c:v>
                </c:pt>
                <c:pt idx="52">
                  <c:v>2309231.8571428573</c:v>
                </c:pt>
                <c:pt idx="53">
                  <c:v>2292340.1428571427</c:v>
                </c:pt>
                <c:pt idx="54">
                  <c:v>2237991.5714285714</c:v>
                </c:pt>
                <c:pt idx="55">
                  <c:v>2209205.2857142859</c:v>
                </c:pt>
                <c:pt idx="56">
                  <c:v>1802680</c:v>
                </c:pt>
                <c:pt idx="57">
                  <c:v>1744723.857142857</c:v>
                </c:pt>
                <c:pt idx="58">
                  <c:v>1710312.4285714286</c:v>
                </c:pt>
                <c:pt idx="59">
                  <c:v>1897814</c:v>
                </c:pt>
                <c:pt idx="60">
                  <c:v>2134931.7142857141</c:v>
                </c:pt>
                <c:pt idx="61">
                  <c:v>2244267</c:v>
                </c:pt>
                <c:pt idx="62">
                  <c:v>2653532.5714285714</c:v>
                </c:pt>
                <c:pt idx="63">
                  <c:v>3142510.2857142859</c:v>
                </c:pt>
                <c:pt idx="64">
                  <c:v>3431874.4285714286</c:v>
                </c:pt>
                <c:pt idx="65">
                  <c:v>3582968.1428571427</c:v>
                </c:pt>
                <c:pt idx="66">
                  <c:v>3649303.4285714286</c:v>
                </c:pt>
                <c:pt idx="67">
                  <c:v>3574409.2857142859</c:v>
                </c:pt>
                <c:pt idx="68">
                  <c:v>3659356.5714285714</c:v>
                </c:pt>
                <c:pt idx="69">
                  <c:v>3631914.5714285714</c:v>
                </c:pt>
                <c:pt idx="70">
                  <c:v>3631737</c:v>
                </c:pt>
                <c:pt idx="71">
                  <c:v>3443157.7142857141</c:v>
                </c:pt>
                <c:pt idx="72">
                  <c:v>3470652.1428571427</c:v>
                </c:pt>
                <c:pt idx="73">
                  <c:v>3269892.4285714286</c:v>
                </c:pt>
                <c:pt idx="74">
                  <c:v>3123211.5714285714</c:v>
                </c:pt>
                <c:pt idx="75">
                  <c:v>3003920.4285714286</c:v>
                </c:pt>
                <c:pt idx="76">
                  <c:v>2760571.5714285714</c:v>
                </c:pt>
                <c:pt idx="77">
                  <c:v>2656575.4285714286</c:v>
                </c:pt>
                <c:pt idx="78">
                  <c:v>2658255.8333333335</c:v>
                </c:pt>
                <c:pt idx="79">
                  <c:v>2527175</c:v>
                </c:pt>
                <c:pt idx="80">
                  <c:v>2602821.4</c:v>
                </c:pt>
                <c:pt idx="81">
                  <c:v>2574993.75</c:v>
                </c:pt>
                <c:pt idx="82">
                  <c:v>2538342</c:v>
                </c:pt>
                <c:pt idx="83">
                  <c:v>3192525</c:v>
                </c:pt>
                <c:pt idx="84">
                  <c:v>3224138.5</c:v>
                </c:pt>
                <c:pt idx="85">
                  <c:v>2934187.6666666665</c:v>
                </c:pt>
                <c:pt idx="86">
                  <c:v>2744180.5</c:v>
                </c:pt>
                <c:pt idx="87">
                  <c:v>2520899.75</c:v>
                </c:pt>
                <c:pt idx="88">
                  <c:v>2562586.7999999998</c:v>
                </c:pt>
                <c:pt idx="89">
                  <c:v>2406858.6666666665</c:v>
                </c:pt>
                <c:pt idx="90">
                  <c:v>2146619.7142857141</c:v>
                </c:pt>
                <c:pt idx="91">
                  <c:v>1936741.2857142857</c:v>
                </c:pt>
                <c:pt idx="92">
                  <c:v>1838788.4285714286</c:v>
                </c:pt>
                <c:pt idx="93">
                  <c:v>1839692.2857142857</c:v>
                </c:pt>
                <c:pt idx="94">
                  <c:v>1904975.857142857</c:v>
                </c:pt>
                <c:pt idx="95">
                  <c:v>1884556.142857143</c:v>
                </c:pt>
                <c:pt idx="96">
                  <c:v>1981076</c:v>
                </c:pt>
                <c:pt idx="97">
                  <c:v>2013336.7142857143</c:v>
                </c:pt>
                <c:pt idx="98">
                  <c:v>2145254.5714285714</c:v>
                </c:pt>
                <c:pt idx="99">
                  <c:v>2301698.7142857141</c:v>
                </c:pt>
                <c:pt idx="100">
                  <c:v>2302048.4285714286</c:v>
                </c:pt>
                <c:pt idx="101">
                  <c:v>2251177.5714285714</c:v>
                </c:pt>
                <c:pt idx="102">
                  <c:v>2065201.857142857</c:v>
                </c:pt>
                <c:pt idx="103">
                  <c:v>2007239.857142857</c:v>
                </c:pt>
                <c:pt idx="104">
                  <c:v>1992305.4285714286</c:v>
                </c:pt>
                <c:pt idx="105">
                  <c:v>1816898</c:v>
                </c:pt>
                <c:pt idx="106">
                  <c:v>1618422.7142857143</c:v>
                </c:pt>
                <c:pt idx="107">
                  <c:v>1480717.5714285714</c:v>
                </c:pt>
                <c:pt idx="108">
                  <c:v>1360719.857142857</c:v>
                </c:pt>
                <c:pt idx="109">
                  <c:v>1373412</c:v>
                </c:pt>
                <c:pt idx="110">
                  <c:v>1268469.8</c:v>
                </c:pt>
                <c:pt idx="111">
                  <c:v>1302524.3999999999</c:v>
                </c:pt>
                <c:pt idx="112">
                  <c:v>1478579</c:v>
                </c:pt>
                <c:pt idx="113">
                  <c:v>1471913</c:v>
                </c:pt>
                <c:pt idx="114">
                  <c:v>1811880.6</c:v>
                </c:pt>
                <c:pt idx="115">
                  <c:v>2072133.8</c:v>
                </c:pt>
                <c:pt idx="116">
                  <c:v>2054050.8333333333</c:v>
                </c:pt>
                <c:pt idx="117">
                  <c:v>2320922.2857142859</c:v>
                </c:pt>
                <c:pt idx="118">
                  <c:v>2420840.4285714286</c:v>
                </c:pt>
                <c:pt idx="119">
                  <c:v>2326312</c:v>
                </c:pt>
                <c:pt idx="120">
                  <c:v>2518422.7142857141</c:v>
                </c:pt>
                <c:pt idx="121">
                  <c:v>2464650.1428571427</c:v>
                </c:pt>
                <c:pt idx="122">
                  <c:v>2448745.4285714286</c:v>
                </c:pt>
                <c:pt idx="123">
                  <c:v>2920138</c:v>
                </c:pt>
                <c:pt idx="124">
                  <c:v>2640313</c:v>
                </c:pt>
                <c:pt idx="125">
                  <c:v>2767988.8571428573</c:v>
                </c:pt>
                <c:pt idx="126">
                  <c:v>2862965.2857142859</c:v>
                </c:pt>
                <c:pt idx="127">
                  <c:v>2935027.2857142859</c:v>
                </c:pt>
                <c:pt idx="128">
                  <c:v>3025477</c:v>
                </c:pt>
                <c:pt idx="129">
                  <c:v>3133931.2857142859</c:v>
                </c:pt>
                <c:pt idx="130">
                  <c:v>2870782</c:v>
                </c:pt>
                <c:pt idx="131">
                  <c:v>2945274.7142857141</c:v>
                </c:pt>
                <c:pt idx="132">
                  <c:v>3055624.4285714286</c:v>
                </c:pt>
                <c:pt idx="133">
                  <c:v>3181387.4285714286</c:v>
                </c:pt>
                <c:pt idx="134">
                  <c:v>3089205.2857142859</c:v>
                </c:pt>
                <c:pt idx="135">
                  <c:v>3067056.4285714286</c:v>
                </c:pt>
                <c:pt idx="136">
                  <c:v>3241192.4285714286</c:v>
                </c:pt>
                <c:pt idx="137">
                  <c:v>3236099.7142857141</c:v>
                </c:pt>
                <c:pt idx="138">
                  <c:v>3531463.5714285714</c:v>
                </c:pt>
                <c:pt idx="139">
                  <c:v>3550883.2857142859</c:v>
                </c:pt>
                <c:pt idx="140">
                  <c:v>4364796.8571428573</c:v>
                </c:pt>
                <c:pt idx="141">
                  <c:v>4935727.1428571427</c:v>
                </c:pt>
                <c:pt idx="142">
                  <c:v>5006348.2857142854</c:v>
                </c:pt>
                <c:pt idx="143">
                  <c:v>5297682.4285714282</c:v>
                </c:pt>
                <c:pt idx="144">
                  <c:v>5757941.1428571427</c:v>
                </c:pt>
                <c:pt idx="145">
                  <c:v>6276153.1428571427</c:v>
                </c:pt>
                <c:pt idx="146">
                  <c:v>6249116.1428571427</c:v>
                </c:pt>
                <c:pt idx="147">
                  <c:v>5444233.7142857146</c:v>
                </c:pt>
                <c:pt idx="148">
                  <c:v>5366922.4285714282</c:v>
                </c:pt>
                <c:pt idx="149">
                  <c:v>5112543</c:v>
                </c:pt>
                <c:pt idx="150">
                  <c:v>4955374.5714285718</c:v>
                </c:pt>
                <c:pt idx="151">
                  <c:v>4144323.7142857141</c:v>
                </c:pt>
                <c:pt idx="152">
                  <c:v>4208458</c:v>
                </c:pt>
                <c:pt idx="153">
                  <c:v>4192591.1428571427</c:v>
                </c:pt>
                <c:pt idx="154">
                  <c:v>4257988.4285714282</c:v>
                </c:pt>
                <c:pt idx="155">
                  <c:v>3840533.2857142859</c:v>
                </c:pt>
                <c:pt idx="156">
                  <c:v>4130374.8571428573</c:v>
                </c:pt>
                <c:pt idx="157">
                  <c:v>4892796.1428571427</c:v>
                </c:pt>
                <c:pt idx="158">
                  <c:v>5553238</c:v>
                </c:pt>
                <c:pt idx="159">
                  <c:v>4938126.4000000004</c:v>
                </c:pt>
                <c:pt idx="160">
                  <c:v>4586517.4000000004</c:v>
                </c:pt>
                <c:pt idx="161">
                  <c:v>4639357</c:v>
                </c:pt>
                <c:pt idx="162">
                  <c:v>5269785</c:v>
                </c:pt>
                <c:pt idx="163">
                  <c:v>5245672.8</c:v>
                </c:pt>
                <c:pt idx="164">
                  <c:v>3862236.2</c:v>
                </c:pt>
                <c:pt idx="165">
                  <c:v>3943882.1666666665</c:v>
                </c:pt>
                <c:pt idx="166">
                  <c:v>4128447</c:v>
                </c:pt>
                <c:pt idx="167">
                  <c:v>4596535.666666667</c:v>
                </c:pt>
                <c:pt idx="168">
                  <c:v>4692813.8</c:v>
                </c:pt>
                <c:pt idx="169">
                  <c:v>4171966.8</c:v>
                </c:pt>
                <c:pt idx="170">
                  <c:v>3919194.8</c:v>
                </c:pt>
                <c:pt idx="171">
                  <c:v>4231715.4000000004</c:v>
                </c:pt>
                <c:pt idx="172">
                  <c:v>4254339.2</c:v>
                </c:pt>
                <c:pt idx="173">
                  <c:v>4260892.5999999996</c:v>
                </c:pt>
                <c:pt idx="174">
                  <c:v>3891600</c:v>
                </c:pt>
                <c:pt idx="175">
                  <c:v>4295142</c:v>
                </c:pt>
                <c:pt idx="176">
                  <c:v>4383457.7142857146</c:v>
                </c:pt>
                <c:pt idx="177">
                  <c:v>4693586.5714285718</c:v>
                </c:pt>
                <c:pt idx="178">
                  <c:v>4659532</c:v>
                </c:pt>
                <c:pt idx="179">
                  <c:v>4805174</c:v>
                </c:pt>
                <c:pt idx="180">
                  <c:v>4727935.833333333</c:v>
                </c:pt>
                <c:pt idx="181">
                  <c:v>5264495.5999999996</c:v>
                </c:pt>
                <c:pt idx="182">
                  <c:v>4901521</c:v>
                </c:pt>
                <c:pt idx="183">
                  <c:v>5120606.666666667</c:v>
                </c:pt>
                <c:pt idx="184">
                  <c:v>4955982.333333333</c:v>
                </c:pt>
                <c:pt idx="185">
                  <c:v>5175250</c:v>
                </c:pt>
                <c:pt idx="186">
                  <c:v>5241013</c:v>
                </c:pt>
                <c:pt idx="187">
                  <c:v>5380980.5</c:v>
                </c:pt>
                <c:pt idx="188">
                  <c:v>4675637.8</c:v>
                </c:pt>
                <c:pt idx="189">
                  <c:v>4868949.666666667</c:v>
                </c:pt>
                <c:pt idx="190">
                  <c:v>4827707.7142857146</c:v>
                </c:pt>
                <c:pt idx="191">
                  <c:v>4904103.4285714282</c:v>
                </c:pt>
                <c:pt idx="192">
                  <c:v>4723904</c:v>
                </c:pt>
                <c:pt idx="193">
                  <c:v>4532282</c:v>
                </c:pt>
                <c:pt idx="194">
                  <c:v>4903382.8</c:v>
                </c:pt>
                <c:pt idx="195">
                  <c:v>5665661.75</c:v>
                </c:pt>
                <c:pt idx="196">
                  <c:v>5609046</c:v>
                </c:pt>
                <c:pt idx="197">
                  <c:v>6082386.666666667</c:v>
                </c:pt>
                <c:pt idx="198">
                  <c:v>6429288</c:v>
                </c:pt>
                <c:pt idx="199">
                  <c:v>5933014.25</c:v>
                </c:pt>
                <c:pt idx="200">
                  <c:v>6068362.5999999996</c:v>
                </c:pt>
                <c:pt idx="201">
                  <c:v>5169156.4000000004</c:v>
                </c:pt>
                <c:pt idx="202">
                  <c:v>5041964.333333333</c:v>
                </c:pt>
                <c:pt idx="203">
                  <c:v>4531313.1428571427</c:v>
                </c:pt>
                <c:pt idx="204">
                  <c:v>4601598.2857142854</c:v>
                </c:pt>
                <c:pt idx="205">
                  <c:v>5110246.1428571427</c:v>
                </c:pt>
                <c:pt idx="206">
                  <c:v>5399357.5714285718</c:v>
                </c:pt>
                <c:pt idx="207">
                  <c:v>6047866.1428571427</c:v>
                </c:pt>
                <c:pt idx="208">
                  <c:v>7071278</c:v>
                </c:pt>
                <c:pt idx="209">
                  <c:v>7402289.5714285718</c:v>
                </c:pt>
                <c:pt idx="210">
                  <c:v>8152340.1428571427</c:v>
                </c:pt>
                <c:pt idx="211">
                  <c:v>8009674.4285714282</c:v>
                </c:pt>
                <c:pt idx="212">
                  <c:v>9093382.5714285709</c:v>
                </c:pt>
                <c:pt idx="213">
                  <c:v>9340630.8571428563</c:v>
                </c:pt>
                <c:pt idx="214">
                  <c:v>8587772.5714285709</c:v>
                </c:pt>
                <c:pt idx="215">
                  <c:v>7411457.5714285718</c:v>
                </c:pt>
                <c:pt idx="216">
                  <c:v>7418237.4285714282</c:v>
                </c:pt>
                <c:pt idx="217">
                  <c:v>7021136</c:v>
                </c:pt>
                <c:pt idx="218">
                  <c:v>7838454.1428571427</c:v>
                </c:pt>
                <c:pt idx="219">
                  <c:v>6996270.5714285718</c:v>
                </c:pt>
                <c:pt idx="220">
                  <c:v>7304944.5714285718</c:v>
                </c:pt>
                <c:pt idx="221">
                  <c:v>6922828</c:v>
                </c:pt>
                <c:pt idx="222">
                  <c:v>7954857.5714285718</c:v>
                </c:pt>
                <c:pt idx="223">
                  <c:v>7966089</c:v>
                </c:pt>
                <c:pt idx="224">
                  <c:v>8833000.8571428563</c:v>
                </c:pt>
                <c:pt idx="225">
                  <c:v>7577952.1428571427</c:v>
                </c:pt>
                <c:pt idx="226">
                  <c:v>7257129.2857142854</c:v>
                </c:pt>
                <c:pt idx="227">
                  <c:v>7204486</c:v>
                </c:pt>
                <c:pt idx="228">
                  <c:v>7610445.5714285718</c:v>
                </c:pt>
                <c:pt idx="229">
                  <c:v>8940878.1428571437</c:v>
                </c:pt>
                <c:pt idx="230">
                  <c:v>9214365.7142857146</c:v>
                </c:pt>
                <c:pt idx="231">
                  <c:v>8849706.7142857146</c:v>
                </c:pt>
                <c:pt idx="232">
                  <c:v>9874599</c:v>
                </c:pt>
                <c:pt idx="233">
                  <c:v>9421036.8571428563</c:v>
                </c:pt>
                <c:pt idx="234">
                  <c:v>9414028</c:v>
                </c:pt>
                <c:pt idx="235">
                  <c:v>10037995.285714285</c:v>
                </c:pt>
                <c:pt idx="236">
                  <c:v>8020225.7142857146</c:v>
                </c:pt>
                <c:pt idx="237">
                  <c:v>7287578.5714285718</c:v>
                </c:pt>
                <c:pt idx="238">
                  <c:v>8077371.4285714282</c:v>
                </c:pt>
                <c:pt idx="239">
                  <c:v>7344057</c:v>
                </c:pt>
                <c:pt idx="240">
                  <c:v>7484927.4285714282</c:v>
                </c:pt>
                <c:pt idx="241">
                  <c:v>7026493.5714285718</c:v>
                </c:pt>
                <c:pt idx="242">
                  <c:v>6507166.7142857146</c:v>
                </c:pt>
                <c:pt idx="243">
                  <c:v>6978224.4285714282</c:v>
                </c:pt>
                <c:pt idx="244">
                  <c:v>7194818.1428571427</c:v>
                </c:pt>
                <c:pt idx="245">
                  <c:v>6043744.7142857146</c:v>
                </c:pt>
                <c:pt idx="246">
                  <c:v>6412084.1428571427</c:v>
                </c:pt>
                <c:pt idx="247">
                  <c:v>6262069.4285714282</c:v>
                </c:pt>
                <c:pt idx="248">
                  <c:v>5821223.8571428573</c:v>
                </c:pt>
                <c:pt idx="249">
                  <c:v>6002254.7142857146</c:v>
                </c:pt>
                <c:pt idx="250">
                  <c:v>6004235.4285714282</c:v>
                </c:pt>
                <c:pt idx="251">
                  <c:v>6426337</c:v>
                </c:pt>
                <c:pt idx="252">
                  <c:v>6261109.4285714282</c:v>
                </c:pt>
                <c:pt idx="253">
                  <c:v>6172911.2857142854</c:v>
                </c:pt>
                <c:pt idx="254">
                  <c:v>6053913.7142857146</c:v>
                </c:pt>
                <c:pt idx="255">
                  <c:v>5884027.4285714282</c:v>
                </c:pt>
                <c:pt idx="256">
                  <c:v>5134811.4285714282</c:v>
                </c:pt>
                <c:pt idx="257">
                  <c:v>4236032</c:v>
                </c:pt>
                <c:pt idx="258">
                  <c:v>3600694.8571428573</c:v>
                </c:pt>
                <c:pt idx="259">
                  <c:v>3435234.7142857141</c:v>
                </c:pt>
                <c:pt idx="260">
                  <c:v>3681917.4285714286</c:v>
                </c:pt>
                <c:pt idx="261">
                  <c:v>4499240.7142857146</c:v>
                </c:pt>
                <c:pt idx="262">
                  <c:v>4977462.5714285718</c:v>
                </c:pt>
                <c:pt idx="263">
                  <c:v>5540316.5714285718</c:v>
                </c:pt>
                <c:pt idx="264">
                  <c:v>5850184.1428571427</c:v>
                </c:pt>
                <c:pt idx="265">
                  <c:v>6560450.5714285718</c:v>
                </c:pt>
                <c:pt idx="266">
                  <c:v>6456458.7142857146</c:v>
                </c:pt>
                <c:pt idx="267">
                  <c:v>6248146.8571428573</c:v>
                </c:pt>
                <c:pt idx="268">
                  <c:v>5595625.4285714282</c:v>
                </c:pt>
                <c:pt idx="269">
                  <c:v>5607749.1428571427</c:v>
                </c:pt>
                <c:pt idx="270">
                  <c:v>5966138.8571428573</c:v>
                </c:pt>
                <c:pt idx="271">
                  <c:v>6407428.8571428573</c:v>
                </c:pt>
                <c:pt idx="272">
                  <c:v>5766214.4285714282</c:v>
                </c:pt>
                <c:pt idx="273">
                  <c:v>6214911.4285714282</c:v>
                </c:pt>
                <c:pt idx="274">
                  <c:v>5552652.4285714282</c:v>
                </c:pt>
                <c:pt idx="275">
                  <c:v>5498715.8571428573</c:v>
                </c:pt>
                <c:pt idx="276">
                  <c:v>4949827.1428571427</c:v>
                </c:pt>
                <c:pt idx="277">
                  <c:v>3726426.8571428573</c:v>
                </c:pt>
                <c:pt idx="278">
                  <c:v>3098292</c:v>
                </c:pt>
                <c:pt idx="279">
                  <c:v>2930133.4285714286</c:v>
                </c:pt>
                <c:pt idx="280">
                  <c:v>2940244</c:v>
                </c:pt>
                <c:pt idx="281">
                  <c:v>3204213.2857142859</c:v>
                </c:pt>
                <c:pt idx="282">
                  <c:v>3249564.2857142859</c:v>
                </c:pt>
                <c:pt idx="283">
                  <c:v>3666895.5714285714</c:v>
                </c:pt>
                <c:pt idx="284">
                  <c:v>4804241.8571428573</c:v>
                </c:pt>
                <c:pt idx="285">
                  <c:v>5571839.4285714282</c:v>
                </c:pt>
                <c:pt idx="286">
                  <c:v>5678164.4285714282</c:v>
                </c:pt>
                <c:pt idx="287">
                  <c:v>5535064.7142857146</c:v>
                </c:pt>
                <c:pt idx="288">
                  <c:v>5934296.2857142854</c:v>
                </c:pt>
                <c:pt idx="289">
                  <c:v>6171476.5714285718</c:v>
                </c:pt>
                <c:pt idx="290">
                  <c:v>6573042</c:v>
                </c:pt>
                <c:pt idx="291">
                  <c:v>6024605.7142857146</c:v>
                </c:pt>
                <c:pt idx="292">
                  <c:v>6357807.4285714282</c:v>
                </c:pt>
                <c:pt idx="293">
                  <c:v>6452541.5714285718</c:v>
                </c:pt>
                <c:pt idx="294">
                  <c:v>6980269.4285714282</c:v>
                </c:pt>
                <c:pt idx="295">
                  <c:v>7179856.7142857146</c:v>
                </c:pt>
                <c:pt idx="296">
                  <c:v>7537503.1428571427</c:v>
                </c:pt>
                <c:pt idx="297">
                  <c:v>7105965.1428571427</c:v>
                </c:pt>
                <c:pt idx="298">
                  <c:v>8166075</c:v>
                </c:pt>
                <c:pt idx="299">
                  <c:v>6972577.2857142854</c:v>
                </c:pt>
                <c:pt idx="300">
                  <c:v>7876782</c:v>
                </c:pt>
                <c:pt idx="301">
                  <c:v>7521232.8571428573</c:v>
                </c:pt>
                <c:pt idx="302">
                  <c:v>7586847.4285714282</c:v>
                </c:pt>
                <c:pt idx="303">
                  <c:v>7392563.8571428573</c:v>
                </c:pt>
                <c:pt idx="304">
                  <c:v>8191109.8571428573</c:v>
                </c:pt>
                <c:pt idx="305">
                  <c:v>7281421</c:v>
                </c:pt>
                <c:pt idx="306">
                  <c:v>8759028.4285714291</c:v>
                </c:pt>
                <c:pt idx="307">
                  <c:v>7938408.1428571427</c:v>
                </c:pt>
                <c:pt idx="308">
                  <c:v>7889436.7142857146</c:v>
                </c:pt>
                <c:pt idx="309">
                  <c:v>7843868.1428571427</c:v>
                </c:pt>
                <c:pt idx="310">
                  <c:v>7765414.5714285718</c:v>
                </c:pt>
                <c:pt idx="311">
                  <c:v>7482589.7142857146</c:v>
                </c:pt>
                <c:pt idx="312">
                  <c:v>7235294.2857142854</c:v>
                </c:pt>
                <c:pt idx="313">
                  <c:v>7669714.7142857146</c:v>
                </c:pt>
                <c:pt idx="314">
                  <c:v>7519381.1428571427</c:v>
                </c:pt>
                <c:pt idx="315">
                  <c:v>7392500</c:v>
                </c:pt>
                <c:pt idx="316">
                  <c:v>7761315.1428571427</c:v>
                </c:pt>
                <c:pt idx="317">
                  <c:v>7515754.2857142854</c:v>
                </c:pt>
                <c:pt idx="318">
                  <c:v>6892387</c:v>
                </c:pt>
                <c:pt idx="319">
                  <c:v>7570262.1428571427</c:v>
                </c:pt>
                <c:pt idx="320">
                  <c:v>6509034.4285714282</c:v>
                </c:pt>
                <c:pt idx="321">
                  <c:v>6432805.1428571427</c:v>
                </c:pt>
                <c:pt idx="322">
                  <c:v>6393946.4285714282</c:v>
                </c:pt>
                <c:pt idx="323">
                  <c:v>6032892.2857142854</c:v>
                </c:pt>
                <c:pt idx="324">
                  <c:v>5509274.2857142854</c:v>
                </c:pt>
                <c:pt idx="325">
                  <c:v>5961434.4285714282</c:v>
                </c:pt>
                <c:pt idx="326">
                  <c:v>5598521</c:v>
                </c:pt>
                <c:pt idx="327">
                  <c:v>5846328.8571428573</c:v>
                </c:pt>
                <c:pt idx="328">
                  <c:v>5471820.1428571427</c:v>
                </c:pt>
                <c:pt idx="329">
                  <c:v>5460561.5714285718</c:v>
                </c:pt>
                <c:pt idx="330">
                  <c:v>5364014.7142857146</c:v>
                </c:pt>
                <c:pt idx="331">
                  <c:v>6306509</c:v>
                </c:pt>
                <c:pt idx="332">
                  <c:v>5785172.5714285718</c:v>
                </c:pt>
                <c:pt idx="333">
                  <c:v>6329836</c:v>
                </c:pt>
                <c:pt idx="334">
                  <c:v>5726858.7142857146</c:v>
                </c:pt>
                <c:pt idx="335">
                  <c:v>5979233</c:v>
                </c:pt>
                <c:pt idx="336">
                  <c:v>6582721.5714285718</c:v>
                </c:pt>
                <c:pt idx="337">
                  <c:v>6608642.1428571427</c:v>
                </c:pt>
                <c:pt idx="338">
                  <c:v>6715446</c:v>
                </c:pt>
                <c:pt idx="339">
                  <c:v>7610503.5714285718</c:v>
                </c:pt>
                <c:pt idx="340">
                  <c:v>8103784.1428571427</c:v>
                </c:pt>
                <c:pt idx="341">
                  <c:v>7705373.2857142854</c:v>
                </c:pt>
                <c:pt idx="342">
                  <c:v>8731292.5714285709</c:v>
                </c:pt>
                <c:pt idx="343">
                  <c:v>8528083</c:v>
                </c:pt>
                <c:pt idx="344">
                  <c:v>9358811.2857142854</c:v>
                </c:pt>
                <c:pt idx="345">
                  <c:v>8870535</c:v>
                </c:pt>
                <c:pt idx="346">
                  <c:v>8846955.4285714291</c:v>
                </c:pt>
                <c:pt idx="347">
                  <c:v>7269518.7142857146</c:v>
                </c:pt>
                <c:pt idx="348">
                  <c:v>8233018.8571428573</c:v>
                </c:pt>
                <c:pt idx="349">
                  <c:v>7570103.4285714282</c:v>
                </c:pt>
                <c:pt idx="350">
                  <c:v>7377219.7142857146</c:v>
                </c:pt>
                <c:pt idx="351">
                  <c:v>5452050.2857142854</c:v>
                </c:pt>
                <c:pt idx="352">
                  <c:v>6879111.7142857146</c:v>
                </c:pt>
                <c:pt idx="353">
                  <c:v>6630581.2857142854</c:v>
                </c:pt>
                <c:pt idx="354">
                  <c:v>7590637.8571428573</c:v>
                </c:pt>
                <c:pt idx="355">
                  <c:v>7349937</c:v>
                </c:pt>
                <c:pt idx="356">
                  <c:v>7359274</c:v>
                </c:pt>
                <c:pt idx="357">
                  <c:v>6793793.7142857146</c:v>
                </c:pt>
                <c:pt idx="358">
                  <c:v>7758004.2857142854</c:v>
                </c:pt>
                <c:pt idx="359">
                  <c:v>6247432.8571428573</c:v>
                </c:pt>
                <c:pt idx="360">
                  <c:v>5539846.4285714282</c:v>
                </c:pt>
                <c:pt idx="361">
                  <c:v>5097283.5714285718</c:v>
                </c:pt>
                <c:pt idx="362">
                  <c:v>4767596.8571428573</c:v>
                </c:pt>
                <c:pt idx="363">
                  <c:v>5021603.7142857146</c:v>
                </c:pt>
                <c:pt idx="364">
                  <c:v>5909456.1428571427</c:v>
                </c:pt>
                <c:pt idx="365">
                  <c:v>5835935.2857142854</c:v>
                </c:pt>
                <c:pt idx="366">
                  <c:v>5835308.5714285718</c:v>
                </c:pt>
                <c:pt idx="367">
                  <c:v>6057862.8571428573</c:v>
                </c:pt>
                <c:pt idx="368">
                  <c:v>5964927.8571428573</c:v>
                </c:pt>
                <c:pt idx="369">
                  <c:v>6102268.7142857146</c:v>
                </c:pt>
                <c:pt idx="370">
                  <c:v>5503435.1428571427</c:v>
                </c:pt>
                <c:pt idx="371">
                  <c:v>4466000.8571428573</c:v>
                </c:pt>
                <c:pt idx="372">
                  <c:v>4502216.2857142854</c:v>
                </c:pt>
                <c:pt idx="373">
                  <c:v>4713271.4285714282</c:v>
                </c:pt>
                <c:pt idx="374">
                  <c:v>4125866.7142857141</c:v>
                </c:pt>
                <c:pt idx="375">
                  <c:v>4732110.8571428573</c:v>
                </c:pt>
                <c:pt idx="376">
                  <c:v>4313445.1428571427</c:v>
                </c:pt>
                <c:pt idx="377">
                  <c:v>4575121.8571428573</c:v>
                </c:pt>
                <c:pt idx="378">
                  <c:v>4811657.7142857146</c:v>
                </c:pt>
                <c:pt idx="379">
                  <c:v>4769920.8571428573</c:v>
                </c:pt>
                <c:pt idx="380">
                  <c:v>4089529.1428571427</c:v>
                </c:pt>
                <c:pt idx="381">
                  <c:v>4790450.7142857146</c:v>
                </c:pt>
                <c:pt idx="382">
                  <c:v>3966235.5714285714</c:v>
                </c:pt>
                <c:pt idx="383">
                  <c:v>4013737.8571428573</c:v>
                </c:pt>
                <c:pt idx="384">
                  <c:v>3642105.2857142859</c:v>
                </c:pt>
                <c:pt idx="385">
                  <c:v>3723058.1428571427</c:v>
                </c:pt>
                <c:pt idx="386">
                  <c:v>3350608.1428571427</c:v>
                </c:pt>
                <c:pt idx="387">
                  <c:v>3291553.5714285714</c:v>
                </c:pt>
                <c:pt idx="388">
                  <c:v>3005569</c:v>
                </c:pt>
                <c:pt idx="389">
                  <c:v>2951414.5714285714</c:v>
                </c:pt>
                <c:pt idx="390">
                  <c:v>2978635.8571428573</c:v>
                </c:pt>
                <c:pt idx="391">
                  <c:v>2902575.5714285714</c:v>
                </c:pt>
                <c:pt idx="392">
                  <c:v>2769656</c:v>
                </c:pt>
                <c:pt idx="393">
                  <c:v>2450183.5714285714</c:v>
                </c:pt>
                <c:pt idx="394">
                  <c:v>2366073.4285714286</c:v>
                </c:pt>
                <c:pt idx="395">
                  <c:v>2353441.4285714286</c:v>
                </c:pt>
                <c:pt idx="396">
                  <c:v>2212090</c:v>
                </c:pt>
                <c:pt idx="397">
                  <c:v>2075921.5714285714</c:v>
                </c:pt>
                <c:pt idx="398">
                  <c:v>2017241.857142857</c:v>
                </c:pt>
                <c:pt idx="399">
                  <c:v>2019783</c:v>
                </c:pt>
                <c:pt idx="400">
                  <c:v>2125526.2857142859</c:v>
                </c:pt>
                <c:pt idx="401">
                  <c:v>2180926.4285714286</c:v>
                </c:pt>
                <c:pt idx="402">
                  <c:v>1999821.5714285714</c:v>
                </c:pt>
                <c:pt idx="403">
                  <c:v>2019434</c:v>
                </c:pt>
                <c:pt idx="404">
                  <c:v>1794624</c:v>
                </c:pt>
                <c:pt idx="405">
                  <c:v>1839242.142857143</c:v>
                </c:pt>
                <c:pt idx="406">
                  <c:v>1885497.857142857</c:v>
                </c:pt>
                <c:pt idx="407">
                  <c:v>1802890.5714285714</c:v>
                </c:pt>
                <c:pt idx="408">
                  <c:v>1783656.142857143</c:v>
                </c:pt>
                <c:pt idx="409">
                  <c:v>1795944.2857142857</c:v>
                </c:pt>
                <c:pt idx="410">
                  <c:v>1573172.857142857</c:v>
                </c:pt>
                <c:pt idx="411">
                  <c:v>1580159.2857142857</c:v>
                </c:pt>
                <c:pt idx="412">
                  <c:v>1523504</c:v>
                </c:pt>
                <c:pt idx="413">
                  <c:v>1623985.142857143</c:v>
                </c:pt>
                <c:pt idx="414">
                  <c:v>1752357.4285714286</c:v>
                </c:pt>
                <c:pt idx="415">
                  <c:v>2081219.5714285714</c:v>
                </c:pt>
                <c:pt idx="416">
                  <c:v>2321904.2857142859</c:v>
                </c:pt>
                <c:pt idx="417">
                  <c:v>2433734</c:v>
                </c:pt>
                <c:pt idx="418">
                  <c:v>2830351.2857142859</c:v>
                </c:pt>
                <c:pt idx="419">
                  <c:v>2851858.5714285714</c:v>
                </c:pt>
                <c:pt idx="420">
                  <c:v>2736643.5714285714</c:v>
                </c:pt>
              </c:numCache>
            </c:numRef>
          </c:val>
          <c:smooth val="0"/>
          <c:extLst>
            <c:ext xmlns:c16="http://schemas.microsoft.com/office/drawing/2014/chart" uri="{C3380CC4-5D6E-409C-BE32-E72D297353CC}">
              <c16:uniqueId val="{00000001-12A7-458E-A3C5-D0F20277190C}"/>
            </c:ext>
          </c:extLst>
        </c:ser>
        <c:dLbls>
          <c:showLegendKey val="0"/>
          <c:showVal val="0"/>
          <c:showCatName val="0"/>
          <c:showSerName val="0"/>
          <c:showPercent val="0"/>
          <c:showBubbleSize val="0"/>
        </c:dLbls>
        <c:marker val="1"/>
        <c:smooth val="0"/>
        <c:axId val="454652336"/>
        <c:axId val="454650040"/>
      </c:lineChart>
      <c:catAx>
        <c:axId val="45465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650040"/>
        <c:crosses val="autoZero"/>
        <c:auto val="1"/>
        <c:lblAlgn val="ctr"/>
        <c:lblOffset val="100"/>
        <c:noMultiLvlLbl val="0"/>
      </c:catAx>
      <c:valAx>
        <c:axId val="454650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652336"/>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scal deficit'!$B$1</c:f>
              <c:strCache>
                <c:ptCount val="1"/>
                <c:pt idx="0">
                  <c:v>FY18</c:v>
                </c:pt>
              </c:strCache>
            </c:strRef>
          </c:tx>
          <c:spPr>
            <a:solidFill>
              <a:schemeClr val="accent4"/>
            </a:solidFill>
            <a:ln>
              <a:noFill/>
            </a:ln>
            <a:effectLst/>
          </c:spPr>
          <c:invertIfNegative val="0"/>
          <c:cat>
            <c:strRef>
              <c:f>'Fiscal deficit'!$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Fiscal deficit'!$B$3:$B$14</c:f>
              <c:numCache>
                <c:formatCode>_ * #,##0_ ;_ * \-#,##0_ ;_ * "-"??_ ;_ @_ </c:formatCode>
                <c:ptCount val="12"/>
                <c:pt idx="0">
                  <c:v>2.0562200000000002</c:v>
                </c:pt>
                <c:pt idx="1">
                  <c:v>3.7336100000000001</c:v>
                </c:pt>
                <c:pt idx="2">
                  <c:v>4.4168500000000002</c:v>
                </c:pt>
                <c:pt idx="3">
                  <c:v>5.0489600000000001</c:v>
                </c:pt>
                <c:pt idx="4">
                  <c:v>5.2504499999999998</c:v>
                </c:pt>
                <c:pt idx="5">
                  <c:v>4.9893799999999997</c:v>
                </c:pt>
                <c:pt idx="6">
                  <c:v>5.2532100000000002</c:v>
                </c:pt>
                <c:pt idx="7">
                  <c:v>6.1210500000000003</c:v>
                </c:pt>
                <c:pt idx="8">
                  <c:v>6.2094899999999997</c:v>
                </c:pt>
                <c:pt idx="9">
                  <c:v>6.7655900000000004</c:v>
                </c:pt>
                <c:pt idx="10">
                  <c:v>7.1569900000000004</c:v>
                </c:pt>
                <c:pt idx="11">
                  <c:v>5.9106199999999998</c:v>
                </c:pt>
              </c:numCache>
            </c:numRef>
          </c:val>
          <c:extLst>
            <c:ext xmlns:c16="http://schemas.microsoft.com/office/drawing/2014/chart" uri="{C3380CC4-5D6E-409C-BE32-E72D297353CC}">
              <c16:uniqueId val="{00000000-1C54-457D-8AC1-4982A0473C84}"/>
            </c:ext>
          </c:extLst>
        </c:ser>
        <c:ser>
          <c:idx val="1"/>
          <c:order val="1"/>
          <c:tx>
            <c:strRef>
              <c:f>'Fiscal deficit'!$C$1</c:f>
              <c:strCache>
                <c:ptCount val="1"/>
                <c:pt idx="0">
                  <c:v>FY19</c:v>
                </c:pt>
              </c:strCache>
            </c:strRef>
          </c:tx>
          <c:spPr>
            <a:solidFill>
              <a:schemeClr val="accent3"/>
            </a:solidFill>
            <a:ln>
              <a:noFill/>
            </a:ln>
            <a:effectLst/>
          </c:spPr>
          <c:invertIfNegative val="0"/>
          <c:cat>
            <c:strRef>
              <c:f>'Fiscal deficit'!$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Fiscal deficit'!$C$3:$C$14</c:f>
              <c:numCache>
                <c:formatCode>_ * #,##0_ ;_ * \-#,##0_ ;_ * "-"??_ ;_ @_ </c:formatCode>
                <c:ptCount val="12"/>
                <c:pt idx="0">
                  <c:v>1.5196700000000001</c:v>
                </c:pt>
                <c:pt idx="1">
                  <c:v>3.4549300000000001</c:v>
                </c:pt>
                <c:pt idx="2">
                  <c:v>4.29033</c:v>
                </c:pt>
                <c:pt idx="3">
                  <c:v>5.4025699999999999</c:v>
                </c:pt>
                <c:pt idx="4">
                  <c:v>5.9129100000000001</c:v>
                </c:pt>
                <c:pt idx="5">
                  <c:v>5.9473200000000004</c:v>
                </c:pt>
                <c:pt idx="6">
                  <c:v>6.48583</c:v>
                </c:pt>
                <c:pt idx="7">
                  <c:v>7.1662499999999998</c:v>
                </c:pt>
                <c:pt idx="8">
                  <c:v>7.01457</c:v>
                </c:pt>
                <c:pt idx="9">
                  <c:v>7.70845</c:v>
                </c:pt>
                <c:pt idx="10">
                  <c:v>8.5149899999999992</c:v>
                </c:pt>
                <c:pt idx="11">
                  <c:v>6.4536699999999998</c:v>
                </c:pt>
              </c:numCache>
            </c:numRef>
          </c:val>
          <c:extLst>
            <c:ext xmlns:c16="http://schemas.microsoft.com/office/drawing/2014/chart" uri="{C3380CC4-5D6E-409C-BE32-E72D297353CC}">
              <c16:uniqueId val="{00000001-1C54-457D-8AC1-4982A0473C84}"/>
            </c:ext>
          </c:extLst>
        </c:ser>
        <c:ser>
          <c:idx val="2"/>
          <c:order val="2"/>
          <c:tx>
            <c:strRef>
              <c:f>'Fiscal deficit'!$D$1</c:f>
              <c:strCache>
                <c:ptCount val="1"/>
                <c:pt idx="0">
                  <c:v>FY20</c:v>
                </c:pt>
              </c:strCache>
            </c:strRef>
          </c:tx>
          <c:spPr>
            <a:solidFill>
              <a:schemeClr val="accent2"/>
            </a:solidFill>
            <a:ln>
              <a:noFill/>
            </a:ln>
            <a:effectLst/>
          </c:spPr>
          <c:invertIfNegative val="0"/>
          <c:cat>
            <c:strRef>
              <c:f>'Fiscal deficit'!$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Fiscal deficit'!$D$3:$D$14</c:f>
              <c:numCache>
                <c:formatCode>_ * #,##0_ ;_ * \-#,##0_ ;_ * "-"??_ ;_ @_ </c:formatCode>
                <c:ptCount val="12"/>
                <c:pt idx="0">
                  <c:v>1.5704800000000001</c:v>
                </c:pt>
                <c:pt idx="1">
                  <c:v>3.6615700000000002</c:v>
                </c:pt>
                <c:pt idx="2">
                  <c:v>4.3205499999999999</c:v>
                </c:pt>
                <c:pt idx="3">
                  <c:v>5.4760499999999999</c:v>
                </c:pt>
                <c:pt idx="4">
                  <c:v>5.5384000000000002</c:v>
                </c:pt>
                <c:pt idx="5">
                  <c:v>6.5155399999999997</c:v>
                </c:pt>
                <c:pt idx="6">
                  <c:v>7.2044499999999996</c:v>
                </c:pt>
                <c:pt idx="7">
                  <c:v>8.0783400000000007</c:v>
                </c:pt>
                <c:pt idx="8">
                  <c:v>9.3172499999999996</c:v>
                </c:pt>
                <c:pt idx="9">
                  <c:v>9.8547200000000004</c:v>
                </c:pt>
                <c:pt idx="10">
                  <c:v>10.364850000000001</c:v>
                </c:pt>
                <c:pt idx="11">
                  <c:v>9.3563500000000008</c:v>
                </c:pt>
              </c:numCache>
            </c:numRef>
          </c:val>
          <c:extLst>
            <c:ext xmlns:c16="http://schemas.microsoft.com/office/drawing/2014/chart" uri="{C3380CC4-5D6E-409C-BE32-E72D297353CC}">
              <c16:uniqueId val="{00000002-1C54-457D-8AC1-4982A0473C84}"/>
            </c:ext>
          </c:extLst>
        </c:ser>
        <c:ser>
          <c:idx val="3"/>
          <c:order val="3"/>
          <c:tx>
            <c:strRef>
              <c:f>'Fiscal deficit'!$E$1</c:f>
              <c:strCache>
                <c:ptCount val="1"/>
                <c:pt idx="0">
                  <c:v>FY21</c:v>
                </c:pt>
              </c:strCache>
            </c:strRef>
          </c:tx>
          <c:spPr>
            <a:solidFill>
              <a:schemeClr val="accent5"/>
            </a:solidFill>
            <a:ln>
              <a:noFill/>
            </a:ln>
            <a:effectLst/>
          </c:spPr>
          <c:invertIfNegative val="0"/>
          <c:cat>
            <c:strRef>
              <c:f>'Fiscal deficit'!$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Fiscal deficit'!$E$3:$E$14</c:f>
              <c:numCache>
                <c:formatCode>_ * #,##0_ ;_ * \-#,##0_ ;_ * "-"??_ ;_ @_ </c:formatCode>
                <c:ptCount val="12"/>
                <c:pt idx="0">
                  <c:v>2.7951199999999998</c:v>
                </c:pt>
                <c:pt idx="1">
                  <c:v>4.66343</c:v>
                </c:pt>
                <c:pt idx="2">
                  <c:v>6.6236300000000004</c:v>
                </c:pt>
                <c:pt idx="3">
                  <c:v>8.2134900000000002</c:v>
                </c:pt>
                <c:pt idx="4">
                  <c:v>8.7034699999999994</c:v>
                </c:pt>
                <c:pt idx="5">
                  <c:v>9.1399299999999997</c:v>
                </c:pt>
                <c:pt idx="6">
                  <c:v>9.5315399999999997</c:v>
                </c:pt>
                <c:pt idx="7">
                  <c:v>10.75507</c:v>
                </c:pt>
                <c:pt idx="8">
                  <c:v>11.58469</c:v>
                </c:pt>
                <c:pt idx="9">
                  <c:v>12.34004</c:v>
                </c:pt>
                <c:pt idx="10">
                  <c:v>14.05547</c:v>
                </c:pt>
                <c:pt idx="11">
                  <c:v>18.21461</c:v>
                </c:pt>
              </c:numCache>
            </c:numRef>
          </c:val>
          <c:extLst>
            <c:ext xmlns:c16="http://schemas.microsoft.com/office/drawing/2014/chart" uri="{C3380CC4-5D6E-409C-BE32-E72D297353CC}">
              <c16:uniqueId val="{00000003-1C54-457D-8AC1-4982A0473C84}"/>
            </c:ext>
          </c:extLst>
        </c:ser>
        <c:ser>
          <c:idx val="4"/>
          <c:order val="4"/>
          <c:tx>
            <c:strRef>
              <c:f>'Fiscal deficit'!$F$1</c:f>
              <c:strCache>
                <c:ptCount val="1"/>
                <c:pt idx="0">
                  <c:v>FY22</c:v>
                </c:pt>
              </c:strCache>
            </c:strRef>
          </c:tx>
          <c:spPr>
            <a:solidFill>
              <a:schemeClr val="accent6"/>
            </a:solidFill>
            <a:ln>
              <a:noFill/>
            </a:ln>
            <a:effectLst/>
          </c:spPr>
          <c:invertIfNegative val="0"/>
          <c:cat>
            <c:strRef>
              <c:f>'Fiscal deficit'!$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Fiscal deficit'!$F$3:$F$14</c:f>
              <c:numCache>
                <c:formatCode>_ * #,##0.0_ ;_ * \-#,##0.0_ ;_ * "-"??_ ;_ @_ </c:formatCode>
                <c:ptCount val="12"/>
                <c:pt idx="0">
                  <c:v>0.78698999999999997</c:v>
                </c:pt>
                <c:pt idx="1">
                  <c:v>1.2317400000000001</c:v>
                </c:pt>
                <c:pt idx="2">
                  <c:v>2.7424499999999998</c:v>
                </c:pt>
                <c:pt idx="3">
                  <c:v>3.21143</c:v>
                </c:pt>
                <c:pt idx="4">
                  <c:v>4.6800899999999999</c:v>
                </c:pt>
                <c:pt idx="5">
                  <c:v>5.2685199999999996</c:v>
                </c:pt>
                <c:pt idx="6">
                  <c:v>5.4702700000000002</c:v>
                </c:pt>
                <c:pt idx="7">
                  <c:v>6.9561500000000001</c:v>
                </c:pt>
                <c:pt idx="8" formatCode="_ * #,##0.00_ ;_ * \-#,##0.00_ ;_ * &quot;-&quot;??_ ;_ @_ ">
                  <c:v>7.5936599999999999</c:v>
                </c:pt>
                <c:pt idx="9" formatCode="_ * #,##0.00_ ;_ * \-#,##0.00_ ;_ * &quot;-&quot;??_ ;_ @_ ">
                  <c:v>9.3786799999999992</c:v>
                </c:pt>
                <c:pt idx="10" formatCode="_ * #,##0.00_ ;_ * \-#,##0.00_ ;_ * &quot;-&quot;??_ ;_ @_ ">
                  <c:v>13.16595</c:v>
                </c:pt>
                <c:pt idx="11" formatCode="_ * #,##0.00_ ;_ * \-#,##0.00_ ;_ * &quot;-&quot;??_ ;_ @_ ">
                  <c:v>0</c:v>
                </c:pt>
              </c:numCache>
            </c:numRef>
          </c:val>
          <c:extLst>
            <c:ext xmlns:c16="http://schemas.microsoft.com/office/drawing/2014/chart" uri="{C3380CC4-5D6E-409C-BE32-E72D297353CC}">
              <c16:uniqueId val="{00000004-1C54-457D-8AC1-4982A0473C84}"/>
            </c:ext>
          </c:extLst>
        </c:ser>
        <c:dLbls>
          <c:showLegendKey val="0"/>
          <c:showVal val="0"/>
          <c:showCatName val="0"/>
          <c:showSerName val="0"/>
          <c:showPercent val="0"/>
          <c:showBubbleSize val="0"/>
        </c:dLbls>
        <c:gapWidth val="75"/>
        <c:axId val="-1687430256"/>
        <c:axId val="-1687424816"/>
      </c:barChart>
      <c:catAx>
        <c:axId val="-1687430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24816"/>
        <c:crosses val="autoZero"/>
        <c:auto val="1"/>
        <c:lblAlgn val="ctr"/>
        <c:lblOffset val="100"/>
        <c:noMultiLvlLbl val="0"/>
      </c:catAx>
      <c:valAx>
        <c:axId val="-1687424816"/>
        <c:scaling>
          <c:orientation val="minMax"/>
        </c:scaling>
        <c:delete val="0"/>
        <c:axPos val="l"/>
        <c:majorGridlines>
          <c:spPr>
            <a:ln w="9525" cap="flat" cmpd="sng" algn="ctr">
              <a:solidFill>
                <a:schemeClr val="tx1">
                  <a:lumMod val="15000"/>
                  <a:lumOff val="85000"/>
                </a:schemeClr>
              </a:solidFill>
              <a:round/>
            </a:ln>
            <a:effectLst/>
          </c:spPr>
        </c:majorGridlines>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30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arket borrowing_charts'!$B$1</c:f>
              <c:strCache>
                <c:ptCount val="1"/>
                <c:pt idx="0">
                  <c:v>FY18</c:v>
                </c:pt>
              </c:strCache>
            </c:strRef>
          </c:tx>
          <c:spPr>
            <a:solidFill>
              <a:schemeClr val="accent4"/>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borrowing_charts'!$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Market borrowing_charts'!$B$3:$B$14</c:f>
              <c:numCache>
                <c:formatCode>0</c:formatCode>
                <c:ptCount val="12"/>
                <c:pt idx="0">
                  <c:v>0.3203474</c:v>
                </c:pt>
                <c:pt idx="1">
                  <c:v>1.2561522999999999</c:v>
                </c:pt>
                <c:pt idx="2">
                  <c:v>1.8476322000000001</c:v>
                </c:pt>
                <c:pt idx="3">
                  <c:v>2.3174353999999999</c:v>
                </c:pt>
                <c:pt idx="4">
                  <c:v>2.7539937000000001</c:v>
                </c:pt>
                <c:pt idx="5">
                  <c:v>3.5036240000000003</c:v>
                </c:pt>
                <c:pt idx="6">
                  <c:v>3.7910955999999998</c:v>
                </c:pt>
                <c:pt idx="7">
                  <c:v>3.9787959000000002</c:v>
                </c:pt>
                <c:pt idx="8">
                  <c:v>4.5051658000000003</c:v>
                </c:pt>
                <c:pt idx="9">
                  <c:v>5.008</c:v>
                </c:pt>
                <c:pt idx="10">
                  <c:v>5.1508193999999996</c:v>
                </c:pt>
                <c:pt idx="11">
                  <c:v>4.6620664999999999</c:v>
                </c:pt>
              </c:numCache>
            </c:numRef>
          </c:val>
          <c:extLst>
            <c:ext xmlns:c16="http://schemas.microsoft.com/office/drawing/2014/chart" uri="{C3380CC4-5D6E-409C-BE32-E72D297353CC}">
              <c16:uniqueId val="{00000000-A9E7-41C0-8E1B-E82AB50FFC4C}"/>
            </c:ext>
          </c:extLst>
        </c:ser>
        <c:ser>
          <c:idx val="1"/>
          <c:order val="1"/>
          <c:tx>
            <c:strRef>
              <c:f>'Market borrowing_charts'!$C$1</c:f>
              <c:strCache>
                <c:ptCount val="1"/>
                <c:pt idx="0">
                  <c:v>FY19</c:v>
                </c:pt>
              </c:strCache>
            </c:strRef>
          </c:tx>
          <c:spPr>
            <a:solidFill>
              <a:schemeClr val="accent3"/>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borrowing_charts'!$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Market borrowing_charts'!$C$3:$C$14</c:f>
              <c:numCache>
                <c:formatCode>0</c:formatCode>
                <c:ptCount val="12"/>
                <c:pt idx="0">
                  <c:v>0.101704</c:v>
                </c:pt>
                <c:pt idx="1">
                  <c:v>1.1779226</c:v>
                </c:pt>
                <c:pt idx="2">
                  <c:v>1.2752616000000001</c:v>
                </c:pt>
                <c:pt idx="3">
                  <c:v>2.2829607000000003</c:v>
                </c:pt>
                <c:pt idx="4">
                  <c:v>2.8613677000000002</c:v>
                </c:pt>
                <c:pt idx="5">
                  <c:v>3.3498774999999998</c:v>
                </c:pt>
                <c:pt idx="6">
                  <c:v>3.7682623999999998</c:v>
                </c:pt>
                <c:pt idx="7">
                  <c:v>4.0647723999999998</c:v>
                </c:pt>
                <c:pt idx="8">
                  <c:v>4.6035317999999998</c:v>
                </c:pt>
                <c:pt idx="9">
                  <c:v>4.6813425999999998</c:v>
                </c:pt>
                <c:pt idx="10">
                  <c:v>4.6202611999999998</c:v>
                </c:pt>
                <c:pt idx="11">
                  <c:v>4.3629346</c:v>
                </c:pt>
              </c:numCache>
            </c:numRef>
          </c:val>
          <c:extLst>
            <c:ext xmlns:c16="http://schemas.microsoft.com/office/drawing/2014/chart" uri="{C3380CC4-5D6E-409C-BE32-E72D297353CC}">
              <c16:uniqueId val="{00000001-A9E7-41C0-8E1B-E82AB50FFC4C}"/>
            </c:ext>
          </c:extLst>
        </c:ser>
        <c:ser>
          <c:idx val="2"/>
          <c:order val="2"/>
          <c:tx>
            <c:strRef>
              <c:f>'Market borrowing_charts'!$D$1</c:f>
              <c:strCache>
                <c:ptCount val="1"/>
                <c:pt idx="0">
                  <c:v>FY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borrowing_charts'!$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Market borrowing_charts'!$D$3:$D$14</c:f>
              <c:numCache>
                <c:formatCode>0</c:formatCode>
                <c:ptCount val="12"/>
                <c:pt idx="0">
                  <c:v>1.2639246</c:v>
                </c:pt>
                <c:pt idx="1">
                  <c:v>2.3478273000000001</c:v>
                </c:pt>
                <c:pt idx="2">
                  <c:v>2.5408192000000001</c:v>
                </c:pt>
                <c:pt idx="3">
                  <c:v>2.9656001000000001</c:v>
                </c:pt>
                <c:pt idx="4">
                  <c:v>4.0429244999999998</c:v>
                </c:pt>
                <c:pt idx="5">
                  <c:v>4.7825302000000001</c:v>
                </c:pt>
                <c:pt idx="6">
                  <c:v>4.9985615999999995</c:v>
                </c:pt>
                <c:pt idx="7">
                  <c:v>5.5152985999999995</c:v>
                </c:pt>
                <c:pt idx="8">
                  <c:v>6.4518469999999999</c:v>
                </c:pt>
                <c:pt idx="9">
                  <c:v>6.1079318999999996</c:v>
                </c:pt>
                <c:pt idx="10">
                  <c:v>5.5403777999999999</c:v>
                </c:pt>
                <c:pt idx="11">
                  <c:v>5.5586595999999995</c:v>
                </c:pt>
              </c:numCache>
            </c:numRef>
          </c:val>
          <c:extLst>
            <c:ext xmlns:c16="http://schemas.microsoft.com/office/drawing/2014/chart" uri="{C3380CC4-5D6E-409C-BE32-E72D297353CC}">
              <c16:uniqueId val="{00000002-A9E7-41C0-8E1B-E82AB50FFC4C}"/>
            </c:ext>
          </c:extLst>
        </c:ser>
        <c:ser>
          <c:idx val="3"/>
          <c:order val="3"/>
          <c:tx>
            <c:strRef>
              <c:f>'Market borrowing_charts'!$E$1</c:f>
              <c:strCache>
                <c:ptCount val="1"/>
                <c:pt idx="0">
                  <c:v>FY21</c:v>
                </c:pt>
              </c:strCache>
            </c:strRef>
          </c:tx>
          <c:spPr>
            <a:solidFill>
              <a:schemeClr val="accent5"/>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borrowing_charts'!$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Market borrowing_charts'!$E$3:$E$14</c:f>
              <c:numCache>
                <c:formatCode>0</c:formatCode>
                <c:ptCount val="12"/>
                <c:pt idx="0">
                  <c:v>0.96084130000000001</c:v>
                </c:pt>
                <c:pt idx="1">
                  <c:v>2.6388353999999996</c:v>
                </c:pt>
                <c:pt idx="2">
                  <c:v>5.5064056999999993</c:v>
                </c:pt>
                <c:pt idx="3">
                  <c:v>7.7198772999999994</c:v>
                </c:pt>
                <c:pt idx="4">
                  <c:v>9.7438900000000004</c:v>
                </c:pt>
                <c:pt idx="5">
                  <c:v>11.1130391</c:v>
                </c:pt>
                <c:pt idx="6">
                  <c:v>11.5379983</c:v>
                </c:pt>
                <c:pt idx="7">
                  <c:v>12.15794</c:v>
                </c:pt>
                <c:pt idx="8">
                  <c:v>12.326370000000001</c:v>
                </c:pt>
                <c:pt idx="9">
                  <c:v>12.8209322</c:v>
                </c:pt>
                <c:pt idx="10">
                  <c:v>13.56751</c:v>
                </c:pt>
                <c:pt idx="11">
                  <c:v>13.197380000000001</c:v>
                </c:pt>
              </c:numCache>
            </c:numRef>
          </c:val>
          <c:extLst>
            <c:ext xmlns:c16="http://schemas.microsoft.com/office/drawing/2014/chart" uri="{C3380CC4-5D6E-409C-BE32-E72D297353CC}">
              <c16:uniqueId val="{00000003-A9E7-41C0-8E1B-E82AB50FFC4C}"/>
            </c:ext>
          </c:extLst>
        </c:ser>
        <c:ser>
          <c:idx val="4"/>
          <c:order val="4"/>
          <c:tx>
            <c:strRef>
              <c:f>'Market borrowing_charts'!$F$1</c:f>
              <c:strCache>
                <c:ptCount val="1"/>
                <c:pt idx="0">
                  <c:v>FY22</c:v>
                </c:pt>
              </c:strCache>
            </c:strRef>
          </c:tx>
          <c:spPr>
            <a:solidFill>
              <a:schemeClr val="accent6"/>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borrowing_charts'!$A$3:$A$14</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Market borrowing_charts'!$F$3:$F$14</c:f>
              <c:numCache>
                <c:formatCode>0</c:formatCode>
                <c:ptCount val="12"/>
                <c:pt idx="0">
                  <c:v>0.51924999999999999</c:v>
                </c:pt>
                <c:pt idx="1">
                  <c:v>1.8934500000000001</c:v>
                </c:pt>
                <c:pt idx="2">
                  <c:v>3.46991</c:v>
                </c:pt>
                <c:pt idx="3">
                  <c:v>3.5624699999999998</c:v>
                </c:pt>
                <c:pt idx="4">
                  <c:v>4.4610500000000002</c:v>
                </c:pt>
                <c:pt idx="5">
                  <c:v>4.7819900000000004</c:v>
                </c:pt>
                <c:pt idx="6">
                  <c:v>5.0525500000000001</c:v>
                </c:pt>
                <c:pt idx="7">
                  <c:v>5.40069</c:v>
                </c:pt>
                <c:pt idx="8">
                  <c:v>5.5619899999999998</c:v>
                </c:pt>
                <c:pt idx="9">
                  <c:v>7.4922599999999999</c:v>
                </c:pt>
                <c:pt idx="10">
                  <c:v>8.7691800000000004</c:v>
                </c:pt>
              </c:numCache>
            </c:numRef>
          </c:val>
          <c:extLst>
            <c:ext xmlns:c16="http://schemas.microsoft.com/office/drawing/2014/chart" uri="{C3380CC4-5D6E-409C-BE32-E72D297353CC}">
              <c16:uniqueId val="{00000004-A9E7-41C0-8E1B-E82AB50FFC4C}"/>
            </c:ext>
          </c:extLst>
        </c:ser>
        <c:dLbls>
          <c:dLblPos val="outEnd"/>
          <c:showLegendKey val="0"/>
          <c:showVal val="1"/>
          <c:showCatName val="0"/>
          <c:showSerName val="0"/>
          <c:showPercent val="0"/>
          <c:showBubbleSize val="0"/>
        </c:dLbls>
        <c:gapWidth val="75"/>
        <c:axId val="-1687411760"/>
        <c:axId val="-1687437328"/>
      </c:barChart>
      <c:catAx>
        <c:axId val="-1687411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37328"/>
        <c:crosses val="autoZero"/>
        <c:auto val="1"/>
        <c:lblAlgn val="ctr"/>
        <c:lblOffset val="100"/>
        <c:noMultiLvlLbl val="0"/>
      </c:catAx>
      <c:valAx>
        <c:axId val="-16874373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11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5!$I$4</c:f>
              <c:strCache>
                <c:ptCount val="1"/>
                <c:pt idx="0">
                  <c:v>Gvernment reciepts (INR lakh cror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G$9:$H$24</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E</c:v>
                  </c:pt>
                </c:lvl>
                <c:lvl>
                  <c:pt idx="0">
                    <c:v>FY19</c:v>
                  </c:pt>
                  <c:pt idx="4">
                    <c:v>FY20</c:v>
                  </c:pt>
                  <c:pt idx="8">
                    <c:v>FY21</c:v>
                  </c:pt>
                  <c:pt idx="12">
                    <c:v>FY22</c:v>
                  </c:pt>
                </c:lvl>
              </c:multiLvlStrCache>
            </c:multiLvlStrRef>
          </c:cat>
          <c:val>
            <c:numRef>
              <c:f>Sheet5!$I$9:$I$24</c:f>
              <c:numCache>
                <c:formatCode>_ * #,##0.0_ ;_ * \-#,##0.0_ ;_ * "-"??_ ;_ @_ </c:formatCode>
                <c:ptCount val="16"/>
                <c:pt idx="0">
                  <c:v>2.7861400000000001</c:v>
                </c:pt>
                <c:pt idx="1">
                  <c:v>4.3086900000000004</c:v>
                </c:pt>
                <c:pt idx="2">
                  <c:v>4.2109299999999994</c:v>
                </c:pt>
                <c:pt idx="3">
                  <c:v>5.3547899999999995</c:v>
                </c:pt>
                <c:pt idx="4">
                  <c:v>2.8964999999999996</c:v>
                </c:pt>
                <c:pt idx="5">
                  <c:v>5.4741499999999998</c:v>
                </c:pt>
                <c:pt idx="6">
                  <c:v>3.4085700000000001</c:v>
                </c:pt>
                <c:pt idx="7">
                  <c:v>5.7280500000000005</c:v>
                </c:pt>
                <c:pt idx="8">
                  <c:v>1.50373</c:v>
                </c:pt>
                <c:pt idx="9">
                  <c:v>4.0077400000000001</c:v>
                </c:pt>
                <c:pt idx="10">
                  <c:v>5.5275499999999997</c:v>
                </c:pt>
                <c:pt idx="11">
                  <c:v>5.6804199999999998</c:v>
                </c:pt>
                <c:pt idx="12">
                  <c:v>5.3999699999999997</c:v>
                </c:pt>
                <c:pt idx="13">
                  <c:v>5.4105100000000004</c:v>
                </c:pt>
                <c:pt idx="14">
                  <c:v>9.7826249999999995</c:v>
                </c:pt>
                <c:pt idx="15">
                  <c:v>0.86691000000000007</c:v>
                </c:pt>
              </c:numCache>
            </c:numRef>
          </c:val>
          <c:extLst>
            <c:ext xmlns:c16="http://schemas.microsoft.com/office/drawing/2014/chart" uri="{C3380CC4-5D6E-409C-BE32-E72D297353CC}">
              <c16:uniqueId val="{00000000-F811-4185-9F7B-0028B5586D62}"/>
            </c:ext>
          </c:extLst>
        </c:ser>
        <c:dLbls>
          <c:showLegendKey val="0"/>
          <c:showVal val="1"/>
          <c:showCatName val="0"/>
          <c:showSerName val="0"/>
          <c:showPercent val="0"/>
          <c:showBubbleSize val="0"/>
        </c:dLbls>
        <c:gapWidth val="75"/>
        <c:axId val="-1687426448"/>
        <c:axId val="-1687417744"/>
      </c:barChart>
      <c:lineChart>
        <c:grouping val="standard"/>
        <c:varyColors val="0"/>
        <c:ser>
          <c:idx val="1"/>
          <c:order val="1"/>
          <c:tx>
            <c:strRef>
              <c:f>Sheet5!$J$4</c:f>
              <c:strCache>
                <c:ptCount val="1"/>
                <c:pt idx="0">
                  <c:v>% y-o-y</c:v>
                </c:pt>
              </c:strCache>
            </c:strRef>
          </c:tx>
          <c:spPr>
            <a:ln w="28575" cap="rnd">
              <a:solidFill>
                <a:srgbClr val="FF0000"/>
              </a:solidFill>
              <a:round/>
            </a:ln>
            <a:effectLst/>
          </c:spPr>
          <c:marker>
            <c:symbol val="circle"/>
            <c:size val="5"/>
            <c:spPr>
              <a:solidFill>
                <a:srgbClr val="FF0000"/>
              </a:solidFill>
              <a:ln w="9525">
                <a:noFill/>
              </a:ln>
              <a:effectLst/>
            </c:spPr>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5!$G$9:$H$24</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E</c:v>
                  </c:pt>
                </c:lvl>
                <c:lvl>
                  <c:pt idx="0">
                    <c:v>FY19</c:v>
                  </c:pt>
                  <c:pt idx="4">
                    <c:v>FY20</c:v>
                  </c:pt>
                  <c:pt idx="8">
                    <c:v>FY21</c:v>
                  </c:pt>
                  <c:pt idx="12">
                    <c:v>FY22</c:v>
                  </c:pt>
                </c:lvl>
              </c:multiLvlStrCache>
            </c:multiLvlStrRef>
          </c:cat>
          <c:val>
            <c:numRef>
              <c:f>Sheet5!$J$9:$J$24</c:f>
              <c:numCache>
                <c:formatCode>0%</c:formatCode>
                <c:ptCount val="16"/>
                <c:pt idx="0">
                  <c:v>0.33278799881365817</c:v>
                </c:pt>
                <c:pt idx="1">
                  <c:v>-2.3422324870864264E-2</c:v>
                </c:pt>
                <c:pt idx="2">
                  <c:v>-1.5578938509481E-2</c:v>
                </c:pt>
                <c:pt idx="3">
                  <c:v>0.13267999847700906</c:v>
                </c:pt>
                <c:pt idx="4">
                  <c:v>3.9610356981343298E-2</c:v>
                </c:pt>
                <c:pt idx="5">
                  <c:v>0.27049056673838212</c:v>
                </c:pt>
                <c:pt idx="6">
                  <c:v>-0.19054223176352958</c:v>
                </c:pt>
                <c:pt idx="7">
                  <c:v>6.9705814793857623E-2</c:v>
                </c:pt>
                <c:pt idx="8">
                  <c:v>-0.48084584843776967</c:v>
                </c:pt>
                <c:pt idx="9">
                  <c:v>-0.26787903144780467</c:v>
                </c:pt>
                <c:pt idx="10">
                  <c:v>0.62166245669004883</c:v>
                </c:pt>
                <c:pt idx="11">
                  <c:v>-8.3152207121098831E-3</c:v>
                </c:pt>
                <c:pt idx="12">
                  <c:v>2.5910502550324859</c:v>
                </c:pt>
                <c:pt idx="13">
                  <c:v>0.35001522054823919</c:v>
                </c:pt>
                <c:pt idx="14">
                  <c:v>0.76979403171386962</c:v>
                </c:pt>
                <c:pt idx="15">
                  <c:v>-0.77107942722545153</c:v>
                </c:pt>
              </c:numCache>
            </c:numRef>
          </c:val>
          <c:smooth val="1"/>
          <c:extLst>
            <c:ext xmlns:c16="http://schemas.microsoft.com/office/drawing/2014/chart" uri="{C3380CC4-5D6E-409C-BE32-E72D297353CC}">
              <c16:uniqueId val="{00000001-F811-4185-9F7B-0028B5586D62}"/>
            </c:ext>
          </c:extLst>
        </c:ser>
        <c:dLbls>
          <c:showLegendKey val="0"/>
          <c:showVal val="1"/>
          <c:showCatName val="0"/>
          <c:showSerName val="0"/>
          <c:showPercent val="0"/>
          <c:showBubbleSize val="0"/>
        </c:dLbls>
        <c:marker val="1"/>
        <c:smooth val="0"/>
        <c:axId val="-1687417200"/>
        <c:axId val="-1687406320"/>
      </c:lineChart>
      <c:catAx>
        <c:axId val="-1687426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17744"/>
        <c:crosses val="autoZero"/>
        <c:auto val="1"/>
        <c:lblAlgn val="ctr"/>
        <c:lblOffset val="100"/>
        <c:noMultiLvlLbl val="0"/>
      </c:catAx>
      <c:valAx>
        <c:axId val="-1687417744"/>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26448"/>
        <c:crosses val="autoZero"/>
        <c:crossBetween val="between"/>
      </c:valAx>
      <c:valAx>
        <c:axId val="-1687406320"/>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17200"/>
        <c:crosses val="max"/>
        <c:crossBetween val="between"/>
      </c:valAx>
      <c:catAx>
        <c:axId val="-1687417200"/>
        <c:scaling>
          <c:orientation val="minMax"/>
        </c:scaling>
        <c:delete val="1"/>
        <c:axPos val="b"/>
        <c:numFmt formatCode="General" sourceLinked="1"/>
        <c:majorTickMark val="out"/>
        <c:minorTickMark val="none"/>
        <c:tickLblPos val="nextTo"/>
        <c:crossAx val="-1687406320"/>
        <c:crossesAt val="0"/>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I$4</c:f>
              <c:strCache>
                <c:ptCount val="1"/>
                <c:pt idx="0">
                  <c:v>Capital Expenditure (INR trn)</c:v>
                </c:pt>
              </c:strCache>
            </c:strRef>
          </c:tx>
          <c:spPr>
            <a:solidFill>
              <a:schemeClr val="accent2"/>
            </a:solidFill>
            <a:ln>
              <a:noFill/>
            </a:ln>
            <a:effectLst/>
          </c:spPr>
          <c:invertIfNegative val="0"/>
          <c:dLbls>
            <c:dLbl>
              <c:idx val="11"/>
              <c:layout>
                <c:manualLayout>
                  <c:x val="0"/>
                  <c:y val="9.25925925925925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44-4989-ABF1-BB5B39DFFE05}"/>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F$9:$G$24</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E</c:v>
                  </c:pt>
                </c:lvl>
                <c:lvl>
                  <c:pt idx="0">
                    <c:v>FY19</c:v>
                  </c:pt>
                  <c:pt idx="4">
                    <c:v>FY20</c:v>
                  </c:pt>
                  <c:pt idx="8">
                    <c:v>FY21</c:v>
                  </c:pt>
                  <c:pt idx="12">
                    <c:v>FY22</c:v>
                  </c:pt>
                </c:lvl>
              </c:multiLvlStrCache>
            </c:multiLvlStrRef>
          </c:cat>
          <c:val>
            <c:numRef>
              <c:f>Sheet1!$I$9:$I$24</c:f>
              <c:numCache>
                <c:formatCode>_ * #,##0.0_ ;_ * \-#,##0.0_ ;_ * "-"??_ ;_ @_ </c:formatCode>
                <c:ptCount val="16"/>
                <c:pt idx="0">
                  <c:v>0.86987999999999999</c:v>
                </c:pt>
                <c:pt idx="1">
                  <c:v>0.75641000000000003</c:v>
                </c:pt>
                <c:pt idx="2">
                  <c:v>0.49192999999999998</c:v>
                </c:pt>
                <c:pt idx="3">
                  <c:v>0.91137000000000001</c:v>
                </c:pt>
                <c:pt idx="4">
                  <c:v>0.62999999999999989</c:v>
                </c:pt>
                <c:pt idx="5">
                  <c:v>1.2453699999999999</c:v>
                </c:pt>
                <c:pt idx="6">
                  <c:v>0.67985000000000007</c:v>
                </c:pt>
                <c:pt idx="7">
                  <c:v>0.81221999999999994</c:v>
                </c:pt>
                <c:pt idx="8">
                  <c:v>0.88273000000000001</c:v>
                </c:pt>
                <c:pt idx="9">
                  <c:v>0.77563000000000004</c:v>
                </c:pt>
                <c:pt idx="10">
                  <c:v>1.6406800000000001</c:v>
                </c:pt>
                <c:pt idx="11">
                  <c:v>2.0990799999999998</c:v>
                </c:pt>
                <c:pt idx="12">
                  <c:v>1.11496</c:v>
                </c:pt>
                <c:pt idx="13">
                  <c:v>1.17855</c:v>
                </c:pt>
                <c:pt idx="14">
                  <c:v>1.62293</c:v>
                </c:pt>
                <c:pt idx="15">
                  <c:v>1.4030550000000002</c:v>
                </c:pt>
              </c:numCache>
            </c:numRef>
          </c:val>
          <c:extLst>
            <c:ext xmlns:c16="http://schemas.microsoft.com/office/drawing/2014/chart" uri="{C3380CC4-5D6E-409C-BE32-E72D297353CC}">
              <c16:uniqueId val="{00000001-C444-4989-ABF1-BB5B39DFFE05}"/>
            </c:ext>
          </c:extLst>
        </c:ser>
        <c:ser>
          <c:idx val="0"/>
          <c:order val="1"/>
          <c:tx>
            <c:strRef>
              <c:f>Sheet1!$H$4</c:f>
              <c:strCache>
                <c:ptCount val="1"/>
                <c:pt idx="0">
                  <c:v>Revenue Expenditure (INR trn)</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F$9:$G$24</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E</c:v>
                  </c:pt>
                </c:lvl>
                <c:lvl>
                  <c:pt idx="0">
                    <c:v>FY19</c:v>
                  </c:pt>
                  <c:pt idx="4">
                    <c:v>FY20</c:v>
                  </c:pt>
                  <c:pt idx="8">
                    <c:v>FY21</c:v>
                  </c:pt>
                  <c:pt idx="12">
                    <c:v>FY22</c:v>
                  </c:pt>
                </c:lvl>
              </c:multiLvlStrCache>
            </c:multiLvlStrRef>
          </c:cat>
          <c:val>
            <c:numRef>
              <c:f>Sheet1!$H$9:$H$24</c:f>
              <c:numCache>
                <c:formatCode>_ * #,##0.0_ ;_ * \-#,##0.0_ ;_ * "-"??_ ;_ @_ </c:formatCode>
                <c:ptCount val="16"/>
                <c:pt idx="0">
                  <c:v>6.2065900000000003</c:v>
                </c:pt>
                <c:pt idx="1">
                  <c:v>5.2092700000000001</c:v>
                </c:pt>
                <c:pt idx="2">
                  <c:v>4.7862499999999999</c:v>
                </c:pt>
                <c:pt idx="3">
                  <c:v>3.88252</c:v>
                </c:pt>
                <c:pt idx="4">
                  <c:v>6.5870499999999996</c:v>
                </c:pt>
                <c:pt idx="5">
                  <c:v>6.4237699999999993</c:v>
                </c:pt>
                <c:pt idx="6">
                  <c:v>5.53043</c:v>
                </c:pt>
                <c:pt idx="7">
                  <c:v>4.9549300000000001</c:v>
                </c:pt>
                <c:pt idx="8">
                  <c:v>7.2767099999999996</c:v>
                </c:pt>
                <c:pt idx="9">
                  <c:v>5.8590300000000006</c:v>
                </c:pt>
                <c:pt idx="10">
                  <c:v>6.57599</c:v>
                </c:pt>
                <c:pt idx="11">
                  <c:v>11.151869999999999</c:v>
                </c:pt>
                <c:pt idx="12">
                  <c:v>7.1014799999999996</c:v>
                </c:pt>
                <c:pt idx="13">
                  <c:v>6.8651800000000005</c:v>
                </c:pt>
                <c:pt idx="14">
                  <c:v>7.3274800000000004</c:v>
                </c:pt>
                <c:pt idx="15">
                  <c:v>7.9391999999999996</c:v>
                </c:pt>
              </c:numCache>
            </c:numRef>
          </c:val>
          <c:extLst>
            <c:ext xmlns:c16="http://schemas.microsoft.com/office/drawing/2014/chart" uri="{C3380CC4-5D6E-409C-BE32-E72D297353CC}">
              <c16:uniqueId val="{00000002-C444-4989-ABF1-BB5B39DFFE05}"/>
            </c:ext>
          </c:extLst>
        </c:ser>
        <c:dLbls>
          <c:showLegendKey val="0"/>
          <c:showVal val="1"/>
          <c:showCatName val="0"/>
          <c:showSerName val="0"/>
          <c:showPercent val="0"/>
          <c:showBubbleSize val="0"/>
        </c:dLbls>
        <c:gapWidth val="75"/>
        <c:overlap val="100"/>
        <c:axId val="-1687418832"/>
        <c:axId val="-1687438416"/>
      </c:barChart>
      <c:lineChart>
        <c:grouping val="standard"/>
        <c:varyColors val="0"/>
        <c:ser>
          <c:idx val="3"/>
          <c:order val="2"/>
          <c:tx>
            <c:strRef>
              <c:f>Sheet1!$K$4</c:f>
              <c:strCache>
                <c:ptCount val="1"/>
                <c:pt idx="0">
                  <c:v>% growth y-o-y of total expenditur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F$9:$G$24</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E</c:v>
                  </c:pt>
                </c:lvl>
                <c:lvl>
                  <c:pt idx="0">
                    <c:v>FY19</c:v>
                  </c:pt>
                  <c:pt idx="4">
                    <c:v>FY20</c:v>
                  </c:pt>
                  <c:pt idx="8">
                    <c:v>FY21</c:v>
                  </c:pt>
                  <c:pt idx="12">
                    <c:v>FY22</c:v>
                  </c:pt>
                </c:lvl>
              </c:multiLvlStrCache>
            </c:multiLvlStrRef>
          </c:cat>
          <c:val>
            <c:numRef>
              <c:f>Sheet1!$K$9:$K$24</c:f>
              <c:numCache>
                <c:formatCode>0%</c:formatCode>
                <c:ptCount val="16"/>
                <c:pt idx="0">
                  <c:v>8.7464712761494479E-2</c:v>
                </c:pt>
                <c:pt idx="1">
                  <c:v>0.19683181664981442</c:v>
                </c:pt>
                <c:pt idx="2">
                  <c:v>-3.9925932393300556E-2</c:v>
                </c:pt>
                <c:pt idx="3">
                  <c:v>8.246719669787983E-2</c:v>
                </c:pt>
                <c:pt idx="4">
                  <c:v>1.9865837062829295E-2</c:v>
                </c:pt>
                <c:pt idx="5">
                  <c:v>0.28554330772015923</c:v>
                </c:pt>
                <c:pt idx="6">
                  <c:v>0.17659496265758268</c:v>
                </c:pt>
                <c:pt idx="7">
                  <c:v>0.20302092872385469</c:v>
                </c:pt>
                <c:pt idx="8">
                  <c:v>0.13057828337062927</c:v>
                </c:pt>
                <c:pt idx="9">
                  <c:v>-0.1348886576591376</c:v>
                </c:pt>
                <c:pt idx="10">
                  <c:v>0.32307561011741837</c:v>
                </c:pt>
                <c:pt idx="11">
                  <c:v>1.2976600227148589</c:v>
                </c:pt>
                <c:pt idx="12">
                  <c:v>6.9857735334775128E-3</c:v>
                </c:pt>
                <c:pt idx="13">
                  <c:v>0.21238013703791903</c:v>
                </c:pt>
                <c:pt idx="14">
                  <c:v>8.9298949574462494E-2</c:v>
                </c:pt>
                <c:pt idx="15">
                  <c:v>-0.29497469992717507</c:v>
                </c:pt>
              </c:numCache>
            </c:numRef>
          </c:val>
          <c:smooth val="1"/>
          <c:extLst>
            <c:ext xmlns:c16="http://schemas.microsoft.com/office/drawing/2014/chart" uri="{C3380CC4-5D6E-409C-BE32-E72D297353CC}">
              <c16:uniqueId val="{00000003-C444-4989-ABF1-BB5B39DFFE05}"/>
            </c:ext>
          </c:extLst>
        </c:ser>
        <c:dLbls>
          <c:showLegendKey val="0"/>
          <c:showVal val="1"/>
          <c:showCatName val="0"/>
          <c:showSerName val="0"/>
          <c:showPercent val="0"/>
          <c:showBubbleSize val="0"/>
        </c:dLbls>
        <c:marker val="1"/>
        <c:smooth val="0"/>
        <c:axId val="-1687435696"/>
        <c:axId val="-1687407408"/>
      </c:lineChart>
      <c:catAx>
        <c:axId val="-1687418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38416"/>
        <c:crosses val="autoZero"/>
        <c:auto val="1"/>
        <c:lblAlgn val="ctr"/>
        <c:lblOffset val="100"/>
        <c:noMultiLvlLbl val="0"/>
      </c:catAx>
      <c:valAx>
        <c:axId val="-1687438416"/>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18832"/>
        <c:crosses val="autoZero"/>
        <c:crossBetween val="between"/>
      </c:valAx>
      <c:valAx>
        <c:axId val="-1687407408"/>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87435696"/>
        <c:crosses val="max"/>
        <c:crossBetween val="between"/>
      </c:valAx>
      <c:catAx>
        <c:axId val="-1687435696"/>
        <c:scaling>
          <c:orientation val="minMax"/>
        </c:scaling>
        <c:delete val="1"/>
        <c:axPos val="b"/>
        <c:numFmt formatCode="General" sourceLinked="1"/>
        <c:majorTickMark val="out"/>
        <c:minorTickMark val="none"/>
        <c:tickLblPos val="nextTo"/>
        <c:crossAx val="-168740740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harts!$D$1</c:f>
              <c:strCache>
                <c:ptCount val="1"/>
                <c:pt idx="0">
                  <c:v>retail_and_recreation</c:v>
                </c:pt>
              </c:strCache>
            </c:strRef>
          </c:tx>
          <c:spPr>
            <a:ln w="28575" cap="rnd">
              <a:solidFill>
                <a:srgbClr val="00B0F0"/>
              </a:solidFill>
              <a:round/>
            </a:ln>
            <a:effectLst/>
          </c:spPr>
          <c:marker>
            <c:symbol val="none"/>
          </c:marker>
          <c:cat>
            <c:multiLvlStrRef>
              <c:f>charts!$A$2:$C$757</c:f>
              <c:multiLvlStrCache>
                <c:ptCount val="756"/>
                <c:lvl>
                  <c:pt idx="0">
                    <c:v>1-Mar</c:v>
                  </c:pt>
                  <c:pt idx="1">
                    <c:v>2-Mar</c:v>
                  </c:pt>
                  <c:pt idx="2">
                    <c:v>3-Mar</c:v>
                  </c:pt>
                  <c:pt idx="3">
                    <c:v>4-Mar</c:v>
                  </c:pt>
                  <c:pt idx="4">
                    <c:v>5-Mar</c:v>
                  </c:pt>
                  <c:pt idx="5">
                    <c:v>6-Mar</c:v>
                  </c:pt>
                  <c:pt idx="6">
                    <c:v>7-Mar</c:v>
                  </c:pt>
                  <c:pt idx="7">
                    <c:v>8-Mar</c:v>
                  </c:pt>
                  <c:pt idx="8">
                    <c:v>9-Mar</c:v>
                  </c:pt>
                  <c:pt idx="9">
                    <c:v>10-Mar</c:v>
                  </c:pt>
                  <c:pt idx="10">
                    <c:v>11-Mar</c:v>
                  </c:pt>
                  <c:pt idx="11">
                    <c:v>12-Mar</c:v>
                  </c:pt>
                  <c:pt idx="12">
                    <c:v>13-Mar</c:v>
                  </c:pt>
                  <c:pt idx="13">
                    <c:v>14-Mar</c:v>
                  </c:pt>
                  <c:pt idx="14">
                    <c:v>15-Mar</c:v>
                  </c:pt>
                  <c:pt idx="15">
                    <c:v>16-Mar</c:v>
                  </c:pt>
                  <c:pt idx="16">
                    <c:v>17-Mar</c:v>
                  </c:pt>
                  <c:pt idx="17">
                    <c:v>18-Mar</c:v>
                  </c:pt>
                  <c:pt idx="18">
                    <c:v>19-Mar</c:v>
                  </c:pt>
                  <c:pt idx="19">
                    <c:v>20-Mar</c:v>
                  </c:pt>
                  <c:pt idx="20">
                    <c:v>21-Mar</c:v>
                  </c:pt>
                  <c:pt idx="21">
                    <c:v>22-Mar</c:v>
                  </c:pt>
                  <c:pt idx="22">
                    <c:v>23-Mar</c:v>
                  </c:pt>
                  <c:pt idx="23">
                    <c:v>24-Mar</c:v>
                  </c:pt>
                  <c:pt idx="24">
                    <c:v>25-Mar</c:v>
                  </c:pt>
                  <c:pt idx="25">
                    <c:v>26-Mar</c:v>
                  </c:pt>
                  <c:pt idx="26">
                    <c:v>27-Mar</c:v>
                  </c:pt>
                  <c:pt idx="27">
                    <c:v>28-Mar</c:v>
                  </c:pt>
                  <c:pt idx="28">
                    <c:v>29-Mar</c:v>
                  </c:pt>
                  <c:pt idx="29">
                    <c:v>30-Mar</c:v>
                  </c:pt>
                  <c:pt idx="30">
                    <c:v>31-Mar</c:v>
                  </c:pt>
                  <c:pt idx="31">
                    <c:v>1-Apr</c:v>
                  </c:pt>
                  <c:pt idx="32">
                    <c:v>2-Apr</c:v>
                  </c:pt>
                  <c:pt idx="33">
                    <c:v>3-Apr</c:v>
                  </c:pt>
                  <c:pt idx="34">
                    <c:v>4-Apr</c:v>
                  </c:pt>
                  <c:pt idx="35">
                    <c:v>5-Apr</c:v>
                  </c:pt>
                  <c:pt idx="36">
                    <c:v>6-Apr</c:v>
                  </c:pt>
                  <c:pt idx="37">
                    <c:v>7-Apr</c:v>
                  </c:pt>
                  <c:pt idx="38">
                    <c:v>8-Apr</c:v>
                  </c:pt>
                  <c:pt idx="39">
                    <c:v>9-Apr</c:v>
                  </c:pt>
                  <c:pt idx="40">
                    <c:v>10-Apr</c:v>
                  </c:pt>
                  <c:pt idx="41">
                    <c:v>11-Apr</c:v>
                  </c:pt>
                  <c:pt idx="42">
                    <c:v>12-Apr</c:v>
                  </c:pt>
                  <c:pt idx="43">
                    <c:v>13-Apr</c:v>
                  </c:pt>
                  <c:pt idx="44">
                    <c:v>14-Apr</c:v>
                  </c:pt>
                  <c:pt idx="45">
                    <c:v>15-Apr</c:v>
                  </c:pt>
                  <c:pt idx="46">
                    <c:v>16-Apr</c:v>
                  </c:pt>
                  <c:pt idx="47">
                    <c:v>17-Apr</c:v>
                  </c:pt>
                  <c:pt idx="48">
                    <c:v>18-Apr</c:v>
                  </c:pt>
                  <c:pt idx="49">
                    <c:v>19-Apr</c:v>
                  </c:pt>
                  <c:pt idx="50">
                    <c:v>20-Apr</c:v>
                  </c:pt>
                  <c:pt idx="51">
                    <c:v>21-Apr</c:v>
                  </c:pt>
                  <c:pt idx="52">
                    <c:v>22-Apr</c:v>
                  </c:pt>
                  <c:pt idx="53">
                    <c:v>23-Apr</c:v>
                  </c:pt>
                  <c:pt idx="54">
                    <c:v>24-Apr</c:v>
                  </c:pt>
                  <c:pt idx="55">
                    <c:v>25-Apr</c:v>
                  </c:pt>
                  <c:pt idx="56">
                    <c:v>26-Apr</c:v>
                  </c:pt>
                  <c:pt idx="57">
                    <c:v>27-Apr</c:v>
                  </c:pt>
                  <c:pt idx="58">
                    <c:v>28-Apr</c:v>
                  </c:pt>
                  <c:pt idx="59">
                    <c:v>29-Apr</c:v>
                  </c:pt>
                  <c:pt idx="60">
                    <c:v>30-Apr</c:v>
                  </c:pt>
                  <c:pt idx="61">
                    <c:v>1-May</c:v>
                  </c:pt>
                  <c:pt idx="62">
                    <c:v>2-May</c:v>
                  </c:pt>
                  <c:pt idx="63">
                    <c:v>3-May</c:v>
                  </c:pt>
                  <c:pt idx="64">
                    <c:v>4-May</c:v>
                  </c:pt>
                  <c:pt idx="65">
                    <c:v>5-May</c:v>
                  </c:pt>
                  <c:pt idx="66">
                    <c:v>6-May</c:v>
                  </c:pt>
                  <c:pt idx="67">
                    <c:v>7-May</c:v>
                  </c:pt>
                  <c:pt idx="68">
                    <c:v>8-May</c:v>
                  </c:pt>
                  <c:pt idx="69">
                    <c:v>9-May</c:v>
                  </c:pt>
                  <c:pt idx="70">
                    <c:v>10-May</c:v>
                  </c:pt>
                  <c:pt idx="71">
                    <c:v>11-May</c:v>
                  </c:pt>
                  <c:pt idx="72">
                    <c:v>12-May</c:v>
                  </c:pt>
                  <c:pt idx="73">
                    <c:v>13-May</c:v>
                  </c:pt>
                  <c:pt idx="74">
                    <c:v>14-May</c:v>
                  </c:pt>
                  <c:pt idx="75">
                    <c:v>15-May</c:v>
                  </c:pt>
                  <c:pt idx="76">
                    <c:v>16-May</c:v>
                  </c:pt>
                  <c:pt idx="77">
                    <c:v>17-May</c:v>
                  </c:pt>
                  <c:pt idx="78">
                    <c:v>18-May</c:v>
                  </c:pt>
                  <c:pt idx="79">
                    <c:v>19-May</c:v>
                  </c:pt>
                  <c:pt idx="80">
                    <c:v>20-May</c:v>
                  </c:pt>
                  <c:pt idx="81">
                    <c:v>21-May</c:v>
                  </c:pt>
                  <c:pt idx="82">
                    <c:v>22-May</c:v>
                  </c:pt>
                  <c:pt idx="83">
                    <c:v>23-May</c:v>
                  </c:pt>
                  <c:pt idx="84">
                    <c:v>24-May</c:v>
                  </c:pt>
                  <c:pt idx="85">
                    <c:v>25-May</c:v>
                  </c:pt>
                  <c:pt idx="86">
                    <c:v>26-May</c:v>
                  </c:pt>
                  <c:pt idx="87">
                    <c:v>27-May</c:v>
                  </c:pt>
                  <c:pt idx="88">
                    <c:v>28-May</c:v>
                  </c:pt>
                  <c:pt idx="89">
                    <c:v>29-May</c:v>
                  </c:pt>
                  <c:pt idx="90">
                    <c:v>30-May</c:v>
                  </c:pt>
                  <c:pt idx="91">
                    <c:v>31-May</c:v>
                  </c:pt>
                  <c:pt idx="92">
                    <c:v>1-Jun</c:v>
                  </c:pt>
                  <c:pt idx="93">
                    <c:v>2-Jun</c:v>
                  </c:pt>
                  <c:pt idx="94">
                    <c:v>3-Jun</c:v>
                  </c:pt>
                  <c:pt idx="95">
                    <c:v>4-Jun</c:v>
                  </c:pt>
                  <c:pt idx="96">
                    <c:v>5-Jun</c:v>
                  </c:pt>
                  <c:pt idx="97">
                    <c:v>6-Jun</c:v>
                  </c:pt>
                  <c:pt idx="98">
                    <c:v>7-Jun</c:v>
                  </c:pt>
                  <c:pt idx="99">
                    <c:v>8-Jun</c:v>
                  </c:pt>
                  <c:pt idx="100">
                    <c:v>9-Jun</c:v>
                  </c:pt>
                  <c:pt idx="101">
                    <c:v>10-Jun</c:v>
                  </c:pt>
                  <c:pt idx="102">
                    <c:v>11-Jun</c:v>
                  </c:pt>
                  <c:pt idx="103">
                    <c:v>12-Jun</c:v>
                  </c:pt>
                  <c:pt idx="104">
                    <c:v>13-Jun</c:v>
                  </c:pt>
                  <c:pt idx="105">
                    <c:v>14-Jun</c:v>
                  </c:pt>
                  <c:pt idx="106">
                    <c:v>15-Jun</c:v>
                  </c:pt>
                  <c:pt idx="107">
                    <c:v>16-Jun</c:v>
                  </c:pt>
                  <c:pt idx="108">
                    <c:v>17-Jun</c:v>
                  </c:pt>
                  <c:pt idx="109">
                    <c:v>18-Jun</c:v>
                  </c:pt>
                  <c:pt idx="110">
                    <c:v>19-Jun</c:v>
                  </c:pt>
                  <c:pt idx="111">
                    <c:v>20-Jun</c:v>
                  </c:pt>
                  <c:pt idx="112">
                    <c:v>21-Jun</c:v>
                  </c:pt>
                  <c:pt idx="113">
                    <c:v>22-Jun</c:v>
                  </c:pt>
                  <c:pt idx="114">
                    <c:v>23-Jun</c:v>
                  </c:pt>
                  <c:pt idx="115">
                    <c:v>24-Jun</c:v>
                  </c:pt>
                  <c:pt idx="116">
                    <c:v>25-Jun</c:v>
                  </c:pt>
                  <c:pt idx="117">
                    <c:v>26-Jun</c:v>
                  </c:pt>
                  <c:pt idx="118">
                    <c:v>27-Jun</c:v>
                  </c:pt>
                  <c:pt idx="119">
                    <c:v>28-Jun</c:v>
                  </c:pt>
                  <c:pt idx="120">
                    <c:v>29-Jun</c:v>
                  </c:pt>
                  <c:pt idx="121">
                    <c:v>30-Jun</c:v>
                  </c:pt>
                  <c:pt idx="122">
                    <c:v>1-Jul</c:v>
                  </c:pt>
                  <c:pt idx="123">
                    <c:v>2-Jul</c:v>
                  </c:pt>
                  <c:pt idx="124">
                    <c:v>3-Jul</c:v>
                  </c:pt>
                  <c:pt idx="125">
                    <c:v>4-Jul</c:v>
                  </c:pt>
                  <c:pt idx="126">
                    <c:v>5-Jul</c:v>
                  </c:pt>
                  <c:pt idx="127">
                    <c:v>6-Jul</c:v>
                  </c:pt>
                  <c:pt idx="128">
                    <c:v>7-Jul</c:v>
                  </c:pt>
                  <c:pt idx="129">
                    <c:v>8-Jul</c:v>
                  </c:pt>
                  <c:pt idx="130">
                    <c:v>9-Jul</c:v>
                  </c:pt>
                  <c:pt idx="131">
                    <c:v>10-Jul</c:v>
                  </c:pt>
                  <c:pt idx="132">
                    <c:v>11-Jul</c:v>
                  </c:pt>
                  <c:pt idx="133">
                    <c:v>12-Jul</c:v>
                  </c:pt>
                  <c:pt idx="134">
                    <c:v>13-Jul</c:v>
                  </c:pt>
                  <c:pt idx="135">
                    <c:v>14-Jul</c:v>
                  </c:pt>
                  <c:pt idx="136">
                    <c:v>15-Jul</c:v>
                  </c:pt>
                  <c:pt idx="137">
                    <c:v>16-Jul</c:v>
                  </c:pt>
                  <c:pt idx="138">
                    <c:v>17-Jul</c:v>
                  </c:pt>
                  <c:pt idx="139">
                    <c:v>18-Jul</c:v>
                  </c:pt>
                  <c:pt idx="140">
                    <c:v>19-Jul</c:v>
                  </c:pt>
                  <c:pt idx="141">
                    <c:v>20-Jul</c:v>
                  </c:pt>
                  <c:pt idx="142">
                    <c:v>21-Jul</c:v>
                  </c:pt>
                  <c:pt idx="143">
                    <c:v>22-Jul</c:v>
                  </c:pt>
                  <c:pt idx="144">
                    <c:v>23-Jul</c:v>
                  </c:pt>
                  <c:pt idx="145">
                    <c:v>24-Jul</c:v>
                  </c:pt>
                  <c:pt idx="146">
                    <c:v>25-Jul</c:v>
                  </c:pt>
                  <c:pt idx="147">
                    <c:v>26-Jul</c:v>
                  </c:pt>
                  <c:pt idx="148">
                    <c:v>27-Jul</c:v>
                  </c:pt>
                  <c:pt idx="149">
                    <c:v>28-Jul</c:v>
                  </c:pt>
                  <c:pt idx="150">
                    <c:v>29-Jul</c:v>
                  </c:pt>
                  <c:pt idx="151">
                    <c:v>30-Jul</c:v>
                  </c:pt>
                  <c:pt idx="152">
                    <c:v>31-Jul</c:v>
                  </c:pt>
                  <c:pt idx="153">
                    <c:v>1-Aug</c:v>
                  </c:pt>
                  <c:pt idx="154">
                    <c:v>2-Aug</c:v>
                  </c:pt>
                  <c:pt idx="155">
                    <c:v>3-Aug</c:v>
                  </c:pt>
                  <c:pt idx="156">
                    <c:v>4-Aug</c:v>
                  </c:pt>
                  <c:pt idx="157">
                    <c:v>5-Aug</c:v>
                  </c:pt>
                  <c:pt idx="158">
                    <c:v>6-Aug</c:v>
                  </c:pt>
                  <c:pt idx="159">
                    <c:v>7-Aug</c:v>
                  </c:pt>
                  <c:pt idx="160">
                    <c:v>8-Aug</c:v>
                  </c:pt>
                  <c:pt idx="161">
                    <c:v>9-Aug</c:v>
                  </c:pt>
                  <c:pt idx="162">
                    <c:v>10-Aug</c:v>
                  </c:pt>
                  <c:pt idx="163">
                    <c:v>11-Aug</c:v>
                  </c:pt>
                  <c:pt idx="164">
                    <c:v>12-Aug</c:v>
                  </c:pt>
                  <c:pt idx="165">
                    <c:v>13-Aug</c:v>
                  </c:pt>
                  <c:pt idx="166">
                    <c:v>14-Aug</c:v>
                  </c:pt>
                  <c:pt idx="167">
                    <c:v>15-Aug</c:v>
                  </c:pt>
                  <c:pt idx="168">
                    <c:v>16-Aug</c:v>
                  </c:pt>
                  <c:pt idx="169">
                    <c:v>17-Aug</c:v>
                  </c:pt>
                  <c:pt idx="170">
                    <c:v>18-Aug</c:v>
                  </c:pt>
                  <c:pt idx="171">
                    <c:v>19-Aug</c:v>
                  </c:pt>
                  <c:pt idx="172">
                    <c:v>20-Aug</c:v>
                  </c:pt>
                  <c:pt idx="173">
                    <c:v>21-Aug</c:v>
                  </c:pt>
                  <c:pt idx="174">
                    <c:v>22-Aug</c:v>
                  </c:pt>
                  <c:pt idx="175">
                    <c:v>23-Aug</c:v>
                  </c:pt>
                  <c:pt idx="176">
                    <c:v>24-Aug</c:v>
                  </c:pt>
                  <c:pt idx="177">
                    <c:v>25-Aug</c:v>
                  </c:pt>
                  <c:pt idx="178">
                    <c:v>26-Aug</c:v>
                  </c:pt>
                  <c:pt idx="179">
                    <c:v>27-Aug</c:v>
                  </c:pt>
                  <c:pt idx="180">
                    <c:v>28-Aug</c:v>
                  </c:pt>
                  <c:pt idx="181">
                    <c:v>29-Aug</c:v>
                  </c:pt>
                  <c:pt idx="182">
                    <c:v>30-Aug</c:v>
                  </c:pt>
                  <c:pt idx="183">
                    <c:v>31-Aug</c:v>
                  </c:pt>
                  <c:pt idx="184">
                    <c:v>1-Sep</c:v>
                  </c:pt>
                  <c:pt idx="185">
                    <c:v>2-Sep</c:v>
                  </c:pt>
                  <c:pt idx="186">
                    <c:v>3-Sep</c:v>
                  </c:pt>
                  <c:pt idx="187">
                    <c:v>4-Sep</c:v>
                  </c:pt>
                  <c:pt idx="188">
                    <c:v>5-Sep</c:v>
                  </c:pt>
                  <c:pt idx="189">
                    <c:v>6-Sep</c:v>
                  </c:pt>
                  <c:pt idx="190">
                    <c:v>7-Sep</c:v>
                  </c:pt>
                  <c:pt idx="191">
                    <c:v>8-Sep</c:v>
                  </c:pt>
                  <c:pt idx="192">
                    <c:v>9-Sep</c:v>
                  </c:pt>
                  <c:pt idx="193">
                    <c:v>10-Sep</c:v>
                  </c:pt>
                  <c:pt idx="194">
                    <c:v>11-Sep</c:v>
                  </c:pt>
                  <c:pt idx="195">
                    <c:v>12-Sep</c:v>
                  </c:pt>
                  <c:pt idx="196">
                    <c:v>13-Sep</c:v>
                  </c:pt>
                  <c:pt idx="197">
                    <c:v>14-Sep</c:v>
                  </c:pt>
                  <c:pt idx="198">
                    <c:v>15-Sep</c:v>
                  </c:pt>
                  <c:pt idx="199">
                    <c:v>16-Sep</c:v>
                  </c:pt>
                  <c:pt idx="200">
                    <c:v>17-Sep</c:v>
                  </c:pt>
                  <c:pt idx="201">
                    <c:v>18-Sep</c:v>
                  </c:pt>
                  <c:pt idx="202">
                    <c:v>19-Sep</c:v>
                  </c:pt>
                  <c:pt idx="203">
                    <c:v>20-Sep</c:v>
                  </c:pt>
                  <c:pt idx="204">
                    <c:v>21-Sep</c:v>
                  </c:pt>
                  <c:pt idx="205">
                    <c:v>22-Sep</c:v>
                  </c:pt>
                  <c:pt idx="206">
                    <c:v>23-Sep</c:v>
                  </c:pt>
                  <c:pt idx="207">
                    <c:v>24-Sep</c:v>
                  </c:pt>
                  <c:pt idx="208">
                    <c:v>25-Sep</c:v>
                  </c:pt>
                  <c:pt idx="209">
                    <c:v>26-Sep</c:v>
                  </c:pt>
                  <c:pt idx="210">
                    <c:v>27-Sep</c:v>
                  </c:pt>
                  <c:pt idx="211">
                    <c:v>28-Sep</c:v>
                  </c:pt>
                  <c:pt idx="212">
                    <c:v>29-Sep</c:v>
                  </c:pt>
                  <c:pt idx="213">
                    <c:v>30-Sep</c:v>
                  </c:pt>
                  <c:pt idx="214">
                    <c:v>1-Oct</c:v>
                  </c:pt>
                  <c:pt idx="215">
                    <c:v>2-Oct</c:v>
                  </c:pt>
                  <c:pt idx="216">
                    <c:v>3-Oct</c:v>
                  </c:pt>
                  <c:pt idx="217">
                    <c:v>4-Oct</c:v>
                  </c:pt>
                  <c:pt idx="218">
                    <c:v>5-Oct</c:v>
                  </c:pt>
                  <c:pt idx="219">
                    <c:v>6-Oct</c:v>
                  </c:pt>
                  <c:pt idx="220">
                    <c:v>7-Oct</c:v>
                  </c:pt>
                  <c:pt idx="221">
                    <c:v>8-Oct</c:v>
                  </c:pt>
                  <c:pt idx="222">
                    <c:v>9-Oct</c:v>
                  </c:pt>
                  <c:pt idx="223">
                    <c:v>10-Oct</c:v>
                  </c:pt>
                  <c:pt idx="224">
                    <c:v>11-Oct</c:v>
                  </c:pt>
                  <c:pt idx="225">
                    <c:v>12-Oct</c:v>
                  </c:pt>
                  <c:pt idx="226">
                    <c:v>13-Oct</c:v>
                  </c:pt>
                  <c:pt idx="227">
                    <c:v>14-Oct</c:v>
                  </c:pt>
                  <c:pt idx="228">
                    <c:v>15-Oct</c:v>
                  </c:pt>
                  <c:pt idx="229">
                    <c:v>16-Oct</c:v>
                  </c:pt>
                  <c:pt idx="230">
                    <c:v>17-Oct</c:v>
                  </c:pt>
                  <c:pt idx="231">
                    <c:v>18-Oct</c:v>
                  </c:pt>
                  <c:pt idx="232">
                    <c:v>19-Oct</c:v>
                  </c:pt>
                  <c:pt idx="233">
                    <c:v>20-Oct</c:v>
                  </c:pt>
                  <c:pt idx="234">
                    <c:v>21-Oct</c:v>
                  </c:pt>
                  <c:pt idx="235">
                    <c:v>22-Oct</c:v>
                  </c:pt>
                  <c:pt idx="236">
                    <c:v>23-Oct</c:v>
                  </c:pt>
                  <c:pt idx="237">
                    <c:v>24-Oct</c:v>
                  </c:pt>
                  <c:pt idx="238">
                    <c:v>25-Oct</c:v>
                  </c:pt>
                  <c:pt idx="239">
                    <c:v>26-Oct</c:v>
                  </c:pt>
                  <c:pt idx="240">
                    <c:v>27-Oct</c:v>
                  </c:pt>
                  <c:pt idx="241">
                    <c:v>28-Oct</c:v>
                  </c:pt>
                  <c:pt idx="242">
                    <c:v>29-Oct</c:v>
                  </c:pt>
                  <c:pt idx="243">
                    <c:v>30-Oct</c:v>
                  </c:pt>
                  <c:pt idx="244">
                    <c:v>31-Oct</c:v>
                  </c:pt>
                  <c:pt idx="245">
                    <c:v>1-Nov</c:v>
                  </c:pt>
                  <c:pt idx="246">
                    <c:v>2-Nov</c:v>
                  </c:pt>
                  <c:pt idx="247">
                    <c:v>3-Nov</c:v>
                  </c:pt>
                  <c:pt idx="248">
                    <c:v>4-Nov</c:v>
                  </c:pt>
                  <c:pt idx="249">
                    <c:v>5-Nov</c:v>
                  </c:pt>
                  <c:pt idx="250">
                    <c:v>6-Nov</c:v>
                  </c:pt>
                  <c:pt idx="251">
                    <c:v>7-Nov</c:v>
                  </c:pt>
                  <c:pt idx="252">
                    <c:v>8-Nov</c:v>
                  </c:pt>
                  <c:pt idx="253">
                    <c:v>9-Nov</c:v>
                  </c:pt>
                  <c:pt idx="254">
                    <c:v>10-Nov</c:v>
                  </c:pt>
                  <c:pt idx="255">
                    <c:v>11-Nov</c:v>
                  </c:pt>
                  <c:pt idx="256">
                    <c:v>12-Nov</c:v>
                  </c:pt>
                  <c:pt idx="257">
                    <c:v>13-Nov</c:v>
                  </c:pt>
                  <c:pt idx="258">
                    <c:v>14-Nov</c:v>
                  </c:pt>
                  <c:pt idx="259">
                    <c:v>15-Nov</c:v>
                  </c:pt>
                  <c:pt idx="260">
                    <c:v>16-Nov</c:v>
                  </c:pt>
                  <c:pt idx="261">
                    <c:v>17-Nov</c:v>
                  </c:pt>
                  <c:pt idx="262">
                    <c:v>18-Nov</c:v>
                  </c:pt>
                  <c:pt idx="263">
                    <c:v>19-Nov</c:v>
                  </c:pt>
                  <c:pt idx="264">
                    <c:v>20-Nov</c:v>
                  </c:pt>
                  <c:pt idx="265">
                    <c:v>21-Nov</c:v>
                  </c:pt>
                  <c:pt idx="266">
                    <c:v>22-Nov</c:v>
                  </c:pt>
                  <c:pt idx="267">
                    <c:v>23-Nov</c:v>
                  </c:pt>
                  <c:pt idx="268">
                    <c:v>24-Nov</c:v>
                  </c:pt>
                  <c:pt idx="269">
                    <c:v>25-Nov</c:v>
                  </c:pt>
                  <c:pt idx="270">
                    <c:v>26-Nov</c:v>
                  </c:pt>
                  <c:pt idx="271">
                    <c:v>27-Nov</c:v>
                  </c:pt>
                  <c:pt idx="272">
                    <c:v>28-Nov</c:v>
                  </c:pt>
                  <c:pt idx="273">
                    <c:v>29-Nov</c:v>
                  </c:pt>
                  <c:pt idx="274">
                    <c:v>30-Nov</c:v>
                  </c:pt>
                  <c:pt idx="275">
                    <c:v>1-Dec</c:v>
                  </c:pt>
                  <c:pt idx="276">
                    <c:v>2-Dec</c:v>
                  </c:pt>
                  <c:pt idx="277">
                    <c:v>3-Dec</c:v>
                  </c:pt>
                  <c:pt idx="278">
                    <c:v>4-Dec</c:v>
                  </c:pt>
                  <c:pt idx="279">
                    <c:v>5-Dec</c:v>
                  </c:pt>
                  <c:pt idx="280">
                    <c:v>6-Dec</c:v>
                  </c:pt>
                  <c:pt idx="281">
                    <c:v>7-Dec</c:v>
                  </c:pt>
                  <c:pt idx="282">
                    <c:v>8-Dec</c:v>
                  </c:pt>
                  <c:pt idx="283">
                    <c:v>9-Dec</c:v>
                  </c:pt>
                  <c:pt idx="284">
                    <c:v>10-Dec</c:v>
                  </c:pt>
                  <c:pt idx="285">
                    <c:v>11-Dec</c:v>
                  </c:pt>
                  <c:pt idx="286">
                    <c:v>12-Dec</c:v>
                  </c:pt>
                  <c:pt idx="287">
                    <c:v>13-Dec</c:v>
                  </c:pt>
                  <c:pt idx="288">
                    <c:v>14-Dec</c:v>
                  </c:pt>
                  <c:pt idx="289">
                    <c:v>15-Dec</c:v>
                  </c:pt>
                  <c:pt idx="290">
                    <c:v>16-Dec</c:v>
                  </c:pt>
                  <c:pt idx="291">
                    <c:v>17-Dec</c:v>
                  </c:pt>
                  <c:pt idx="292">
                    <c:v>18-Dec</c:v>
                  </c:pt>
                  <c:pt idx="293">
                    <c:v>19-Dec</c:v>
                  </c:pt>
                  <c:pt idx="294">
                    <c:v>20-Dec</c:v>
                  </c:pt>
                  <c:pt idx="295">
                    <c:v>21-Dec</c:v>
                  </c:pt>
                  <c:pt idx="296">
                    <c:v>22-Dec</c:v>
                  </c:pt>
                  <c:pt idx="297">
                    <c:v>23-Dec</c:v>
                  </c:pt>
                  <c:pt idx="298">
                    <c:v>24-Dec</c:v>
                  </c:pt>
                  <c:pt idx="299">
                    <c:v>25-Dec</c:v>
                  </c:pt>
                  <c:pt idx="300">
                    <c:v>26-Dec</c:v>
                  </c:pt>
                  <c:pt idx="301">
                    <c:v>27-Dec</c:v>
                  </c:pt>
                  <c:pt idx="302">
                    <c:v>28-Dec</c:v>
                  </c:pt>
                  <c:pt idx="303">
                    <c:v>29-Dec</c:v>
                  </c:pt>
                  <c:pt idx="304">
                    <c:v>30-Dec</c:v>
                  </c:pt>
                  <c:pt idx="305">
                    <c:v>31-Dec</c:v>
                  </c:pt>
                  <c:pt idx="306">
                    <c:v>1-Jan</c:v>
                  </c:pt>
                  <c:pt idx="307">
                    <c:v>2-Jan</c:v>
                  </c:pt>
                  <c:pt idx="308">
                    <c:v>3-Jan</c:v>
                  </c:pt>
                  <c:pt idx="309">
                    <c:v>4-Jan</c:v>
                  </c:pt>
                  <c:pt idx="310">
                    <c:v>5-Jan</c:v>
                  </c:pt>
                  <c:pt idx="311">
                    <c:v>6-Jan</c:v>
                  </c:pt>
                  <c:pt idx="312">
                    <c:v>7-Jan</c:v>
                  </c:pt>
                  <c:pt idx="313">
                    <c:v>8-Jan</c:v>
                  </c:pt>
                  <c:pt idx="314">
                    <c:v>9-Jan</c:v>
                  </c:pt>
                  <c:pt idx="315">
                    <c:v>10-Jan</c:v>
                  </c:pt>
                  <c:pt idx="316">
                    <c:v>11-Jan</c:v>
                  </c:pt>
                  <c:pt idx="317">
                    <c:v>12-Jan</c:v>
                  </c:pt>
                  <c:pt idx="318">
                    <c:v>13-Jan</c:v>
                  </c:pt>
                  <c:pt idx="319">
                    <c:v>14-Jan</c:v>
                  </c:pt>
                  <c:pt idx="320">
                    <c:v>15-Jan</c:v>
                  </c:pt>
                  <c:pt idx="321">
                    <c:v>16-Jan</c:v>
                  </c:pt>
                  <c:pt idx="322">
                    <c:v>17-Jan</c:v>
                  </c:pt>
                  <c:pt idx="323">
                    <c:v>18-Jan</c:v>
                  </c:pt>
                  <c:pt idx="324">
                    <c:v>19-Jan</c:v>
                  </c:pt>
                  <c:pt idx="325">
                    <c:v>20-Jan</c:v>
                  </c:pt>
                  <c:pt idx="326">
                    <c:v>21-Jan</c:v>
                  </c:pt>
                  <c:pt idx="327">
                    <c:v>22-Jan</c:v>
                  </c:pt>
                  <c:pt idx="328">
                    <c:v>23-Jan</c:v>
                  </c:pt>
                  <c:pt idx="329">
                    <c:v>24-Jan</c:v>
                  </c:pt>
                  <c:pt idx="330">
                    <c:v>25-Jan</c:v>
                  </c:pt>
                  <c:pt idx="331">
                    <c:v>26-Jan</c:v>
                  </c:pt>
                  <c:pt idx="332">
                    <c:v>27-Jan</c:v>
                  </c:pt>
                  <c:pt idx="333">
                    <c:v>28-Jan</c:v>
                  </c:pt>
                  <c:pt idx="334">
                    <c:v>29-Jan</c:v>
                  </c:pt>
                  <c:pt idx="335">
                    <c:v>30-Jan</c:v>
                  </c:pt>
                  <c:pt idx="336">
                    <c:v>31-Jan</c:v>
                  </c:pt>
                  <c:pt idx="337">
                    <c:v>1-Feb</c:v>
                  </c:pt>
                  <c:pt idx="338">
                    <c:v>2-Feb</c:v>
                  </c:pt>
                  <c:pt idx="339">
                    <c:v>3-Feb</c:v>
                  </c:pt>
                  <c:pt idx="340">
                    <c:v>4-Feb</c:v>
                  </c:pt>
                  <c:pt idx="341">
                    <c:v>5-Feb</c:v>
                  </c:pt>
                  <c:pt idx="342">
                    <c:v>6-Feb</c:v>
                  </c:pt>
                  <c:pt idx="343">
                    <c:v>7-Feb</c:v>
                  </c:pt>
                  <c:pt idx="344">
                    <c:v>8-Feb</c:v>
                  </c:pt>
                  <c:pt idx="345">
                    <c:v>9-Feb</c:v>
                  </c:pt>
                  <c:pt idx="346">
                    <c:v>10-Feb</c:v>
                  </c:pt>
                  <c:pt idx="347">
                    <c:v>11-Feb</c:v>
                  </c:pt>
                  <c:pt idx="348">
                    <c:v>12-Feb</c:v>
                  </c:pt>
                  <c:pt idx="349">
                    <c:v>13-Feb</c:v>
                  </c:pt>
                  <c:pt idx="350">
                    <c:v>14-Feb</c:v>
                  </c:pt>
                  <c:pt idx="351">
                    <c:v>15-Feb</c:v>
                  </c:pt>
                  <c:pt idx="352">
                    <c:v>16-Feb</c:v>
                  </c:pt>
                  <c:pt idx="353">
                    <c:v>17-Feb</c:v>
                  </c:pt>
                  <c:pt idx="354">
                    <c:v>18-Feb</c:v>
                  </c:pt>
                  <c:pt idx="355">
                    <c:v>19-Feb</c:v>
                  </c:pt>
                  <c:pt idx="356">
                    <c:v>20-Feb</c:v>
                  </c:pt>
                  <c:pt idx="357">
                    <c:v>21-Feb</c:v>
                  </c:pt>
                  <c:pt idx="358">
                    <c:v>22-Feb</c:v>
                  </c:pt>
                  <c:pt idx="359">
                    <c:v>23-Feb</c:v>
                  </c:pt>
                  <c:pt idx="360">
                    <c:v>24-Feb</c:v>
                  </c:pt>
                  <c:pt idx="361">
                    <c:v>25-Feb</c:v>
                  </c:pt>
                  <c:pt idx="362">
                    <c:v>26-Feb</c:v>
                  </c:pt>
                  <c:pt idx="363">
                    <c:v>27-Feb</c:v>
                  </c:pt>
                  <c:pt idx="364">
                    <c:v>28-Feb</c:v>
                  </c:pt>
                  <c:pt idx="365">
                    <c:v>1-Mar</c:v>
                  </c:pt>
                  <c:pt idx="366">
                    <c:v>2-Mar</c:v>
                  </c:pt>
                  <c:pt idx="367">
                    <c:v>3-Mar</c:v>
                  </c:pt>
                  <c:pt idx="368">
                    <c:v>4-Mar</c:v>
                  </c:pt>
                  <c:pt idx="369">
                    <c:v>5-Mar</c:v>
                  </c:pt>
                  <c:pt idx="370">
                    <c:v>6-Mar</c:v>
                  </c:pt>
                  <c:pt idx="371">
                    <c:v>7-Mar</c:v>
                  </c:pt>
                  <c:pt idx="372">
                    <c:v>8-Mar</c:v>
                  </c:pt>
                  <c:pt idx="373">
                    <c:v>9-Mar</c:v>
                  </c:pt>
                  <c:pt idx="374">
                    <c:v>10-Mar</c:v>
                  </c:pt>
                  <c:pt idx="375">
                    <c:v>11-Mar</c:v>
                  </c:pt>
                  <c:pt idx="376">
                    <c:v>12-Mar</c:v>
                  </c:pt>
                  <c:pt idx="377">
                    <c:v>13-Mar</c:v>
                  </c:pt>
                  <c:pt idx="378">
                    <c:v>14-Mar</c:v>
                  </c:pt>
                  <c:pt idx="379">
                    <c:v>15-Mar</c:v>
                  </c:pt>
                  <c:pt idx="380">
                    <c:v>16-Mar</c:v>
                  </c:pt>
                  <c:pt idx="381">
                    <c:v>17-Mar</c:v>
                  </c:pt>
                  <c:pt idx="382">
                    <c:v>18-Mar</c:v>
                  </c:pt>
                  <c:pt idx="383">
                    <c:v>19-Mar</c:v>
                  </c:pt>
                  <c:pt idx="384">
                    <c:v>20-Mar</c:v>
                  </c:pt>
                  <c:pt idx="385">
                    <c:v>21-Mar</c:v>
                  </c:pt>
                  <c:pt idx="386">
                    <c:v>22-Mar</c:v>
                  </c:pt>
                  <c:pt idx="387">
                    <c:v>23-Mar</c:v>
                  </c:pt>
                  <c:pt idx="388">
                    <c:v>24-Mar</c:v>
                  </c:pt>
                  <c:pt idx="389">
                    <c:v>25-Mar</c:v>
                  </c:pt>
                  <c:pt idx="390">
                    <c:v>26-Mar</c:v>
                  </c:pt>
                  <c:pt idx="391">
                    <c:v>27-Mar</c:v>
                  </c:pt>
                  <c:pt idx="392">
                    <c:v>28-Mar</c:v>
                  </c:pt>
                  <c:pt idx="393">
                    <c:v>29-Mar</c:v>
                  </c:pt>
                  <c:pt idx="394">
                    <c:v>30-Mar</c:v>
                  </c:pt>
                  <c:pt idx="395">
                    <c:v>31-Mar</c:v>
                  </c:pt>
                  <c:pt idx="396">
                    <c:v>1-Apr</c:v>
                  </c:pt>
                  <c:pt idx="397">
                    <c:v>2-Apr</c:v>
                  </c:pt>
                  <c:pt idx="398">
                    <c:v>3-Apr</c:v>
                  </c:pt>
                  <c:pt idx="399">
                    <c:v>4-Apr</c:v>
                  </c:pt>
                  <c:pt idx="400">
                    <c:v>5-Apr</c:v>
                  </c:pt>
                  <c:pt idx="401">
                    <c:v>6-Apr</c:v>
                  </c:pt>
                  <c:pt idx="402">
                    <c:v>7-Apr</c:v>
                  </c:pt>
                  <c:pt idx="403">
                    <c:v>8-Apr</c:v>
                  </c:pt>
                  <c:pt idx="404">
                    <c:v>9-Apr</c:v>
                  </c:pt>
                  <c:pt idx="405">
                    <c:v>10-Apr</c:v>
                  </c:pt>
                  <c:pt idx="406">
                    <c:v>11-Apr</c:v>
                  </c:pt>
                  <c:pt idx="407">
                    <c:v>12-Apr</c:v>
                  </c:pt>
                  <c:pt idx="408">
                    <c:v>13-Apr</c:v>
                  </c:pt>
                  <c:pt idx="409">
                    <c:v>14-Apr</c:v>
                  </c:pt>
                  <c:pt idx="410">
                    <c:v>15-Apr</c:v>
                  </c:pt>
                  <c:pt idx="411">
                    <c:v>16-Apr</c:v>
                  </c:pt>
                  <c:pt idx="412">
                    <c:v>17-Apr</c:v>
                  </c:pt>
                  <c:pt idx="413">
                    <c:v>18-Apr</c:v>
                  </c:pt>
                  <c:pt idx="414">
                    <c:v>19-Apr</c:v>
                  </c:pt>
                  <c:pt idx="415">
                    <c:v>20-Apr</c:v>
                  </c:pt>
                  <c:pt idx="416">
                    <c:v>21-Apr</c:v>
                  </c:pt>
                  <c:pt idx="417">
                    <c:v>22-Apr</c:v>
                  </c:pt>
                  <c:pt idx="418">
                    <c:v>23-Apr</c:v>
                  </c:pt>
                  <c:pt idx="419">
                    <c:v>24-Apr</c:v>
                  </c:pt>
                  <c:pt idx="420">
                    <c:v>25-Apr</c:v>
                  </c:pt>
                  <c:pt idx="421">
                    <c:v>26-Apr</c:v>
                  </c:pt>
                  <c:pt idx="422">
                    <c:v>27-Apr</c:v>
                  </c:pt>
                  <c:pt idx="423">
                    <c:v>28-Apr</c:v>
                  </c:pt>
                  <c:pt idx="424">
                    <c:v>29-Apr</c:v>
                  </c:pt>
                  <c:pt idx="425">
                    <c:v>30-Apr</c:v>
                  </c:pt>
                  <c:pt idx="426">
                    <c:v>1-May</c:v>
                  </c:pt>
                  <c:pt idx="427">
                    <c:v>2-May</c:v>
                  </c:pt>
                  <c:pt idx="428">
                    <c:v>3-May</c:v>
                  </c:pt>
                  <c:pt idx="429">
                    <c:v>4-May</c:v>
                  </c:pt>
                  <c:pt idx="430">
                    <c:v>5-May</c:v>
                  </c:pt>
                  <c:pt idx="431">
                    <c:v>6-May</c:v>
                  </c:pt>
                  <c:pt idx="432">
                    <c:v>7-May</c:v>
                  </c:pt>
                  <c:pt idx="433">
                    <c:v>8-May</c:v>
                  </c:pt>
                  <c:pt idx="434">
                    <c:v>9-May</c:v>
                  </c:pt>
                  <c:pt idx="435">
                    <c:v>10-May</c:v>
                  </c:pt>
                  <c:pt idx="436">
                    <c:v>11-May</c:v>
                  </c:pt>
                  <c:pt idx="437">
                    <c:v>12-May</c:v>
                  </c:pt>
                  <c:pt idx="438">
                    <c:v>13-May</c:v>
                  </c:pt>
                  <c:pt idx="439">
                    <c:v>14-May</c:v>
                  </c:pt>
                  <c:pt idx="440">
                    <c:v>15-May</c:v>
                  </c:pt>
                  <c:pt idx="441">
                    <c:v>16-May</c:v>
                  </c:pt>
                  <c:pt idx="442">
                    <c:v>17-May</c:v>
                  </c:pt>
                  <c:pt idx="443">
                    <c:v>18-May</c:v>
                  </c:pt>
                  <c:pt idx="444">
                    <c:v>19-May</c:v>
                  </c:pt>
                  <c:pt idx="445">
                    <c:v>20-May</c:v>
                  </c:pt>
                  <c:pt idx="446">
                    <c:v>21-May</c:v>
                  </c:pt>
                  <c:pt idx="447">
                    <c:v>22-May</c:v>
                  </c:pt>
                  <c:pt idx="448">
                    <c:v>23-May</c:v>
                  </c:pt>
                  <c:pt idx="449">
                    <c:v>24-May</c:v>
                  </c:pt>
                  <c:pt idx="450">
                    <c:v>25-May</c:v>
                  </c:pt>
                  <c:pt idx="451">
                    <c:v>26-May</c:v>
                  </c:pt>
                  <c:pt idx="452">
                    <c:v>27-May</c:v>
                  </c:pt>
                  <c:pt idx="453">
                    <c:v>28-May</c:v>
                  </c:pt>
                  <c:pt idx="454">
                    <c:v>29-May</c:v>
                  </c:pt>
                  <c:pt idx="455">
                    <c:v>30-May</c:v>
                  </c:pt>
                  <c:pt idx="456">
                    <c:v>31-May</c:v>
                  </c:pt>
                  <c:pt idx="457">
                    <c:v>1-Jun</c:v>
                  </c:pt>
                  <c:pt idx="458">
                    <c:v>2-Jun</c:v>
                  </c:pt>
                  <c:pt idx="459">
                    <c:v>3-Jun</c:v>
                  </c:pt>
                  <c:pt idx="460">
                    <c:v>4-Jun</c:v>
                  </c:pt>
                  <c:pt idx="461">
                    <c:v>5-Jun</c:v>
                  </c:pt>
                  <c:pt idx="462">
                    <c:v>6-Jun</c:v>
                  </c:pt>
                  <c:pt idx="463">
                    <c:v>7-Jun</c:v>
                  </c:pt>
                  <c:pt idx="464">
                    <c:v>8-Jun</c:v>
                  </c:pt>
                  <c:pt idx="465">
                    <c:v>9-Jun</c:v>
                  </c:pt>
                  <c:pt idx="466">
                    <c:v>10-Jun</c:v>
                  </c:pt>
                  <c:pt idx="467">
                    <c:v>11-Jun</c:v>
                  </c:pt>
                  <c:pt idx="468">
                    <c:v>12-Jun</c:v>
                  </c:pt>
                  <c:pt idx="469">
                    <c:v>13-Jun</c:v>
                  </c:pt>
                  <c:pt idx="470">
                    <c:v>14-Jun</c:v>
                  </c:pt>
                  <c:pt idx="471">
                    <c:v>15-Jun</c:v>
                  </c:pt>
                  <c:pt idx="472">
                    <c:v>16-Jun</c:v>
                  </c:pt>
                  <c:pt idx="473">
                    <c:v>17-Jun</c:v>
                  </c:pt>
                  <c:pt idx="474">
                    <c:v>18-Jun</c:v>
                  </c:pt>
                  <c:pt idx="475">
                    <c:v>19-Jun</c:v>
                  </c:pt>
                  <c:pt idx="476">
                    <c:v>20-Jun</c:v>
                  </c:pt>
                  <c:pt idx="477">
                    <c:v>21-Jun</c:v>
                  </c:pt>
                  <c:pt idx="478">
                    <c:v>22-Jun</c:v>
                  </c:pt>
                  <c:pt idx="479">
                    <c:v>23-Jun</c:v>
                  </c:pt>
                  <c:pt idx="480">
                    <c:v>24-Jun</c:v>
                  </c:pt>
                  <c:pt idx="481">
                    <c:v>25-Jun</c:v>
                  </c:pt>
                  <c:pt idx="482">
                    <c:v>26-Jun</c:v>
                  </c:pt>
                  <c:pt idx="483">
                    <c:v>27-Jun</c:v>
                  </c:pt>
                  <c:pt idx="484">
                    <c:v>28-Jun</c:v>
                  </c:pt>
                  <c:pt idx="485">
                    <c:v>29-Jun</c:v>
                  </c:pt>
                  <c:pt idx="486">
                    <c:v>30-Jun</c:v>
                  </c:pt>
                  <c:pt idx="487">
                    <c:v>1-Jul</c:v>
                  </c:pt>
                  <c:pt idx="488">
                    <c:v>2-Jul</c:v>
                  </c:pt>
                  <c:pt idx="489">
                    <c:v>3-Jul</c:v>
                  </c:pt>
                  <c:pt idx="490">
                    <c:v>4-Jul</c:v>
                  </c:pt>
                  <c:pt idx="491">
                    <c:v>5-Jul</c:v>
                  </c:pt>
                  <c:pt idx="492">
                    <c:v>6-Jul</c:v>
                  </c:pt>
                  <c:pt idx="493">
                    <c:v>7-Jul</c:v>
                  </c:pt>
                  <c:pt idx="494">
                    <c:v>8-Jul</c:v>
                  </c:pt>
                  <c:pt idx="495">
                    <c:v>9-Jul</c:v>
                  </c:pt>
                  <c:pt idx="496">
                    <c:v>10-Jul</c:v>
                  </c:pt>
                  <c:pt idx="497">
                    <c:v>11-Jul</c:v>
                  </c:pt>
                  <c:pt idx="498">
                    <c:v>12-Jul</c:v>
                  </c:pt>
                  <c:pt idx="499">
                    <c:v>13-Jul</c:v>
                  </c:pt>
                  <c:pt idx="500">
                    <c:v>14-Jul</c:v>
                  </c:pt>
                  <c:pt idx="501">
                    <c:v>15-Jul</c:v>
                  </c:pt>
                  <c:pt idx="502">
                    <c:v>16-Jul</c:v>
                  </c:pt>
                  <c:pt idx="503">
                    <c:v>17-Jul</c:v>
                  </c:pt>
                  <c:pt idx="504">
                    <c:v>18-Jul</c:v>
                  </c:pt>
                  <c:pt idx="505">
                    <c:v>19-Jul</c:v>
                  </c:pt>
                  <c:pt idx="506">
                    <c:v>20-Jul</c:v>
                  </c:pt>
                  <c:pt idx="507">
                    <c:v>21-Jul</c:v>
                  </c:pt>
                  <c:pt idx="508">
                    <c:v>22-Jul</c:v>
                  </c:pt>
                  <c:pt idx="509">
                    <c:v>23-Jul</c:v>
                  </c:pt>
                  <c:pt idx="510">
                    <c:v>24-Jul</c:v>
                  </c:pt>
                  <c:pt idx="511">
                    <c:v>25-Jul</c:v>
                  </c:pt>
                  <c:pt idx="512">
                    <c:v>26-Jul</c:v>
                  </c:pt>
                  <c:pt idx="513">
                    <c:v>27-Jul</c:v>
                  </c:pt>
                  <c:pt idx="514">
                    <c:v>28-Jul</c:v>
                  </c:pt>
                  <c:pt idx="515">
                    <c:v>29-Jul</c:v>
                  </c:pt>
                  <c:pt idx="516">
                    <c:v>30-Jul</c:v>
                  </c:pt>
                  <c:pt idx="517">
                    <c:v>31-Jul</c:v>
                  </c:pt>
                  <c:pt idx="518">
                    <c:v>1-Aug</c:v>
                  </c:pt>
                  <c:pt idx="519">
                    <c:v>2-Aug</c:v>
                  </c:pt>
                  <c:pt idx="520">
                    <c:v>3-Aug</c:v>
                  </c:pt>
                  <c:pt idx="521">
                    <c:v>4-Aug</c:v>
                  </c:pt>
                  <c:pt idx="522">
                    <c:v>5-Aug</c:v>
                  </c:pt>
                  <c:pt idx="523">
                    <c:v>6-Aug</c:v>
                  </c:pt>
                  <c:pt idx="524">
                    <c:v>7-Aug</c:v>
                  </c:pt>
                  <c:pt idx="525">
                    <c:v>8-Aug</c:v>
                  </c:pt>
                  <c:pt idx="526">
                    <c:v>9-Aug</c:v>
                  </c:pt>
                  <c:pt idx="527">
                    <c:v>10-Aug</c:v>
                  </c:pt>
                  <c:pt idx="528">
                    <c:v>11-Aug</c:v>
                  </c:pt>
                  <c:pt idx="529">
                    <c:v>12-Aug</c:v>
                  </c:pt>
                  <c:pt idx="530">
                    <c:v>13-Aug</c:v>
                  </c:pt>
                  <c:pt idx="531">
                    <c:v>14-Aug</c:v>
                  </c:pt>
                  <c:pt idx="532">
                    <c:v>15-Aug</c:v>
                  </c:pt>
                  <c:pt idx="533">
                    <c:v>16-Aug</c:v>
                  </c:pt>
                  <c:pt idx="534">
                    <c:v>17-Aug</c:v>
                  </c:pt>
                  <c:pt idx="535">
                    <c:v>18-Aug</c:v>
                  </c:pt>
                  <c:pt idx="536">
                    <c:v>19-Aug</c:v>
                  </c:pt>
                  <c:pt idx="537">
                    <c:v>20-Aug</c:v>
                  </c:pt>
                  <c:pt idx="538">
                    <c:v>21-Aug</c:v>
                  </c:pt>
                  <c:pt idx="539">
                    <c:v>22-Aug</c:v>
                  </c:pt>
                  <c:pt idx="540">
                    <c:v>23-Aug</c:v>
                  </c:pt>
                  <c:pt idx="541">
                    <c:v>24-Aug</c:v>
                  </c:pt>
                  <c:pt idx="542">
                    <c:v>25-Aug</c:v>
                  </c:pt>
                  <c:pt idx="543">
                    <c:v>26-Aug</c:v>
                  </c:pt>
                  <c:pt idx="544">
                    <c:v>27-Aug</c:v>
                  </c:pt>
                  <c:pt idx="545">
                    <c:v>28-Aug</c:v>
                  </c:pt>
                  <c:pt idx="546">
                    <c:v>29-Aug</c:v>
                  </c:pt>
                  <c:pt idx="547">
                    <c:v>30-Aug</c:v>
                  </c:pt>
                  <c:pt idx="548">
                    <c:v>31-Aug</c:v>
                  </c:pt>
                  <c:pt idx="549">
                    <c:v>1-Sep</c:v>
                  </c:pt>
                  <c:pt idx="550">
                    <c:v>2-Sep</c:v>
                  </c:pt>
                  <c:pt idx="551">
                    <c:v>3-Sep</c:v>
                  </c:pt>
                  <c:pt idx="552">
                    <c:v>4-Sep</c:v>
                  </c:pt>
                  <c:pt idx="553">
                    <c:v>5-Sep</c:v>
                  </c:pt>
                  <c:pt idx="554">
                    <c:v>6-Sep</c:v>
                  </c:pt>
                  <c:pt idx="555">
                    <c:v>7-Sep</c:v>
                  </c:pt>
                  <c:pt idx="556">
                    <c:v>8-Sep</c:v>
                  </c:pt>
                  <c:pt idx="557">
                    <c:v>9-Sep</c:v>
                  </c:pt>
                  <c:pt idx="558">
                    <c:v>10-Sep</c:v>
                  </c:pt>
                  <c:pt idx="559">
                    <c:v>11-Sep</c:v>
                  </c:pt>
                  <c:pt idx="560">
                    <c:v>12-Sep</c:v>
                  </c:pt>
                  <c:pt idx="561">
                    <c:v>13-Sep</c:v>
                  </c:pt>
                  <c:pt idx="562">
                    <c:v>14-Sep</c:v>
                  </c:pt>
                  <c:pt idx="563">
                    <c:v>15-Sep</c:v>
                  </c:pt>
                  <c:pt idx="564">
                    <c:v>16-Sep</c:v>
                  </c:pt>
                  <c:pt idx="565">
                    <c:v>17-Sep</c:v>
                  </c:pt>
                  <c:pt idx="566">
                    <c:v>18-Sep</c:v>
                  </c:pt>
                  <c:pt idx="567">
                    <c:v>19-Sep</c:v>
                  </c:pt>
                  <c:pt idx="568">
                    <c:v>20-Sep</c:v>
                  </c:pt>
                  <c:pt idx="569">
                    <c:v>21-Sep</c:v>
                  </c:pt>
                  <c:pt idx="570">
                    <c:v>22-Sep</c:v>
                  </c:pt>
                  <c:pt idx="571">
                    <c:v>23-Sep</c:v>
                  </c:pt>
                  <c:pt idx="572">
                    <c:v>24-Sep</c:v>
                  </c:pt>
                  <c:pt idx="573">
                    <c:v>25-Sep</c:v>
                  </c:pt>
                  <c:pt idx="574">
                    <c:v>26-Sep</c:v>
                  </c:pt>
                  <c:pt idx="575">
                    <c:v>27-Sep</c:v>
                  </c:pt>
                  <c:pt idx="576">
                    <c:v>28-Sep</c:v>
                  </c:pt>
                  <c:pt idx="577">
                    <c:v>29-Sep</c:v>
                  </c:pt>
                  <c:pt idx="578">
                    <c:v>30-Sep</c:v>
                  </c:pt>
                  <c:pt idx="579">
                    <c:v>1-Oct</c:v>
                  </c:pt>
                  <c:pt idx="580">
                    <c:v>2-Oct</c:v>
                  </c:pt>
                  <c:pt idx="581">
                    <c:v>3-Oct</c:v>
                  </c:pt>
                  <c:pt idx="582">
                    <c:v>4-Oct</c:v>
                  </c:pt>
                  <c:pt idx="583">
                    <c:v>5-Oct</c:v>
                  </c:pt>
                  <c:pt idx="584">
                    <c:v>6-Oct</c:v>
                  </c:pt>
                  <c:pt idx="585">
                    <c:v>7-Oct</c:v>
                  </c:pt>
                  <c:pt idx="586">
                    <c:v>8-Oct</c:v>
                  </c:pt>
                  <c:pt idx="587">
                    <c:v>9-Oct</c:v>
                  </c:pt>
                  <c:pt idx="588">
                    <c:v>10-Oct</c:v>
                  </c:pt>
                  <c:pt idx="589">
                    <c:v>11-Oct</c:v>
                  </c:pt>
                  <c:pt idx="590">
                    <c:v>12-Oct</c:v>
                  </c:pt>
                  <c:pt idx="591">
                    <c:v>13-Oct</c:v>
                  </c:pt>
                  <c:pt idx="592">
                    <c:v>14-Oct</c:v>
                  </c:pt>
                  <c:pt idx="593">
                    <c:v>15-Oct</c:v>
                  </c:pt>
                  <c:pt idx="594">
                    <c:v>16-Oct</c:v>
                  </c:pt>
                  <c:pt idx="595">
                    <c:v>17-Oct</c:v>
                  </c:pt>
                  <c:pt idx="596">
                    <c:v>18-Oct</c:v>
                  </c:pt>
                  <c:pt idx="597">
                    <c:v>19-Oct</c:v>
                  </c:pt>
                  <c:pt idx="598">
                    <c:v>20-Oct</c:v>
                  </c:pt>
                  <c:pt idx="599">
                    <c:v>21-Oct</c:v>
                  </c:pt>
                  <c:pt idx="600">
                    <c:v>22-Oct</c:v>
                  </c:pt>
                  <c:pt idx="601">
                    <c:v>23-Oct</c:v>
                  </c:pt>
                  <c:pt idx="602">
                    <c:v>24-Oct</c:v>
                  </c:pt>
                  <c:pt idx="603">
                    <c:v>25-Oct</c:v>
                  </c:pt>
                  <c:pt idx="604">
                    <c:v>26-Oct</c:v>
                  </c:pt>
                  <c:pt idx="605">
                    <c:v>27-Oct</c:v>
                  </c:pt>
                  <c:pt idx="606">
                    <c:v>28-Oct</c:v>
                  </c:pt>
                  <c:pt idx="607">
                    <c:v>29-Oct</c:v>
                  </c:pt>
                  <c:pt idx="608">
                    <c:v>30-Oct</c:v>
                  </c:pt>
                  <c:pt idx="609">
                    <c:v>31-Oct</c:v>
                  </c:pt>
                  <c:pt idx="610">
                    <c:v>1-Nov</c:v>
                  </c:pt>
                  <c:pt idx="611">
                    <c:v>2-Nov</c:v>
                  </c:pt>
                  <c:pt idx="612">
                    <c:v>3-Nov</c:v>
                  </c:pt>
                  <c:pt idx="613">
                    <c:v>4-Nov</c:v>
                  </c:pt>
                  <c:pt idx="614">
                    <c:v>5-Nov</c:v>
                  </c:pt>
                  <c:pt idx="615">
                    <c:v>6-Nov</c:v>
                  </c:pt>
                  <c:pt idx="616">
                    <c:v>7-Nov</c:v>
                  </c:pt>
                  <c:pt idx="617">
                    <c:v>8-Nov</c:v>
                  </c:pt>
                  <c:pt idx="618">
                    <c:v>9-Nov</c:v>
                  </c:pt>
                  <c:pt idx="619">
                    <c:v>10-Nov</c:v>
                  </c:pt>
                  <c:pt idx="620">
                    <c:v>11-Nov</c:v>
                  </c:pt>
                  <c:pt idx="621">
                    <c:v>12-Nov</c:v>
                  </c:pt>
                  <c:pt idx="622">
                    <c:v>13-Nov</c:v>
                  </c:pt>
                  <c:pt idx="623">
                    <c:v>14-Nov</c:v>
                  </c:pt>
                  <c:pt idx="624">
                    <c:v>15-Nov</c:v>
                  </c:pt>
                  <c:pt idx="625">
                    <c:v>16-Nov</c:v>
                  </c:pt>
                  <c:pt idx="626">
                    <c:v>17-Nov</c:v>
                  </c:pt>
                  <c:pt idx="627">
                    <c:v>18-Nov</c:v>
                  </c:pt>
                  <c:pt idx="628">
                    <c:v>19-Nov</c:v>
                  </c:pt>
                  <c:pt idx="629">
                    <c:v>20-Nov</c:v>
                  </c:pt>
                  <c:pt idx="630">
                    <c:v>21-Nov</c:v>
                  </c:pt>
                  <c:pt idx="631">
                    <c:v>22-Nov</c:v>
                  </c:pt>
                  <c:pt idx="632">
                    <c:v>23-Nov</c:v>
                  </c:pt>
                  <c:pt idx="633">
                    <c:v>24-Nov</c:v>
                  </c:pt>
                  <c:pt idx="634">
                    <c:v>25-Nov</c:v>
                  </c:pt>
                  <c:pt idx="635">
                    <c:v>26-Nov</c:v>
                  </c:pt>
                  <c:pt idx="636">
                    <c:v>27-Nov</c:v>
                  </c:pt>
                  <c:pt idx="637">
                    <c:v>28-Nov</c:v>
                  </c:pt>
                  <c:pt idx="638">
                    <c:v>29-Nov</c:v>
                  </c:pt>
                  <c:pt idx="639">
                    <c:v>30-Nov</c:v>
                  </c:pt>
                  <c:pt idx="640">
                    <c:v>1-Dec</c:v>
                  </c:pt>
                  <c:pt idx="641">
                    <c:v>2-Dec</c:v>
                  </c:pt>
                  <c:pt idx="642">
                    <c:v>3-Dec</c:v>
                  </c:pt>
                  <c:pt idx="643">
                    <c:v>4-Dec</c:v>
                  </c:pt>
                  <c:pt idx="644">
                    <c:v>5-Dec</c:v>
                  </c:pt>
                  <c:pt idx="645">
                    <c:v>6-Dec</c:v>
                  </c:pt>
                  <c:pt idx="646">
                    <c:v>7-Dec</c:v>
                  </c:pt>
                  <c:pt idx="647">
                    <c:v>8-Dec</c:v>
                  </c:pt>
                  <c:pt idx="648">
                    <c:v>9-Dec</c:v>
                  </c:pt>
                  <c:pt idx="649">
                    <c:v>10-Dec</c:v>
                  </c:pt>
                  <c:pt idx="650">
                    <c:v>11-Dec</c:v>
                  </c:pt>
                  <c:pt idx="651">
                    <c:v>12-Dec</c:v>
                  </c:pt>
                  <c:pt idx="652">
                    <c:v>13-Dec</c:v>
                  </c:pt>
                  <c:pt idx="653">
                    <c:v>14-Dec</c:v>
                  </c:pt>
                  <c:pt idx="654">
                    <c:v>15-Dec</c:v>
                  </c:pt>
                  <c:pt idx="655">
                    <c:v>16-Dec</c:v>
                  </c:pt>
                  <c:pt idx="656">
                    <c:v>17-Dec</c:v>
                  </c:pt>
                  <c:pt idx="657">
                    <c:v>18-Dec</c:v>
                  </c:pt>
                  <c:pt idx="658">
                    <c:v>19-Dec</c:v>
                  </c:pt>
                  <c:pt idx="659">
                    <c:v>20-Dec</c:v>
                  </c:pt>
                  <c:pt idx="660">
                    <c:v>21-Dec</c:v>
                  </c:pt>
                  <c:pt idx="661">
                    <c:v>22-Dec</c:v>
                  </c:pt>
                  <c:pt idx="662">
                    <c:v>23-Dec</c:v>
                  </c:pt>
                  <c:pt idx="663">
                    <c:v>24-Dec</c:v>
                  </c:pt>
                  <c:pt idx="664">
                    <c:v>25-Dec</c:v>
                  </c:pt>
                  <c:pt idx="665">
                    <c:v>26-Dec</c:v>
                  </c:pt>
                  <c:pt idx="666">
                    <c:v>27-Dec</c:v>
                  </c:pt>
                  <c:pt idx="667">
                    <c:v>28-Dec</c:v>
                  </c:pt>
                  <c:pt idx="668">
                    <c:v>29-Dec</c:v>
                  </c:pt>
                  <c:pt idx="669">
                    <c:v>30-Dec</c:v>
                  </c:pt>
                  <c:pt idx="670">
                    <c:v>31-Dec</c:v>
                  </c:pt>
                  <c:pt idx="671">
                    <c:v>1-Jan</c:v>
                  </c:pt>
                  <c:pt idx="672">
                    <c:v>2-Jan</c:v>
                  </c:pt>
                  <c:pt idx="673">
                    <c:v>3-Jan</c:v>
                  </c:pt>
                  <c:pt idx="674">
                    <c:v>4-Jan</c:v>
                  </c:pt>
                  <c:pt idx="675">
                    <c:v>5-Jan</c:v>
                  </c:pt>
                  <c:pt idx="676">
                    <c:v>6-Jan</c:v>
                  </c:pt>
                  <c:pt idx="677">
                    <c:v>7-Jan</c:v>
                  </c:pt>
                  <c:pt idx="678">
                    <c:v>8-Jan</c:v>
                  </c:pt>
                  <c:pt idx="679">
                    <c:v>9-Jan</c:v>
                  </c:pt>
                  <c:pt idx="680">
                    <c:v>10-Jan</c:v>
                  </c:pt>
                  <c:pt idx="681">
                    <c:v>11-Jan</c:v>
                  </c:pt>
                  <c:pt idx="682">
                    <c:v>12-Jan</c:v>
                  </c:pt>
                  <c:pt idx="683">
                    <c:v>13-Jan</c:v>
                  </c:pt>
                  <c:pt idx="684">
                    <c:v>14-Jan</c:v>
                  </c:pt>
                  <c:pt idx="685">
                    <c:v>15-Jan</c:v>
                  </c:pt>
                  <c:pt idx="686">
                    <c:v>16-Jan</c:v>
                  </c:pt>
                  <c:pt idx="687">
                    <c:v>17-Jan</c:v>
                  </c:pt>
                  <c:pt idx="688">
                    <c:v>18-Jan</c:v>
                  </c:pt>
                  <c:pt idx="689">
                    <c:v>19-Jan</c:v>
                  </c:pt>
                  <c:pt idx="690">
                    <c:v>20-Jan</c:v>
                  </c:pt>
                  <c:pt idx="691">
                    <c:v>21-Jan</c:v>
                  </c:pt>
                  <c:pt idx="692">
                    <c:v>22-Jan</c:v>
                  </c:pt>
                  <c:pt idx="693">
                    <c:v>23-Jan</c:v>
                  </c:pt>
                  <c:pt idx="694">
                    <c:v>24-Jan</c:v>
                  </c:pt>
                  <c:pt idx="695">
                    <c:v>25-Jan</c:v>
                  </c:pt>
                  <c:pt idx="696">
                    <c:v>26-Jan</c:v>
                  </c:pt>
                  <c:pt idx="697">
                    <c:v>27-Jan</c:v>
                  </c:pt>
                  <c:pt idx="698">
                    <c:v>28-Jan</c:v>
                  </c:pt>
                  <c:pt idx="699">
                    <c:v>29-Jan</c:v>
                  </c:pt>
                  <c:pt idx="700">
                    <c:v>30-Jan</c:v>
                  </c:pt>
                  <c:pt idx="701">
                    <c:v>31-Jan</c:v>
                  </c:pt>
                  <c:pt idx="702">
                    <c:v>1-Feb</c:v>
                  </c:pt>
                  <c:pt idx="703">
                    <c:v>2-Feb</c:v>
                  </c:pt>
                  <c:pt idx="704">
                    <c:v>3-Feb</c:v>
                  </c:pt>
                  <c:pt idx="705">
                    <c:v>4-Feb</c:v>
                  </c:pt>
                  <c:pt idx="706">
                    <c:v>5-Feb</c:v>
                  </c:pt>
                  <c:pt idx="707">
                    <c:v>6-Feb</c:v>
                  </c:pt>
                  <c:pt idx="708">
                    <c:v>7-Feb</c:v>
                  </c:pt>
                  <c:pt idx="709">
                    <c:v>8-Feb</c:v>
                  </c:pt>
                  <c:pt idx="710">
                    <c:v>9-Feb</c:v>
                  </c:pt>
                  <c:pt idx="711">
                    <c:v>10-Feb</c:v>
                  </c:pt>
                  <c:pt idx="712">
                    <c:v>11-Feb</c:v>
                  </c:pt>
                  <c:pt idx="713">
                    <c:v>12-Feb</c:v>
                  </c:pt>
                  <c:pt idx="714">
                    <c:v>13-Feb</c:v>
                  </c:pt>
                  <c:pt idx="715">
                    <c:v>14-Feb</c:v>
                  </c:pt>
                  <c:pt idx="716">
                    <c:v>15-Feb</c:v>
                  </c:pt>
                  <c:pt idx="717">
                    <c:v>16-Feb</c:v>
                  </c:pt>
                  <c:pt idx="718">
                    <c:v>17-Feb</c:v>
                  </c:pt>
                  <c:pt idx="719">
                    <c:v>18-Feb</c:v>
                  </c:pt>
                  <c:pt idx="720">
                    <c:v>19-Feb</c:v>
                  </c:pt>
                  <c:pt idx="721">
                    <c:v>20-Feb</c:v>
                  </c:pt>
                  <c:pt idx="722">
                    <c:v>21-Feb</c:v>
                  </c:pt>
                  <c:pt idx="723">
                    <c:v>22-Feb</c:v>
                  </c:pt>
                  <c:pt idx="724">
                    <c:v>23-Feb</c:v>
                  </c:pt>
                  <c:pt idx="725">
                    <c:v>24-Feb</c:v>
                  </c:pt>
                  <c:pt idx="726">
                    <c:v>25-Feb</c:v>
                  </c:pt>
                  <c:pt idx="727">
                    <c:v>26-Feb</c:v>
                  </c:pt>
                  <c:pt idx="728">
                    <c:v>27-Feb</c:v>
                  </c:pt>
                  <c:pt idx="729">
                    <c:v>28-Feb</c:v>
                  </c:pt>
                  <c:pt idx="730">
                    <c:v>1-Mar</c:v>
                  </c:pt>
                  <c:pt idx="731">
                    <c:v>2-Mar</c:v>
                  </c:pt>
                  <c:pt idx="732">
                    <c:v>3-Mar</c:v>
                  </c:pt>
                  <c:pt idx="733">
                    <c:v>4-Mar</c:v>
                  </c:pt>
                  <c:pt idx="734">
                    <c:v>5-Mar</c:v>
                  </c:pt>
                  <c:pt idx="735">
                    <c:v>6-Mar</c:v>
                  </c:pt>
                  <c:pt idx="736">
                    <c:v>7-Mar</c:v>
                  </c:pt>
                  <c:pt idx="737">
                    <c:v>8-Mar</c:v>
                  </c:pt>
                  <c:pt idx="738">
                    <c:v>9-Mar</c:v>
                  </c:pt>
                  <c:pt idx="739">
                    <c:v>10-Mar</c:v>
                  </c:pt>
                  <c:pt idx="740">
                    <c:v>11-Mar</c:v>
                  </c:pt>
                  <c:pt idx="741">
                    <c:v>12-Mar</c:v>
                  </c:pt>
                  <c:pt idx="742">
                    <c:v>13-Mar</c:v>
                  </c:pt>
                  <c:pt idx="743">
                    <c:v>14-Mar</c:v>
                  </c:pt>
                  <c:pt idx="744">
                    <c:v>15-Mar</c:v>
                  </c:pt>
                  <c:pt idx="745">
                    <c:v>16-Mar</c:v>
                  </c:pt>
                  <c:pt idx="746">
                    <c:v>17-Mar</c:v>
                  </c:pt>
                  <c:pt idx="747">
                    <c:v>18-Mar</c:v>
                  </c:pt>
                  <c:pt idx="748">
                    <c:v>19-Mar</c:v>
                  </c:pt>
                  <c:pt idx="749">
                    <c:v>20-Mar</c:v>
                  </c:pt>
                  <c:pt idx="750">
                    <c:v>21-Mar</c:v>
                  </c:pt>
                  <c:pt idx="751">
                    <c:v>22-Mar</c:v>
                  </c:pt>
                  <c:pt idx="752">
                    <c:v>23-Mar</c:v>
                  </c:pt>
                  <c:pt idx="753">
                    <c:v>24-Mar</c:v>
                  </c:pt>
                  <c:pt idx="754">
                    <c:v>25-Mar</c:v>
                  </c:pt>
                  <c:pt idx="755">
                    <c:v>26-Mar</c:v>
                  </c:pt>
                </c:lvl>
                <c:lvl>
                  <c:pt idx="0">
                    <c:v>Mar</c:v>
                  </c:pt>
                  <c:pt idx="31">
                    <c:v>Apr</c:v>
                  </c:pt>
                  <c:pt idx="61">
                    <c:v>May</c:v>
                  </c:pt>
                  <c:pt idx="92">
                    <c:v>Jun</c:v>
                  </c:pt>
                  <c:pt idx="122">
                    <c:v>Jul</c:v>
                  </c:pt>
                  <c:pt idx="153">
                    <c:v>Aug</c:v>
                  </c:pt>
                  <c:pt idx="184">
                    <c:v>Sep</c:v>
                  </c:pt>
                  <c:pt idx="214">
                    <c:v>Oct</c:v>
                  </c:pt>
                  <c:pt idx="245">
                    <c:v>Nov</c:v>
                  </c:pt>
                  <c:pt idx="275">
                    <c:v>Dec</c:v>
                  </c:pt>
                  <c:pt idx="306">
                    <c:v>Jan</c:v>
                  </c:pt>
                  <c:pt idx="337">
                    <c:v>Feb</c:v>
                  </c:pt>
                  <c:pt idx="365">
                    <c:v>Mar</c:v>
                  </c:pt>
                  <c:pt idx="396">
                    <c:v>Apr</c:v>
                  </c:pt>
                  <c:pt idx="426">
                    <c:v>May</c:v>
                  </c:pt>
                  <c:pt idx="457">
                    <c:v>Jun</c:v>
                  </c:pt>
                  <c:pt idx="487">
                    <c:v>July</c:v>
                  </c:pt>
                  <c:pt idx="518">
                    <c:v>Aug</c:v>
                  </c:pt>
                  <c:pt idx="549">
                    <c:v>Sep</c:v>
                  </c:pt>
                  <c:pt idx="579">
                    <c:v>Occt</c:v>
                  </c:pt>
                  <c:pt idx="610">
                    <c:v>Nov</c:v>
                  </c:pt>
                  <c:pt idx="640">
                    <c:v>Dec</c:v>
                  </c:pt>
                  <c:pt idx="671">
                    <c:v>Jan</c:v>
                  </c:pt>
                  <c:pt idx="702">
                    <c:v>Feb</c:v>
                  </c:pt>
                  <c:pt idx="730">
                    <c:v>Mar</c:v>
                  </c:pt>
                </c:lvl>
                <c:lvl>
                  <c:pt idx="0">
                    <c:v>FY20</c:v>
                  </c:pt>
                  <c:pt idx="31">
                    <c:v>FY21</c:v>
                  </c:pt>
                  <c:pt idx="396">
                    <c:v>FY22</c:v>
                  </c:pt>
                </c:lvl>
              </c:multiLvlStrCache>
            </c:multiLvlStrRef>
          </c:cat>
          <c:val>
            <c:numRef>
              <c:f>charts!$D$2:$D$757</c:f>
              <c:numCache>
                <c:formatCode>0.0</c:formatCode>
                <c:ptCount val="756"/>
                <c:pt idx="0">
                  <c:v>-0.5714285714285714</c:v>
                </c:pt>
                <c:pt idx="1">
                  <c:v>-0.42857142857142855</c:v>
                </c:pt>
                <c:pt idx="2">
                  <c:v>-0.42857142857142855</c:v>
                </c:pt>
                <c:pt idx="3">
                  <c:v>-0.42857142857142855</c:v>
                </c:pt>
                <c:pt idx="4">
                  <c:v>-0.42857142857142855</c:v>
                </c:pt>
                <c:pt idx="5">
                  <c:v>-0.5714285714285714</c:v>
                </c:pt>
                <c:pt idx="6">
                  <c:v>-0.2857142857142857</c:v>
                </c:pt>
                <c:pt idx="7">
                  <c:v>-0.14285714285714285</c:v>
                </c:pt>
                <c:pt idx="8">
                  <c:v>-0.2857142857142857</c:v>
                </c:pt>
                <c:pt idx="9">
                  <c:v>-2.8571428571428572</c:v>
                </c:pt>
                <c:pt idx="10">
                  <c:v>-3.5714285714285716</c:v>
                </c:pt>
                <c:pt idx="11">
                  <c:v>-3.8571428571428572</c:v>
                </c:pt>
                <c:pt idx="12">
                  <c:v>-4.4285714285714288</c:v>
                </c:pt>
                <c:pt idx="13">
                  <c:v>-6</c:v>
                </c:pt>
                <c:pt idx="14">
                  <c:v>-7.8571428571428568</c:v>
                </c:pt>
                <c:pt idx="15">
                  <c:v>-8.8571428571428577</c:v>
                </c:pt>
                <c:pt idx="16">
                  <c:v>-7.7142857142857144</c:v>
                </c:pt>
                <c:pt idx="17">
                  <c:v>-8.7142857142857135</c:v>
                </c:pt>
                <c:pt idx="18">
                  <c:v>-10.571428571428571</c:v>
                </c:pt>
                <c:pt idx="19">
                  <c:v>-13</c:v>
                </c:pt>
                <c:pt idx="20">
                  <c:v>-16.285714285714285</c:v>
                </c:pt>
                <c:pt idx="21">
                  <c:v>-25.857142857142858</c:v>
                </c:pt>
                <c:pt idx="22">
                  <c:v>-32.428571428571431</c:v>
                </c:pt>
                <c:pt idx="23">
                  <c:v>-40.571428571428569</c:v>
                </c:pt>
                <c:pt idx="24">
                  <c:v>-49.857142857142854</c:v>
                </c:pt>
                <c:pt idx="25">
                  <c:v>-58.428571428571431</c:v>
                </c:pt>
                <c:pt idx="26">
                  <c:v>-66.285714285714292</c:v>
                </c:pt>
                <c:pt idx="27">
                  <c:v>-72.571428571428569</c:v>
                </c:pt>
                <c:pt idx="28">
                  <c:v>-72.428571428571431</c:v>
                </c:pt>
                <c:pt idx="29">
                  <c:v>-75.571428571428569</c:v>
                </c:pt>
                <c:pt idx="30">
                  <c:v>-76.571428571428569</c:v>
                </c:pt>
                <c:pt idx="31">
                  <c:v>-76.428571428571431</c:v>
                </c:pt>
                <c:pt idx="32">
                  <c:v>-76.428571428571431</c:v>
                </c:pt>
                <c:pt idx="33">
                  <c:v>-76.285714285714292</c:v>
                </c:pt>
                <c:pt idx="34">
                  <c:v>-76.142857142857139</c:v>
                </c:pt>
                <c:pt idx="35">
                  <c:v>-76.142857142857139</c:v>
                </c:pt>
                <c:pt idx="36">
                  <c:v>-76.142857142857139</c:v>
                </c:pt>
                <c:pt idx="37">
                  <c:v>-76.571428571428569</c:v>
                </c:pt>
                <c:pt idx="38">
                  <c:v>-76.857142857142861</c:v>
                </c:pt>
                <c:pt idx="39">
                  <c:v>-77.142857142857139</c:v>
                </c:pt>
                <c:pt idx="40">
                  <c:v>-77.571428571428569</c:v>
                </c:pt>
                <c:pt idx="41">
                  <c:v>-78</c:v>
                </c:pt>
                <c:pt idx="42">
                  <c:v>-78.285714285714292</c:v>
                </c:pt>
                <c:pt idx="43">
                  <c:v>-78.571428571428569</c:v>
                </c:pt>
                <c:pt idx="44">
                  <c:v>-78.571428571428569</c:v>
                </c:pt>
                <c:pt idx="45">
                  <c:v>-78.571428571428569</c:v>
                </c:pt>
                <c:pt idx="46">
                  <c:v>-79.571428571428569</c:v>
                </c:pt>
                <c:pt idx="47">
                  <c:v>-80.428571428571431</c:v>
                </c:pt>
                <c:pt idx="48">
                  <c:v>-81.428571428571431</c:v>
                </c:pt>
                <c:pt idx="49">
                  <c:v>-82.428571428571431</c:v>
                </c:pt>
                <c:pt idx="50">
                  <c:v>-83.571428571428569</c:v>
                </c:pt>
                <c:pt idx="51">
                  <c:v>-84.571428571428569</c:v>
                </c:pt>
                <c:pt idx="52">
                  <c:v>-85.714285714285708</c:v>
                </c:pt>
                <c:pt idx="53">
                  <c:v>-85.857142857142861</c:v>
                </c:pt>
                <c:pt idx="54">
                  <c:v>-85.857142857142861</c:v>
                </c:pt>
                <c:pt idx="55">
                  <c:v>-85.714285714285708</c:v>
                </c:pt>
                <c:pt idx="56">
                  <c:v>-85.714285714285708</c:v>
                </c:pt>
                <c:pt idx="57">
                  <c:v>-85.571428571428569</c:v>
                </c:pt>
                <c:pt idx="58">
                  <c:v>-85.571428571428569</c:v>
                </c:pt>
                <c:pt idx="59">
                  <c:v>-85.428571428571431</c:v>
                </c:pt>
                <c:pt idx="60">
                  <c:v>-85.142857142857139</c:v>
                </c:pt>
                <c:pt idx="61">
                  <c:v>-85.142857142857139</c:v>
                </c:pt>
                <c:pt idx="62">
                  <c:v>-85</c:v>
                </c:pt>
                <c:pt idx="63">
                  <c:v>-84.857142857142861</c:v>
                </c:pt>
                <c:pt idx="64">
                  <c:v>-84.285714285714292</c:v>
                </c:pt>
                <c:pt idx="65">
                  <c:v>-83.714285714285708</c:v>
                </c:pt>
                <c:pt idx="66">
                  <c:v>-82.857142857142861</c:v>
                </c:pt>
                <c:pt idx="67">
                  <c:v>-82.142857142857139</c:v>
                </c:pt>
                <c:pt idx="68">
                  <c:v>-81.285714285714292</c:v>
                </c:pt>
                <c:pt idx="69">
                  <c:v>-80.571428571428569</c:v>
                </c:pt>
                <c:pt idx="70">
                  <c:v>-80.142857142857139</c:v>
                </c:pt>
                <c:pt idx="71">
                  <c:v>-79.714285714285708</c:v>
                </c:pt>
                <c:pt idx="72">
                  <c:v>-79.285714285714292</c:v>
                </c:pt>
                <c:pt idx="73">
                  <c:v>-79</c:v>
                </c:pt>
                <c:pt idx="74">
                  <c:v>-78.714285714285708</c:v>
                </c:pt>
                <c:pt idx="75">
                  <c:v>-78.285714285714292</c:v>
                </c:pt>
                <c:pt idx="76">
                  <c:v>-77.857142857142861</c:v>
                </c:pt>
                <c:pt idx="77">
                  <c:v>-77.428571428571431</c:v>
                </c:pt>
                <c:pt idx="78">
                  <c:v>-76.857142857142861</c:v>
                </c:pt>
                <c:pt idx="79">
                  <c:v>-76.142857142857139</c:v>
                </c:pt>
                <c:pt idx="80">
                  <c:v>-75.428571428571431</c:v>
                </c:pt>
                <c:pt idx="81">
                  <c:v>-74.714285714285708</c:v>
                </c:pt>
                <c:pt idx="82">
                  <c:v>-74.142857142857139</c:v>
                </c:pt>
                <c:pt idx="83">
                  <c:v>-73.428571428571431</c:v>
                </c:pt>
                <c:pt idx="84">
                  <c:v>-73</c:v>
                </c:pt>
                <c:pt idx="85">
                  <c:v>-72.571428571428569</c:v>
                </c:pt>
                <c:pt idx="86">
                  <c:v>-72.142857142857139</c:v>
                </c:pt>
                <c:pt idx="87">
                  <c:v>-71.714285714285708</c:v>
                </c:pt>
                <c:pt idx="88">
                  <c:v>-71.285714285714292</c:v>
                </c:pt>
                <c:pt idx="89">
                  <c:v>-70.857142857142861</c:v>
                </c:pt>
                <c:pt idx="90">
                  <c:v>-70.428571428571431</c:v>
                </c:pt>
                <c:pt idx="91">
                  <c:v>-70</c:v>
                </c:pt>
                <c:pt idx="92">
                  <c:v>-69.142857142857139</c:v>
                </c:pt>
                <c:pt idx="93">
                  <c:v>-68.428571428571431</c:v>
                </c:pt>
                <c:pt idx="94">
                  <c:v>-67.857142857142861</c:v>
                </c:pt>
                <c:pt idx="95">
                  <c:v>-67.142857142857139</c:v>
                </c:pt>
                <c:pt idx="96">
                  <c:v>-66.142857142857139</c:v>
                </c:pt>
                <c:pt idx="97">
                  <c:v>-65.285714285714292</c:v>
                </c:pt>
                <c:pt idx="98">
                  <c:v>-64.428571428571431</c:v>
                </c:pt>
                <c:pt idx="99">
                  <c:v>-63.571428571428569</c:v>
                </c:pt>
                <c:pt idx="100">
                  <c:v>-62.714285714285715</c:v>
                </c:pt>
                <c:pt idx="101">
                  <c:v>-61.714285714285715</c:v>
                </c:pt>
                <c:pt idx="102">
                  <c:v>-60.714285714285715</c:v>
                </c:pt>
                <c:pt idx="103">
                  <c:v>-60</c:v>
                </c:pt>
                <c:pt idx="104">
                  <c:v>-59.428571428571431</c:v>
                </c:pt>
                <c:pt idx="105">
                  <c:v>-59</c:v>
                </c:pt>
                <c:pt idx="106">
                  <c:v>-58.571428571428569</c:v>
                </c:pt>
                <c:pt idx="107">
                  <c:v>-58.285714285714285</c:v>
                </c:pt>
                <c:pt idx="108">
                  <c:v>-58</c:v>
                </c:pt>
                <c:pt idx="109">
                  <c:v>-58</c:v>
                </c:pt>
                <c:pt idx="110">
                  <c:v>-58</c:v>
                </c:pt>
                <c:pt idx="111">
                  <c:v>-58</c:v>
                </c:pt>
                <c:pt idx="112">
                  <c:v>-58.571428571428569</c:v>
                </c:pt>
                <c:pt idx="113">
                  <c:v>-58.428571428571431</c:v>
                </c:pt>
                <c:pt idx="114">
                  <c:v>-58.285714285714285</c:v>
                </c:pt>
                <c:pt idx="115">
                  <c:v>-58.285714285714285</c:v>
                </c:pt>
                <c:pt idx="116">
                  <c:v>-58.428571428571431</c:v>
                </c:pt>
                <c:pt idx="117">
                  <c:v>-58.571428571428569</c:v>
                </c:pt>
                <c:pt idx="118">
                  <c:v>-58.714285714285715</c:v>
                </c:pt>
                <c:pt idx="119">
                  <c:v>-58.285714285714285</c:v>
                </c:pt>
                <c:pt idx="120">
                  <c:v>-58.571428571428569</c:v>
                </c:pt>
                <c:pt idx="121">
                  <c:v>-58.428571428571431</c:v>
                </c:pt>
                <c:pt idx="122">
                  <c:v>-58.428571428571431</c:v>
                </c:pt>
                <c:pt idx="123">
                  <c:v>-58.142857142857146</c:v>
                </c:pt>
                <c:pt idx="124">
                  <c:v>-58</c:v>
                </c:pt>
                <c:pt idx="125">
                  <c:v>-57.857142857142854</c:v>
                </c:pt>
                <c:pt idx="126">
                  <c:v>-58.285714285714285</c:v>
                </c:pt>
                <c:pt idx="127">
                  <c:v>-58.142857142857146</c:v>
                </c:pt>
                <c:pt idx="128">
                  <c:v>-58.285714285714285</c:v>
                </c:pt>
                <c:pt idx="129">
                  <c:v>-58.285714285714285</c:v>
                </c:pt>
                <c:pt idx="130">
                  <c:v>-58.428571428571431</c:v>
                </c:pt>
                <c:pt idx="131">
                  <c:v>-58.428571428571431</c:v>
                </c:pt>
                <c:pt idx="132">
                  <c:v>-58.714285714285715</c:v>
                </c:pt>
                <c:pt idx="133">
                  <c:v>-59.142857142857146</c:v>
                </c:pt>
                <c:pt idx="134">
                  <c:v>-59</c:v>
                </c:pt>
                <c:pt idx="135">
                  <c:v>-59.285714285714285</c:v>
                </c:pt>
                <c:pt idx="136">
                  <c:v>-59.714285714285715</c:v>
                </c:pt>
                <c:pt idx="137">
                  <c:v>-60</c:v>
                </c:pt>
                <c:pt idx="138">
                  <c:v>-60.285714285714285</c:v>
                </c:pt>
                <c:pt idx="139">
                  <c:v>-60.714285714285715</c:v>
                </c:pt>
                <c:pt idx="140">
                  <c:v>-60.714285714285715</c:v>
                </c:pt>
                <c:pt idx="141">
                  <c:v>-61.142857142857146</c:v>
                </c:pt>
                <c:pt idx="142">
                  <c:v>-61.285714285714285</c:v>
                </c:pt>
                <c:pt idx="143">
                  <c:v>-61</c:v>
                </c:pt>
                <c:pt idx="144">
                  <c:v>-61</c:v>
                </c:pt>
                <c:pt idx="145">
                  <c:v>-60.714285714285715</c:v>
                </c:pt>
                <c:pt idx="146">
                  <c:v>-60.714285714285715</c:v>
                </c:pt>
                <c:pt idx="147">
                  <c:v>-60.571428571428569</c:v>
                </c:pt>
                <c:pt idx="148">
                  <c:v>-60.285714285714285</c:v>
                </c:pt>
                <c:pt idx="149">
                  <c:v>-60</c:v>
                </c:pt>
                <c:pt idx="150">
                  <c:v>-60</c:v>
                </c:pt>
                <c:pt idx="151">
                  <c:v>-59.285714285714285</c:v>
                </c:pt>
                <c:pt idx="152">
                  <c:v>-58.857142857142854</c:v>
                </c:pt>
                <c:pt idx="153">
                  <c:v>-58.142857142857146</c:v>
                </c:pt>
                <c:pt idx="154">
                  <c:v>-56.857142857142854</c:v>
                </c:pt>
                <c:pt idx="155">
                  <c:v>-56.714285714285715</c:v>
                </c:pt>
                <c:pt idx="156">
                  <c:v>-56.428571428571431</c:v>
                </c:pt>
                <c:pt idx="157">
                  <c:v>-56</c:v>
                </c:pt>
                <c:pt idx="158">
                  <c:v>-55.571428571428569</c:v>
                </c:pt>
                <c:pt idx="159">
                  <c:v>-55</c:v>
                </c:pt>
                <c:pt idx="160">
                  <c:v>-54.571428571428569</c:v>
                </c:pt>
                <c:pt idx="161">
                  <c:v>-54.714285714285715</c:v>
                </c:pt>
                <c:pt idx="162">
                  <c:v>-53.428571428571431</c:v>
                </c:pt>
                <c:pt idx="163">
                  <c:v>-52.428571428571431</c:v>
                </c:pt>
                <c:pt idx="164">
                  <c:v>-51.714285714285715</c:v>
                </c:pt>
                <c:pt idx="165">
                  <c:v>-51.571428571428569</c:v>
                </c:pt>
                <c:pt idx="166">
                  <c:v>-51.142857142857146</c:v>
                </c:pt>
                <c:pt idx="167">
                  <c:v>-51.142857142857146</c:v>
                </c:pt>
                <c:pt idx="168">
                  <c:v>-51</c:v>
                </c:pt>
                <c:pt idx="169">
                  <c:v>-51</c:v>
                </c:pt>
                <c:pt idx="170">
                  <c:v>-50.857142857142854</c:v>
                </c:pt>
                <c:pt idx="171">
                  <c:v>-50.571428571428569</c:v>
                </c:pt>
                <c:pt idx="172">
                  <c:v>-50.428571428571431</c:v>
                </c:pt>
                <c:pt idx="173">
                  <c:v>-50.428571428571431</c:v>
                </c:pt>
                <c:pt idx="174">
                  <c:v>-50.428571428571431</c:v>
                </c:pt>
                <c:pt idx="175">
                  <c:v>-50.428571428571431</c:v>
                </c:pt>
                <c:pt idx="176">
                  <c:v>-50.285714285714285</c:v>
                </c:pt>
                <c:pt idx="177">
                  <c:v>-50</c:v>
                </c:pt>
                <c:pt idx="178">
                  <c:v>-49.857142857142854</c:v>
                </c:pt>
                <c:pt idx="179">
                  <c:v>-49.714285714285715</c:v>
                </c:pt>
                <c:pt idx="180">
                  <c:v>-49.571428571428569</c:v>
                </c:pt>
                <c:pt idx="181">
                  <c:v>-49</c:v>
                </c:pt>
                <c:pt idx="182">
                  <c:v>-48.571428571428569</c:v>
                </c:pt>
                <c:pt idx="183">
                  <c:v>-48.571428571428569</c:v>
                </c:pt>
                <c:pt idx="184">
                  <c:v>-48.428571428571431</c:v>
                </c:pt>
                <c:pt idx="185">
                  <c:v>-48.142857142857146</c:v>
                </c:pt>
                <c:pt idx="186">
                  <c:v>-47.571428571428569</c:v>
                </c:pt>
                <c:pt idx="187">
                  <c:v>-47.142857142857146</c:v>
                </c:pt>
                <c:pt idx="188">
                  <c:v>-46.285714285714285</c:v>
                </c:pt>
                <c:pt idx="189">
                  <c:v>-45.285714285714285</c:v>
                </c:pt>
                <c:pt idx="190">
                  <c:v>-45</c:v>
                </c:pt>
                <c:pt idx="191">
                  <c:v>-44.714285714285715</c:v>
                </c:pt>
                <c:pt idx="192">
                  <c:v>-44.571428571428569</c:v>
                </c:pt>
                <c:pt idx="193">
                  <c:v>-44.428571428571431</c:v>
                </c:pt>
                <c:pt idx="194">
                  <c:v>-44.428571428571431</c:v>
                </c:pt>
                <c:pt idx="195">
                  <c:v>-43.857142857142854</c:v>
                </c:pt>
                <c:pt idx="196">
                  <c:v>-43.142857142857146</c:v>
                </c:pt>
                <c:pt idx="197">
                  <c:v>-42.428571428571431</c:v>
                </c:pt>
                <c:pt idx="198">
                  <c:v>-42</c:v>
                </c:pt>
                <c:pt idx="199">
                  <c:v>-41.285714285714285</c:v>
                </c:pt>
                <c:pt idx="200">
                  <c:v>-40.714285714285715</c:v>
                </c:pt>
                <c:pt idx="201">
                  <c:v>-40</c:v>
                </c:pt>
                <c:pt idx="202">
                  <c:v>-39.714285714285715</c:v>
                </c:pt>
                <c:pt idx="203">
                  <c:v>-39.428571428571431</c:v>
                </c:pt>
                <c:pt idx="204">
                  <c:v>-39.142857142857146</c:v>
                </c:pt>
                <c:pt idx="205">
                  <c:v>-39.142857142857146</c:v>
                </c:pt>
                <c:pt idx="206">
                  <c:v>-39.571428571428569</c:v>
                </c:pt>
                <c:pt idx="207">
                  <c:v>-39.857142857142854</c:v>
                </c:pt>
                <c:pt idx="208">
                  <c:v>-40.571428571428569</c:v>
                </c:pt>
                <c:pt idx="209">
                  <c:v>-41</c:v>
                </c:pt>
                <c:pt idx="210">
                  <c:v>-41.142857142857146</c:v>
                </c:pt>
                <c:pt idx="211">
                  <c:v>-41.714285714285715</c:v>
                </c:pt>
                <c:pt idx="212">
                  <c:v>-41.857142857142854</c:v>
                </c:pt>
                <c:pt idx="213">
                  <c:v>-41.571428571428569</c:v>
                </c:pt>
                <c:pt idx="214">
                  <c:v>-41.285714285714285</c:v>
                </c:pt>
                <c:pt idx="215">
                  <c:v>-40.571428571428569</c:v>
                </c:pt>
                <c:pt idx="216">
                  <c:v>-40.142857142857146</c:v>
                </c:pt>
                <c:pt idx="217">
                  <c:v>-39.857142857142854</c:v>
                </c:pt>
                <c:pt idx="218">
                  <c:v>-39.285714285714285</c:v>
                </c:pt>
                <c:pt idx="219">
                  <c:v>-38.714285714285715</c:v>
                </c:pt>
                <c:pt idx="220">
                  <c:v>-38.285714285714285</c:v>
                </c:pt>
                <c:pt idx="221">
                  <c:v>-37.857142857142854</c:v>
                </c:pt>
                <c:pt idx="222">
                  <c:v>-37.428571428571431</c:v>
                </c:pt>
                <c:pt idx="223">
                  <c:v>-37.142857142857146</c:v>
                </c:pt>
                <c:pt idx="224">
                  <c:v>-36.714285714285715</c:v>
                </c:pt>
                <c:pt idx="225">
                  <c:v>-36.428571428571431</c:v>
                </c:pt>
                <c:pt idx="226">
                  <c:v>-36.285714285714285</c:v>
                </c:pt>
                <c:pt idx="227">
                  <c:v>-35.857142857142854</c:v>
                </c:pt>
                <c:pt idx="228">
                  <c:v>-35.285714285714285</c:v>
                </c:pt>
                <c:pt idx="229">
                  <c:v>-34.714285714285715</c:v>
                </c:pt>
                <c:pt idx="230">
                  <c:v>-34.428571428571431</c:v>
                </c:pt>
                <c:pt idx="231">
                  <c:v>-33.857142857142854</c:v>
                </c:pt>
                <c:pt idx="232">
                  <c:v>-33.428571428571431</c:v>
                </c:pt>
                <c:pt idx="233">
                  <c:v>-33</c:v>
                </c:pt>
                <c:pt idx="234">
                  <c:v>-32.428571428571431</c:v>
                </c:pt>
                <c:pt idx="235">
                  <c:v>-32</c:v>
                </c:pt>
                <c:pt idx="236">
                  <c:v>-31.571428571428573</c:v>
                </c:pt>
                <c:pt idx="237">
                  <c:v>-30.857142857142858</c:v>
                </c:pt>
                <c:pt idx="238">
                  <c:v>-30.571428571428573</c:v>
                </c:pt>
                <c:pt idx="239">
                  <c:v>-30.285714285714285</c:v>
                </c:pt>
                <c:pt idx="240">
                  <c:v>-29.857142857142858</c:v>
                </c:pt>
                <c:pt idx="241">
                  <c:v>-29.857142857142858</c:v>
                </c:pt>
                <c:pt idx="242">
                  <c:v>-29.857142857142858</c:v>
                </c:pt>
                <c:pt idx="243">
                  <c:v>-30.142857142857142</c:v>
                </c:pt>
                <c:pt idx="244">
                  <c:v>-30.571428571428573</c:v>
                </c:pt>
                <c:pt idx="245">
                  <c:v>-30.428571428571427</c:v>
                </c:pt>
                <c:pt idx="246">
                  <c:v>-30.285714285714285</c:v>
                </c:pt>
                <c:pt idx="247">
                  <c:v>-29.857142857142858</c:v>
                </c:pt>
                <c:pt idx="248">
                  <c:v>-29.714285714285715</c:v>
                </c:pt>
                <c:pt idx="249">
                  <c:v>-29.714285714285715</c:v>
                </c:pt>
                <c:pt idx="250">
                  <c:v>-29.571428571428573</c:v>
                </c:pt>
                <c:pt idx="251">
                  <c:v>-28.857142857142858</c:v>
                </c:pt>
                <c:pt idx="252">
                  <c:v>-28.285714285714285</c:v>
                </c:pt>
                <c:pt idx="253">
                  <c:v>-28</c:v>
                </c:pt>
                <c:pt idx="254">
                  <c:v>-27.714285714285715</c:v>
                </c:pt>
                <c:pt idx="255">
                  <c:v>-26.857142857142858</c:v>
                </c:pt>
                <c:pt idx="256">
                  <c:v>-25.285714285714285</c:v>
                </c:pt>
                <c:pt idx="257">
                  <c:v>-23.285714285714285</c:v>
                </c:pt>
                <c:pt idx="258">
                  <c:v>-24</c:v>
                </c:pt>
                <c:pt idx="259">
                  <c:v>-25.428571428571427</c:v>
                </c:pt>
                <c:pt idx="260">
                  <c:v>-26</c:v>
                </c:pt>
                <c:pt idx="261">
                  <c:v>-26.571428571428573</c:v>
                </c:pt>
                <c:pt idx="262">
                  <c:v>-27.285714285714285</c:v>
                </c:pt>
                <c:pt idx="263">
                  <c:v>-28.571428571428573</c:v>
                </c:pt>
                <c:pt idx="264">
                  <c:v>-30.428571428571427</c:v>
                </c:pt>
                <c:pt idx="265">
                  <c:v>-30</c:v>
                </c:pt>
                <c:pt idx="266">
                  <c:v>-29</c:v>
                </c:pt>
                <c:pt idx="267">
                  <c:v>-28.571428571428573</c:v>
                </c:pt>
                <c:pt idx="268">
                  <c:v>-28.428571428571427</c:v>
                </c:pt>
                <c:pt idx="269">
                  <c:v>-28.571428571428573</c:v>
                </c:pt>
                <c:pt idx="270">
                  <c:v>-29.428571428571427</c:v>
                </c:pt>
                <c:pt idx="271">
                  <c:v>-29.571428571428573</c:v>
                </c:pt>
                <c:pt idx="272">
                  <c:v>-29.285714285714285</c:v>
                </c:pt>
                <c:pt idx="273">
                  <c:v>-29.142857142857142</c:v>
                </c:pt>
                <c:pt idx="274">
                  <c:v>-29.142857142857142</c:v>
                </c:pt>
                <c:pt idx="275">
                  <c:v>-29</c:v>
                </c:pt>
                <c:pt idx="276">
                  <c:v>-28.857142857142858</c:v>
                </c:pt>
                <c:pt idx="277">
                  <c:v>-28.142857142857142</c:v>
                </c:pt>
                <c:pt idx="278">
                  <c:v>-28</c:v>
                </c:pt>
                <c:pt idx="279">
                  <c:v>-28</c:v>
                </c:pt>
                <c:pt idx="280">
                  <c:v>-27.857142857142858</c:v>
                </c:pt>
                <c:pt idx="281">
                  <c:v>-27.714285714285715</c:v>
                </c:pt>
                <c:pt idx="282">
                  <c:v>-28.857142857142858</c:v>
                </c:pt>
                <c:pt idx="283">
                  <c:v>-28.571428571428573</c:v>
                </c:pt>
                <c:pt idx="284">
                  <c:v>-28.285714285714285</c:v>
                </c:pt>
                <c:pt idx="285">
                  <c:v>-28.285714285714285</c:v>
                </c:pt>
                <c:pt idx="286">
                  <c:v>-28.571428571428573</c:v>
                </c:pt>
                <c:pt idx="287">
                  <c:v>-28.714285714285715</c:v>
                </c:pt>
                <c:pt idx="288">
                  <c:v>-29.142857142857142</c:v>
                </c:pt>
                <c:pt idx="289">
                  <c:v>-28.142857142857142</c:v>
                </c:pt>
                <c:pt idx="290">
                  <c:v>-28.428571428571427</c:v>
                </c:pt>
                <c:pt idx="291">
                  <c:v>-28.714285714285715</c:v>
                </c:pt>
                <c:pt idx="292">
                  <c:v>-28.714285714285715</c:v>
                </c:pt>
                <c:pt idx="293">
                  <c:v>-28.571428571428573</c:v>
                </c:pt>
                <c:pt idx="294">
                  <c:v>-28.428571428571427</c:v>
                </c:pt>
                <c:pt idx="295">
                  <c:v>-28.142857142857142</c:v>
                </c:pt>
                <c:pt idx="296">
                  <c:v>-28.142857142857142</c:v>
                </c:pt>
                <c:pt idx="297">
                  <c:v>-27.857142857142858</c:v>
                </c:pt>
                <c:pt idx="298">
                  <c:v>-27.285714285714285</c:v>
                </c:pt>
                <c:pt idx="299">
                  <c:v>-26.428571428571427</c:v>
                </c:pt>
                <c:pt idx="300">
                  <c:v>-26.571428571428573</c:v>
                </c:pt>
                <c:pt idx="301">
                  <c:v>-26.714285714285715</c:v>
                </c:pt>
                <c:pt idx="302">
                  <c:v>-26.571428571428573</c:v>
                </c:pt>
                <c:pt idx="303">
                  <c:v>-26.571428571428573</c:v>
                </c:pt>
                <c:pt idx="304" formatCode="General">
                  <c:v>-26.571428571428573</c:v>
                </c:pt>
                <c:pt idx="305" formatCode="General">
                  <c:v>-25.714285714285715</c:v>
                </c:pt>
                <c:pt idx="306" formatCode="General">
                  <c:v>-25.857142857142858</c:v>
                </c:pt>
                <c:pt idx="307" formatCode="General">
                  <c:v>-25.857142857142858</c:v>
                </c:pt>
                <c:pt idx="308" formatCode="General">
                  <c:v>-26</c:v>
                </c:pt>
                <c:pt idx="309" formatCode="General">
                  <c:v>-26.285714285714285</c:v>
                </c:pt>
                <c:pt idx="310" formatCode="General">
                  <c:v>-26.571428571428573</c:v>
                </c:pt>
                <c:pt idx="311" formatCode="General">
                  <c:v>-26.714285714285715</c:v>
                </c:pt>
                <c:pt idx="312" formatCode="General">
                  <c:v>-27.714285714285715</c:v>
                </c:pt>
                <c:pt idx="313" formatCode="General">
                  <c:v>-28</c:v>
                </c:pt>
                <c:pt idx="314" formatCode="General">
                  <c:v>-27.428571428571427</c:v>
                </c:pt>
                <c:pt idx="315" formatCode="General">
                  <c:v>-26.571428571428573</c:v>
                </c:pt>
                <c:pt idx="316" formatCode="General">
                  <c:v>-26</c:v>
                </c:pt>
                <c:pt idx="317" formatCode="General">
                  <c:v>-25.285714285714285</c:v>
                </c:pt>
                <c:pt idx="318" formatCode="General">
                  <c:v>-25</c:v>
                </c:pt>
                <c:pt idx="319" formatCode="General">
                  <c:v>-26.142857142857142</c:v>
                </c:pt>
                <c:pt idx="320" formatCode="General">
                  <c:v>-27.285714285714285</c:v>
                </c:pt>
                <c:pt idx="321" formatCode="General">
                  <c:v>-28.142857142857142</c:v>
                </c:pt>
                <c:pt idx="322" formatCode="General">
                  <c:v>-29</c:v>
                </c:pt>
                <c:pt idx="323" formatCode="General">
                  <c:v>-29.571428571428573</c:v>
                </c:pt>
                <c:pt idx="324" formatCode="General">
                  <c:v>-30.142857142857142</c:v>
                </c:pt>
                <c:pt idx="325" formatCode="General">
                  <c:v>-30.571428571428573</c:v>
                </c:pt>
                <c:pt idx="326" formatCode="General">
                  <c:v>-29.714285714285715</c:v>
                </c:pt>
                <c:pt idx="327" formatCode="General">
                  <c:v>-28.857142857142858</c:v>
                </c:pt>
                <c:pt idx="328" formatCode="General">
                  <c:v>-28.285714285714285</c:v>
                </c:pt>
                <c:pt idx="329" formatCode="General">
                  <c:v>-27.857142857142858</c:v>
                </c:pt>
                <c:pt idx="330" formatCode="General">
                  <c:v>-27.285714285714285</c:v>
                </c:pt>
                <c:pt idx="331" formatCode="General">
                  <c:v>-26.857142857142858</c:v>
                </c:pt>
                <c:pt idx="332" formatCode="General">
                  <c:v>-26.857142857142858</c:v>
                </c:pt>
                <c:pt idx="333" formatCode="General">
                  <c:v>-26.857142857142858</c:v>
                </c:pt>
                <c:pt idx="334" formatCode="General">
                  <c:v>-26.857142857142858</c:v>
                </c:pt>
                <c:pt idx="335" formatCode="General">
                  <c:v>-26.714285714285715</c:v>
                </c:pt>
                <c:pt idx="336" formatCode="General">
                  <c:v>-26.571428571428573</c:v>
                </c:pt>
                <c:pt idx="337" formatCode="General">
                  <c:v>-26.714285714285715</c:v>
                </c:pt>
                <c:pt idx="338" formatCode="General">
                  <c:v>-26.571428571428573</c:v>
                </c:pt>
                <c:pt idx="339" formatCode="General">
                  <c:v>-26.285714285714285</c:v>
                </c:pt>
                <c:pt idx="340" formatCode="General">
                  <c:v>-26.142857142857142</c:v>
                </c:pt>
                <c:pt idx="341" formatCode="General">
                  <c:v>-25.857142857142858</c:v>
                </c:pt>
                <c:pt idx="342" formatCode="General">
                  <c:v>-25.571428571428573</c:v>
                </c:pt>
                <c:pt idx="343" formatCode="General">
                  <c:v>-25.142857142857142</c:v>
                </c:pt>
                <c:pt idx="344" formatCode="General">
                  <c:v>-25</c:v>
                </c:pt>
                <c:pt idx="345" formatCode="General">
                  <c:v>-24.857142857142858</c:v>
                </c:pt>
                <c:pt idx="346" formatCode="General">
                  <c:v>-24.428571428571427</c:v>
                </c:pt>
                <c:pt idx="347" formatCode="General">
                  <c:v>-24</c:v>
                </c:pt>
                <c:pt idx="348" formatCode="General">
                  <c:v>-23.428571428571427</c:v>
                </c:pt>
                <c:pt idx="349" formatCode="General">
                  <c:v>-22.857142857142858</c:v>
                </c:pt>
                <c:pt idx="350" formatCode="General">
                  <c:v>-21.857142857142858</c:v>
                </c:pt>
                <c:pt idx="351" formatCode="General">
                  <c:v>-21.285714285714285</c:v>
                </c:pt>
                <c:pt idx="352" formatCode="General">
                  <c:v>-21</c:v>
                </c:pt>
                <c:pt idx="353" formatCode="General">
                  <c:v>-21</c:v>
                </c:pt>
                <c:pt idx="354" formatCode="General">
                  <c:v>-20.857142857142858</c:v>
                </c:pt>
                <c:pt idx="355" formatCode="General">
                  <c:v>-21</c:v>
                </c:pt>
                <c:pt idx="356" formatCode="General">
                  <c:v>-21</c:v>
                </c:pt>
                <c:pt idx="357" formatCode="General">
                  <c:v>-21.714285714285715</c:v>
                </c:pt>
                <c:pt idx="358" formatCode="General">
                  <c:v>-22</c:v>
                </c:pt>
                <c:pt idx="359" formatCode="General">
                  <c:v>-22.142857142857142</c:v>
                </c:pt>
                <c:pt idx="360" formatCode="General">
                  <c:v>-22</c:v>
                </c:pt>
                <c:pt idx="361" formatCode="General">
                  <c:v>-22</c:v>
                </c:pt>
                <c:pt idx="362" formatCode="General">
                  <c:v>-22</c:v>
                </c:pt>
                <c:pt idx="363" formatCode="General">
                  <c:v>-22.142857142857142</c:v>
                </c:pt>
                <c:pt idx="364" formatCode="General">
                  <c:v>-22.142857142857142</c:v>
                </c:pt>
                <c:pt idx="365" formatCode="General">
                  <c:v>-22</c:v>
                </c:pt>
                <c:pt idx="366" formatCode="General">
                  <c:v>-22</c:v>
                </c:pt>
                <c:pt idx="367" formatCode="General">
                  <c:v>-21.857142857142858</c:v>
                </c:pt>
                <c:pt idx="368" formatCode="General">
                  <c:v>-21.714285714285715</c:v>
                </c:pt>
                <c:pt idx="369" formatCode="General">
                  <c:v>-21.428571428571427</c:v>
                </c:pt>
                <c:pt idx="370" formatCode="General">
                  <c:v>-21.142857142857142</c:v>
                </c:pt>
                <c:pt idx="371" formatCode="General">
                  <c:v>-20.857142857142858</c:v>
                </c:pt>
                <c:pt idx="372" formatCode="General">
                  <c:v>-20.571428571428573</c:v>
                </c:pt>
                <c:pt idx="373" formatCode="General">
                  <c:v>-20.285714285714285</c:v>
                </c:pt>
                <c:pt idx="374" formatCode="General">
                  <c:v>-20.142857142857142</c:v>
                </c:pt>
                <c:pt idx="375" formatCode="General">
                  <c:v>-20.285714285714285</c:v>
                </c:pt>
                <c:pt idx="376" formatCode="General">
                  <c:v>-20.428571428571427</c:v>
                </c:pt>
                <c:pt idx="377" formatCode="General">
                  <c:v>-20.571428571428573</c:v>
                </c:pt>
                <c:pt idx="378" formatCode="General">
                  <c:v>-20.714285714285715</c:v>
                </c:pt>
                <c:pt idx="379" formatCode="General">
                  <c:v>-20.857142857142858</c:v>
                </c:pt>
                <c:pt idx="380" formatCode="General">
                  <c:v>-21.142857142857142</c:v>
                </c:pt>
                <c:pt idx="381" formatCode="General">
                  <c:v>-21.428571428571427</c:v>
                </c:pt>
                <c:pt idx="382" formatCode="General">
                  <c:v>-21.428571428571427</c:v>
                </c:pt>
                <c:pt idx="383" formatCode="General">
                  <c:v>-21.428571428571427</c:v>
                </c:pt>
                <c:pt idx="384" formatCode="General">
                  <c:v>-21.428571428571427</c:v>
                </c:pt>
                <c:pt idx="385" formatCode="General">
                  <c:v>-21.714285714285715</c:v>
                </c:pt>
                <c:pt idx="386" formatCode="General">
                  <c:v>-21.857142857142858</c:v>
                </c:pt>
                <c:pt idx="387" formatCode="General">
                  <c:v>-21.714285714285715</c:v>
                </c:pt>
                <c:pt idx="388" formatCode="General">
                  <c:v>-21.428571428571427</c:v>
                </c:pt>
                <c:pt idx="389" formatCode="General">
                  <c:v>-21</c:v>
                </c:pt>
                <c:pt idx="390" formatCode="General">
                  <c:v>-21</c:v>
                </c:pt>
                <c:pt idx="391" formatCode="General">
                  <c:v>-20.857142857142858</c:v>
                </c:pt>
                <c:pt idx="392" formatCode="General">
                  <c:v>-21.714285714285715</c:v>
                </c:pt>
                <c:pt idx="393" formatCode="General">
                  <c:v>-24.571428571428573</c:v>
                </c:pt>
                <c:pt idx="394" formatCode="General">
                  <c:v>-25.285714285714285</c:v>
                </c:pt>
                <c:pt idx="395" formatCode="General">
                  <c:v>-25.714285714285715</c:v>
                </c:pt>
                <c:pt idx="396" formatCode="General">
                  <c:v>-26.142857142857142</c:v>
                </c:pt>
                <c:pt idx="397" formatCode="General">
                  <c:v>-26.285714285714285</c:v>
                </c:pt>
                <c:pt idx="398" formatCode="General">
                  <c:v>-26.714285714285715</c:v>
                </c:pt>
                <c:pt idx="399" formatCode="General">
                  <c:v>-26.428571428571427</c:v>
                </c:pt>
                <c:pt idx="400" formatCode="General">
                  <c:v>-23.714285714285715</c:v>
                </c:pt>
                <c:pt idx="401" formatCode="General">
                  <c:v>-24</c:v>
                </c:pt>
                <c:pt idx="402" formatCode="General">
                  <c:v>-24.428571428571427</c:v>
                </c:pt>
                <c:pt idx="403" formatCode="General">
                  <c:v>-25</c:v>
                </c:pt>
                <c:pt idx="404" formatCode="General">
                  <c:v>-25.285714285714285</c:v>
                </c:pt>
                <c:pt idx="405" formatCode="General">
                  <c:v>-26.857142857142858</c:v>
                </c:pt>
                <c:pt idx="406" formatCode="General">
                  <c:v>-28</c:v>
                </c:pt>
                <c:pt idx="407" formatCode="General">
                  <c:v>-28.428571428571427</c:v>
                </c:pt>
                <c:pt idx="408" formatCode="General">
                  <c:v>-28.714285714285715</c:v>
                </c:pt>
                <c:pt idx="409" formatCode="General">
                  <c:v>-30</c:v>
                </c:pt>
                <c:pt idx="410" formatCode="General">
                  <c:v>-31.285714285714285</c:v>
                </c:pt>
                <c:pt idx="411" formatCode="General">
                  <c:v>-33</c:v>
                </c:pt>
                <c:pt idx="412" formatCode="General">
                  <c:v>-34.428571428571431</c:v>
                </c:pt>
                <c:pt idx="413" formatCode="General">
                  <c:v>-36.714285714285715</c:v>
                </c:pt>
                <c:pt idx="414" formatCode="General">
                  <c:v>-38.428571428571431</c:v>
                </c:pt>
                <c:pt idx="415" formatCode="General">
                  <c:v>-40.142857142857146</c:v>
                </c:pt>
                <c:pt idx="416" formatCode="General">
                  <c:v>-41.571428571428569</c:v>
                </c:pt>
                <c:pt idx="417" formatCode="General">
                  <c:v>-43</c:v>
                </c:pt>
                <c:pt idx="418" formatCode="General">
                  <c:v>-44.428571428571431</c:v>
                </c:pt>
                <c:pt idx="419" formatCode="General">
                  <c:v>-46.428571428571431</c:v>
                </c:pt>
                <c:pt idx="420" formatCode="General">
                  <c:v>-48.571428571428569</c:v>
                </c:pt>
                <c:pt idx="421" formatCode="General">
                  <c:v>-49.857142857142854</c:v>
                </c:pt>
                <c:pt idx="422" formatCode="General">
                  <c:v>-50.857142857142854</c:v>
                </c:pt>
                <c:pt idx="423" formatCode="General">
                  <c:v>-52</c:v>
                </c:pt>
                <c:pt idx="424" formatCode="General">
                  <c:v>-53.142857142857146</c:v>
                </c:pt>
                <c:pt idx="425" formatCode="General">
                  <c:v>-53.857142857142854</c:v>
                </c:pt>
                <c:pt idx="426" formatCode="General">
                  <c:v>-54.571428571428569</c:v>
                </c:pt>
                <c:pt idx="427" formatCode="General">
                  <c:v>-54.857142857142854</c:v>
                </c:pt>
                <c:pt idx="428" formatCode="General">
                  <c:v>-56.142857142857146</c:v>
                </c:pt>
                <c:pt idx="429" formatCode="General">
                  <c:v>-57.285714285714285</c:v>
                </c:pt>
                <c:pt idx="430" formatCode="General">
                  <c:v>-58.285714285714285</c:v>
                </c:pt>
                <c:pt idx="431" formatCode="General">
                  <c:v>-59.428571428571431</c:v>
                </c:pt>
                <c:pt idx="432" formatCode="General">
                  <c:v>-60.857142857142854</c:v>
                </c:pt>
                <c:pt idx="433" formatCode="General">
                  <c:v>-60.857142857142854</c:v>
                </c:pt>
                <c:pt idx="434" formatCode="General">
                  <c:v>-60.142857142857146</c:v>
                </c:pt>
                <c:pt idx="435" formatCode="General">
                  <c:v>-61.428571428571431</c:v>
                </c:pt>
                <c:pt idx="436" formatCode="General">
                  <c:v>-62.285714285714285</c:v>
                </c:pt>
                <c:pt idx="437" formatCode="General">
                  <c:v>-63</c:v>
                </c:pt>
                <c:pt idx="438" formatCode="General">
                  <c:v>-63.285714285714285</c:v>
                </c:pt>
                <c:pt idx="439" formatCode="General">
                  <c:v>-63.857142857142854</c:v>
                </c:pt>
                <c:pt idx="440" formatCode="General">
                  <c:v>-64.428571428571431</c:v>
                </c:pt>
                <c:pt idx="441" formatCode="General">
                  <c:v>-65.285714285714292</c:v>
                </c:pt>
                <c:pt idx="442" formatCode="General">
                  <c:v>-65.428571428571431</c:v>
                </c:pt>
                <c:pt idx="443" formatCode="General">
                  <c:v>-65.714285714285708</c:v>
                </c:pt>
                <c:pt idx="444" formatCode="General">
                  <c:v>-65.714285714285708</c:v>
                </c:pt>
                <c:pt idx="445" formatCode="General">
                  <c:v>-65.857142857142861</c:v>
                </c:pt>
                <c:pt idx="446" formatCode="General">
                  <c:v>-65.428571428571431</c:v>
                </c:pt>
                <c:pt idx="447" formatCode="General">
                  <c:v>-65</c:v>
                </c:pt>
                <c:pt idx="448" formatCode="General">
                  <c:v>-64</c:v>
                </c:pt>
                <c:pt idx="449" formatCode="General">
                  <c:v>-63.428571428571431</c:v>
                </c:pt>
                <c:pt idx="450" formatCode="General">
                  <c:v>-62.857142857142854</c:v>
                </c:pt>
                <c:pt idx="451" formatCode="General">
                  <c:v>-62.571428571428569</c:v>
                </c:pt>
                <c:pt idx="452" formatCode="General">
                  <c:v>-62.142857142857146</c:v>
                </c:pt>
                <c:pt idx="453" formatCode="General">
                  <c:v>-61.714285714285715</c:v>
                </c:pt>
                <c:pt idx="454" formatCode="General">
                  <c:v>-61.285714285714285</c:v>
                </c:pt>
                <c:pt idx="455" formatCode="General">
                  <c:v>-61.142857142857146</c:v>
                </c:pt>
                <c:pt idx="456" formatCode="General">
                  <c:v>-60.142857142857146</c:v>
                </c:pt>
                <c:pt idx="457" formatCode="General">
                  <c:v>-58.714285714285715</c:v>
                </c:pt>
                <c:pt idx="458" formatCode="General">
                  <c:v>-56.857142857142854</c:v>
                </c:pt>
                <c:pt idx="459" formatCode="General">
                  <c:v>-55.285714285714285</c:v>
                </c:pt>
                <c:pt idx="460" formatCode="General">
                  <c:v>-53.857142857142854</c:v>
                </c:pt>
                <c:pt idx="461" formatCode="General">
                  <c:v>-53</c:v>
                </c:pt>
                <c:pt idx="462" formatCode="General">
                  <c:v>-52.428571428571431</c:v>
                </c:pt>
                <c:pt idx="463" formatCode="General">
                  <c:v>-51</c:v>
                </c:pt>
                <c:pt idx="464" formatCode="General">
                  <c:v>-49.857142857142854</c:v>
                </c:pt>
                <c:pt idx="465" formatCode="General">
                  <c:v>-48.857142857142854</c:v>
                </c:pt>
                <c:pt idx="466" formatCode="General">
                  <c:v>-47.714285714285715</c:v>
                </c:pt>
                <c:pt idx="467" formatCode="General">
                  <c:v>-46.285714285714285</c:v>
                </c:pt>
                <c:pt idx="468" formatCode="General">
                  <c:v>-45.142857142857146</c:v>
                </c:pt>
                <c:pt idx="469" formatCode="General">
                  <c:v>-44.142857142857146</c:v>
                </c:pt>
                <c:pt idx="470" formatCode="General">
                  <c:v>-43</c:v>
                </c:pt>
                <c:pt idx="471" formatCode="General">
                  <c:v>-42.142857142857146</c:v>
                </c:pt>
                <c:pt idx="472" formatCode="General">
                  <c:v>-41.285714285714285</c:v>
                </c:pt>
                <c:pt idx="473" formatCode="General">
                  <c:v>-40.571428571428569</c:v>
                </c:pt>
                <c:pt idx="474" formatCode="General">
                  <c:v>-40</c:v>
                </c:pt>
                <c:pt idx="475" formatCode="General">
                  <c:v>-39.428571428571431</c:v>
                </c:pt>
                <c:pt idx="476" formatCode="General">
                  <c:v>-38.857142857142854</c:v>
                </c:pt>
                <c:pt idx="477" formatCode="General">
                  <c:v>-38.142857142857146</c:v>
                </c:pt>
                <c:pt idx="478" formatCode="General">
                  <c:v>-37.428571428571431</c:v>
                </c:pt>
                <c:pt idx="479" formatCode="General">
                  <c:v>-36.571428571428569</c:v>
                </c:pt>
                <c:pt idx="480" formatCode="General">
                  <c:v>-35.714285714285715</c:v>
                </c:pt>
                <c:pt idx="481" formatCode="General">
                  <c:v>-34.857142857142854</c:v>
                </c:pt>
                <c:pt idx="482" formatCode="General">
                  <c:v>-34</c:v>
                </c:pt>
                <c:pt idx="483" formatCode="General">
                  <c:v>-33.428571428571431</c:v>
                </c:pt>
                <c:pt idx="484" formatCode="General">
                  <c:v>-32.714285714285715</c:v>
                </c:pt>
                <c:pt idx="485" formatCode="General">
                  <c:v>-32.285714285714285</c:v>
                </c:pt>
                <c:pt idx="486" formatCode="General">
                  <c:v>-32</c:v>
                </c:pt>
                <c:pt idx="487" formatCode="General">
                  <c:v>-31.285714285714285</c:v>
                </c:pt>
                <c:pt idx="488" formatCode="General">
                  <c:v>-30.714285714285715</c:v>
                </c:pt>
                <c:pt idx="489" formatCode="General">
                  <c:v>-30</c:v>
                </c:pt>
                <c:pt idx="490" formatCode="General">
                  <c:v>-29.142857142857142</c:v>
                </c:pt>
                <c:pt idx="491" formatCode="General">
                  <c:v>-28.285714285714285</c:v>
                </c:pt>
                <c:pt idx="492" formatCode="General">
                  <c:v>-27.285714285714285</c:v>
                </c:pt>
                <c:pt idx="493" formatCode="General">
                  <c:v>-26.428571428571427</c:v>
                </c:pt>
                <c:pt idx="494" formatCode="General">
                  <c:v>-26</c:v>
                </c:pt>
                <c:pt idx="495" formatCode="General">
                  <c:v>-25.428571428571427</c:v>
                </c:pt>
                <c:pt idx="496" formatCode="General">
                  <c:v>-24.857142857142858</c:v>
                </c:pt>
                <c:pt idx="497" formatCode="General">
                  <c:v>-24.285714285714285</c:v>
                </c:pt>
                <c:pt idx="498" formatCode="General">
                  <c:v>-24.428571428571427</c:v>
                </c:pt>
                <c:pt idx="499" formatCode="General">
                  <c:v>-24.571428571428573</c:v>
                </c:pt>
                <c:pt idx="500" formatCode="General">
                  <c:v>-24.428571428571427</c:v>
                </c:pt>
                <c:pt idx="501" formatCode="General">
                  <c:v>-24</c:v>
                </c:pt>
                <c:pt idx="502" formatCode="General">
                  <c:v>-23.857142857142858</c:v>
                </c:pt>
                <c:pt idx="503" formatCode="General">
                  <c:v>-23.857142857142858</c:v>
                </c:pt>
                <c:pt idx="504" formatCode="General">
                  <c:v>-23.714285714285715</c:v>
                </c:pt>
                <c:pt idx="505" formatCode="General">
                  <c:v>-23.857142857142858</c:v>
                </c:pt>
                <c:pt idx="506" formatCode="General">
                  <c:v>-23.571428571428573</c:v>
                </c:pt>
                <c:pt idx="507" formatCode="General">
                  <c:v>-24.285714285714285</c:v>
                </c:pt>
                <c:pt idx="508" formatCode="General">
                  <c:v>-24.857142857142858</c:v>
                </c:pt>
                <c:pt idx="509" formatCode="General">
                  <c:v>-25.142857142857142</c:v>
                </c:pt>
                <c:pt idx="510">
                  <c:v>-25.142857142857142</c:v>
                </c:pt>
                <c:pt idx="511">
                  <c:v>-25.142857142857142</c:v>
                </c:pt>
                <c:pt idx="512">
                  <c:v>-24.857142857142858</c:v>
                </c:pt>
                <c:pt idx="513">
                  <c:v>-25</c:v>
                </c:pt>
                <c:pt idx="514">
                  <c:v>-24.428571428571427</c:v>
                </c:pt>
                <c:pt idx="515">
                  <c:v>-24.142857142857142</c:v>
                </c:pt>
                <c:pt idx="516">
                  <c:v>-23.857142857142858</c:v>
                </c:pt>
                <c:pt idx="517">
                  <c:v>-23.285714285714285</c:v>
                </c:pt>
                <c:pt idx="518">
                  <c:v>-22.428571428571427</c:v>
                </c:pt>
                <c:pt idx="519">
                  <c:v>-22.142857142857142</c:v>
                </c:pt>
                <c:pt idx="520">
                  <c:v>-21.428571428571427</c:v>
                </c:pt>
                <c:pt idx="521">
                  <c:v>-20.714285714285715</c:v>
                </c:pt>
                <c:pt idx="522">
                  <c:v>-19.857142857142858</c:v>
                </c:pt>
                <c:pt idx="523">
                  <c:v>-19.142857142857142</c:v>
                </c:pt>
                <c:pt idx="524">
                  <c:v>-18.571428571428573</c:v>
                </c:pt>
                <c:pt idx="525">
                  <c:v>-18.571428571428573</c:v>
                </c:pt>
                <c:pt idx="526">
                  <c:v>-18</c:v>
                </c:pt>
                <c:pt idx="527">
                  <c:v>-17.428571428571427</c:v>
                </c:pt>
                <c:pt idx="528">
                  <c:v>-16.714285714285715</c:v>
                </c:pt>
                <c:pt idx="529">
                  <c:v>-16.428571428571427</c:v>
                </c:pt>
                <c:pt idx="530">
                  <c:v>-16.285714285714285</c:v>
                </c:pt>
                <c:pt idx="531">
                  <c:v>-15.714285714285714</c:v>
                </c:pt>
                <c:pt idx="532">
                  <c:v>-15.285714285714286</c:v>
                </c:pt>
                <c:pt idx="533">
                  <c:v>-15.285714285714286</c:v>
                </c:pt>
                <c:pt idx="534">
                  <c:v>-15.428571428571429</c:v>
                </c:pt>
                <c:pt idx="535" formatCode="General">
                  <c:v>-15.714285714285714</c:v>
                </c:pt>
                <c:pt idx="536" formatCode="General">
                  <c:v>-15.428571428571429</c:v>
                </c:pt>
                <c:pt idx="537" formatCode="General">
                  <c:v>-15.285714285714286</c:v>
                </c:pt>
                <c:pt idx="538" formatCode="General">
                  <c:v>-15</c:v>
                </c:pt>
                <c:pt idx="539" formatCode="General">
                  <c:v>-14.714285714285714</c:v>
                </c:pt>
                <c:pt idx="540" formatCode="General">
                  <c:v>-15</c:v>
                </c:pt>
                <c:pt idx="541" formatCode="General">
                  <c:v>-14.857142857142858</c:v>
                </c:pt>
                <c:pt idx="542" formatCode="General">
                  <c:v>-14.714285714285714</c:v>
                </c:pt>
                <c:pt idx="543" formatCode="General">
                  <c:v>-15</c:v>
                </c:pt>
                <c:pt idx="544">
                  <c:v>-15.142857142857142</c:v>
                </c:pt>
                <c:pt idx="545">
                  <c:v>-15.571428571428571</c:v>
                </c:pt>
                <c:pt idx="546">
                  <c:v>-15.428571428571429</c:v>
                </c:pt>
                <c:pt idx="547">
                  <c:v>-15.285714285714286</c:v>
                </c:pt>
                <c:pt idx="548">
                  <c:v>-15.714285714285714</c:v>
                </c:pt>
                <c:pt idx="549">
                  <c:v>-15.714285714285714</c:v>
                </c:pt>
                <c:pt idx="550">
                  <c:v>-15.571428571428571</c:v>
                </c:pt>
                <c:pt idx="551">
                  <c:v>-15.428571428571429</c:v>
                </c:pt>
                <c:pt idx="552">
                  <c:v>-15.142857142857142</c:v>
                </c:pt>
                <c:pt idx="553">
                  <c:v>-14.714285714285714</c:v>
                </c:pt>
                <c:pt idx="554">
                  <c:v>-14.571428571428571</c:v>
                </c:pt>
                <c:pt idx="555">
                  <c:v>-14</c:v>
                </c:pt>
                <c:pt idx="556">
                  <c:v>-13.142857142857142</c:v>
                </c:pt>
                <c:pt idx="557">
                  <c:v>-12.285714285714286</c:v>
                </c:pt>
                <c:pt idx="558">
                  <c:v>-12.428571428571429</c:v>
                </c:pt>
                <c:pt idx="559">
                  <c:v>-12.714285714285714</c:v>
                </c:pt>
                <c:pt idx="560">
                  <c:v>-12.714285714285714</c:v>
                </c:pt>
                <c:pt idx="561">
                  <c:v>-12.571428571428571</c:v>
                </c:pt>
                <c:pt idx="562">
                  <c:v>-12.714285714285714</c:v>
                </c:pt>
                <c:pt idx="563">
                  <c:v>-13.142857142857142</c:v>
                </c:pt>
                <c:pt idx="564">
                  <c:v>-13.857142857142858</c:v>
                </c:pt>
                <c:pt idx="565" formatCode="General">
                  <c:v>-13.428571428571429</c:v>
                </c:pt>
                <c:pt idx="566" formatCode="General">
                  <c:v>-12.714285714285714</c:v>
                </c:pt>
                <c:pt idx="567" formatCode="General">
                  <c:v>-12.857142857142858</c:v>
                </c:pt>
                <c:pt idx="568" formatCode="General">
                  <c:v>-12.857142857142858</c:v>
                </c:pt>
                <c:pt idx="569" formatCode="General">
                  <c:v>-12.857142857142858</c:v>
                </c:pt>
                <c:pt idx="570" formatCode="General">
                  <c:v>-13</c:v>
                </c:pt>
                <c:pt idx="571" formatCode="General">
                  <c:v>-13</c:v>
                </c:pt>
                <c:pt idx="572" formatCode="General">
                  <c:v>-12.857142857142858</c:v>
                </c:pt>
                <c:pt idx="573" formatCode="General">
                  <c:v>-12.857142857142858</c:v>
                </c:pt>
                <c:pt idx="574" formatCode="General">
                  <c:v>-12.428571428571429</c:v>
                </c:pt>
                <c:pt idx="575" formatCode="General">
                  <c:v>-13.285714285714286</c:v>
                </c:pt>
                <c:pt idx="576" formatCode="General">
                  <c:v>-13.142857142857142</c:v>
                </c:pt>
                <c:pt idx="577" formatCode="General">
                  <c:v>-13.285714285714286</c:v>
                </c:pt>
                <c:pt idx="578" formatCode="General">
                  <c:v>-13</c:v>
                </c:pt>
                <c:pt idx="579">
                  <c:v>-12.428571428571429</c:v>
                </c:pt>
                <c:pt idx="580">
                  <c:v>-12.285714285714286</c:v>
                </c:pt>
                <c:pt idx="581">
                  <c:v>-11.714285714285714</c:v>
                </c:pt>
                <c:pt idx="582">
                  <c:v>-10</c:v>
                </c:pt>
                <c:pt idx="583">
                  <c:v>-9.2857142857142865</c:v>
                </c:pt>
                <c:pt idx="584">
                  <c:v>-8.4285714285714288</c:v>
                </c:pt>
                <c:pt idx="585">
                  <c:v>-8</c:v>
                </c:pt>
                <c:pt idx="586">
                  <c:v>-8</c:v>
                </c:pt>
                <c:pt idx="587">
                  <c:v>-7.4285714285714288</c:v>
                </c:pt>
                <c:pt idx="588">
                  <c:v>-6.7142857142857144</c:v>
                </c:pt>
                <c:pt idx="589">
                  <c:v>-6.2857142857142856</c:v>
                </c:pt>
                <c:pt idx="590">
                  <c:v>-5.2857142857142856</c:v>
                </c:pt>
                <c:pt idx="591">
                  <c:v>-4.2857142857142856</c:v>
                </c:pt>
                <c:pt idx="592">
                  <c:v>-2.8571428571428572</c:v>
                </c:pt>
                <c:pt idx="593">
                  <c:v>-2.1428571428571428</c:v>
                </c:pt>
                <c:pt idx="594">
                  <c:v>-2.5714285714285716</c:v>
                </c:pt>
                <c:pt idx="595">
                  <c:v>-3.4285714285714284</c:v>
                </c:pt>
                <c:pt idx="596">
                  <c:v>-3.7142857142857144</c:v>
                </c:pt>
                <c:pt idx="597">
                  <c:v>-4.4285714285714288</c:v>
                </c:pt>
                <c:pt idx="598">
                  <c:v>-5.2857142857142856</c:v>
                </c:pt>
                <c:pt idx="599">
                  <c:v>-6.1428571428571432</c:v>
                </c:pt>
                <c:pt idx="600">
                  <c:v>-6.2857142857142856</c:v>
                </c:pt>
                <c:pt idx="601">
                  <c:v>-5.4285714285714288</c:v>
                </c:pt>
                <c:pt idx="602">
                  <c:v>-5.1428571428571432</c:v>
                </c:pt>
                <c:pt idx="603">
                  <c:v>-4.8571428571428568</c:v>
                </c:pt>
                <c:pt idx="604">
                  <c:v>-4.5714285714285712</c:v>
                </c:pt>
                <c:pt idx="605">
                  <c:v>-4</c:v>
                </c:pt>
                <c:pt idx="606">
                  <c:v>-3.8571428571428572</c:v>
                </c:pt>
                <c:pt idx="607">
                  <c:v>-3.8571428571428572</c:v>
                </c:pt>
                <c:pt idx="608" formatCode="_ * #,##0.0_ ;_ * \-#,##0.0_ ;_ * &quot;-&quot;??_ ;_ @_ ">
                  <c:v>-3.5714285714285716</c:v>
                </c:pt>
                <c:pt idx="609" formatCode="_ * #,##0.0_ ;_ * \-#,##0.0_ ;_ * &quot;-&quot;??_ ;_ @_ ">
                  <c:v>-2.2857142857142856</c:v>
                </c:pt>
                <c:pt idx="610" formatCode="_ * #,##0.0_ ;_ * \-#,##0.0_ ;_ * &quot;-&quot;??_ ;_ @_ ">
                  <c:v>-0.8571428571428571</c:v>
                </c:pt>
                <c:pt idx="611" formatCode="_ * #,##0.0_ ;_ * \-#,##0.0_ ;_ * &quot;-&quot;??_ ;_ @_ ">
                  <c:v>1.2857142857142858</c:v>
                </c:pt>
                <c:pt idx="612" formatCode="_ * #,##0.0_ ;_ * \-#,##0.0_ ;_ * &quot;-&quot;??_ ;_ @_ ">
                  <c:v>3.2857142857142856</c:v>
                </c:pt>
                <c:pt idx="613" formatCode="_ * #,##0.0_ ;_ * \-#,##0.0_ ;_ * &quot;-&quot;??_ ;_ @_ ">
                  <c:v>3.5714285714285716</c:v>
                </c:pt>
                <c:pt idx="614" formatCode="_ * #,##0.0_ ;_ * \-#,##0.0_ ;_ * &quot;-&quot;??_ ;_ @_ ">
                  <c:v>3.1428571428571428</c:v>
                </c:pt>
                <c:pt idx="615" formatCode="_ * #,##0.0_ ;_ * \-#,##0.0_ ;_ * &quot;-&quot;??_ ;_ @_ ">
                  <c:v>2.5714285714285716</c:v>
                </c:pt>
                <c:pt idx="616">
                  <c:v>1.7142857142857142</c:v>
                </c:pt>
                <c:pt idx="617">
                  <c:v>0.5714285714285714</c:v>
                </c:pt>
                <c:pt idx="618">
                  <c:v>-1.1428571428571428</c:v>
                </c:pt>
                <c:pt idx="619">
                  <c:v>-3</c:v>
                </c:pt>
                <c:pt idx="620">
                  <c:v>-3.5714285714285716</c:v>
                </c:pt>
                <c:pt idx="621">
                  <c:v>-3.1428571428571428</c:v>
                </c:pt>
                <c:pt idx="622">
                  <c:v>-2.7142857142857144</c:v>
                </c:pt>
                <c:pt idx="623">
                  <c:v>-2.1428571428571428</c:v>
                </c:pt>
                <c:pt idx="624">
                  <c:v>-2</c:v>
                </c:pt>
                <c:pt idx="625">
                  <c:v>-1.8571428571428572</c:v>
                </c:pt>
                <c:pt idx="626">
                  <c:v>-1.7142857142857142</c:v>
                </c:pt>
                <c:pt idx="627">
                  <c:v>-1.5714285714285714</c:v>
                </c:pt>
                <c:pt idx="628">
                  <c:v>-1.5714285714285714</c:v>
                </c:pt>
                <c:pt idx="629">
                  <c:v>-1.4285714285714286</c:v>
                </c:pt>
                <c:pt idx="630">
                  <c:v>-1.2857142857142858</c:v>
                </c:pt>
                <c:pt idx="631" formatCode="0.00">
                  <c:v>-1.1428571428571428</c:v>
                </c:pt>
                <c:pt idx="632" formatCode="0.00">
                  <c:v>-1.2857142857142858</c:v>
                </c:pt>
                <c:pt idx="633" formatCode="0.00">
                  <c:v>-1.1428571428571428</c:v>
                </c:pt>
                <c:pt idx="634" formatCode="0.00">
                  <c:v>-0.5714285714285714</c:v>
                </c:pt>
                <c:pt idx="635" formatCode="0.00">
                  <c:v>-0.14285714285714285</c:v>
                </c:pt>
                <c:pt idx="636" formatCode="0.00">
                  <c:v>-0.14285714285714285</c:v>
                </c:pt>
                <c:pt idx="637" formatCode="0.00">
                  <c:v>-0.2857142857142857</c:v>
                </c:pt>
                <c:pt idx="638" formatCode="0.00">
                  <c:v>-0.2857142857142857</c:v>
                </c:pt>
                <c:pt idx="639" formatCode="0.00">
                  <c:v>-0.14285714285714285</c:v>
                </c:pt>
                <c:pt idx="640" formatCode="0.00">
                  <c:v>-0.5714285714285714</c:v>
                </c:pt>
                <c:pt idx="641" formatCode="0.00">
                  <c:v>-0.8571428571428571</c:v>
                </c:pt>
                <c:pt idx="642" formatCode="0.00">
                  <c:v>-0.8571428571428571</c:v>
                </c:pt>
                <c:pt idx="643" formatCode="0.00">
                  <c:v>-0.7142857142857143</c:v>
                </c:pt>
                <c:pt idx="644" formatCode="0.00">
                  <c:v>-0.5714285714285714</c:v>
                </c:pt>
                <c:pt idx="645" formatCode="0.00">
                  <c:v>-0.42857142857142855</c:v>
                </c:pt>
                <c:pt idx="646" formatCode="0.00">
                  <c:v>-0.14285714285714285</c:v>
                </c:pt>
                <c:pt idx="647" formatCode="0.00">
                  <c:v>0.7142857142857143</c:v>
                </c:pt>
                <c:pt idx="648" formatCode="0.00">
                  <c:v>1.1428571428571428</c:v>
                </c:pt>
                <c:pt idx="649" formatCode="0.00">
                  <c:v>1.5714285714285714</c:v>
                </c:pt>
                <c:pt idx="650" formatCode="0.00">
                  <c:v>2</c:v>
                </c:pt>
                <c:pt idx="651" formatCode="0.00">
                  <c:v>2.4285714285714284</c:v>
                </c:pt>
                <c:pt idx="652" formatCode="0.00">
                  <c:v>2.5714285714285716</c:v>
                </c:pt>
                <c:pt idx="653" formatCode="0.00">
                  <c:v>2.2857142857142856</c:v>
                </c:pt>
                <c:pt idx="654" formatCode="0.00">
                  <c:v>1.8571428571428572</c:v>
                </c:pt>
                <c:pt idx="655" formatCode="0.00">
                  <c:v>1.8571428571428572</c:v>
                </c:pt>
                <c:pt idx="656" formatCode="0.00">
                  <c:v>1.7142857142857142</c:v>
                </c:pt>
                <c:pt idx="657" formatCode="0.00">
                  <c:v>1.5714285714285714</c:v>
                </c:pt>
                <c:pt idx="658" formatCode="0.00">
                  <c:v>1.5714285714285714</c:v>
                </c:pt>
                <c:pt idx="659" formatCode="0.00">
                  <c:v>1.5714285714285714</c:v>
                </c:pt>
                <c:pt idx="660" formatCode="0.00">
                  <c:v>1.8571428571428572</c:v>
                </c:pt>
                <c:pt idx="661" formatCode="0.00">
                  <c:v>2</c:v>
                </c:pt>
                <c:pt idx="662" formatCode="0.00">
                  <c:v>2.2857142857142856</c:v>
                </c:pt>
                <c:pt idx="663" formatCode="0.00">
                  <c:v>3.1428571428571428</c:v>
                </c:pt>
                <c:pt idx="664" formatCode="0.00">
                  <c:v>3.5714285714285716</c:v>
                </c:pt>
                <c:pt idx="665" formatCode="0.00">
                  <c:v>3.1428571428571428</c:v>
                </c:pt>
                <c:pt idx="666" formatCode="0.00">
                  <c:v>3.2857142857142856</c:v>
                </c:pt>
                <c:pt idx="667" formatCode="0.00">
                  <c:v>2.8571428571428572</c:v>
                </c:pt>
                <c:pt idx="668" formatCode="0.00">
                  <c:v>2.5714285714285716</c:v>
                </c:pt>
                <c:pt idx="669" formatCode="0.00">
                  <c:v>2.1428571428571428</c:v>
                </c:pt>
                <c:pt idx="670" formatCode="0.00">
                  <c:v>2.4285714285714284</c:v>
                </c:pt>
                <c:pt idx="671" formatCode="_ * #,##0.00_ ;_ * \-#,##0.00_ ;_ * &quot;-&quot;??_ ;_ @_ ">
                  <c:v>1.5714285714285714</c:v>
                </c:pt>
                <c:pt idx="672" formatCode="_ * #,##0.00_ ;_ * \-#,##0.00_ ;_ * &quot;-&quot;??_ ;_ @_ ">
                  <c:v>1.1428571428571428</c:v>
                </c:pt>
                <c:pt idx="673" formatCode="_ * #,##0.00_ ;_ * \-#,##0.00_ ;_ * &quot;-&quot;??_ ;_ @_ ">
                  <c:v>0.2857142857142857</c:v>
                </c:pt>
                <c:pt idx="674" formatCode="_ * #,##0.00_ ;_ * \-#,##0.00_ ;_ * &quot;-&quot;??_ ;_ @_ ">
                  <c:v>-0.2857142857142857</c:v>
                </c:pt>
                <c:pt idx="675" formatCode="_ * #,##0.00_ ;_ * \-#,##0.00_ ;_ * &quot;-&quot;??_ ;_ @_ ">
                  <c:v>-1.4285714285714286</c:v>
                </c:pt>
                <c:pt idx="676" formatCode="_ * #,##0.00_ ;_ * \-#,##0.00_ ;_ * &quot;-&quot;??_ ;_ @_ ">
                  <c:v>-2.4285714285714284</c:v>
                </c:pt>
                <c:pt idx="677" formatCode="_ * #,##0.00_ ;_ * \-#,##0.00_ ;_ * &quot;-&quot;??_ ;_ @_ ">
                  <c:v>-4.7142857142857144</c:v>
                </c:pt>
                <c:pt idx="678" formatCode="_ * #,##0.00_ ;_ * \-#,##0.00_ ;_ * &quot;-&quot;??_ ;_ @_ ">
                  <c:v>-6.8571428571428568</c:v>
                </c:pt>
                <c:pt idx="679" formatCode="_ * #,##0.00_ ;_ * \-#,##0.00_ ;_ * &quot;-&quot;??_ ;_ @_ ">
                  <c:v>-9.5714285714285712</c:v>
                </c:pt>
                <c:pt idx="680" formatCode="_ * #,##0.00_ ;_ * \-#,##0.00_ ;_ * &quot;-&quot;??_ ;_ @_ ">
                  <c:v>-9.8571428571428577</c:v>
                </c:pt>
                <c:pt idx="681" formatCode="_ * #,##0.00_ ;_ * \-#,##0.00_ ;_ * &quot;-&quot;??_ ;_ @_ ">
                  <c:v>-10.285714285714286</c:v>
                </c:pt>
                <c:pt idx="682" formatCode="_ * #,##0.00_ ;_ * \-#,##0.00_ ;_ * &quot;-&quot;??_ ;_ @_ ">
                  <c:v>-10.142857142857142</c:v>
                </c:pt>
                <c:pt idx="683" formatCode="_ * #,##0.00_ ;_ * \-#,##0.00_ ;_ * &quot;-&quot;??_ ;_ @_ ">
                  <c:v>-10</c:v>
                </c:pt>
                <c:pt idx="684" formatCode="_ * #,##0.00_ ;_ * \-#,##0.00_ ;_ * &quot;-&quot;??_ ;_ @_ ">
                  <c:v>-11.285714285714286</c:v>
                </c:pt>
                <c:pt idx="685" formatCode="_ * #,##0.00_ ;_ * \-#,##0.00_ ;_ * &quot;-&quot;??_ ;_ @_ ">
                  <c:v>-12.142857142857142</c:v>
                </c:pt>
                <c:pt idx="686" formatCode="_ * #,##0.00_ ;_ * \-#,##0.00_ ;_ * &quot;-&quot;??_ ;_ @_ ">
                  <c:v>-12.857142857142858</c:v>
                </c:pt>
                <c:pt idx="687" formatCode="_ * #,##0.00_ ;_ * \-#,##0.00_ ;_ * &quot;-&quot;??_ ;_ @_ ">
                  <c:v>-13.428571428571429</c:v>
                </c:pt>
                <c:pt idx="688" formatCode="_ * #,##0.00_ ;_ * \-#,##0.00_ ;_ * &quot;-&quot;??_ ;_ @_ ">
                  <c:v>-13.857142857142858</c:v>
                </c:pt>
                <c:pt idx="689" formatCode="_ * #,##0.00_ ;_ * \-#,##0.00_ ;_ * &quot;-&quot;??_ ;_ @_ ">
                  <c:v>-13.857142857142858</c:v>
                </c:pt>
                <c:pt idx="690" formatCode="_ * #,##0.00_ ;_ * \-#,##0.00_ ;_ * &quot;-&quot;??_ ;_ @_ ">
                  <c:v>-14</c:v>
                </c:pt>
                <c:pt idx="691" formatCode="_ * #,##0.00_ ;_ * \-#,##0.00_ ;_ * &quot;-&quot;??_ ;_ @_ ">
                  <c:v>-13</c:v>
                </c:pt>
                <c:pt idx="692" formatCode="_ * #,##0.00_ ;_ * \-#,##0.00_ ;_ * &quot;-&quot;??_ ;_ @_ ">
                  <c:v>-11.571428571428571</c:v>
                </c:pt>
                <c:pt idx="693" formatCode="_ * #,##0.00_ ;_ * \-#,##0.00_ ;_ * &quot;-&quot;??_ ;_ @_ ">
                  <c:v>-10.857142857142858</c:v>
                </c:pt>
                <c:pt idx="694" formatCode="_ * #,##0.00_ ;_ * \-#,##0.00_ ;_ * &quot;-&quot;??_ ;_ @_ ">
                  <c:v>-10.428571428571429</c:v>
                </c:pt>
                <c:pt idx="695" formatCode="_ * #,##0.00_ ;_ * \-#,##0.00_ ;_ * &quot;-&quot;??_ ;_ @_ ">
                  <c:v>-9.5714285714285712</c:v>
                </c:pt>
                <c:pt idx="696" formatCode="_ * #,##0.00_ ;_ * \-#,##0.00_ ;_ * &quot;-&quot;??_ ;_ @_ ">
                  <c:v>-9</c:v>
                </c:pt>
                <c:pt idx="697" formatCode="_ * #,##0.00_ ;_ * \-#,##0.00_ ;_ * &quot;-&quot;??_ ;_ @_ ">
                  <c:v>-8.8571428571428577</c:v>
                </c:pt>
                <c:pt idx="698" formatCode="_ * #,##0.00_ ;_ * \-#,##0.00_ ;_ * &quot;-&quot;??_ ;_ @_ ">
                  <c:v>-8.7142857142857135</c:v>
                </c:pt>
                <c:pt idx="699" formatCode="_ * #,##0.00_ ;_ * \-#,##0.00_ ;_ * &quot;-&quot;??_ ;_ @_ ">
                  <c:v>-7.8571428571428568</c:v>
                </c:pt>
                <c:pt idx="700" formatCode="_ * #,##0.00_ ;_ * \-#,##0.00_ ;_ * &quot;-&quot;??_ ;_ @_ ">
                  <c:v>-6</c:v>
                </c:pt>
                <c:pt idx="701" formatCode="_ * #,##0.00_ ;_ * \-#,##0.00_ ;_ * &quot;-&quot;??_ ;_ @_ ">
                  <c:v>-5.5714285714285712</c:v>
                </c:pt>
                <c:pt idx="702" formatCode="_ * #,##0.00_ ;_ * \-#,##0.00_ ;_ * &quot;-&quot;??_ ;_ @_ ">
                  <c:v>-5.2857142857142856</c:v>
                </c:pt>
                <c:pt idx="703" formatCode="_ * #,##0.00_ ;_ * \-#,##0.00_ ;_ * &quot;-&quot;??_ ;_ @_ ">
                  <c:v>-4.7142857142857144</c:v>
                </c:pt>
                <c:pt idx="704" formatCode="_ * #,##0.00_ ;_ * \-#,##0.00_ ;_ * &quot;-&quot;??_ ;_ @_ ">
                  <c:v>-4.1428571428571432</c:v>
                </c:pt>
                <c:pt idx="705" formatCode="_ * #,##0.00_ ;_ * \-#,##0.00_ ;_ * &quot;-&quot;??_ ;_ @_ ">
                  <c:v>-3.2857142857142856</c:v>
                </c:pt>
                <c:pt idx="706" formatCode="_ * #,##0.00_ ;_ * \-#,##0.00_ ;_ * &quot;-&quot;??_ ;_ @_ ">
                  <c:v>-2.1428571428571428</c:v>
                </c:pt>
                <c:pt idx="707" formatCode="_ * #,##0.00_ ;_ * \-#,##0.00_ ;_ * &quot;-&quot;??_ ;_ @_ ">
                  <c:v>-0.8571428571428571</c:v>
                </c:pt>
                <c:pt idx="708" formatCode="_ * #,##0.00_ ;_ * \-#,##0.00_ ;_ * &quot;-&quot;??_ ;_ @_ ">
                  <c:v>0</c:v>
                </c:pt>
                <c:pt idx="709" formatCode="_ * #,##0.00_ ;_ * \-#,##0.00_ ;_ * &quot;-&quot;??_ ;_ @_ ">
                  <c:v>0.7142857142857143</c:v>
                </c:pt>
                <c:pt idx="710" formatCode="_ * #,##0.00_ ;_ * \-#,##0.00_ ;_ * &quot;-&quot;??_ ;_ @_ ">
                  <c:v>1</c:v>
                </c:pt>
                <c:pt idx="711" formatCode="_ * #,##0.00_ ;_ * \-#,##0.00_ ;_ * &quot;-&quot;??_ ;_ @_ ">
                  <c:v>1.8571428571428572</c:v>
                </c:pt>
                <c:pt idx="712" formatCode="_ * #,##0.00_ ;_ * \-#,##0.00_ ;_ * &quot;-&quot;??_ ;_ @_ ">
                  <c:v>2.5714285714285716</c:v>
                </c:pt>
                <c:pt idx="713" formatCode="_ * #,##0.00_ ;_ * \-#,##0.00_ ;_ * &quot;-&quot;??_ ;_ @_ ">
                  <c:v>2.8571428571428572</c:v>
                </c:pt>
                <c:pt idx="714" formatCode="_ * #,##0.00_ ;_ * \-#,##0.00_ ;_ * &quot;-&quot;??_ ;_ @_ ">
                  <c:v>3.5714285714285716</c:v>
                </c:pt>
                <c:pt idx="715" formatCode="_ * #,##0.00_ ;_ * \-#,##0.00_ ;_ * &quot;-&quot;??_ ;_ @_ ">
                  <c:v>4.5714285714285712</c:v>
                </c:pt>
                <c:pt idx="716" formatCode="_ * #,##0.00_ ;_ * \-#,##0.00_ ;_ * &quot;-&quot;??_ ;_ @_ ">
                  <c:v>4.8571428571428568</c:v>
                </c:pt>
                <c:pt idx="717" formatCode="_ * #,##0.00_ ;_ * \-#,##0.00_ ;_ * &quot;-&quot;??_ ;_ @_ ">
                  <c:v>5.1428571428571432</c:v>
                </c:pt>
                <c:pt idx="718" formatCode="_ * #,##0.00_ ;_ * \-#,##0.00_ ;_ * &quot;-&quot;??_ ;_ @_ ">
                  <c:v>5.1428571428571432</c:v>
                </c:pt>
                <c:pt idx="719" formatCode="_ * #,##0.00_ ;_ * \-#,##0.00_ ;_ * &quot;-&quot;??_ ;_ @_ ">
                  <c:v>5.4285714285714288</c:v>
                </c:pt>
                <c:pt idx="720" formatCode="_ * #,##0.00_ ;_ * \-#,##0.00_ ;_ * &quot;-&quot;??_ ;_ @_ ">
                  <c:v>5.4285714285714288</c:v>
                </c:pt>
                <c:pt idx="721" formatCode="_ * #,##0.00_ ;_ * \-#,##0.00_ ;_ * &quot;-&quot;??_ ;_ @_ ">
                  <c:v>5.1428571428571432</c:v>
                </c:pt>
                <c:pt idx="722" formatCode="0.00">
                  <c:v>4.2857142857142856</c:v>
                </c:pt>
                <c:pt idx="723" formatCode="0.00">
                  <c:v>4.1428571428571432</c:v>
                </c:pt>
                <c:pt idx="724" formatCode="0.00">
                  <c:v>3.8571428571428572</c:v>
                </c:pt>
                <c:pt idx="725" formatCode="0.00">
                  <c:v>3.8571428571428572</c:v>
                </c:pt>
                <c:pt idx="726" formatCode="0.00">
                  <c:v>3.8571428571428572</c:v>
                </c:pt>
                <c:pt idx="727" formatCode="0.00">
                  <c:v>3.8571428571428572</c:v>
                </c:pt>
                <c:pt idx="728" formatCode="0.00">
                  <c:v>4</c:v>
                </c:pt>
                <c:pt idx="729" formatCode="0.00">
                  <c:v>4.4285714285714288</c:v>
                </c:pt>
                <c:pt idx="730" formatCode="0.00">
                  <c:v>4.2857142857142856</c:v>
                </c:pt>
                <c:pt idx="731" formatCode="0.00">
                  <c:v>4.2857142857142856</c:v>
                </c:pt>
                <c:pt idx="732" formatCode="0.00">
                  <c:v>4.4285714285714288</c:v>
                </c:pt>
                <c:pt idx="733" formatCode="0.00">
                  <c:v>4.7142857142857144</c:v>
                </c:pt>
                <c:pt idx="734" formatCode="0.00">
                  <c:v>5.1428571428571432</c:v>
                </c:pt>
                <c:pt idx="735" formatCode="0.00">
                  <c:v>5.5714285714285712</c:v>
                </c:pt>
                <c:pt idx="736" formatCode="0.00">
                  <c:v>5.5714285714285712</c:v>
                </c:pt>
                <c:pt idx="737">
                  <c:v>6.5714285714285712</c:v>
                </c:pt>
                <c:pt idx="738">
                  <c:v>7.2857142857142856</c:v>
                </c:pt>
                <c:pt idx="739">
                  <c:v>7.5714285714285712</c:v>
                </c:pt>
                <c:pt idx="740">
                  <c:v>7.8571428571428568</c:v>
                </c:pt>
                <c:pt idx="741">
                  <c:v>8.1428571428571423</c:v>
                </c:pt>
                <c:pt idx="742">
                  <c:v>8.5714285714285712</c:v>
                </c:pt>
                <c:pt idx="743">
                  <c:v>9</c:v>
                </c:pt>
                <c:pt idx="744">
                  <c:v>9.1428571428571423</c:v>
                </c:pt>
                <c:pt idx="745">
                  <c:v>9.8571428571428577</c:v>
                </c:pt>
                <c:pt idx="746">
                  <c:v>10.714285714285714</c:v>
                </c:pt>
                <c:pt idx="747">
                  <c:v>8</c:v>
                </c:pt>
                <c:pt idx="748">
                  <c:v>6.8571428571428568</c:v>
                </c:pt>
                <c:pt idx="749">
                  <c:v>6.2857142857142856</c:v>
                </c:pt>
                <c:pt idx="750">
                  <c:v>6</c:v>
                </c:pt>
                <c:pt idx="751">
                  <c:v>5.5714285714285712</c:v>
                </c:pt>
                <c:pt idx="752">
                  <c:v>5</c:v>
                </c:pt>
                <c:pt idx="753">
                  <c:v>4.1428571428571432</c:v>
                </c:pt>
                <c:pt idx="754">
                  <c:v>7.1428571428571432</c:v>
                </c:pt>
                <c:pt idx="755">
                  <c:v>8.4285714285714288</c:v>
                </c:pt>
              </c:numCache>
            </c:numRef>
          </c:val>
          <c:smooth val="1"/>
          <c:extLst>
            <c:ext xmlns:c16="http://schemas.microsoft.com/office/drawing/2014/chart" uri="{C3380CC4-5D6E-409C-BE32-E72D297353CC}">
              <c16:uniqueId val="{00000000-C4A1-4218-9D28-006DC06AB873}"/>
            </c:ext>
          </c:extLst>
        </c:ser>
        <c:ser>
          <c:idx val="1"/>
          <c:order val="1"/>
          <c:tx>
            <c:strRef>
              <c:f>charts!$E$1</c:f>
              <c:strCache>
                <c:ptCount val="1"/>
                <c:pt idx="0">
                  <c:v>grocery_and_pharmacy</c:v>
                </c:pt>
              </c:strCache>
            </c:strRef>
          </c:tx>
          <c:spPr>
            <a:ln w="28575" cap="rnd">
              <a:solidFill>
                <a:srgbClr val="FF0000"/>
              </a:solidFill>
              <a:round/>
            </a:ln>
            <a:effectLst/>
          </c:spPr>
          <c:marker>
            <c:symbol val="none"/>
          </c:marker>
          <c:cat>
            <c:multiLvlStrRef>
              <c:f>charts!$A$2:$C$757</c:f>
              <c:multiLvlStrCache>
                <c:ptCount val="756"/>
                <c:lvl>
                  <c:pt idx="0">
                    <c:v>1-Mar</c:v>
                  </c:pt>
                  <c:pt idx="1">
                    <c:v>2-Mar</c:v>
                  </c:pt>
                  <c:pt idx="2">
                    <c:v>3-Mar</c:v>
                  </c:pt>
                  <c:pt idx="3">
                    <c:v>4-Mar</c:v>
                  </c:pt>
                  <c:pt idx="4">
                    <c:v>5-Mar</c:v>
                  </c:pt>
                  <c:pt idx="5">
                    <c:v>6-Mar</c:v>
                  </c:pt>
                  <c:pt idx="6">
                    <c:v>7-Mar</c:v>
                  </c:pt>
                  <c:pt idx="7">
                    <c:v>8-Mar</c:v>
                  </c:pt>
                  <c:pt idx="8">
                    <c:v>9-Mar</c:v>
                  </c:pt>
                  <c:pt idx="9">
                    <c:v>10-Mar</c:v>
                  </c:pt>
                  <c:pt idx="10">
                    <c:v>11-Mar</c:v>
                  </c:pt>
                  <c:pt idx="11">
                    <c:v>12-Mar</c:v>
                  </c:pt>
                  <c:pt idx="12">
                    <c:v>13-Mar</c:v>
                  </c:pt>
                  <c:pt idx="13">
                    <c:v>14-Mar</c:v>
                  </c:pt>
                  <c:pt idx="14">
                    <c:v>15-Mar</c:v>
                  </c:pt>
                  <c:pt idx="15">
                    <c:v>16-Mar</c:v>
                  </c:pt>
                  <c:pt idx="16">
                    <c:v>17-Mar</c:v>
                  </c:pt>
                  <c:pt idx="17">
                    <c:v>18-Mar</c:v>
                  </c:pt>
                  <c:pt idx="18">
                    <c:v>19-Mar</c:v>
                  </c:pt>
                  <c:pt idx="19">
                    <c:v>20-Mar</c:v>
                  </c:pt>
                  <c:pt idx="20">
                    <c:v>21-Mar</c:v>
                  </c:pt>
                  <c:pt idx="21">
                    <c:v>22-Mar</c:v>
                  </c:pt>
                  <c:pt idx="22">
                    <c:v>23-Mar</c:v>
                  </c:pt>
                  <c:pt idx="23">
                    <c:v>24-Mar</c:v>
                  </c:pt>
                  <c:pt idx="24">
                    <c:v>25-Mar</c:v>
                  </c:pt>
                  <c:pt idx="25">
                    <c:v>26-Mar</c:v>
                  </c:pt>
                  <c:pt idx="26">
                    <c:v>27-Mar</c:v>
                  </c:pt>
                  <c:pt idx="27">
                    <c:v>28-Mar</c:v>
                  </c:pt>
                  <c:pt idx="28">
                    <c:v>29-Mar</c:v>
                  </c:pt>
                  <c:pt idx="29">
                    <c:v>30-Mar</c:v>
                  </c:pt>
                  <c:pt idx="30">
                    <c:v>31-Mar</c:v>
                  </c:pt>
                  <c:pt idx="31">
                    <c:v>1-Apr</c:v>
                  </c:pt>
                  <c:pt idx="32">
                    <c:v>2-Apr</c:v>
                  </c:pt>
                  <c:pt idx="33">
                    <c:v>3-Apr</c:v>
                  </c:pt>
                  <c:pt idx="34">
                    <c:v>4-Apr</c:v>
                  </c:pt>
                  <c:pt idx="35">
                    <c:v>5-Apr</c:v>
                  </c:pt>
                  <c:pt idx="36">
                    <c:v>6-Apr</c:v>
                  </c:pt>
                  <c:pt idx="37">
                    <c:v>7-Apr</c:v>
                  </c:pt>
                  <c:pt idx="38">
                    <c:v>8-Apr</c:v>
                  </c:pt>
                  <c:pt idx="39">
                    <c:v>9-Apr</c:v>
                  </c:pt>
                  <c:pt idx="40">
                    <c:v>10-Apr</c:v>
                  </c:pt>
                  <c:pt idx="41">
                    <c:v>11-Apr</c:v>
                  </c:pt>
                  <c:pt idx="42">
                    <c:v>12-Apr</c:v>
                  </c:pt>
                  <c:pt idx="43">
                    <c:v>13-Apr</c:v>
                  </c:pt>
                  <c:pt idx="44">
                    <c:v>14-Apr</c:v>
                  </c:pt>
                  <c:pt idx="45">
                    <c:v>15-Apr</c:v>
                  </c:pt>
                  <c:pt idx="46">
                    <c:v>16-Apr</c:v>
                  </c:pt>
                  <c:pt idx="47">
                    <c:v>17-Apr</c:v>
                  </c:pt>
                  <c:pt idx="48">
                    <c:v>18-Apr</c:v>
                  </c:pt>
                  <c:pt idx="49">
                    <c:v>19-Apr</c:v>
                  </c:pt>
                  <c:pt idx="50">
                    <c:v>20-Apr</c:v>
                  </c:pt>
                  <c:pt idx="51">
                    <c:v>21-Apr</c:v>
                  </c:pt>
                  <c:pt idx="52">
                    <c:v>22-Apr</c:v>
                  </c:pt>
                  <c:pt idx="53">
                    <c:v>23-Apr</c:v>
                  </c:pt>
                  <c:pt idx="54">
                    <c:v>24-Apr</c:v>
                  </c:pt>
                  <c:pt idx="55">
                    <c:v>25-Apr</c:v>
                  </c:pt>
                  <c:pt idx="56">
                    <c:v>26-Apr</c:v>
                  </c:pt>
                  <c:pt idx="57">
                    <c:v>27-Apr</c:v>
                  </c:pt>
                  <c:pt idx="58">
                    <c:v>28-Apr</c:v>
                  </c:pt>
                  <c:pt idx="59">
                    <c:v>29-Apr</c:v>
                  </c:pt>
                  <c:pt idx="60">
                    <c:v>30-Apr</c:v>
                  </c:pt>
                  <c:pt idx="61">
                    <c:v>1-May</c:v>
                  </c:pt>
                  <c:pt idx="62">
                    <c:v>2-May</c:v>
                  </c:pt>
                  <c:pt idx="63">
                    <c:v>3-May</c:v>
                  </c:pt>
                  <c:pt idx="64">
                    <c:v>4-May</c:v>
                  </c:pt>
                  <c:pt idx="65">
                    <c:v>5-May</c:v>
                  </c:pt>
                  <c:pt idx="66">
                    <c:v>6-May</c:v>
                  </c:pt>
                  <c:pt idx="67">
                    <c:v>7-May</c:v>
                  </c:pt>
                  <c:pt idx="68">
                    <c:v>8-May</c:v>
                  </c:pt>
                  <c:pt idx="69">
                    <c:v>9-May</c:v>
                  </c:pt>
                  <c:pt idx="70">
                    <c:v>10-May</c:v>
                  </c:pt>
                  <c:pt idx="71">
                    <c:v>11-May</c:v>
                  </c:pt>
                  <c:pt idx="72">
                    <c:v>12-May</c:v>
                  </c:pt>
                  <c:pt idx="73">
                    <c:v>13-May</c:v>
                  </c:pt>
                  <c:pt idx="74">
                    <c:v>14-May</c:v>
                  </c:pt>
                  <c:pt idx="75">
                    <c:v>15-May</c:v>
                  </c:pt>
                  <c:pt idx="76">
                    <c:v>16-May</c:v>
                  </c:pt>
                  <c:pt idx="77">
                    <c:v>17-May</c:v>
                  </c:pt>
                  <c:pt idx="78">
                    <c:v>18-May</c:v>
                  </c:pt>
                  <c:pt idx="79">
                    <c:v>19-May</c:v>
                  </c:pt>
                  <c:pt idx="80">
                    <c:v>20-May</c:v>
                  </c:pt>
                  <c:pt idx="81">
                    <c:v>21-May</c:v>
                  </c:pt>
                  <c:pt idx="82">
                    <c:v>22-May</c:v>
                  </c:pt>
                  <c:pt idx="83">
                    <c:v>23-May</c:v>
                  </c:pt>
                  <c:pt idx="84">
                    <c:v>24-May</c:v>
                  </c:pt>
                  <c:pt idx="85">
                    <c:v>25-May</c:v>
                  </c:pt>
                  <c:pt idx="86">
                    <c:v>26-May</c:v>
                  </c:pt>
                  <c:pt idx="87">
                    <c:v>27-May</c:v>
                  </c:pt>
                  <c:pt idx="88">
                    <c:v>28-May</c:v>
                  </c:pt>
                  <c:pt idx="89">
                    <c:v>29-May</c:v>
                  </c:pt>
                  <c:pt idx="90">
                    <c:v>30-May</c:v>
                  </c:pt>
                  <c:pt idx="91">
                    <c:v>31-May</c:v>
                  </c:pt>
                  <c:pt idx="92">
                    <c:v>1-Jun</c:v>
                  </c:pt>
                  <c:pt idx="93">
                    <c:v>2-Jun</c:v>
                  </c:pt>
                  <c:pt idx="94">
                    <c:v>3-Jun</c:v>
                  </c:pt>
                  <c:pt idx="95">
                    <c:v>4-Jun</c:v>
                  </c:pt>
                  <c:pt idx="96">
                    <c:v>5-Jun</c:v>
                  </c:pt>
                  <c:pt idx="97">
                    <c:v>6-Jun</c:v>
                  </c:pt>
                  <c:pt idx="98">
                    <c:v>7-Jun</c:v>
                  </c:pt>
                  <c:pt idx="99">
                    <c:v>8-Jun</c:v>
                  </c:pt>
                  <c:pt idx="100">
                    <c:v>9-Jun</c:v>
                  </c:pt>
                  <c:pt idx="101">
                    <c:v>10-Jun</c:v>
                  </c:pt>
                  <c:pt idx="102">
                    <c:v>11-Jun</c:v>
                  </c:pt>
                  <c:pt idx="103">
                    <c:v>12-Jun</c:v>
                  </c:pt>
                  <c:pt idx="104">
                    <c:v>13-Jun</c:v>
                  </c:pt>
                  <c:pt idx="105">
                    <c:v>14-Jun</c:v>
                  </c:pt>
                  <c:pt idx="106">
                    <c:v>15-Jun</c:v>
                  </c:pt>
                  <c:pt idx="107">
                    <c:v>16-Jun</c:v>
                  </c:pt>
                  <c:pt idx="108">
                    <c:v>17-Jun</c:v>
                  </c:pt>
                  <c:pt idx="109">
                    <c:v>18-Jun</c:v>
                  </c:pt>
                  <c:pt idx="110">
                    <c:v>19-Jun</c:v>
                  </c:pt>
                  <c:pt idx="111">
                    <c:v>20-Jun</c:v>
                  </c:pt>
                  <c:pt idx="112">
                    <c:v>21-Jun</c:v>
                  </c:pt>
                  <c:pt idx="113">
                    <c:v>22-Jun</c:v>
                  </c:pt>
                  <c:pt idx="114">
                    <c:v>23-Jun</c:v>
                  </c:pt>
                  <c:pt idx="115">
                    <c:v>24-Jun</c:v>
                  </c:pt>
                  <c:pt idx="116">
                    <c:v>25-Jun</c:v>
                  </c:pt>
                  <c:pt idx="117">
                    <c:v>26-Jun</c:v>
                  </c:pt>
                  <c:pt idx="118">
                    <c:v>27-Jun</c:v>
                  </c:pt>
                  <c:pt idx="119">
                    <c:v>28-Jun</c:v>
                  </c:pt>
                  <c:pt idx="120">
                    <c:v>29-Jun</c:v>
                  </c:pt>
                  <c:pt idx="121">
                    <c:v>30-Jun</c:v>
                  </c:pt>
                  <c:pt idx="122">
                    <c:v>1-Jul</c:v>
                  </c:pt>
                  <c:pt idx="123">
                    <c:v>2-Jul</c:v>
                  </c:pt>
                  <c:pt idx="124">
                    <c:v>3-Jul</c:v>
                  </c:pt>
                  <c:pt idx="125">
                    <c:v>4-Jul</c:v>
                  </c:pt>
                  <c:pt idx="126">
                    <c:v>5-Jul</c:v>
                  </c:pt>
                  <c:pt idx="127">
                    <c:v>6-Jul</c:v>
                  </c:pt>
                  <c:pt idx="128">
                    <c:v>7-Jul</c:v>
                  </c:pt>
                  <c:pt idx="129">
                    <c:v>8-Jul</c:v>
                  </c:pt>
                  <c:pt idx="130">
                    <c:v>9-Jul</c:v>
                  </c:pt>
                  <c:pt idx="131">
                    <c:v>10-Jul</c:v>
                  </c:pt>
                  <c:pt idx="132">
                    <c:v>11-Jul</c:v>
                  </c:pt>
                  <c:pt idx="133">
                    <c:v>12-Jul</c:v>
                  </c:pt>
                  <c:pt idx="134">
                    <c:v>13-Jul</c:v>
                  </c:pt>
                  <c:pt idx="135">
                    <c:v>14-Jul</c:v>
                  </c:pt>
                  <c:pt idx="136">
                    <c:v>15-Jul</c:v>
                  </c:pt>
                  <c:pt idx="137">
                    <c:v>16-Jul</c:v>
                  </c:pt>
                  <c:pt idx="138">
                    <c:v>17-Jul</c:v>
                  </c:pt>
                  <c:pt idx="139">
                    <c:v>18-Jul</c:v>
                  </c:pt>
                  <c:pt idx="140">
                    <c:v>19-Jul</c:v>
                  </c:pt>
                  <c:pt idx="141">
                    <c:v>20-Jul</c:v>
                  </c:pt>
                  <c:pt idx="142">
                    <c:v>21-Jul</c:v>
                  </c:pt>
                  <c:pt idx="143">
                    <c:v>22-Jul</c:v>
                  </c:pt>
                  <c:pt idx="144">
                    <c:v>23-Jul</c:v>
                  </c:pt>
                  <c:pt idx="145">
                    <c:v>24-Jul</c:v>
                  </c:pt>
                  <c:pt idx="146">
                    <c:v>25-Jul</c:v>
                  </c:pt>
                  <c:pt idx="147">
                    <c:v>26-Jul</c:v>
                  </c:pt>
                  <c:pt idx="148">
                    <c:v>27-Jul</c:v>
                  </c:pt>
                  <c:pt idx="149">
                    <c:v>28-Jul</c:v>
                  </c:pt>
                  <c:pt idx="150">
                    <c:v>29-Jul</c:v>
                  </c:pt>
                  <c:pt idx="151">
                    <c:v>30-Jul</c:v>
                  </c:pt>
                  <c:pt idx="152">
                    <c:v>31-Jul</c:v>
                  </c:pt>
                  <c:pt idx="153">
                    <c:v>1-Aug</c:v>
                  </c:pt>
                  <c:pt idx="154">
                    <c:v>2-Aug</c:v>
                  </c:pt>
                  <c:pt idx="155">
                    <c:v>3-Aug</c:v>
                  </c:pt>
                  <c:pt idx="156">
                    <c:v>4-Aug</c:v>
                  </c:pt>
                  <c:pt idx="157">
                    <c:v>5-Aug</c:v>
                  </c:pt>
                  <c:pt idx="158">
                    <c:v>6-Aug</c:v>
                  </c:pt>
                  <c:pt idx="159">
                    <c:v>7-Aug</c:v>
                  </c:pt>
                  <c:pt idx="160">
                    <c:v>8-Aug</c:v>
                  </c:pt>
                  <c:pt idx="161">
                    <c:v>9-Aug</c:v>
                  </c:pt>
                  <c:pt idx="162">
                    <c:v>10-Aug</c:v>
                  </c:pt>
                  <c:pt idx="163">
                    <c:v>11-Aug</c:v>
                  </c:pt>
                  <c:pt idx="164">
                    <c:v>12-Aug</c:v>
                  </c:pt>
                  <c:pt idx="165">
                    <c:v>13-Aug</c:v>
                  </c:pt>
                  <c:pt idx="166">
                    <c:v>14-Aug</c:v>
                  </c:pt>
                  <c:pt idx="167">
                    <c:v>15-Aug</c:v>
                  </c:pt>
                  <c:pt idx="168">
                    <c:v>16-Aug</c:v>
                  </c:pt>
                  <c:pt idx="169">
                    <c:v>17-Aug</c:v>
                  </c:pt>
                  <c:pt idx="170">
                    <c:v>18-Aug</c:v>
                  </c:pt>
                  <c:pt idx="171">
                    <c:v>19-Aug</c:v>
                  </c:pt>
                  <c:pt idx="172">
                    <c:v>20-Aug</c:v>
                  </c:pt>
                  <c:pt idx="173">
                    <c:v>21-Aug</c:v>
                  </c:pt>
                  <c:pt idx="174">
                    <c:v>22-Aug</c:v>
                  </c:pt>
                  <c:pt idx="175">
                    <c:v>23-Aug</c:v>
                  </c:pt>
                  <c:pt idx="176">
                    <c:v>24-Aug</c:v>
                  </c:pt>
                  <c:pt idx="177">
                    <c:v>25-Aug</c:v>
                  </c:pt>
                  <c:pt idx="178">
                    <c:v>26-Aug</c:v>
                  </c:pt>
                  <c:pt idx="179">
                    <c:v>27-Aug</c:v>
                  </c:pt>
                  <c:pt idx="180">
                    <c:v>28-Aug</c:v>
                  </c:pt>
                  <c:pt idx="181">
                    <c:v>29-Aug</c:v>
                  </c:pt>
                  <c:pt idx="182">
                    <c:v>30-Aug</c:v>
                  </c:pt>
                  <c:pt idx="183">
                    <c:v>31-Aug</c:v>
                  </c:pt>
                  <c:pt idx="184">
                    <c:v>1-Sep</c:v>
                  </c:pt>
                  <c:pt idx="185">
                    <c:v>2-Sep</c:v>
                  </c:pt>
                  <c:pt idx="186">
                    <c:v>3-Sep</c:v>
                  </c:pt>
                  <c:pt idx="187">
                    <c:v>4-Sep</c:v>
                  </c:pt>
                  <c:pt idx="188">
                    <c:v>5-Sep</c:v>
                  </c:pt>
                  <c:pt idx="189">
                    <c:v>6-Sep</c:v>
                  </c:pt>
                  <c:pt idx="190">
                    <c:v>7-Sep</c:v>
                  </c:pt>
                  <c:pt idx="191">
                    <c:v>8-Sep</c:v>
                  </c:pt>
                  <c:pt idx="192">
                    <c:v>9-Sep</c:v>
                  </c:pt>
                  <c:pt idx="193">
                    <c:v>10-Sep</c:v>
                  </c:pt>
                  <c:pt idx="194">
                    <c:v>11-Sep</c:v>
                  </c:pt>
                  <c:pt idx="195">
                    <c:v>12-Sep</c:v>
                  </c:pt>
                  <c:pt idx="196">
                    <c:v>13-Sep</c:v>
                  </c:pt>
                  <c:pt idx="197">
                    <c:v>14-Sep</c:v>
                  </c:pt>
                  <c:pt idx="198">
                    <c:v>15-Sep</c:v>
                  </c:pt>
                  <c:pt idx="199">
                    <c:v>16-Sep</c:v>
                  </c:pt>
                  <c:pt idx="200">
                    <c:v>17-Sep</c:v>
                  </c:pt>
                  <c:pt idx="201">
                    <c:v>18-Sep</c:v>
                  </c:pt>
                  <c:pt idx="202">
                    <c:v>19-Sep</c:v>
                  </c:pt>
                  <c:pt idx="203">
                    <c:v>20-Sep</c:v>
                  </c:pt>
                  <c:pt idx="204">
                    <c:v>21-Sep</c:v>
                  </c:pt>
                  <c:pt idx="205">
                    <c:v>22-Sep</c:v>
                  </c:pt>
                  <c:pt idx="206">
                    <c:v>23-Sep</c:v>
                  </c:pt>
                  <c:pt idx="207">
                    <c:v>24-Sep</c:v>
                  </c:pt>
                  <c:pt idx="208">
                    <c:v>25-Sep</c:v>
                  </c:pt>
                  <c:pt idx="209">
                    <c:v>26-Sep</c:v>
                  </c:pt>
                  <c:pt idx="210">
                    <c:v>27-Sep</c:v>
                  </c:pt>
                  <c:pt idx="211">
                    <c:v>28-Sep</c:v>
                  </c:pt>
                  <c:pt idx="212">
                    <c:v>29-Sep</c:v>
                  </c:pt>
                  <c:pt idx="213">
                    <c:v>30-Sep</c:v>
                  </c:pt>
                  <c:pt idx="214">
                    <c:v>1-Oct</c:v>
                  </c:pt>
                  <c:pt idx="215">
                    <c:v>2-Oct</c:v>
                  </c:pt>
                  <c:pt idx="216">
                    <c:v>3-Oct</c:v>
                  </c:pt>
                  <c:pt idx="217">
                    <c:v>4-Oct</c:v>
                  </c:pt>
                  <c:pt idx="218">
                    <c:v>5-Oct</c:v>
                  </c:pt>
                  <c:pt idx="219">
                    <c:v>6-Oct</c:v>
                  </c:pt>
                  <c:pt idx="220">
                    <c:v>7-Oct</c:v>
                  </c:pt>
                  <c:pt idx="221">
                    <c:v>8-Oct</c:v>
                  </c:pt>
                  <c:pt idx="222">
                    <c:v>9-Oct</c:v>
                  </c:pt>
                  <c:pt idx="223">
                    <c:v>10-Oct</c:v>
                  </c:pt>
                  <c:pt idx="224">
                    <c:v>11-Oct</c:v>
                  </c:pt>
                  <c:pt idx="225">
                    <c:v>12-Oct</c:v>
                  </c:pt>
                  <c:pt idx="226">
                    <c:v>13-Oct</c:v>
                  </c:pt>
                  <c:pt idx="227">
                    <c:v>14-Oct</c:v>
                  </c:pt>
                  <c:pt idx="228">
                    <c:v>15-Oct</c:v>
                  </c:pt>
                  <c:pt idx="229">
                    <c:v>16-Oct</c:v>
                  </c:pt>
                  <c:pt idx="230">
                    <c:v>17-Oct</c:v>
                  </c:pt>
                  <c:pt idx="231">
                    <c:v>18-Oct</c:v>
                  </c:pt>
                  <c:pt idx="232">
                    <c:v>19-Oct</c:v>
                  </c:pt>
                  <c:pt idx="233">
                    <c:v>20-Oct</c:v>
                  </c:pt>
                  <c:pt idx="234">
                    <c:v>21-Oct</c:v>
                  </c:pt>
                  <c:pt idx="235">
                    <c:v>22-Oct</c:v>
                  </c:pt>
                  <c:pt idx="236">
                    <c:v>23-Oct</c:v>
                  </c:pt>
                  <c:pt idx="237">
                    <c:v>24-Oct</c:v>
                  </c:pt>
                  <c:pt idx="238">
                    <c:v>25-Oct</c:v>
                  </c:pt>
                  <c:pt idx="239">
                    <c:v>26-Oct</c:v>
                  </c:pt>
                  <c:pt idx="240">
                    <c:v>27-Oct</c:v>
                  </c:pt>
                  <c:pt idx="241">
                    <c:v>28-Oct</c:v>
                  </c:pt>
                  <c:pt idx="242">
                    <c:v>29-Oct</c:v>
                  </c:pt>
                  <c:pt idx="243">
                    <c:v>30-Oct</c:v>
                  </c:pt>
                  <c:pt idx="244">
                    <c:v>31-Oct</c:v>
                  </c:pt>
                  <c:pt idx="245">
                    <c:v>1-Nov</c:v>
                  </c:pt>
                  <c:pt idx="246">
                    <c:v>2-Nov</c:v>
                  </c:pt>
                  <c:pt idx="247">
                    <c:v>3-Nov</c:v>
                  </c:pt>
                  <c:pt idx="248">
                    <c:v>4-Nov</c:v>
                  </c:pt>
                  <c:pt idx="249">
                    <c:v>5-Nov</c:v>
                  </c:pt>
                  <c:pt idx="250">
                    <c:v>6-Nov</c:v>
                  </c:pt>
                  <c:pt idx="251">
                    <c:v>7-Nov</c:v>
                  </c:pt>
                  <c:pt idx="252">
                    <c:v>8-Nov</c:v>
                  </c:pt>
                  <c:pt idx="253">
                    <c:v>9-Nov</c:v>
                  </c:pt>
                  <c:pt idx="254">
                    <c:v>10-Nov</c:v>
                  </c:pt>
                  <c:pt idx="255">
                    <c:v>11-Nov</c:v>
                  </c:pt>
                  <c:pt idx="256">
                    <c:v>12-Nov</c:v>
                  </c:pt>
                  <c:pt idx="257">
                    <c:v>13-Nov</c:v>
                  </c:pt>
                  <c:pt idx="258">
                    <c:v>14-Nov</c:v>
                  </c:pt>
                  <c:pt idx="259">
                    <c:v>15-Nov</c:v>
                  </c:pt>
                  <c:pt idx="260">
                    <c:v>16-Nov</c:v>
                  </c:pt>
                  <c:pt idx="261">
                    <c:v>17-Nov</c:v>
                  </c:pt>
                  <c:pt idx="262">
                    <c:v>18-Nov</c:v>
                  </c:pt>
                  <c:pt idx="263">
                    <c:v>19-Nov</c:v>
                  </c:pt>
                  <c:pt idx="264">
                    <c:v>20-Nov</c:v>
                  </c:pt>
                  <c:pt idx="265">
                    <c:v>21-Nov</c:v>
                  </c:pt>
                  <c:pt idx="266">
                    <c:v>22-Nov</c:v>
                  </c:pt>
                  <c:pt idx="267">
                    <c:v>23-Nov</c:v>
                  </c:pt>
                  <c:pt idx="268">
                    <c:v>24-Nov</c:v>
                  </c:pt>
                  <c:pt idx="269">
                    <c:v>25-Nov</c:v>
                  </c:pt>
                  <c:pt idx="270">
                    <c:v>26-Nov</c:v>
                  </c:pt>
                  <c:pt idx="271">
                    <c:v>27-Nov</c:v>
                  </c:pt>
                  <c:pt idx="272">
                    <c:v>28-Nov</c:v>
                  </c:pt>
                  <c:pt idx="273">
                    <c:v>29-Nov</c:v>
                  </c:pt>
                  <c:pt idx="274">
                    <c:v>30-Nov</c:v>
                  </c:pt>
                  <c:pt idx="275">
                    <c:v>1-Dec</c:v>
                  </c:pt>
                  <c:pt idx="276">
                    <c:v>2-Dec</c:v>
                  </c:pt>
                  <c:pt idx="277">
                    <c:v>3-Dec</c:v>
                  </c:pt>
                  <c:pt idx="278">
                    <c:v>4-Dec</c:v>
                  </c:pt>
                  <c:pt idx="279">
                    <c:v>5-Dec</c:v>
                  </c:pt>
                  <c:pt idx="280">
                    <c:v>6-Dec</c:v>
                  </c:pt>
                  <c:pt idx="281">
                    <c:v>7-Dec</c:v>
                  </c:pt>
                  <c:pt idx="282">
                    <c:v>8-Dec</c:v>
                  </c:pt>
                  <c:pt idx="283">
                    <c:v>9-Dec</c:v>
                  </c:pt>
                  <c:pt idx="284">
                    <c:v>10-Dec</c:v>
                  </c:pt>
                  <c:pt idx="285">
                    <c:v>11-Dec</c:v>
                  </c:pt>
                  <c:pt idx="286">
                    <c:v>12-Dec</c:v>
                  </c:pt>
                  <c:pt idx="287">
                    <c:v>13-Dec</c:v>
                  </c:pt>
                  <c:pt idx="288">
                    <c:v>14-Dec</c:v>
                  </c:pt>
                  <c:pt idx="289">
                    <c:v>15-Dec</c:v>
                  </c:pt>
                  <c:pt idx="290">
                    <c:v>16-Dec</c:v>
                  </c:pt>
                  <c:pt idx="291">
                    <c:v>17-Dec</c:v>
                  </c:pt>
                  <c:pt idx="292">
                    <c:v>18-Dec</c:v>
                  </c:pt>
                  <c:pt idx="293">
                    <c:v>19-Dec</c:v>
                  </c:pt>
                  <c:pt idx="294">
                    <c:v>20-Dec</c:v>
                  </c:pt>
                  <c:pt idx="295">
                    <c:v>21-Dec</c:v>
                  </c:pt>
                  <c:pt idx="296">
                    <c:v>22-Dec</c:v>
                  </c:pt>
                  <c:pt idx="297">
                    <c:v>23-Dec</c:v>
                  </c:pt>
                  <c:pt idx="298">
                    <c:v>24-Dec</c:v>
                  </c:pt>
                  <c:pt idx="299">
                    <c:v>25-Dec</c:v>
                  </c:pt>
                  <c:pt idx="300">
                    <c:v>26-Dec</c:v>
                  </c:pt>
                  <c:pt idx="301">
                    <c:v>27-Dec</c:v>
                  </c:pt>
                  <c:pt idx="302">
                    <c:v>28-Dec</c:v>
                  </c:pt>
                  <c:pt idx="303">
                    <c:v>29-Dec</c:v>
                  </c:pt>
                  <c:pt idx="304">
                    <c:v>30-Dec</c:v>
                  </c:pt>
                  <c:pt idx="305">
                    <c:v>31-Dec</c:v>
                  </c:pt>
                  <c:pt idx="306">
                    <c:v>1-Jan</c:v>
                  </c:pt>
                  <c:pt idx="307">
                    <c:v>2-Jan</c:v>
                  </c:pt>
                  <c:pt idx="308">
                    <c:v>3-Jan</c:v>
                  </c:pt>
                  <c:pt idx="309">
                    <c:v>4-Jan</c:v>
                  </c:pt>
                  <c:pt idx="310">
                    <c:v>5-Jan</c:v>
                  </c:pt>
                  <c:pt idx="311">
                    <c:v>6-Jan</c:v>
                  </c:pt>
                  <c:pt idx="312">
                    <c:v>7-Jan</c:v>
                  </c:pt>
                  <c:pt idx="313">
                    <c:v>8-Jan</c:v>
                  </c:pt>
                  <c:pt idx="314">
                    <c:v>9-Jan</c:v>
                  </c:pt>
                  <c:pt idx="315">
                    <c:v>10-Jan</c:v>
                  </c:pt>
                  <c:pt idx="316">
                    <c:v>11-Jan</c:v>
                  </c:pt>
                  <c:pt idx="317">
                    <c:v>12-Jan</c:v>
                  </c:pt>
                  <c:pt idx="318">
                    <c:v>13-Jan</c:v>
                  </c:pt>
                  <c:pt idx="319">
                    <c:v>14-Jan</c:v>
                  </c:pt>
                  <c:pt idx="320">
                    <c:v>15-Jan</c:v>
                  </c:pt>
                  <c:pt idx="321">
                    <c:v>16-Jan</c:v>
                  </c:pt>
                  <c:pt idx="322">
                    <c:v>17-Jan</c:v>
                  </c:pt>
                  <c:pt idx="323">
                    <c:v>18-Jan</c:v>
                  </c:pt>
                  <c:pt idx="324">
                    <c:v>19-Jan</c:v>
                  </c:pt>
                  <c:pt idx="325">
                    <c:v>20-Jan</c:v>
                  </c:pt>
                  <c:pt idx="326">
                    <c:v>21-Jan</c:v>
                  </c:pt>
                  <c:pt idx="327">
                    <c:v>22-Jan</c:v>
                  </c:pt>
                  <c:pt idx="328">
                    <c:v>23-Jan</c:v>
                  </c:pt>
                  <c:pt idx="329">
                    <c:v>24-Jan</c:v>
                  </c:pt>
                  <c:pt idx="330">
                    <c:v>25-Jan</c:v>
                  </c:pt>
                  <c:pt idx="331">
                    <c:v>26-Jan</c:v>
                  </c:pt>
                  <c:pt idx="332">
                    <c:v>27-Jan</c:v>
                  </c:pt>
                  <c:pt idx="333">
                    <c:v>28-Jan</c:v>
                  </c:pt>
                  <c:pt idx="334">
                    <c:v>29-Jan</c:v>
                  </c:pt>
                  <c:pt idx="335">
                    <c:v>30-Jan</c:v>
                  </c:pt>
                  <c:pt idx="336">
                    <c:v>31-Jan</c:v>
                  </c:pt>
                  <c:pt idx="337">
                    <c:v>1-Feb</c:v>
                  </c:pt>
                  <c:pt idx="338">
                    <c:v>2-Feb</c:v>
                  </c:pt>
                  <c:pt idx="339">
                    <c:v>3-Feb</c:v>
                  </c:pt>
                  <c:pt idx="340">
                    <c:v>4-Feb</c:v>
                  </c:pt>
                  <c:pt idx="341">
                    <c:v>5-Feb</c:v>
                  </c:pt>
                  <c:pt idx="342">
                    <c:v>6-Feb</c:v>
                  </c:pt>
                  <c:pt idx="343">
                    <c:v>7-Feb</c:v>
                  </c:pt>
                  <c:pt idx="344">
                    <c:v>8-Feb</c:v>
                  </c:pt>
                  <c:pt idx="345">
                    <c:v>9-Feb</c:v>
                  </c:pt>
                  <c:pt idx="346">
                    <c:v>10-Feb</c:v>
                  </c:pt>
                  <c:pt idx="347">
                    <c:v>11-Feb</c:v>
                  </c:pt>
                  <c:pt idx="348">
                    <c:v>12-Feb</c:v>
                  </c:pt>
                  <c:pt idx="349">
                    <c:v>13-Feb</c:v>
                  </c:pt>
                  <c:pt idx="350">
                    <c:v>14-Feb</c:v>
                  </c:pt>
                  <c:pt idx="351">
                    <c:v>15-Feb</c:v>
                  </c:pt>
                  <c:pt idx="352">
                    <c:v>16-Feb</c:v>
                  </c:pt>
                  <c:pt idx="353">
                    <c:v>17-Feb</c:v>
                  </c:pt>
                  <c:pt idx="354">
                    <c:v>18-Feb</c:v>
                  </c:pt>
                  <c:pt idx="355">
                    <c:v>19-Feb</c:v>
                  </c:pt>
                  <c:pt idx="356">
                    <c:v>20-Feb</c:v>
                  </c:pt>
                  <c:pt idx="357">
                    <c:v>21-Feb</c:v>
                  </c:pt>
                  <c:pt idx="358">
                    <c:v>22-Feb</c:v>
                  </c:pt>
                  <c:pt idx="359">
                    <c:v>23-Feb</c:v>
                  </c:pt>
                  <c:pt idx="360">
                    <c:v>24-Feb</c:v>
                  </c:pt>
                  <c:pt idx="361">
                    <c:v>25-Feb</c:v>
                  </c:pt>
                  <c:pt idx="362">
                    <c:v>26-Feb</c:v>
                  </c:pt>
                  <c:pt idx="363">
                    <c:v>27-Feb</c:v>
                  </c:pt>
                  <c:pt idx="364">
                    <c:v>28-Feb</c:v>
                  </c:pt>
                  <c:pt idx="365">
                    <c:v>1-Mar</c:v>
                  </c:pt>
                  <c:pt idx="366">
                    <c:v>2-Mar</c:v>
                  </c:pt>
                  <c:pt idx="367">
                    <c:v>3-Mar</c:v>
                  </c:pt>
                  <c:pt idx="368">
                    <c:v>4-Mar</c:v>
                  </c:pt>
                  <c:pt idx="369">
                    <c:v>5-Mar</c:v>
                  </c:pt>
                  <c:pt idx="370">
                    <c:v>6-Mar</c:v>
                  </c:pt>
                  <c:pt idx="371">
                    <c:v>7-Mar</c:v>
                  </c:pt>
                  <c:pt idx="372">
                    <c:v>8-Mar</c:v>
                  </c:pt>
                  <c:pt idx="373">
                    <c:v>9-Mar</c:v>
                  </c:pt>
                  <c:pt idx="374">
                    <c:v>10-Mar</c:v>
                  </c:pt>
                  <c:pt idx="375">
                    <c:v>11-Mar</c:v>
                  </c:pt>
                  <c:pt idx="376">
                    <c:v>12-Mar</c:v>
                  </c:pt>
                  <c:pt idx="377">
                    <c:v>13-Mar</c:v>
                  </c:pt>
                  <c:pt idx="378">
                    <c:v>14-Mar</c:v>
                  </c:pt>
                  <c:pt idx="379">
                    <c:v>15-Mar</c:v>
                  </c:pt>
                  <c:pt idx="380">
                    <c:v>16-Mar</c:v>
                  </c:pt>
                  <c:pt idx="381">
                    <c:v>17-Mar</c:v>
                  </c:pt>
                  <c:pt idx="382">
                    <c:v>18-Mar</c:v>
                  </c:pt>
                  <c:pt idx="383">
                    <c:v>19-Mar</c:v>
                  </c:pt>
                  <c:pt idx="384">
                    <c:v>20-Mar</c:v>
                  </c:pt>
                  <c:pt idx="385">
                    <c:v>21-Mar</c:v>
                  </c:pt>
                  <c:pt idx="386">
                    <c:v>22-Mar</c:v>
                  </c:pt>
                  <c:pt idx="387">
                    <c:v>23-Mar</c:v>
                  </c:pt>
                  <c:pt idx="388">
                    <c:v>24-Mar</c:v>
                  </c:pt>
                  <c:pt idx="389">
                    <c:v>25-Mar</c:v>
                  </c:pt>
                  <c:pt idx="390">
                    <c:v>26-Mar</c:v>
                  </c:pt>
                  <c:pt idx="391">
                    <c:v>27-Mar</c:v>
                  </c:pt>
                  <c:pt idx="392">
                    <c:v>28-Mar</c:v>
                  </c:pt>
                  <c:pt idx="393">
                    <c:v>29-Mar</c:v>
                  </c:pt>
                  <c:pt idx="394">
                    <c:v>30-Mar</c:v>
                  </c:pt>
                  <c:pt idx="395">
                    <c:v>31-Mar</c:v>
                  </c:pt>
                  <c:pt idx="396">
                    <c:v>1-Apr</c:v>
                  </c:pt>
                  <c:pt idx="397">
                    <c:v>2-Apr</c:v>
                  </c:pt>
                  <c:pt idx="398">
                    <c:v>3-Apr</c:v>
                  </c:pt>
                  <c:pt idx="399">
                    <c:v>4-Apr</c:v>
                  </c:pt>
                  <c:pt idx="400">
                    <c:v>5-Apr</c:v>
                  </c:pt>
                  <c:pt idx="401">
                    <c:v>6-Apr</c:v>
                  </c:pt>
                  <c:pt idx="402">
                    <c:v>7-Apr</c:v>
                  </c:pt>
                  <c:pt idx="403">
                    <c:v>8-Apr</c:v>
                  </c:pt>
                  <c:pt idx="404">
                    <c:v>9-Apr</c:v>
                  </c:pt>
                  <c:pt idx="405">
                    <c:v>10-Apr</c:v>
                  </c:pt>
                  <c:pt idx="406">
                    <c:v>11-Apr</c:v>
                  </c:pt>
                  <c:pt idx="407">
                    <c:v>12-Apr</c:v>
                  </c:pt>
                  <c:pt idx="408">
                    <c:v>13-Apr</c:v>
                  </c:pt>
                  <c:pt idx="409">
                    <c:v>14-Apr</c:v>
                  </c:pt>
                  <c:pt idx="410">
                    <c:v>15-Apr</c:v>
                  </c:pt>
                  <c:pt idx="411">
                    <c:v>16-Apr</c:v>
                  </c:pt>
                  <c:pt idx="412">
                    <c:v>17-Apr</c:v>
                  </c:pt>
                  <c:pt idx="413">
                    <c:v>18-Apr</c:v>
                  </c:pt>
                  <c:pt idx="414">
                    <c:v>19-Apr</c:v>
                  </c:pt>
                  <c:pt idx="415">
                    <c:v>20-Apr</c:v>
                  </c:pt>
                  <c:pt idx="416">
                    <c:v>21-Apr</c:v>
                  </c:pt>
                  <c:pt idx="417">
                    <c:v>22-Apr</c:v>
                  </c:pt>
                  <c:pt idx="418">
                    <c:v>23-Apr</c:v>
                  </c:pt>
                  <c:pt idx="419">
                    <c:v>24-Apr</c:v>
                  </c:pt>
                  <c:pt idx="420">
                    <c:v>25-Apr</c:v>
                  </c:pt>
                  <c:pt idx="421">
                    <c:v>26-Apr</c:v>
                  </c:pt>
                  <c:pt idx="422">
                    <c:v>27-Apr</c:v>
                  </c:pt>
                  <c:pt idx="423">
                    <c:v>28-Apr</c:v>
                  </c:pt>
                  <c:pt idx="424">
                    <c:v>29-Apr</c:v>
                  </c:pt>
                  <c:pt idx="425">
                    <c:v>30-Apr</c:v>
                  </c:pt>
                  <c:pt idx="426">
                    <c:v>1-May</c:v>
                  </c:pt>
                  <c:pt idx="427">
                    <c:v>2-May</c:v>
                  </c:pt>
                  <c:pt idx="428">
                    <c:v>3-May</c:v>
                  </c:pt>
                  <c:pt idx="429">
                    <c:v>4-May</c:v>
                  </c:pt>
                  <c:pt idx="430">
                    <c:v>5-May</c:v>
                  </c:pt>
                  <c:pt idx="431">
                    <c:v>6-May</c:v>
                  </c:pt>
                  <c:pt idx="432">
                    <c:v>7-May</c:v>
                  </c:pt>
                  <c:pt idx="433">
                    <c:v>8-May</c:v>
                  </c:pt>
                  <c:pt idx="434">
                    <c:v>9-May</c:v>
                  </c:pt>
                  <c:pt idx="435">
                    <c:v>10-May</c:v>
                  </c:pt>
                  <c:pt idx="436">
                    <c:v>11-May</c:v>
                  </c:pt>
                  <c:pt idx="437">
                    <c:v>12-May</c:v>
                  </c:pt>
                  <c:pt idx="438">
                    <c:v>13-May</c:v>
                  </c:pt>
                  <c:pt idx="439">
                    <c:v>14-May</c:v>
                  </c:pt>
                  <c:pt idx="440">
                    <c:v>15-May</c:v>
                  </c:pt>
                  <c:pt idx="441">
                    <c:v>16-May</c:v>
                  </c:pt>
                  <c:pt idx="442">
                    <c:v>17-May</c:v>
                  </c:pt>
                  <c:pt idx="443">
                    <c:v>18-May</c:v>
                  </c:pt>
                  <c:pt idx="444">
                    <c:v>19-May</c:v>
                  </c:pt>
                  <c:pt idx="445">
                    <c:v>20-May</c:v>
                  </c:pt>
                  <c:pt idx="446">
                    <c:v>21-May</c:v>
                  </c:pt>
                  <c:pt idx="447">
                    <c:v>22-May</c:v>
                  </c:pt>
                  <c:pt idx="448">
                    <c:v>23-May</c:v>
                  </c:pt>
                  <c:pt idx="449">
                    <c:v>24-May</c:v>
                  </c:pt>
                  <c:pt idx="450">
                    <c:v>25-May</c:v>
                  </c:pt>
                  <c:pt idx="451">
                    <c:v>26-May</c:v>
                  </c:pt>
                  <c:pt idx="452">
                    <c:v>27-May</c:v>
                  </c:pt>
                  <c:pt idx="453">
                    <c:v>28-May</c:v>
                  </c:pt>
                  <c:pt idx="454">
                    <c:v>29-May</c:v>
                  </c:pt>
                  <c:pt idx="455">
                    <c:v>30-May</c:v>
                  </c:pt>
                  <c:pt idx="456">
                    <c:v>31-May</c:v>
                  </c:pt>
                  <c:pt idx="457">
                    <c:v>1-Jun</c:v>
                  </c:pt>
                  <c:pt idx="458">
                    <c:v>2-Jun</c:v>
                  </c:pt>
                  <c:pt idx="459">
                    <c:v>3-Jun</c:v>
                  </c:pt>
                  <c:pt idx="460">
                    <c:v>4-Jun</c:v>
                  </c:pt>
                  <c:pt idx="461">
                    <c:v>5-Jun</c:v>
                  </c:pt>
                  <c:pt idx="462">
                    <c:v>6-Jun</c:v>
                  </c:pt>
                  <c:pt idx="463">
                    <c:v>7-Jun</c:v>
                  </c:pt>
                  <c:pt idx="464">
                    <c:v>8-Jun</c:v>
                  </c:pt>
                  <c:pt idx="465">
                    <c:v>9-Jun</c:v>
                  </c:pt>
                  <c:pt idx="466">
                    <c:v>10-Jun</c:v>
                  </c:pt>
                  <c:pt idx="467">
                    <c:v>11-Jun</c:v>
                  </c:pt>
                  <c:pt idx="468">
                    <c:v>12-Jun</c:v>
                  </c:pt>
                  <c:pt idx="469">
                    <c:v>13-Jun</c:v>
                  </c:pt>
                  <c:pt idx="470">
                    <c:v>14-Jun</c:v>
                  </c:pt>
                  <c:pt idx="471">
                    <c:v>15-Jun</c:v>
                  </c:pt>
                  <c:pt idx="472">
                    <c:v>16-Jun</c:v>
                  </c:pt>
                  <c:pt idx="473">
                    <c:v>17-Jun</c:v>
                  </c:pt>
                  <c:pt idx="474">
                    <c:v>18-Jun</c:v>
                  </c:pt>
                  <c:pt idx="475">
                    <c:v>19-Jun</c:v>
                  </c:pt>
                  <c:pt idx="476">
                    <c:v>20-Jun</c:v>
                  </c:pt>
                  <c:pt idx="477">
                    <c:v>21-Jun</c:v>
                  </c:pt>
                  <c:pt idx="478">
                    <c:v>22-Jun</c:v>
                  </c:pt>
                  <c:pt idx="479">
                    <c:v>23-Jun</c:v>
                  </c:pt>
                  <c:pt idx="480">
                    <c:v>24-Jun</c:v>
                  </c:pt>
                  <c:pt idx="481">
                    <c:v>25-Jun</c:v>
                  </c:pt>
                  <c:pt idx="482">
                    <c:v>26-Jun</c:v>
                  </c:pt>
                  <c:pt idx="483">
                    <c:v>27-Jun</c:v>
                  </c:pt>
                  <c:pt idx="484">
                    <c:v>28-Jun</c:v>
                  </c:pt>
                  <c:pt idx="485">
                    <c:v>29-Jun</c:v>
                  </c:pt>
                  <c:pt idx="486">
                    <c:v>30-Jun</c:v>
                  </c:pt>
                  <c:pt idx="487">
                    <c:v>1-Jul</c:v>
                  </c:pt>
                  <c:pt idx="488">
                    <c:v>2-Jul</c:v>
                  </c:pt>
                  <c:pt idx="489">
                    <c:v>3-Jul</c:v>
                  </c:pt>
                  <c:pt idx="490">
                    <c:v>4-Jul</c:v>
                  </c:pt>
                  <c:pt idx="491">
                    <c:v>5-Jul</c:v>
                  </c:pt>
                  <c:pt idx="492">
                    <c:v>6-Jul</c:v>
                  </c:pt>
                  <c:pt idx="493">
                    <c:v>7-Jul</c:v>
                  </c:pt>
                  <c:pt idx="494">
                    <c:v>8-Jul</c:v>
                  </c:pt>
                  <c:pt idx="495">
                    <c:v>9-Jul</c:v>
                  </c:pt>
                  <c:pt idx="496">
                    <c:v>10-Jul</c:v>
                  </c:pt>
                  <c:pt idx="497">
                    <c:v>11-Jul</c:v>
                  </c:pt>
                  <c:pt idx="498">
                    <c:v>12-Jul</c:v>
                  </c:pt>
                  <c:pt idx="499">
                    <c:v>13-Jul</c:v>
                  </c:pt>
                  <c:pt idx="500">
                    <c:v>14-Jul</c:v>
                  </c:pt>
                  <c:pt idx="501">
                    <c:v>15-Jul</c:v>
                  </c:pt>
                  <c:pt idx="502">
                    <c:v>16-Jul</c:v>
                  </c:pt>
                  <c:pt idx="503">
                    <c:v>17-Jul</c:v>
                  </c:pt>
                  <c:pt idx="504">
                    <c:v>18-Jul</c:v>
                  </c:pt>
                  <c:pt idx="505">
                    <c:v>19-Jul</c:v>
                  </c:pt>
                  <c:pt idx="506">
                    <c:v>20-Jul</c:v>
                  </c:pt>
                  <c:pt idx="507">
                    <c:v>21-Jul</c:v>
                  </c:pt>
                  <c:pt idx="508">
                    <c:v>22-Jul</c:v>
                  </c:pt>
                  <c:pt idx="509">
                    <c:v>23-Jul</c:v>
                  </c:pt>
                  <c:pt idx="510">
                    <c:v>24-Jul</c:v>
                  </c:pt>
                  <c:pt idx="511">
                    <c:v>25-Jul</c:v>
                  </c:pt>
                  <c:pt idx="512">
                    <c:v>26-Jul</c:v>
                  </c:pt>
                  <c:pt idx="513">
                    <c:v>27-Jul</c:v>
                  </c:pt>
                  <c:pt idx="514">
                    <c:v>28-Jul</c:v>
                  </c:pt>
                  <c:pt idx="515">
                    <c:v>29-Jul</c:v>
                  </c:pt>
                  <c:pt idx="516">
                    <c:v>30-Jul</c:v>
                  </c:pt>
                  <c:pt idx="517">
                    <c:v>31-Jul</c:v>
                  </c:pt>
                  <c:pt idx="518">
                    <c:v>1-Aug</c:v>
                  </c:pt>
                  <c:pt idx="519">
                    <c:v>2-Aug</c:v>
                  </c:pt>
                  <c:pt idx="520">
                    <c:v>3-Aug</c:v>
                  </c:pt>
                  <c:pt idx="521">
                    <c:v>4-Aug</c:v>
                  </c:pt>
                  <c:pt idx="522">
                    <c:v>5-Aug</c:v>
                  </c:pt>
                  <c:pt idx="523">
                    <c:v>6-Aug</c:v>
                  </c:pt>
                  <c:pt idx="524">
                    <c:v>7-Aug</c:v>
                  </c:pt>
                  <c:pt idx="525">
                    <c:v>8-Aug</c:v>
                  </c:pt>
                  <c:pt idx="526">
                    <c:v>9-Aug</c:v>
                  </c:pt>
                  <c:pt idx="527">
                    <c:v>10-Aug</c:v>
                  </c:pt>
                  <c:pt idx="528">
                    <c:v>11-Aug</c:v>
                  </c:pt>
                  <c:pt idx="529">
                    <c:v>12-Aug</c:v>
                  </c:pt>
                  <c:pt idx="530">
                    <c:v>13-Aug</c:v>
                  </c:pt>
                  <c:pt idx="531">
                    <c:v>14-Aug</c:v>
                  </c:pt>
                  <c:pt idx="532">
                    <c:v>15-Aug</c:v>
                  </c:pt>
                  <c:pt idx="533">
                    <c:v>16-Aug</c:v>
                  </c:pt>
                  <c:pt idx="534">
                    <c:v>17-Aug</c:v>
                  </c:pt>
                  <c:pt idx="535">
                    <c:v>18-Aug</c:v>
                  </c:pt>
                  <c:pt idx="536">
                    <c:v>19-Aug</c:v>
                  </c:pt>
                  <c:pt idx="537">
                    <c:v>20-Aug</c:v>
                  </c:pt>
                  <c:pt idx="538">
                    <c:v>21-Aug</c:v>
                  </c:pt>
                  <c:pt idx="539">
                    <c:v>22-Aug</c:v>
                  </c:pt>
                  <c:pt idx="540">
                    <c:v>23-Aug</c:v>
                  </c:pt>
                  <c:pt idx="541">
                    <c:v>24-Aug</c:v>
                  </c:pt>
                  <c:pt idx="542">
                    <c:v>25-Aug</c:v>
                  </c:pt>
                  <c:pt idx="543">
                    <c:v>26-Aug</c:v>
                  </c:pt>
                  <c:pt idx="544">
                    <c:v>27-Aug</c:v>
                  </c:pt>
                  <c:pt idx="545">
                    <c:v>28-Aug</c:v>
                  </c:pt>
                  <c:pt idx="546">
                    <c:v>29-Aug</c:v>
                  </c:pt>
                  <c:pt idx="547">
                    <c:v>30-Aug</c:v>
                  </c:pt>
                  <c:pt idx="548">
                    <c:v>31-Aug</c:v>
                  </c:pt>
                  <c:pt idx="549">
                    <c:v>1-Sep</c:v>
                  </c:pt>
                  <c:pt idx="550">
                    <c:v>2-Sep</c:v>
                  </c:pt>
                  <c:pt idx="551">
                    <c:v>3-Sep</c:v>
                  </c:pt>
                  <c:pt idx="552">
                    <c:v>4-Sep</c:v>
                  </c:pt>
                  <c:pt idx="553">
                    <c:v>5-Sep</c:v>
                  </c:pt>
                  <c:pt idx="554">
                    <c:v>6-Sep</c:v>
                  </c:pt>
                  <c:pt idx="555">
                    <c:v>7-Sep</c:v>
                  </c:pt>
                  <c:pt idx="556">
                    <c:v>8-Sep</c:v>
                  </c:pt>
                  <c:pt idx="557">
                    <c:v>9-Sep</c:v>
                  </c:pt>
                  <c:pt idx="558">
                    <c:v>10-Sep</c:v>
                  </c:pt>
                  <c:pt idx="559">
                    <c:v>11-Sep</c:v>
                  </c:pt>
                  <c:pt idx="560">
                    <c:v>12-Sep</c:v>
                  </c:pt>
                  <c:pt idx="561">
                    <c:v>13-Sep</c:v>
                  </c:pt>
                  <c:pt idx="562">
                    <c:v>14-Sep</c:v>
                  </c:pt>
                  <c:pt idx="563">
                    <c:v>15-Sep</c:v>
                  </c:pt>
                  <c:pt idx="564">
                    <c:v>16-Sep</c:v>
                  </c:pt>
                  <c:pt idx="565">
                    <c:v>17-Sep</c:v>
                  </c:pt>
                  <c:pt idx="566">
                    <c:v>18-Sep</c:v>
                  </c:pt>
                  <c:pt idx="567">
                    <c:v>19-Sep</c:v>
                  </c:pt>
                  <c:pt idx="568">
                    <c:v>20-Sep</c:v>
                  </c:pt>
                  <c:pt idx="569">
                    <c:v>21-Sep</c:v>
                  </c:pt>
                  <c:pt idx="570">
                    <c:v>22-Sep</c:v>
                  </c:pt>
                  <c:pt idx="571">
                    <c:v>23-Sep</c:v>
                  </c:pt>
                  <c:pt idx="572">
                    <c:v>24-Sep</c:v>
                  </c:pt>
                  <c:pt idx="573">
                    <c:v>25-Sep</c:v>
                  </c:pt>
                  <c:pt idx="574">
                    <c:v>26-Sep</c:v>
                  </c:pt>
                  <c:pt idx="575">
                    <c:v>27-Sep</c:v>
                  </c:pt>
                  <c:pt idx="576">
                    <c:v>28-Sep</c:v>
                  </c:pt>
                  <c:pt idx="577">
                    <c:v>29-Sep</c:v>
                  </c:pt>
                  <c:pt idx="578">
                    <c:v>30-Sep</c:v>
                  </c:pt>
                  <c:pt idx="579">
                    <c:v>1-Oct</c:v>
                  </c:pt>
                  <c:pt idx="580">
                    <c:v>2-Oct</c:v>
                  </c:pt>
                  <c:pt idx="581">
                    <c:v>3-Oct</c:v>
                  </c:pt>
                  <c:pt idx="582">
                    <c:v>4-Oct</c:v>
                  </c:pt>
                  <c:pt idx="583">
                    <c:v>5-Oct</c:v>
                  </c:pt>
                  <c:pt idx="584">
                    <c:v>6-Oct</c:v>
                  </c:pt>
                  <c:pt idx="585">
                    <c:v>7-Oct</c:v>
                  </c:pt>
                  <c:pt idx="586">
                    <c:v>8-Oct</c:v>
                  </c:pt>
                  <c:pt idx="587">
                    <c:v>9-Oct</c:v>
                  </c:pt>
                  <c:pt idx="588">
                    <c:v>10-Oct</c:v>
                  </c:pt>
                  <c:pt idx="589">
                    <c:v>11-Oct</c:v>
                  </c:pt>
                  <c:pt idx="590">
                    <c:v>12-Oct</c:v>
                  </c:pt>
                  <c:pt idx="591">
                    <c:v>13-Oct</c:v>
                  </c:pt>
                  <c:pt idx="592">
                    <c:v>14-Oct</c:v>
                  </c:pt>
                  <c:pt idx="593">
                    <c:v>15-Oct</c:v>
                  </c:pt>
                  <c:pt idx="594">
                    <c:v>16-Oct</c:v>
                  </c:pt>
                  <c:pt idx="595">
                    <c:v>17-Oct</c:v>
                  </c:pt>
                  <c:pt idx="596">
                    <c:v>18-Oct</c:v>
                  </c:pt>
                  <c:pt idx="597">
                    <c:v>19-Oct</c:v>
                  </c:pt>
                  <c:pt idx="598">
                    <c:v>20-Oct</c:v>
                  </c:pt>
                  <c:pt idx="599">
                    <c:v>21-Oct</c:v>
                  </c:pt>
                  <c:pt idx="600">
                    <c:v>22-Oct</c:v>
                  </c:pt>
                  <c:pt idx="601">
                    <c:v>23-Oct</c:v>
                  </c:pt>
                  <c:pt idx="602">
                    <c:v>24-Oct</c:v>
                  </c:pt>
                  <c:pt idx="603">
                    <c:v>25-Oct</c:v>
                  </c:pt>
                  <c:pt idx="604">
                    <c:v>26-Oct</c:v>
                  </c:pt>
                  <c:pt idx="605">
                    <c:v>27-Oct</c:v>
                  </c:pt>
                  <c:pt idx="606">
                    <c:v>28-Oct</c:v>
                  </c:pt>
                  <c:pt idx="607">
                    <c:v>29-Oct</c:v>
                  </c:pt>
                  <c:pt idx="608">
                    <c:v>30-Oct</c:v>
                  </c:pt>
                  <c:pt idx="609">
                    <c:v>31-Oct</c:v>
                  </c:pt>
                  <c:pt idx="610">
                    <c:v>1-Nov</c:v>
                  </c:pt>
                  <c:pt idx="611">
                    <c:v>2-Nov</c:v>
                  </c:pt>
                  <c:pt idx="612">
                    <c:v>3-Nov</c:v>
                  </c:pt>
                  <c:pt idx="613">
                    <c:v>4-Nov</c:v>
                  </c:pt>
                  <c:pt idx="614">
                    <c:v>5-Nov</c:v>
                  </c:pt>
                  <c:pt idx="615">
                    <c:v>6-Nov</c:v>
                  </c:pt>
                  <c:pt idx="616">
                    <c:v>7-Nov</c:v>
                  </c:pt>
                  <c:pt idx="617">
                    <c:v>8-Nov</c:v>
                  </c:pt>
                  <c:pt idx="618">
                    <c:v>9-Nov</c:v>
                  </c:pt>
                  <c:pt idx="619">
                    <c:v>10-Nov</c:v>
                  </c:pt>
                  <c:pt idx="620">
                    <c:v>11-Nov</c:v>
                  </c:pt>
                  <c:pt idx="621">
                    <c:v>12-Nov</c:v>
                  </c:pt>
                  <c:pt idx="622">
                    <c:v>13-Nov</c:v>
                  </c:pt>
                  <c:pt idx="623">
                    <c:v>14-Nov</c:v>
                  </c:pt>
                  <c:pt idx="624">
                    <c:v>15-Nov</c:v>
                  </c:pt>
                  <c:pt idx="625">
                    <c:v>16-Nov</c:v>
                  </c:pt>
                  <c:pt idx="626">
                    <c:v>17-Nov</c:v>
                  </c:pt>
                  <c:pt idx="627">
                    <c:v>18-Nov</c:v>
                  </c:pt>
                  <c:pt idx="628">
                    <c:v>19-Nov</c:v>
                  </c:pt>
                  <c:pt idx="629">
                    <c:v>20-Nov</c:v>
                  </c:pt>
                  <c:pt idx="630">
                    <c:v>21-Nov</c:v>
                  </c:pt>
                  <c:pt idx="631">
                    <c:v>22-Nov</c:v>
                  </c:pt>
                  <c:pt idx="632">
                    <c:v>23-Nov</c:v>
                  </c:pt>
                  <c:pt idx="633">
                    <c:v>24-Nov</c:v>
                  </c:pt>
                  <c:pt idx="634">
                    <c:v>25-Nov</c:v>
                  </c:pt>
                  <c:pt idx="635">
                    <c:v>26-Nov</c:v>
                  </c:pt>
                  <c:pt idx="636">
                    <c:v>27-Nov</c:v>
                  </c:pt>
                  <c:pt idx="637">
                    <c:v>28-Nov</c:v>
                  </c:pt>
                  <c:pt idx="638">
                    <c:v>29-Nov</c:v>
                  </c:pt>
                  <c:pt idx="639">
                    <c:v>30-Nov</c:v>
                  </c:pt>
                  <c:pt idx="640">
                    <c:v>1-Dec</c:v>
                  </c:pt>
                  <c:pt idx="641">
                    <c:v>2-Dec</c:v>
                  </c:pt>
                  <c:pt idx="642">
                    <c:v>3-Dec</c:v>
                  </c:pt>
                  <c:pt idx="643">
                    <c:v>4-Dec</c:v>
                  </c:pt>
                  <c:pt idx="644">
                    <c:v>5-Dec</c:v>
                  </c:pt>
                  <c:pt idx="645">
                    <c:v>6-Dec</c:v>
                  </c:pt>
                  <c:pt idx="646">
                    <c:v>7-Dec</c:v>
                  </c:pt>
                  <c:pt idx="647">
                    <c:v>8-Dec</c:v>
                  </c:pt>
                  <c:pt idx="648">
                    <c:v>9-Dec</c:v>
                  </c:pt>
                  <c:pt idx="649">
                    <c:v>10-Dec</c:v>
                  </c:pt>
                  <c:pt idx="650">
                    <c:v>11-Dec</c:v>
                  </c:pt>
                  <c:pt idx="651">
                    <c:v>12-Dec</c:v>
                  </c:pt>
                  <c:pt idx="652">
                    <c:v>13-Dec</c:v>
                  </c:pt>
                  <c:pt idx="653">
                    <c:v>14-Dec</c:v>
                  </c:pt>
                  <c:pt idx="654">
                    <c:v>15-Dec</c:v>
                  </c:pt>
                  <c:pt idx="655">
                    <c:v>16-Dec</c:v>
                  </c:pt>
                  <c:pt idx="656">
                    <c:v>17-Dec</c:v>
                  </c:pt>
                  <c:pt idx="657">
                    <c:v>18-Dec</c:v>
                  </c:pt>
                  <c:pt idx="658">
                    <c:v>19-Dec</c:v>
                  </c:pt>
                  <c:pt idx="659">
                    <c:v>20-Dec</c:v>
                  </c:pt>
                  <c:pt idx="660">
                    <c:v>21-Dec</c:v>
                  </c:pt>
                  <c:pt idx="661">
                    <c:v>22-Dec</c:v>
                  </c:pt>
                  <c:pt idx="662">
                    <c:v>23-Dec</c:v>
                  </c:pt>
                  <c:pt idx="663">
                    <c:v>24-Dec</c:v>
                  </c:pt>
                  <c:pt idx="664">
                    <c:v>25-Dec</c:v>
                  </c:pt>
                  <c:pt idx="665">
                    <c:v>26-Dec</c:v>
                  </c:pt>
                  <c:pt idx="666">
                    <c:v>27-Dec</c:v>
                  </c:pt>
                  <c:pt idx="667">
                    <c:v>28-Dec</c:v>
                  </c:pt>
                  <c:pt idx="668">
                    <c:v>29-Dec</c:v>
                  </c:pt>
                  <c:pt idx="669">
                    <c:v>30-Dec</c:v>
                  </c:pt>
                  <c:pt idx="670">
                    <c:v>31-Dec</c:v>
                  </c:pt>
                  <c:pt idx="671">
                    <c:v>1-Jan</c:v>
                  </c:pt>
                  <c:pt idx="672">
                    <c:v>2-Jan</c:v>
                  </c:pt>
                  <c:pt idx="673">
                    <c:v>3-Jan</c:v>
                  </c:pt>
                  <c:pt idx="674">
                    <c:v>4-Jan</c:v>
                  </c:pt>
                  <c:pt idx="675">
                    <c:v>5-Jan</c:v>
                  </c:pt>
                  <c:pt idx="676">
                    <c:v>6-Jan</c:v>
                  </c:pt>
                  <c:pt idx="677">
                    <c:v>7-Jan</c:v>
                  </c:pt>
                  <c:pt idx="678">
                    <c:v>8-Jan</c:v>
                  </c:pt>
                  <c:pt idx="679">
                    <c:v>9-Jan</c:v>
                  </c:pt>
                  <c:pt idx="680">
                    <c:v>10-Jan</c:v>
                  </c:pt>
                  <c:pt idx="681">
                    <c:v>11-Jan</c:v>
                  </c:pt>
                  <c:pt idx="682">
                    <c:v>12-Jan</c:v>
                  </c:pt>
                  <c:pt idx="683">
                    <c:v>13-Jan</c:v>
                  </c:pt>
                  <c:pt idx="684">
                    <c:v>14-Jan</c:v>
                  </c:pt>
                  <c:pt idx="685">
                    <c:v>15-Jan</c:v>
                  </c:pt>
                  <c:pt idx="686">
                    <c:v>16-Jan</c:v>
                  </c:pt>
                  <c:pt idx="687">
                    <c:v>17-Jan</c:v>
                  </c:pt>
                  <c:pt idx="688">
                    <c:v>18-Jan</c:v>
                  </c:pt>
                  <c:pt idx="689">
                    <c:v>19-Jan</c:v>
                  </c:pt>
                  <c:pt idx="690">
                    <c:v>20-Jan</c:v>
                  </c:pt>
                  <c:pt idx="691">
                    <c:v>21-Jan</c:v>
                  </c:pt>
                  <c:pt idx="692">
                    <c:v>22-Jan</c:v>
                  </c:pt>
                  <c:pt idx="693">
                    <c:v>23-Jan</c:v>
                  </c:pt>
                  <c:pt idx="694">
                    <c:v>24-Jan</c:v>
                  </c:pt>
                  <c:pt idx="695">
                    <c:v>25-Jan</c:v>
                  </c:pt>
                  <c:pt idx="696">
                    <c:v>26-Jan</c:v>
                  </c:pt>
                  <c:pt idx="697">
                    <c:v>27-Jan</c:v>
                  </c:pt>
                  <c:pt idx="698">
                    <c:v>28-Jan</c:v>
                  </c:pt>
                  <c:pt idx="699">
                    <c:v>29-Jan</c:v>
                  </c:pt>
                  <c:pt idx="700">
                    <c:v>30-Jan</c:v>
                  </c:pt>
                  <c:pt idx="701">
                    <c:v>31-Jan</c:v>
                  </c:pt>
                  <c:pt idx="702">
                    <c:v>1-Feb</c:v>
                  </c:pt>
                  <c:pt idx="703">
                    <c:v>2-Feb</c:v>
                  </c:pt>
                  <c:pt idx="704">
                    <c:v>3-Feb</c:v>
                  </c:pt>
                  <c:pt idx="705">
                    <c:v>4-Feb</c:v>
                  </c:pt>
                  <c:pt idx="706">
                    <c:v>5-Feb</c:v>
                  </c:pt>
                  <c:pt idx="707">
                    <c:v>6-Feb</c:v>
                  </c:pt>
                  <c:pt idx="708">
                    <c:v>7-Feb</c:v>
                  </c:pt>
                  <c:pt idx="709">
                    <c:v>8-Feb</c:v>
                  </c:pt>
                  <c:pt idx="710">
                    <c:v>9-Feb</c:v>
                  </c:pt>
                  <c:pt idx="711">
                    <c:v>10-Feb</c:v>
                  </c:pt>
                  <c:pt idx="712">
                    <c:v>11-Feb</c:v>
                  </c:pt>
                  <c:pt idx="713">
                    <c:v>12-Feb</c:v>
                  </c:pt>
                  <c:pt idx="714">
                    <c:v>13-Feb</c:v>
                  </c:pt>
                  <c:pt idx="715">
                    <c:v>14-Feb</c:v>
                  </c:pt>
                  <c:pt idx="716">
                    <c:v>15-Feb</c:v>
                  </c:pt>
                  <c:pt idx="717">
                    <c:v>16-Feb</c:v>
                  </c:pt>
                  <c:pt idx="718">
                    <c:v>17-Feb</c:v>
                  </c:pt>
                  <c:pt idx="719">
                    <c:v>18-Feb</c:v>
                  </c:pt>
                  <c:pt idx="720">
                    <c:v>19-Feb</c:v>
                  </c:pt>
                  <c:pt idx="721">
                    <c:v>20-Feb</c:v>
                  </c:pt>
                  <c:pt idx="722">
                    <c:v>21-Feb</c:v>
                  </c:pt>
                  <c:pt idx="723">
                    <c:v>22-Feb</c:v>
                  </c:pt>
                  <c:pt idx="724">
                    <c:v>23-Feb</c:v>
                  </c:pt>
                  <c:pt idx="725">
                    <c:v>24-Feb</c:v>
                  </c:pt>
                  <c:pt idx="726">
                    <c:v>25-Feb</c:v>
                  </c:pt>
                  <c:pt idx="727">
                    <c:v>26-Feb</c:v>
                  </c:pt>
                  <c:pt idx="728">
                    <c:v>27-Feb</c:v>
                  </c:pt>
                  <c:pt idx="729">
                    <c:v>28-Feb</c:v>
                  </c:pt>
                  <c:pt idx="730">
                    <c:v>1-Mar</c:v>
                  </c:pt>
                  <c:pt idx="731">
                    <c:v>2-Mar</c:v>
                  </c:pt>
                  <c:pt idx="732">
                    <c:v>3-Mar</c:v>
                  </c:pt>
                  <c:pt idx="733">
                    <c:v>4-Mar</c:v>
                  </c:pt>
                  <c:pt idx="734">
                    <c:v>5-Mar</c:v>
                  </c:pt>
                  <c:pt idx="735">
                    <c:v>6-Mar</c:v>
                  </c:pt>
                  <c:pt idx="736">
                    <c:v>7-Mar</c:v>
                  </c:pt>
                  <c:pt idx="737">
                    <c:v>8-Mar</c:v>
                  </c:pt>
                  <c:pt idx="738">
                    <c:v>9-Mar</c:v>
                  </c:pt>
                  <c:pt idx="739">
                    <c:v>10-Mar</c:v>
                  </c:pt>
                  <c:pt idx="740">
                    <c:v>11-Mar</c:v>
                  </c:pt>
                  <c:pt idx="741">
                    <c:v>12-Mar</c:v>
                  </c:pt>
                  <c:pt idx="742">
                    <c:v>13-Mar</c:v>
                  </c:pt>
                  <c:pt idx="743">
                    <c:v>14-Mar</c:v>
                  </c:pt>
                  <c:pt idx="744">
                    <c:v>15-Mar</c:v>
                  </c:pt>
                  <c:pt idx="745">
                    <c:v>16-Mar</c:v>
                  </c:pt>
                  <c:pt idx="746">
                    <c:v>17-Mar</c:v>
                  </c:pt>
                  <c:pt idx="747">
                    <c:v>18-Mar</c:v>
                  </c:pt>
                  <c:pt idx="748">
                    <c:v>19-Mar</c:v>
                  </c:pt>
                  <c:pt idx="749">
                    <c:v>20-Mar</c:v>
                  </c:pt>
                  <c:pt idx="750">
                    <c:v>21-Mar</c:v>
                  </c:pt>
                  <c:pt idx="751">
                    <c:v>22-Mar</c:v>
                  </c:pt>
                  <c:pt idx="752">
                    <c:v>23-Mar</c:v>
                  </c:pt>
                  <c:pt idx="753">
                    <c:v>24-Mar</c:v>
                  </c:pt>
                  <c:pt idx="754">
                    <c:v>25-Mar</c:v>
                  </c:pt>
                  <c:pt idx="755">
                    <c:v>26-Mar</c:v>
                  </c:pt>
                </c:lvl>
                <c:lvl>
                  <c:pt idx="0">
                    <c:v>Mar</c:v>
                  </c:pt>
                  <c:pt idx="31">
                    <c:v>Apr</c:v>
                  </c:pt>
                  <c:pt idx="61">
                    <c:v>May</c:v>
                  </c:pt>
                  <c:pt idx="92">
                    <c:v>Jun</c:v>
                  </c:pt>
                  <c:pt idx="122">
                    <c:v>Jul</c:v>
                  </c:pt>
                  <c:pt idx="153">
                    <c:v>Aug</c:v>
                  </c:pt>
                  <c:pt idx="184">
                    <c:v>Sep</c:v>
                  </c:pt>
                  <c:pt idx="214">
                    <c:v>Oct</c:v>
                  </c:pt>
                  <c:pt idx="245">
                    <c:v>Nov</c:v>
                  </c:pt>
                  <c:pt idx="275">
                    <c:v>Dec</c:v>
                  </c:pt>
                  <c:pt idx="306">
                    <c:v>Jan</c:v>
                  </c:pt>
                  <c:pt idx="337">
                    <c:v>Feb</c:v>
                  </c:pt>
                  <c:pt idx="365">
                    <c:v>Mar</c:v>
                  </c:pt>
                  <c:pt idx="396">
                    <c:v>Apr</c:v>
                  </c:pt>
                  <c:pt idx="426">
                    <c:v>May</c:v>
                  </c:pt>
                  <c:pt idx="457">
                    <c:v>Jun</c:v>
                  </c:pt>
                  <c:pt idx="487">
                    <c:v>July</c:v>
                  </c:pt>
                  <c:pt idx="518">
                    <c:v>Aug</c:v>
                  </c:pt>
                  <c:pt idx="549">
                    <c:v>Sep</c:v>
                  </c:pt>
                  <c:pt idx="579">
                    <c:v>Occt</c:v>
                  </c:pt>
                  <c:pt idx="610">
                    <c:v>Nov</c:v>
                  </c:pt>
                  <c:pt idx="640">
                    <c:v>Dec</c:v>
                  </c:pt>
                  <c:pt idx="671">
                    <c:v>Jan</c:v>
                  </c:pt>
                  <c:pt idx="702">
                    <c:v>Feb</c:v>
                  </c:pt>
                  <c:pt idx="730">
                    <c:v>Mar</c:v>
                  </c:pt>
                </c:lvl>
                <c:lvl>
                  <c:pt idx="0">
                    <c:v>FY20</c:v>
                  </c:pt>
                  <c:pt idx="31">
                    <c:v>FY21</c:v>
                  </c:pt>
                  <c:pt idx="396">
                    <c:v>FY22</c:v>
                  </c:pt>
                </c:lvl>
              </c:multiLvlStrCache>
            </c:multiLvlStrRef>
          </c:cat>
          <c:val>
            <c:numRef>
              <c:f>charts!$E$2:$E$757</c:f>
              <c:numCache>
                <c:formatCode>0.0</c:formatCode>
                <c:ptCount val="756"/>
                <c:pt idx="0">
                  <c:v>0.14285714285714285</c:v>
                </c:pt>
                <c:pt idx="1">
                  <c:v>0.42857142857142855</c:v>
                </c:pt>
                <c:pt idx="2">
                  <c:v>1</c:v>
                </c:pt>
                <c:pt idx="3">
                  <c:v>1.7142857142857142</c:v>
                </c:pt>
                <c:pt idx="4">
                  <c:v>2.2857142857142856</c:v>
                </c:pt>
                <c:pt idx="5">
                  <c:v>2.4285714285714284</c:v>
                </c:pt>
                <c:pt idx="6">
                  <c:v>3.4285714285714284</c:v>
                </c:pt>
                <c:pt idx="7">
                  <c:v>4.1428571428571432</c:v>
                </c:pt>
                <c:pt idx="8">
                  <c:v>4.7142857142857144</c:v>
                </c:pt>
                <c:pt idx="9">
                  <c:v>1.1428571428571428</c:v>
                </c:pt>
                <c:pt idx="10">
                  <c:v>0.2857142857142857</c:v>
                </c:pt>
                <c:pt idx="11">
                  <c:v>0</c:v>
                </c:pt>
                <c:pt idx="12">
                  <c:v>-0.14285714285714285</c:v>
                </c:pt>
                <c:pt idx="13">
                  <c:v>-1.4285714285714286</c:v>
                </c:pt>
                <c:pt idx="14">
                  <c:v>-2.8571428571428572</c:v>
                </c:pt>
                <c:pt idx="15">
                  <c:v>-3.4285714285714284</c:v>
                </c:pt>
                <c:pt idx="16">
                  <c:v>-0.14285714285714285</c:v>
                </c:pt>
                <c:pt idx="17">
                  <c:v>0.14285714285714285</c:v>
                </c:pt>
                <c:pt idx="18">
                  <c:v>0.14285714285714285</c:v>
                </c:pt>
                <c:pt idx="19">
                  <c:v>0.14285714285714285</c:v>
                </c:pt>
                <c:pt idx="20">
                  <c:v>0</c:v>
                </c:pt>
                <c:pt idx="21">
                  <c:v>-10.714285714285714</c:v>
                </c:pt>
                <c:pt idx="22">
                  <c:v>-14.857142857142858</c:v>
                </c:pt>
                <c:pt idx="23">
                  <c:v>-21.714285714285715</c:v>
                </c:pt>
                <c:pt idx="24">
                  <c:v>-31</c:v>
                </c:pt>
                <c:pt idx="25">
                  <c:v>-40.285714285714285</c:v>
                </c:pt>
                <c:pt idx="26">
                  <c:v>-49.571428571428569</c:v>
                </c:pt>
                <c:pt idx="27">
                  <c:v>-58.285714285714285</c:v>
                </c:pt>
                <c:pt idx="28">
                  <c:v>-56.714285714285715</c:v>
                </c:pt>
                <c:pt idx="29">
                  <c:v>-61.857142857142854</c:v>
                </c:pt>
                <c:pt idx="30">
                  <c:v>-64</c:v>
                </c:pt>
                <c:pt idx="31">
                  <c:v>-64</c:v>
                </c:pt>
                <c:pt idx="32">
                  <c:v>-64.142857142857139</c:v>
                </c:pt>
                <c:pt idx="33">
                  <c:v>-63.857142857142854</c:v>
                </c:pt>
                <c:pt idx="34">
                  <c:v>-63.714285714285715</c:v>
                </c:pt>
                <c:pt idx="35">
                  <c:v>-63.714285714285715</c:v>
                </c:pt>
                <c:pt idx="36">
                  <c:v>-63.714285714285715</c:v>
                </c:pt>
                <c:pt idx="37">
                  <c:v>-62.285714285714285</c:v>
                </c:pt>
                <c:pt idx="38">
                  <c:v>-60.571428571428569</c:v>
                </c:pt>
                <c:pt idx="39">
                  <c:v>-59</c:v>
                </c:pt>
                <c:pt idx="40">
                  <c:v>-57.714285714285715</c:v>
                </c:pt>
                <c:pt idx="41">
                  <c:v>-56.428571428571431</c:v>
                </c:pt>
                <c:pt idx="42">
                  <c:v>-55.142857142857146</c:v>
                </c:pt>
                <c:pt idx="43">
                  <c:v>-53.714285714285715</c:v>
                </c:pt>
                <c:pt idx="44">
                  <c:v>-54</c:v>
                </c:pt>
                <c:pt idx="45">
                  <c:v>-53.857142857142854</c:v>
                </c:pt>
                <c:pt idx="46">
                  <c:v>-52.428571428571431</c:v>
                </c:pt>
                <c:pt idx="47">
                  <c:v>-51</c:v>
                </c:pt>
                <c:pt idx="48">
                  <c:v>-50.285714285714285</c:v>
                </c:pt>
                <c:pt idx="49">
                  <c:v>-49.428571428571431</c:v>
                </c:pt>
                <c:pt idx="50">
                  <c:v>-48.571428571428569</c:v>
                </c:pt>
                <c:pt idx="51">
                  <c:v>-47.428571428571431</c:v>
                </c:pt>
                <c:pt idx="52">
                  <c:v>-46.714285714285715</c:v>
                </c:pt>
                <c:pt idx="53">
                  <c:v>-47.142857142857146</c:v>
                </c:pt>
                <c:pt idx="54">
                  <c:v>-47.285714285714285</c:v>
                </c:pt>
                <c:pt idx="55">
                  <c:v>-46.714285714285715</c:v>
                </c:pt>
                <c:pt idx="56">
                  <c:v>-46.857142857142854</c:v>
                </c:pt>
                <c:pt idx="57">
                  <c:v>-46.857142857142854</c:v>
                </c:pt>
                <c:pt idx="58">
                  <c:v>-46.714285714285715</c:v>
                </c:pt>
                <c:pt idx="59">
                  <c:v>-46.428571428571431</c:v>
                </c:pt>
                <c:pt idx="60">
                  <c:v>-45.857142857142854</c:v>
                </c:pt>
                <c:pt idx="61">
                  <c:v>-45.714285714285715</c:v>
                </c:pt>
                <c:pt idx="62">
                  <c:v>-45.428571428571431</c:v>
                </c:pt>
                <c:pt idx="63">
                  <c:v>-44.714285714285715</c:v>
                </c:pt>
                <c:pt idx="64">
                  <c:v>-43</c:v>
                </c:pt>
                <c:pt idx="65">
                  <c:v>-41.428571428571431</c:v>
                </c:pt>
                <c:pt idx="66">
                  <c:v>-39.428571428571431</c:v>
                </c:pt>
                <c:pt idx="67">
                  <c:v>-37.714285714285715</c:v>
                </c:pt>
                <c:pt idx="68">
                  <c:v>-35.571428571428569</c:v>
                </c:pt>
                <c:pt idx="69">
                  <c:v>-33.857142857142854</c:v>
                </c:pt>
                <c:pt idx="70">
                  <c:v>-32.857142857142854</c:v>
                </c:pt>
                <c:pt idx="71">
                  <c:v>-31.857142857142858</c:v>
                </c:pt>
                <c:pt idx="72">
                  <c:v>-30.857142857142858</c:v>
                </c:pt>
                <c:pt idx="73">
                  <c:v>-30.285714285714285</c:v>
                </c:pt>
                <c:pt idx="74">
                  <c:v>-29.714285714285715</c:v>
                </c:pt>
                <c:pt idx="75">
                  <c:v>-28.857142857142858</c:v>
                </c:pt>
                <c:pt idx="76">
                  <c:v>-27.857142857142858</c:v>
                </c:pt>
                <c:pt idx="77">
                  <c:v>-26.857142857142858</c:v>
                </c:pt>
                <c:pt idx="78">
                  <c:v>-25.857142857142858</c:v>
                </c:pt>
                <c:pt idx="79">
                  <c:v>-24.714285714285715</c:v>
                </c:pt>
                <c:pt idx="80">
                  <c:v>-24</c:v>
                </c:pt>
                <c:pt idx="81">
                  <c:v>-23</c:v>
                </c:pt>
                <c:pt idx="82">
                  <c:v>-22.285714285714285</c:v>
                </c:pt>
                <c:pt idx="83">
                  <c:v>-21.285714285714285</c:v>
                </c:pt>
                <c:pt idx="84">
                  <c:v>-20.714285714285715</c:v>
                </c:pt>
                <c:pt idx="85">
                  <c:v>-20.428571428571427</c:v>
                </c:pt>
                <c:pt idx="86">
                  <c:v>-19.857142857142858</c:v>
                </c:pt>
                <c:pt idx="87">
                  <c:v>-18.714285714285715</c:v>
                </c:pt>
                <c:pt idx="88">
                  <c:v>-17.857142857142858</c:v>
                </c:pt>
                <c:pt idx="89">
                  <c:v>-16.857142857142858</c:v>
                </c:pt>
                <c:pt idx="90">
                  <c:v>-16</c:v>
                </c:pt>
                <c:pt idx="91">
                  <c:v>-15.142857142857142</c:v>
                </c:pt>
                <c:pt idx="92">
                  <c:v>-13</c:v>
                </c:pt>
                <c:pt idx="93">
                  <c:v>-11.285714285714286</c:v>
                </c:pt>
                <c:pt idx="94">
                  <c:v>-10</c:v>
                </c:pt>
                <c:pt idx="95">
                  <c:v>-8.5714285714285712</c:v>
                </c:pt>
                <c:pt idx="96">
                  <c:v>-7.4285714285714288</c:v>
                </c:pt>
                <c:pt idx="97">
                  <c:v>-6.4285714285714288</c:v>
                </c:pt>
                <c:pt idx="98">
                  <c:v>-5.2857142857142856</c:v>
                </c:pt>
                <c:pt idx="99">
                  <c:v>-4.4285714285714288</c:v>
                </c:pt>
                <c:pt idx="100">
                  <c:v>-3.8571428571428572</c:v>
                </c:pt>
                <c:pt idx="101">
                  <c:v>-3</c:v>
                </c:pt>
                <c:pt idx="102">
                  <c:v>-2.1428571428571428</c:v>
                </c:pt>
                <c:pt idx="103">
                  <c:v>-1</c:v>
                </c:pt>
                <c:pt idx="104">
                  <c:v>-0.42857142857142855</c:v>
                </c:pt>
                <c:pt idx="105">
                  <c:v>-0.14285714285714285</c:v>
                </c:pt>
                <c:pt idx="106">
                  <c:v>0</c:v>
                </c:pt>
                <c:pt idx="107">
                  <c:v>0.14285714285714285</c:v>
                </c:pt>
                <c:pt idx="108">
                  <c:v>0.2857142857142857</c:v>
                </c:pt>
                <c:pt idx="109">
                  <c:v>-0.14285714285714285</c:v>
                </c:pt>
                <c:pt idx="110">
                  <c:v>-0.8571428571428571</c:v>
                </c:pt>
                <c:pt idx="111">
                  <c:v>-1.2857142857142858</c:v>
                </c:pt>
                <c:pt idx="112">
                  <c:v>-3.1428571428571428</c:v>
                </c:pt>
                <c:pt idx="113">
                  <c:v>-3</c:v>
                </c:pt>
                <c:pt idx="114">
                  <c:v>-2.7142857142857144</c:v>
                </c:pt>
                <c:pt idx="115">
                  <c:v>-2.8571428571428572</c:v>
                </c:pt>
                <c:pt idx="116">
                  <c:v>-3</c:v>
                </c:pt>
                <c:pt idx="117">
                  <c:v>-3</c:v>
                </c:pt>
                <c:pt idx="118">
                  <c:v>-3.1428571428571428</c:v>
                </c:pt>
                <c:pt idx="119">
                  <c:v>-2</c:v>
                </c:pt>
                <c:pt idx="120">
                  <c:v>-2.7142857142857144</c:v>
                </c:pt>
                <c:pt idx="121">
                  <c:v>-3.1428571428571428</c:v>
                </c:pt>
                <c:pt idx="122">
                  <c:v>-3.4285714285714284</c:v>
                </c:pt>
                <c:pt idx="123">
                  <c:v>-3.4285714285714284</c:v>
                </c:pt>
                <c:pt idx="124">
                  <c:v>-3.5714285714285716</c:v>
                </c:pt>
                <c:pt idx="125">
                  <c:v>-3.5714285714285716</c:v>
                </c:pt>
                <c:pt idx="126">
                  <c:v>-4.4285714285714288</c:v>
                </c:pt>
                <c:pt idx="127">
                  <c:v>-4.4285714285714288</c:v>
                </c:pt>
                <c:pt idx="128">
                  <c:v>-4.7142857142857144</c:v>
                </c:pt>
                <c:pt idx="129">
                  <c:v>-5.1428571428571432</c:v>
                </c:pt>
                <c:pt idx="130">
                  <c:v>-5.4285714285714288</c:v>
                </c:pt>
                <c:pt idx="131">
                  <c:v>-5.5714285714285712</c:v>
                </c:pt>
                <c:pt idx="132">
                  <c:v>-6.5714285714285712</c:v>
                </c:pt>
                <c:pt idx="133">
                  <c:v>-7.5714285714285712</c:v>
                </c:pt>
                <c:pt idx="134">
                  <c:v>-7.4285714285714288</c:v>
                </c:pt>
                <c:pt idx="135">
                  <c:v>-7.8571428571428568</c:v>
                </c:pt>
                <c:pt idx="136">
                  <c:v>-8.7142857142857135</c:v>
                </c:pt>
                <c:pt idx="137">
                  <c:v>-9.5714285714285712</c:v>
                </c:pt>
                <c:pt idx="138">
                  <c:v>-10.428571428571429</c:v>
                </c:pt>
                <c:pt idx="139">
                  <c:v>-11.285714285714286</c:v>
                </c:pt>
                <c:pt idx="140">
                  <c:v>-11.571428571428571</c:v>
                </c:pt>
                <c:pt idx="141">
                  <c:v>-12.857142857142858</c:v>
                </c:pt>
                <c:pt idx="142">
                  <c:v>-13.714285714285714</c:v>
                </c:pt>
                <c:pt idx="143">
                  <c:v>-13.285714285714286</c:v>
                </c:pt>
                <c:pt idx="144">
                  <c:v>-13.714285714285714</c:v>
                </c:pt>
                <c:pt idx="145">
                  <c:v>-13.285714285714286</c:v>
                </c:pt>
                <c:pt idx="146">
                  <c:v>-13.714285714285714</c:v>
                </c:pt>
                <c:pt idx="147">
                  <c:v>-13.571428571428571</c:v>
                </c:pt>
                <c:pt idx="148">
                  <c:v>-13.142857142857142</c:v>
                </c:pt>
                <c:pt idx="149">
                  <c:v>-12.857142857142858</c:v>
                </c:pt>
                <c:pt idx="150">
                  <c:v>-13.428571428571429</c:v>
                </c:pt>
                <c:pt idx="151">
                  <c:v>-11.714285714285714</c:v>
                </c:pt>
                <c:pt idx="152">
                  <c:v>-11.142857142857142</c:v>
                </c:pt>
                <c:pt idx="153">
                  <c:v>-10</c:v>
                </c:pt>
                <c:pt idx="154">
                  <c:v>-7.8571428571428568</c:v>
                </c:pt>
                <c:pt idx="155">
                  <c:v>-7.8571428571428568</c:v>
                </c:pt>
                <c:pt idx="156">
                  <c:v>-7.7142857142857144</c:v>
                </c:pt>
                <c:pt idx="157">
                  <c:v>-8.8571428571428577</c:v>
                </c:pt>
                <c:pt idx="158">
                  <c:v>-10.285714285714286</c:v>
                </c:pt>
                <c:pt idx="159">
                  <c:v>-11</c:v>
                </c:pt>
                <c:pt idx="160">
                  <c:v>-11.857142857142858</c:v>
                </c:pt>
                <c:pt idx="161">
                  <c:v>-13.714285714285714</c:v>
                </c:pt>
                <c:pt idx="162">
                  <c:v>-13.142857142857142</c:v>
                </c:pt>
                <c:pt idx="163">
                  <c:v>-12.857142857142858</c:v>
                </c:pt>
                <c:pt idx="164">
                  <c:v>-11.714285714285714</c:v>
                </c:pt>
                <c:pt idx="165">
                  <c:v>-11.857142857142858</c:v>
                </c:pt>
                <c:pt idx="166">
                  <c:v>-11.714285714285714</c:v>
                </c:pt>
                <c:pt idx="167">
                  <c:v>-11.857142857142858</c:v>
                </c:pt>
                <c:pt idx="168">
                  <c:v>-11.714285714285714</c:v>
                </c:pt>
                <c:pt idx="169">
                  <c:v>-12</c:v>
                </c:pt>
                <c:pt idx="170">
                  <c:v>-11.857142857142858</c:v>
                </c:pt>
                <c:pt idx="171">
                  <c:v>-11.142857142857142</c:v>
                </c:pt>
                <c:pt idx="172">
                  <c:v>-10.857142857142858</c:v>
                </c:pt>
                <c:pt idx="173">
                  <c:v>-10.571428571428571</c:v>
                </c:pt>
                <c:pt idx="174">
                  <c:v>-10.428571428571429</c:v>
                </c:pt>
                <c:pt idx="175">
                  <c:v>-10.571428571428571</c:v>
                </c:pt>
                <c:pt idx="176">
                  <c:v>-10.285714285714286</c:v>
                </c:pt>
                <c:pt idx="177">
                  <c:v>-10.142857142857142</c:v>
                </c:pt>
                <c:pt idx="178">
                  <c:v>-10</c:v>
                </c:pt>
                <c:pt idx="179">
                  <c:v>-10</c:v>
                </c:pt>
                <c:pt idx="180">
                  <c:v>-10.142857142857142</c:v>
                </c:pt>
                <c:pt idx="181">
                  <c:v>-9.2857142857142865</c:v>
                </c:pt>
                <c:pt idx="182">
                  <c:v>-8.5714285714285712</c:v>
                </c:pt>
                <c:pt idx="183">
                  <c:v>-9.2857142857142865</c:v>
                </c:pt>
                <c:pt idx="184">
                  <c:v>-9.1428571428571423</c:v>
                </c:pt>
                <c:pt idx="185">
                  <c:v>-9</c:v>
                </c:pt>
                <c:pt idx="186">
                  <c:v>-8.1428571428571423</c:v>
                </c:pt>
                <c:pt idx="187">
                  <c:v>-7.7142857142857144</c:v>
                </c:pt>
                <c:pt idx="188">
                  <c:v>-6.5714285714285712</c:v>
                </c:pt>
                <c:pt idx="189">
                  <c:v>-5.1428571428571432</c:v>
                </c:pt>
                <c:pt idx="190">
                  <c:v>-4.8571428571428568</c:v>
                </c:pt>
                <c:pt idx="191">
                  <c:v>-4.2857142857142856</c:v>
                </c:pt>
                <c:pt idx="192">
                  <c:v>-4.1428571428571432</c:v>
                </c:pt>
                <c:pt idx="193">
                  <c:v>-4</c:v>
                </c:pt>
                <c:pt idx="194">
                  <c:v>-5.1428571428571432</c:v>
                </c:pt>
                <c:pt idx="195">
                  <c:v>-5.2857142857142856</c:v>
                </c:pt>
                <c:pt idx="196">
                  <c:v>-5.1428571428571432</c:v>
                </c:pt>
                <c:pt idx="197">
                  <c:v>-4.8571428571428568</c:v>
                </c:pt>
                <c:pt idx="198">
                  <c:v>-5.4285714285714288</c:v>
                </c:pt>
                <c:pt idx="199">
                  <c:v>-5.2857142857142856</c:v>
                </c:pt>
                <c:pt idx="200">
                  <c:v>-6.2857142857142856</c:v>
                </c:pt>
                <c:pt idx="201">
                  <c:v>-5.5714285714285712</c:v>
                </c:pt>
                <c:pt idx="202">
                  <c:v>-5.7142857142857144</c:v>
                </c:pt>
                <c:pt idx="203">
                  <c:v>-5.7142857142857144</c:v>
                </c:pt>
                <c:pt idx="204">
                  <c:v>-6</c:v>
                </c:pt>
                <c:pt idx="205">
                  <c:v>-6.1428571428571432</c:v>
                </c:pt>
                <c:pt idx="206">
                  <c:v>-6.7142857142857144</c:v>
                </c:pt>
                <c:pt idx="207">
                  <c:v>-6</c:v>
                </c:pt>
                <c:pt idx="208">
                  <c:v>-6.2857142857142856</c:v>
                </c:pt>
                <c:pt idx="209">
                  <c:v>-6</c:v>
                </c:pt>
                <c:pt idx="210">
                  <c:v>-5.5714285714285712</c:v>
                </c:pt>
                <c:pt idx="211">
                  <c:v>-5.1428571428571432</c:v>
                </c:pt>
                <c:pt idx="212">
                  <c:v>-4.8571428571428568</c:v>
                </c:pt>
                <c:pt idx="213">
                  <c:v>-4</c:v>
                </c:pt>
                <c:pt idx="214">
                  <c:v>-3</c:v>
                </c:pt>
                <c:pt idx="215">
                  <c:v>-1.2857142857142858</c:v>
                </c:pt>
                <c:pt idx="216">
                  <c:v>-0.42857142857142855</c:v>
                </c:pt>
                <c:pt idx="217">
                  <c:v>0.42857142857142855</c:v>
                </c:pt>
                <c:pt idx="218">
                  <c:v>1.2857142857142858</c:v>
                </c:pt>
                <c:pt idx="219">
                  <c:v>2.1428571428571428</c:v>
                </c:pt>
                <c:pt idx="220">
                  <c:v>2.8571428571428572</c:v>
                </c:pt>
                <c:pt idx="221">
                  <c:v>3.2857142857142856</c:v>
                </c:pt>
                <c:pt idx="222">
                  <c:v>3.2857142857142856</c:v>
                </c:pt>
                <c:pt idx="223">
                  <c:v>3.4285714285714284</c:v>
                </c:pt>
                <c:pt idx="224">
                  <c:v>3.7142857142857144</c:v>
                </c:pt>
                <c:pt idx="225">
                  <c:v>3.8571428571428572</c:v>
                </c:pt>
                <c:pt idx="226">
                  <c:v>3.8571428571428572</c:v>
                </c:pt>
                <c:pt idx="227">
                  <c:v>4.1428571428571432</c:v>
                </c:pt>
                <c:pt idx="228">
                  <c:v>4.7142857142857144</c:v>
                </c:pt>
                <c:pt idx="229">
                  <c:v>6.2857142857142856</c:v>
                </c:pt>
                <c:pt idx="230">
                  <c:v>7.1428571428571432</c:v>
                </c:pt>
                <c:pt idx="231">
                  <c:v>7.7142857142857144</c:v>
                </c:pt>
                <c:pt idx="232">
                  <c:v>8.4285714285714288</c:v>
                </c:pt>
                <c:pt idx="233">
                  <c:v>9</c:v>
                </c:pt>
                <c:pt idx="234">
                  <c:v>9.4285714285714288</c:v>
                </c:pt>
                <c:pt idx="235">
                  <c:v>9.7142857142857135</c:v>
                </c:pt>
                <c:pt idx="236">
                  <c:v>9.7142857142857135</c:v>
                </c:pt>
                <c:pt idx="237">
                  <c:v>10.285714285714286</c:v>
                </c:pt>
                <c:pt idx="238">
                  <c:v>10.428571428571429</c:v>
                </c:pt>
                <c:pt idx="239">
                  <c:v>10.142857142857142</c:v>
                </c:pt>
                <c:pt idx="240">
                  <c:v>10.285714285714286</c:v>
                </c:pt>
                <c:pt idx="241">
                  <c:v>10</c:v>
                </c:pt>
                <c:pt idx="242">
                  <c:v>9.4285714285714288</c:v>
                </c:pt>
                <c:pt idx="243">
                  <c:v>8.4285714285714288</c:v>
                </c:pt>
                <c:pt idx="244">
                  <c:v>7.1428571428571432</c:v>
                </c:pt>
                <c:pt idx="245">
                  <c:v>7.1428571428571432</c:v>
                </c:pt>
                <c:pt idx="246">
                  <c:v>7.4285714285714288</c:v>
                </c:pt>
                <c:pt idx="247">
                  <c:v>8</c:v>
                </c:pt>
                <c:pt idx="248">
                  <c:v>8.1428571428571423</c:v>
                </c:pt>
                <c:pt idx="249">
                  <c:v>8.2857142857142865</c:v>
                </c:pt>
                <c:pt idx="250">
                  <c:v>8.4285714285714288</c:v>
                </c:pt>
                <c:pt idx="251">
                  <c:v>9.4285714285714288</c:v>
                </c:pt>
                <c:pt idx="252">
                  <c:v>10.142857142857142</c:v>
                </c:pt>
                <c:pt idx="253">
                  <c:v>10.571428571428571</c:v>
                </c:pt>
                <c:pt idx="254">
                  <c:v>10.857142857142858</c:v>
                </c:pt>
                <c:pt idx="255">
                  <c:v>12.285714285714286</c:v>
                </c:pt>
                <c:pt idx="256">
                  <c:v>15.142857142857142</c:v>
                </c:pt>
                <c:pt idx="257">
                  <c:v>19.142857142857142</c:v>
                </c:pt>
                <c:pt idx="258">
                  <c:v>19.285714285714285</c:v>
                </c:pt>
                <c:pt idx="259">
                  <c:v>16.857142857142858</c:v>
                </c:pt>
                <c:pt idx="260">
                  <c:v>15.428571428571429</c:v>
                </c:pt>
                <c:pt idx="261">
                  <c:v>14.571428571428571</c:v>
                </c:pt>
                <c:pt idx="262">
                  <c:v>13.285714285714286</c:v>
                </c:pt>
                <c:pt idx="263">
                  <c:v>10.857142857142858</c:v>
                </c:pt>
                <c:pt idx="264">
                  <c:v>7</c:v>
                </c:pt>
                <c:pt idx="265">
                  <c:v>6.2857142857142856</c:v>
                </c:pt>
                <c:pt idx="266">
                  <c:v>8</c:v>
                </c:pt>
                <c:pt idx="267">
                  <c:v>9.1428571428571423</c:v>
                </c:pt>
                <c:pt idx="268">
                  <c:v>9.4285714285714288</c:v>
                </c:pt>
                <c:pt idx="269">
                  <c:v>9.1428571428571423</c:v>
                </c:pt>
                <c:pt idx="270">
                  <c:v>7.5714285714285712</c:v>
                </c:pt>
                <c:pt idx="271">
                  <c:v>7.2857142857142856</c:v>
                </c:pt>
                <c:pt idx="272">
                  <c:v>7.7142857142857144</c:v>
                </c:pt>
                <c:pt idx="273">
                  <c:v>7.8571428571428568</c:v>
                </c:pt>
                <c:pt idx="274">
                  <c:v>7.5714285714285712</c:v>
                </c:pt>
                <c:pt idx="275">
                  <c:v>7.5714285714285712</c:v>
                </c:pt>
                <c:pt idx="276">
                  <c:v>7.8571428571428568</c:v>
                </c:pt>
                <c:pt idx="277">
                  <c:v>9</c:v>
                </c:pt>
                <c:pt idx="278">
                  <c:v>9.1428571428571423</c:v>
                </c:pt>
                <c:pt idx="279">
                  <c:v>9.1428571428571423</c:v>
                </c:pt>
                <c:pt idx="280">
                  <c:v>9.2857142857142865</c:v>
                </c:pt>
                <c:pt idx="281">
                  <c:v>9.4285714285714288</c:v>
                </c:pt>
                <c:pt idx="282">
                  <c:v>7.4285714285714288</c:v>
                </c:pt>
                <c:pt idx="283">
                  <c:v>7.5714285714285712</c:v>
                </c:pt>
                <c:pt idx="284">
                  <c:v>7.8571428571428568</c:v>
                </c:pt>
                <c:pt idx="285">
                  <c:v>7.8571428571428568</c:v>
                </c:pt>
                <c:pt idx="286">
                  <c:v>7.7142857142857144</c:v>
                </c:pt>
                <c:pt idx="287">
                  <c:v>7.5714285714285712</c:v>
                </c:pt>
                <c:pt idx="288">
                  <c:v>7.2857142857142856</c:v>
                </c:pt>
                <c:pt idx="289">
                  <c:v>9.2857142857142865</c:v>
                </c:pt>
                <c:pt idx="290">
                  <c:v>9.1428571428571423</c:v>
                </c:pt>
                <c:pt idx="291">
                  <c:v>9</c:v>
                </c:pt>
                <c:pt idx="292">
                  <c:v>9.1428571428571423</c:v>
                </c:pt>
                <c:pt idx="293">
                  <c:v>9.2857142857142865</c:v>
                </c:pt>
                <c:pt idx="294">
                  <c:v>9.4285714285714288</c:v>
                </c:pt>
                <c:pt idx="295">
                  <c:v>9.8571428571428577</c:v>
                </c:pt>
                <c:pt idx="296">
                  <c:v>9.5714285714285712</c:v>
                </c:pt>
                <c:pt idx="297">
                  <c:v>9.8571428571428577</c:v>
                </c:pt>
                <c:pt idx="298">
                  <c:v>10.714285714285714</c:v>
                </c:pt>
                <c:pt idx="299">
                  <c:v>11.142857142857142</c:v>
                </c:pt>
                <c:pt idx="300">
                  <c:v>10.571428571428571</c:v>
                </c:pt>
                <c:pt idx="301">
                  <c:v>9.8571428571428577</c:v>
                </c:pt>
                <c:pt idx="302">
                  <c:v>9.7142857142857135</c:v>
                </c:pt>
                <c:pt idx="303">
                  <c:v>9.7142857142857135</c:v>
                </c:pt>
                <c:pt idx="304" formatCode="General">
                  <c:v>9.5714285714285712</c:v>
                </c:pt>
                <c:pt idx="305" formatCode="General">
                  <c:v>10.428571428571429</c:v>
                </c:pt>
                <c:pt idx="306" formatCode="General">
                  <c:v>9.7142857142857135</c:v>
                </c:pt>
                <c:pt idx="307" formatCode="General">
                  <c:v>10</c:v>
                </c:pt>
                <c:pt idx="308" formatCode="General">
                  <c:v>10.142857142857142</c:v>
                </c:pt>
                <c:pt idx="309" formatCode="General">
                  <c:v>10</c:v>
                </c:pt>
                <c:pt idx="310" formatCode="General">
                  <c:v>9.7142857142857135</c:v>
                </c:pt>
                <c:pt idx="311" formatCode="General">
                  <c:v>9.5714285714285712</c:v>
                </c:pt>
                <c:pt idx="312" formatCode="General">
                  <c:v>8.2857142857142865</c:v>
                </c:pt>
                <c:pt idx="313" formatCode="General">
                  <c:v>8.8571428571428577</c:v>
                </c:pt>
                <c:pt idx="314" formatCode="General">
                  <c:v>9.4285714285714288</c:v>
                </c:pt>
                <c:pt idx="315" formatCode="General">
                  <c:v>10.428571428571429</c:v>
                </c:pt>
                <c:pt idx="316" formatCode="General">
                  <c:v>11.142857142857142</c:v>
                </c:pt>
                <c:pt idx="317" formatCode="General">
                  <c:v>12.142857142857142</c:v>
                </c:pt>
                <c:pt idx="318" formatCode="General">
                  <c:v>12.857142857142858</c:v>
                </c:pt>
                <c:pt idx="319" formatCode="General">
                  <c:v>10.428571428571429</c:v>
                </c:pt>
                <c:pt idx="320" formatCode="General">
                  <c:v>8.1428571428571423</c:v>
                </c:pt>
                <c:pt idx="321" formatCode="General">
                  <c:v>6.1428571428571432</c:v>
                </c:pt>
                <c:pt idx="322" formatCode="General">
                  <c:v>4.2857142857142856</c:v>
                </c:pt>
                <c:pt idx="323" formatCode="General">
                  <c:v>2.8571428571428572</c:v>
                </c:pt>
                <c:pt idx="324" formatCode="General">
                  <c:v>1.2857142857142858</c:v>
                </c:pt>
                <c:pt idx="325" formatCode="General">
                  <c:v>-0.14285714285714285</c:v>
                </c:pt>
                <c:pt idx="326" formatCode="General">
                  <c:v>1.2857142857142858</c:v>
                </c:pt>
                <c:pt idx="327" formatCode="General">
                  <c:v>2.5714285714285716</c:v>
                </c:pt>
                <c:pt idx="328" formatCode="General">
                  <c:v>3.5714285714285716</c:v>
                </c:pt>
                <c:pt idx="329" formatCode="General">
                  <c:v>4.4285714285714288</c:v>
                </c:pt>
                <c:pt idx="330" formatCode="General">
                  <c:v>5.1428571428571432</c:v>
                </c:pt>
                <c:pt idx="331" formatCode="General">
                  <c:v>5.1428571428571432</c:v>
                </c:pt>
                <c:pt idx="332" formatCode="General">
                  <c:v>5.4285714285714288</c:v>
                </c:pt>
                <c:pt idx="333" formatCode="General">
                  <c:v>5.5714285714285712</c:v>
                </c:pt>
                <c:pt idx="334" formatCode="General">
                  <c:v>6.2857142857142856</c:v>
                </c:pt>
                <c:pt idx="335" formatCode="General">
                  <c:v>7.4285714285714288</c:v>
                </c:pt>
                <c:pt idx="336" formatCode="General">
                  <c:v>8.7142857142857135</c:v>
                </c:pt>
                <c:pt idx="337" formatCode="General">
                  <c:v>9.5714285714285712</c:v>
                </c:pt>
                <c:pt idx="338" formatCode="General">
                  <c:v>11.428571428571429</c:v>
                </c:pt>
                <c:pt idx="339" formatCode="General">
                  <c:v>12.428571428571429</c:v>
                </c:pt>
                <c:pt idx="340" formatCode="General">
                  <c:v>13.142857142857142</c:v>
                </c:pt>
                <c:pt idx="341" formatCode="General">
                  <c:v>13.857142857142858</c:v>
                </c:pt>
                <c:pt idx="342" formatCode="General">
                  <c:v>14.142857142857142</c:v>
                </c:pt>
                <c:pt idx="343" formatCode="General">
                  <c:v>14</c:v>
                </c:pt>
                <c:pt idx="344" formatCode="General">
                  <c:v>14.142857142857142</c:v>
                </c:pt>
                <c:pt idx="345" formatCode="General">
                  <c:v>14.285714285714286</c:v>
                </c:pt>
                <c:pt idx="346" formatCode="General">
                  <c:v>14.857142857142858</c:v>
                </c:pt>
                <c:pt idx="347" formatCode="General">
                  <c:v>15.571428571428571</c:v>
                </c:pt>
                <c:pt idx="348" formatCode="General">
                  <c:v>15.857142857142858</c:v>
                </c:pt>
                <c:pt idx="349" formatCode="General">
                  <c:v>16.142857142857142</c:v>
                </c:pt>
                <c:pt idx="350" formatCode="General">
                  <c:v>16.857142857142858</c:v>
                </c:pt>
                <c:pt idx="351" formatCode="General">
                  <c:v>17.142857142857142</c:v>
                </c:pt>
                <c:pt idx="352" formatCode="General">
                  <c:v>16.714285714285715</c:v>
                </c:pt>
                <c:pt idx="353" formatCode="General">
                  <c:v>16.428571428571427</c:v>
                </c:pt>
                <c:pt idx="354" formatCode="General">
                  <c:v>16.428571428571427</c:v>
                </c:pt>
                <c:pt idx="355" formatCode="General">
                  <c:v>16.285714285714285</c:v>
                </c:pt>
                <c:pt idx="356" formatCode="General">
                  <c:v>16.285714285714285</c:v>
                </c:pt>
                <c:pt idx="357" formatCode="General">
                  <c:v>16</c:v>
                </c:pt>
                <c:pt idx="358" formatCode="General">
                  <c:v>15.714285714285714</c:v>
                </c:pt>
                <c:pt idx="359" formatCode="General">
                  <c:v>16</c:v>
                </c:pt>
                <c:pt idx="360" formatCode="General">
                  <c:v>16.142857142857142</c:v>
                </c:pt>
                <c:pt idx="361" formatCode="General">
                  <c:v>16.285714285714285</c:v>
                </c:pt>
                <c:pt idx="362" formatCode="General">
                  <c:v>16.285714285714285</c:v>
                </c:pt>
                <c:pt idx="363" formatCode="General">
                  <c:v>16.285714285714285</c:v>
                </c:pt>
                <c:pt idx="364" formatCode="General">
                  <c:v>16.428571428571427</c:v>
                </c:pt>
                <c:pt idx="365" formatCode="General">
                  <c:v>17</c:v>
                </c:pt>
                <c:pt idx="366" formatCode="General">
                  <c:v>17.285714285714285</c:v>
                </c:pt>
                <c:pt idx="367" formatCode="General">
                  <c:v>17.857142857142858</c:v>
                </c:pt>
                <c:pt idx="368" formatCode="General">
                  <c:v>18.285714285714285</c:v>
                </c:pt>
                <c:pt idx="369" formatCode="General">
                  <c:v>18.857142857142858</c:v>
                </c:pt>
                <c:pt idx="370" formatCode="General">
                  <c:v>19.428571428571427</c:v>
                </c:pt>
                <c:pt idx="371" formatCode="General">
                  <c:v>19.857142857142858</c:v>
                </c:pt>
                <c:pt idx="372" formatCode="General">
                  <c:v>20</c:v>
                </c:pt>
                <c:pt idx="373" formatCode="General">
                  <c:v>20.285714285714285</c:v>
                </c:pt>
                <c:pt idx="374" formatCode="General">
                  <c:v>20.714285714285715</c:v>
                </c:pt>
                <c:pt idx="375" formatCode="General">
                  <c:v>20.428571428571427</c:v>
                </c:pt>
                <c:pt idx="376" formatCode="General">
                  <c:v>20.142857142857142</c:v>
                </c:pt>
                <c:pt idx="377" formatCode="General">
                  <c:v>19.857142857142858</c:v>
                </c:pt>
                <c:pt idx="378" formatCode="General">
                  <c:v>19.714285714285715</c:v>
                </c:pt>
                <c:pt idx="379" formatCode="General">
                  <c:v>19.571428571428573</c:v>
                </c:pt>
                <c:pt idx="380" formatCode="General">
                  <c:v>19.142857142857142</c:v>
                </c:pt>
                <c:pt idx="381" formatCode="General">
                  <c:v>18.571428571428573</c:v>
                </c:pt>
                <c:pt idx="382" formatCode="General">
                  <c:v>18.714285714285715</c:v>
                </c:pt>
                <c:pt idx="383" formatCode="General">
                  <c:v>19.142857142857142</c:v>
                </c:pt>
                <c:pt idx="384" formatCode="General">
                  <c:v>19.285714285714285</c:v>
                </c:pt>
                <c:pt idx="385" formatCode="General">
                  <c:v>19.142857142857142</c:v>
                </c:pt>
                <c:pt idx="386" formatCode="General">
                  <c:v>19.285714285714285</c:v>
                </c:pt>
                <c:pt idx="387" formatCode="General">
                  <c:v>19.571428571428573</c:v>
                </c:pt>
                <c:pt idx="388" formatCode="General">
                  <c:v>19.857142857142858</c:v>
                </c:pt>
                <c:pt idx="389" formatCode="General">
                  <c:v>20.428571428571427</c:v>
                </c:pt>
                <c:pt idx="390" formatCode="General">
                  <c:v>20.571428571428573</c:v>
                </c:pt>
                <c:pt idx="391" formatCode="General">
                  <c:v>21.428571428571427</c:v>
                </c:pt>
                <c:pt idx="392" formatCode="General">
                  <c:v>20.857142857142858</c:v>
                </c:pt>
                <c:pt idx="393" formatCode="General">
                  <c:v>15.714285714285714</c:v>
                </c:pt>
                <c:pt idx="394" formatCode="General">
                  <c:v>14.857142857142858</c:v>
                </c:pt>
                <c:pt idx="395" formatCode="General">
                  <c:v>14.428571428571429</c:v>
                </c:pt>
                <c:pt idx="396" formatCode="General">
                  <c:v>14</c:v>
                </c:pt>
                <c:pt idx="397" formatCode="General">
                  <c:v>14</c:v>
                </c:pt>
                <c:pt idx="398" formatCode="General">
                  <c:v>13.428571428571429</c:v>
                </c:pt>
                <c:pt idx="399" formatCode="General">
                  <c:v>13.714285714285714</c:v>
                </c:pt>
                <c:pt idx="400" formatCode="General">
                  <c:v>19.142857142857142</c:v>
                </c:pt>
                <c:pt idx="401" formatCode="General">
                  <c:v>19.714285714285715</c:v>
                </c:pt>
                <c:pt idx="402" formatCode="General">
                  <c:v>19.857142857142858</c:v>
                </c:pt>
                <c:pt idx="403" formatCode="General">
                  <c:v>19.857142857142858</c:v>
                </c:pt>
                <c:pt idx="404" formatCode="General">
                  <c:v>19.857142857142858</c:v>
                </c:pt>
                <c:pt idx="405" formatCode="General">
                  <c:v>17.714285714285715</c:v>
                </c:pt>
                <c:pt idx="406" formatCode="General">
                  <c:v>16.428571428571427</c:v>
                </c:pt>
                <c:pt idx="407" formatCode="General">
                  <c:v>17</c:v>
                </c:pt>
                <c:pt idx="408" formatCode="General">
                  <c:v>17</c:v>
                </c:pt>
                <c:pt idx="409" formatCode="General">
                  <c:v>15.857142857142858</c:v>
                </c:pt>
                <c:pt idx="410" formatCode="General">
                  <c:v>14.142857142857142</c:v>
                </c:pt>
                <c:pt idx="411" formatCode="General">
                  <c:v>12.285714285714286</c:v>
                </c:pt>
                <c:pt idx="412" formatCode="General">
                  <c:v>10.857142857142858</c:v>
                </c:pt>
                <c:pt idx="413" formatCode="General">
                  <c:v>7.8571428571428568</c:v>
                </c:pt>
                <c:pt idx="414" formatCode="General">
                  <c:v>5.7142857142857144</c:v>
                </c:pt>
                <c:pt idx="415" formatCode="General">
                  <c:v>3.7142857142857144</c:v>
                </c:pt>
                <c:pt idx="416" formatCode="General">
                  <c:v>1.7142857142857142</c:v>
                </c:pt>
                <c:pt idx="417" formatCode="General">
                  <c:v>0.2857142857142857</c:v>
                </c:pt>
                <c:pt idx="418" formatCode="General">
                  <c:v>-1.1428571428571428</c:v>
                </c:pt>
                <c:pt idx="419" formatCode="General">
                  <c:v>-3.7142857142857144</c:v>
                </c:pt>
                <c:pt idx="420" formatCode="General">
                  <c:v>-6.2857142857142856</c:v>
                </c:pt>
                <c:pt idx="421" formatCode="General">
                  <c:v>-7.8571428571428568</c:v>
                </c:pt>
                <c:pt idx="422" formatCode="General">
                  <c:v>-8.8571428571428577</c:v>
                </c:pt>
                <c:pt idx="423" formatCode="General">
                  <c:v>-10</c:v>
                </c:pt>
                <c:pt idx="424" formatCode="General">
                  <c:v>-11.428571428571429</c:v>
                </c:pt>
                <c:pt idx="425" formatCode="General">
                  <c:v>-12.142857142857142</c:v>
                </c:pt>
                <c:pt idx="426" formatCode="General">
                  <c:v>-13</c:v>
                </c:pt>
                <c:pt idx="427" formatCode="General">
                  <c:v>-13.428571428571429</c:v>
                </c:pt>
                <c:pt idx="428" formatCode="General">
                  <c:v>-15.571428571428571</c:v>
                </c:pt>
                <c:pt idx="429" formatCode="General">
                  <c:v>-17.142857142857142</c:v>
                </c:pt>
                <c:pt idx="430" formatCode="General">
                  <c:v>-18.714285714285715</c:v>
                </c:pt>
                <c:pt idx="431" formatCode="General">
                  <c:v>-20.285714285714285</c:v>
                </c:pt>
                <c:pt idx="432" formatCode="General">
                  <c:v>-22.285714285714285</c:v>
                </c:pt>
                <c:pt idx="433" formatCode="General">
                  <c:v>-22</c:v>
                </c:pt>
                <c:pt idx="434" formatCode="General">
                  <c:v>-20.714285714285715</c:v>
                </c:pt>
                <c:pt idx="435" formatCode="General">
                  <c:v>-22.428571428571427</c:v>
                </c:pt>
                <c:pt idx="436" formatCode="General">
                  <c:v>-23.714285714285715</c:v>
                </c:pt>
                <c:pt idx="437" formatCode="General">
                  <c:v>-24.285714285714285</c:v>
                </c:pt>
                <c:pt idx="438" formatCode="General">
                  <c:v>-24.285714285714285</c:v>
                </c:pt>
                <c:pt idx="439" formatCode="General">
                  <c:v>-25.428571428571427</c:v>
                </c:pt>
                <c:pt idx="440" formatCode="General">
                  <c:v>-26.142857142857142</c:v>
                </c:pt>
                <c:pt idx="441" formatCode="General">
                  <c:v>-27.571428571428573</c:v>
                </c:pt>
                <c:pt idx="442" formatCode="General">
                  <c:v>-28</c:v>
                </c:pt>
                <c:pt idx="443" formatCode="General">
                  <c:v>-28.857142857142858</c:v>
                </c:pt>
                <c:pt idx="444" formatCode="General">
                  <c:v>-29.571428571428573</c:v>
                </c:pt>
                <c:pt idx="445" formatCode="General">
                  <c:v>-30.285714285714285</c:v>
                </c:pt>
                <c:pt idx="446" formatCode="General">
                  <c:v>-29.714285714285715</c:v>
                </c:pt>
                <c:pt idx="447" formatCode="General">
                  <c:v>-29.285714285714285</c:v>
                </c:pt>
                <c:pt idx="448" formatCode="General">
                  <c:v>-27.285714285714285</c:v>
                </c:pt>
                <c:pt idx="449" formatCode="General">
                  <c:v>-26.571428571428573</c:v>
                </c:pt>
                <c:pt idx="450" formatCode="General">
                  <c:v>-26</c:v>
                </c:pt>
                <c:pt idx="451" formatCode="General">
                  <c:v>-25.857142857142858</c:v>
                </c:pt>
                <c:pt idx="452" formatCode="General">
                  <c:v>-25.428571428571427</c:v>
                </c:pt>
                <c:pt idx="453" formatCode="General">
                  <c:v>-25</c:v>
                </c:pt>
                <c:pt idx="454" formatCode="General">
                  <c:v>-24.428571428571427</c:v>
                </c:pt>
                <c:pt idx="455" formatCode="General">
                  <c:v>-24.714285714285715</c:v>
                </c:pt>
                <c:pt idx="456" formatCode="General">
                  <c:v>-23.428571428571427</c:v>
                </c:pt>
                <c:pt idx="457" formatCode="General">
                  <c:v>-21.142857142857142</c:v>
                </c:pt>
                <c:pt idx="458" formatCode="General">
                  <c:v>-17.857142857142858</c:v>
                </c:pt>
                <c:pt idx="459" formatCode="General">
                  <c:v>-15.428571428571429</c:v>
                </c:pt>
                <c:pt idx="460" formatCode="General">
                  <c:v>-13.285714285714286</c:v>
                </c:pt>
                <c:pt idx="461" formatCode="General">
                  <c:v>-12.142857142857142</c:v>
                </c:pt>
                <c:pt idx="462" formatCode="General">
                  <c:v>-11.285714285714286</c:v>
                </c:pt>
                <c:pt idx="463" formatCode="General">
                  <c:v>-9</c:v>
                </c:pt>
                <c:pt idx="464" formatCode="General">
                  <c:v>-7.2857142857142856</c:v>
                </c:pt>
                <c:pt idx="465" formatCode="General">
                  <c:v>-5.8571428571428568</c:v>
                </c:pt>
                <c:pt idx="466" formatCode="General">
                  <c:v>-4.4285714285714288</c:v>
                </c:pt>
                <c:pt idx="467" formatCode="General">
                  <c:v>-2.4285714285714284</c:v>
                </c:pt>
                <c:pt idx="468" formatCode="General">
                  <c:v>-1</c:v>
                </c:pt>
                <c:pt idx="469" formatCode="General">
                  <c:v>0.14285714285714285</c:v>
                </c:pt>
                <c:pt idx="470" formatCode="General">
                  <c:v>1.4285714285714286</c:v>
                </c:pt>
                <c:pt idx="471" formatCode="General">
                  <c:v>2.1428571428571428</c:v>
                </c:pt>
                <c:pt idx="472" formatCode="General">
                  <c:v>2.8571428571428572</c:v>
                </c:pt>
                <c:pt idx="473" formatCode="General">
                  <c:v>3.4285714285714284</c:v>
                </c:pt>
                <c:pt idx="474" formatCode="General">
                  <c:v>3.8571428571428572</c:v>
                </c:pt>
                <c:pt idx="475" formatCode="General">
                  <c:v>4.4285714285714288</c:v>
                </c:pt>
                <c:pt idx="476" formatCode="General">
                  <c:v>4.8571428571428568</c:v>
                </c:pt>
                <c:pt idx="477" formatCode="General">
                  <c:v>5.5714285714285712</c:v>
                </c:pt>
                <c:pt idx="478" formatCode="General">
                  <c:v>6.4285714285714288</c:v>
                </c:pt>
                <c:pt idx="479" formatCode="General">
                  <c:v>7.2857142857142856</c:v>
                </c:pt>
                <c:pt idx="480" formatCode="General">
                  <c:v>8.2857142857142865</c:v>
                </c:pt>
                <c:pt idx="481" formatCode="General">
                  <c:v>9.1428571428571423</c:v>
                </c:pt>
                <c:pt idx="482" formatCode="General">
                  <c:v>10.142857142857142</c:v>
                </c:pt>
                <c:pt idx="483" formatCode="General">
                  <c:v>10.857142857142858</c:v>
                </c:pt>
                <c:pt idx="484" formatCode="General">
                  <c:v>11.428571428571429</c:v>
                </c:pt>
                <c:pt idx="485" formatCode="General">
                  <c:v>11.571428571428571</c:v>
                </c:pt>
                <c:pt idx="486" formatCode="General">
                  <c:v>11.571428571428571</c:v>
                </c:pt>
                <c:pt idx="487" formatCode="General">
                  <c:v>12.285714285714286</c:v>
                </c:pt>
                <c:pt idx="488" formatCode="General">
                  <c:v>13.142857142857142</c:v>
                </c:pt>
                <c:pt idx="489" formatCode="General">
                  <c:v>14.285714285714286</c:v>
                </c:pt>
                <c:pt idx="490" formatCode="General">
                  <c:v>15.571428571428571</c:v>
                </c:pt>
                <c:pt idx="491" formatCode="General">
                  <c:v>16.857142857142858</c:v>
                </c:pt>
                <c:pt idx="492" formatCode="General">
                  <c:v>18.142857142857142</c:v>
                </c:pt>
                <c:pt idx="493" formatCode="General">
                  <c:v>19.285714285714285</c:v>
                </c:pt>
                <c:pt idx="494" formatCode="General">
                  <c:v>20</c:v>
                </c:pt>
                <c:pt idx="495" formatCode="General">
                  <c:v>20.714285714285715</c:v>
                </c:pt>
                <c:pt idx="496" formatCode="General">
                  <c:v>21.142857142857142</c:v>
                </c:pt>
                <c:pt idx="497" formatCode="General">
                  <c:v>21.714285714285715</c:v>
                </c:pt>
                <c:pt idx="498" formatCode="General">
                  <c:v>21.428571428571427</c:v>
                </c:pt>
                <c:pt idx="499" formatCode="General">
                  <c:v>21.285714285714285</c:v>
                </c:pt>
                <c:pt idx="500" formatCode="General">
                  <c:v>21.428571428571427</c:v>
                </c:pt>
                <c:pt idx="501" formatCode="General">
                  <c:v>21.714285714285715</c:v>
                </c:pt>
                <c:pt idx="502" formatCode="General">
                  <c:v>21.571428571428573</c:v>
                </c:pt>
                <c:pt idx="503" formatCode="General">
                  <c:v>21.571428571428573</c:v>
                </c:pt>
                <c:pt idx="504" formatCode="General">
                  <c:v>21.571428571428573</c:v>
                </c:pt>
                <c:pt idx="505" formatCode="General">
                  <c:v>21.142857142857142</c:v>
                </c:pt>
                <c:pt idx="506" formatCode="General">
                  <c:v>21.714285714285715</c:v>
                </c:pt>
                <c:pt idx="507" formatCode="General">
                  <c:v>20.428571428571427</c:v>
                </c:pt>
                <c:pt idx="508" formatCode="General">
                  <c:v>19.571428571428573</c:v>
                </c:pt>
                <c:pt idx="509" formatCode="General">
                  <c:v>19.142857142857142</c:v>
                </c:pt>
                <c:pt idx="510">
                  <c:v>19</c:v>
                </c:pt>
                <c:pt idx="511">
                  <c:v>18.857142857142858</c:v>
                </c:pt>
                <c:pt idx="512">
                  <c:v>19.285714285714285</c:v>
                </c:pt>
                <c:pt idx="513">
                  <c:v>18.571428571428573</c:v>
                </c:pt>
                <c:pt idx="514">
                  <c:v>19.285714285714285</c:v>
                </c:pt>
                <c:pt idx="515">
                  <c:v>19.571428571428573</c:v>
                </c:pt>
                <c:pt idx="516">
                  <c:v>19.714285714285715</c:v>
                </c:pt>
                <c:pt idx="517">
                  <c:v>20.428571428571427</c:v>
                </c:pt>
                <c:pt idx="518">
                  <c:v>21.714285714285715</c:v>
                </c:pt>
                <c:pt idx="519">
                  <c:v>22.285714285714285</c:v>
                </c:pt>
                <c:pt idx="520">
                  <c:v>23.571428571428573</c:v>
                </c:pt>
                <c:pt idx="521">
                  <c:v>25</c:v>
                </c:pt>
                <c:pt idx="522">
                  <c:v>26.428571428571427</c:v>
                </c:pt>
                <c:pt idx="523">
                  <c:v>27.571428571428573</c:v>
                </c:pt>
                <c:pt idx="524">
                  <c:v>28.428571428571427</c:v>
                </c:pt>
                <c:pt idx="525">
                  <c:v>28.285714285714285</c:v>
                </c:pt>
                <c:pt idx="526">
                  <c:v>28.857142857142858</c:v>
                </c:pt>
                <c:pt idx="527">
                  <c:v>29.571428571428573</c:v>
                </c:pt>
                <c:pt idx="528">
                  <c:v>30.285714285714285</c:v>
                </c:pt>
                <c:pt idx="529">
                  <c:v>30.571428571428573</c:v>
                </c:pt>
                <c:pt idx="530">
                  <c:v>30.714285714285715</c:v>
                </c:pt>
                <c:pt idx="531">
                  <c:v>31.428571428571427</c:v>
                </c:pt>
                <c:pt idx="532">
                  <c:v>31.714285714285715</c:v>
                </c:pt>
                <c:pt idx="533">
                  <c:v>31.714285714285715</c:v>
                </c:pt>
                <c:pt idx="534">
                  <c:v>31.142857142857142</c:v>
                </c:pt>
                <c:pt idx="535" formatCode="General">
                  <c:v>30.857142857142858</c:v>
                </c:pt>
                <c:pt idx="536" formatCode="General">
                  <c:v>31.428571428571427</c:v>
                </c:pt>
                <c:pt idx="537" formatCode="General">
                  <c:v>31.428571428571427</c:v>
                </c:pt>
                <c:pt idx="538" formatCode="General">
                  <c:v>32.142857142857146</c:v>
                </c:pt>
                <c:pt idx="539" formatCode="General">
                  <c:v>32.428571428571431</c:v>
                </c:pt>
                <c:pt idx="540" formatCode="General">
                  <c:v>31.428571428571427</c:v>
                </c:pt>
                <c:pt idx="541" formatCode="General">
                  <c:v>31.428571428571427</c:v>
                </c:pt>
                <c:pt idx="542" formatCode="General">
                  <c:v>31.285714285714285</c:v>
                </c:pt>
                <c:pt idx="543" formatCode="General">
                  <c:v>30.142857142857142</c:v>
                </c:pt>
                <c:pt idx="544">
                  <c:v>29.857142857142858</c:v>
                </c:pt>
                <c:pt idx="545">
                  <c:v>28.714285714285715</c:v>
                </c:pt>
                <c:pt idx="546">
                  <c:v>29.142857142857142</c:v>
                </c:pt>
                <c:pt idx="547">
                  <c:v>29.714285714285715</c:v>
                </c:pt>
                <c:pt idx="548">
                  <c:v>29</c:v>
                </c:pt>
                <c:pt idx="549">
                  <c:v>28.857142857142858</c:v>
                </c:pt>
                <c:pt idx="550">
                  <c:v>29.571428571428573</c:v>
                </c:pt>
                <c:pt idx="551">
                  <c:v>29.857142857142858</c:v>
                </c:pt>
                <c:pt idx="552">
                  <c:v>30.285714285714285</c:v>
                </c:pt>
                <c:pt idx="553">
                  <c:v>31</c:v>
                </c:pt>
                <c:pt idx="554">
                  <c:v>31.285714285714285</c:v>
                </c:pt>
                <c:pt idx="555">
                  <c:v>32.428571428571431</c:v>
                </c:pt>
                <c:pt idx="556">
                  <c:v>34.285714285714285</c:v>
                </c:pt>
                <c:pt idx="557">
                  <c:v>36</c:v>
                </c:pt>
                <c:pt idx="558">
                  <c:v>36</c:v>
                </c:pt>
                <c:pt idx="559">
                  <c:v>35.285714285714285</c:v>
                </c:pt>
                <c:pt idx="560">
                  <c:v>34.857142857142854</c:v>
                </c:pt>
                <c:pt idx="561">
                  <c:v>34.571428571428569</c:v>
                </c:pt>
                <c:pt idx="562">
                  <c:v>34.142857142857146</c:v>
                </c:pt>
                <c:pt idx="563">
                  <c:v>32.857142857142854</c:v>
                </c:pt>
                <c:pt idx="564">
                  <c:v>31</c:v>
                </c:pt>
                <c:pt idx="565" formatCode="General">
                  <c:v>31.285714285714285</c:v>
                </c:pt>
                <c:pt idx="566" formatCode="General">
                  <c:v>32.428571428571431</c:v>
                </c:pt>
                <c:pt idx="567" formatCode="General">
                  <c:v>32.571428571428569</c:v>
                </c:pt>
                <c:pt idx="568" formatCode="General">
                  <c:v>32.571428571428569</c:v>
                </c:pt>
                <c:pt idx="569" formatCode="General">
                  <c:v>32.571428571428569</c:v>
                </c:pt>
                <c:pt idx="570" formatCode="General">
                  <c:v>32.285714285714285</c:v>
                </c:pt>
                <c:pt idx="571" formatCode="General">
                  <c:v>32.142857142857146</c:v>
                </c:pt>
                <c:pt idx="572" formatCode="General">
                  <c:v>32.142857142857146</c:v>
                </c:pt>
                <c:pt idx="573" formatCode="General">
                  <c:v>31.857142857142858</c:v>
                </c:pt>
                <c:pt idx="574" formatCode="General">
                  <c:v>32</c:v>
                </c:pt>
                <c:pt idx="575" formatCode="General">
                  <c:v>30.857142857142858</c:v>
                </c:pt>
                <c:pt idx="576" formatCode="General">
                  <c:v>31.142857142857142</c:v>
                </c:pt>
                <c:pt idx="577" formatCode="General">
                  <c:v>31</c:v>
                </c:pt>
                <c:pt idx="578" formatCode="General">
                  <c:v>31.428571428571427</c:v>
                </c:pt>
                <c:pt idx="579">
                  <c:v>32.142857142857146</c:v>
                </c:pt>
                <c:pt idx="580">
                  <c:v>32.714285714285715</c:v>
                </c:pt>
                <c:pt idx="581">
                  <c:v>33.714285714285715</c:v>
                </c:pt>
                <c:pt idx="582">
                  <c:v>36.285714285714285</c:v>
                </c:pt>
                <c:pt idx="583">
                  <c:v>37.428571428571431</c:v>
                </c:pt>
                <c:pt idx="584">
                  <c:v>39.142857142857146</c:v>
                </c:pt>
                <c:pt idx="585">
                  <c:v>40.285714285714285</c:v>
                </c:pt>
                <c:pt idx="586">
                  <c:v>40.714285714285715</c:v>
                </c:pt>
                <c:pt idx="587">
                  <c:v>41.428571428571431</c:v>
                </c:pt>
                <c:pt idx="588">
                  <c:v>42.285714285714285</c:v>
                </c:pt>
                <c:pt idx="589">
                  <c:v>42.714285714285715</c:v>
                </c:pt>
                <c:pt idx="590">
                  <c:v>44</c:v>
                </c:pt>
                <c:pt idx="591">
                  <c:v>45</c:v>
                </c:pt>
                <c:pt idx="592">
                  <c:v>46</c:v>
                </c:pt>
                <c:pt idx="593">
                  <c:v>45.714285714285715</c:v>
                </c:pt>
                <c:pt idx="594">
                  <c:v>44.571428571428569</c:v>
                </c:pt>
                <c:pt idx="595">
                  <c:v>42.857142857142854</c:v>
                </c:pt>
                <c:pt idx="596">
                  <c:v>41.857142857142854</c:v>
                </c:pt>
                <c:pt idx="597">
                  <c:v>40.714285714285715</c:v>
                </c:pt>
                <c:pt idx="598">
                  <c:v>39.285714285714285</c:v>
                </c:pt>
                <c:pt idx="599">
                  <c:v>38.571428571428569</c:v>
                </c:pt>
                <c:pt idx="600">
                  <c:v>39.428571428571431</c:v>
                </c:pt>
                <c:pt idx="601">
                  <c:v>41</c:v>
                </c:pt>
                <c:pt idx="602">
                  <c:v>41.857142857142854</c:v>
                </c:pt>
                <c:pt idx="603">
                  <c:v>42.714285714285715</c:v>
                </c:pt>
                <c:pt idx="604">
                  <c:v>43.142857142857146</c:v>
                </c:pt>
                <c:pt idx="605">
                  <c:v>44</c:v>
                </c:pt>
                <c:pt idx="606">
                  <c:v>44.142857142857146</c:v>
                </c:pt>
                <c:pt idx="607">
                  <c:v>44.142857142857146</c:v>
                </c:pt>
                <c:pt idx="608" formatCode="_ * #,##0.0_ ;_ * \-#,##0.0_ ;_ * &quot;-&quot;??_ ;_ @_ ">
                  <c:v>44.571428571428569</c:v>
                </c:pt>
                <c:pt idx="609" formatCode="_ * #,##0.0_ ;_ * \-#,##0.0_ ;_ * &quot;-&quot;??_ ;_ @_ ">
                  <c:v>46.714285714285715</c:v>
                </c:pt>
                <c:pt idx="610" formatCode="_ * #,##0.0_ ;_ * \-#,##0.0_ ;_ * &quot;-&quot;??_ ;_ @_ ">
                  <c:v>49.142857142857146</c:v>
                </c:pt>
                <c:pt idx="611" formatCode="_ * #,##0.0_ ;_ * \-#,##0.0_ ;_ * &quot;-&quot;??_ ;_ @_ ">
                  <c:v>53.428571428571431</c:v>
                </c:pt>
                <c:pt idx="612" formatCode="_ * #,##0.0_ ;_ * \-#,##0.0_ ;_ * &quot;-&quot;??_ ;_ @_ ">
                  <c:v>57.571428571428569</c:v>
                </c:pt>
                <c:pt idx="613" formatCode="_ * #,##0.0_ ;_ * \-#,##0.0_ ;_ * &quot;-&quot;??_ ;_ @_ ">
                  <c:v>59.142857142857146</c:v>
                </c:pt>
                <c:pt idx="614" formatCode="_ * #,##0.0_ ;_ * \-#,##0.0_ ;_ * &quot;-&quot;??_ ;_ @_ ">
                  <c:v>57.428571428571431</c:v>
                </c:pt>
                <c:pt idx="615" formatCode="_ * #,##0.0_ ;_ * \-#,##0.0_ ;_ * &quot;-&quot;??_ ;_ @_ ">
                  <c:v>56.142857142857146</c:v>
                </c:pt>
                <c:pt idx="616">
                  <c:v>54.428571428571431</c:v>
                </c:pt>
                <c:pt idx="617">
                  <c:v>52.285714285714285</c:v>
                </c:pt>
                <c:pt idx="618">
                  <c:v>48.571428571428569</c:v>
                </c:pt>
                <c:pt idx="619">
                  <c:v>44.428571428571431</c:v>
                </c:pt>
                <c:pt idx="620">
                  <c:v>42</c:v>
                </c:pt>
                <c:pt idx="621">
                  <c:v>43.428571428571431</c:v>
                </c:pt>
                <c:pt idx="622">
                  <c:v>44.142857142857146</c:v>
                </c:pt>
                <c:pt idx="623">
                  <c:v>44.857142857142854</c:v>
                </c:pt>
                <c:pt idx="624">
                  <c:v>44.857142857142854</c:v>
                </c:pt>
                <c:pt idx="625">
                  <c:v>44.714285714285715</c:v>
                </c:pt>
                <c:pt idx="626">
                  <c:v>44.857142857142854</c:v>
                </c:pt>
                <c:pt idx="627">
                  <c:v>45.285714285714285</c:v>
                </c:pt>
                <c:pt idx="628">
                  <c:v>45.142857142857146</c:v>
                </c:pt>
                <c:pt idx="629">
                  <c:v>45.142857142857146</c:v>
                </c:pt>
                <c:pt idx="630">
                  <c:v>45</c:v>
                </c:pt>
                <c:pt idx="631" formatCode="0.00">
                  <c:v>45.142857142857146</c:v>
                </c:pt>
                <c:pt idx="632" formatCode="0.00">
                  <c:v>44.857142857142854</c:v>
                </c:pt>
                <c:pt idx="633" formatCode="0.00">
                  <c:v>44.857142857142854</c:v>
                </c:pt>
                <c:pt idx="634" formatCode="0.00">
                  <c:v>45.285714285714285</c:v>
                </c:pt>
                <c:pt idx="635" formatCode="0.00">
                  <c:v>45.857142857142854</c:v>
                </c:pt>
                <c:pt idx="636" formatCode="0.00">
                  <c:v>45.857142857142854</c:v>
                </c:pt>
                <c:pt idx="637" formatCode="0.00">
                  <c:v>45.857142857142854</c:v>
                </c:pt>
                <c:pt idx="638" formatCode="0.00">
                  <c:v>45.714285714285715</c:v>
                </c:pt>
                <c:pt idx="639" formatCode="0.00">
                  <c:v>45.857142857142854</c:v>
                </c:pt>
                <c:pt idx="640" formatCode="0.00">
                  <c:v>45.285714285714285</c:v>
                </c:pt>
                <c:pt idx="641" formatCode="0.00">
                  <c:v>45</c:v>
                </c:pt>
                <c:pt idx="642" formatCode="0.00">
                  <c:v>45.428571428571431</c:v>
                </c:pt>
                <c:pt idx="643" formatCode="0.00">
                  <c:v>45.714285714285715</c:v>
                </c:pt>
                <c:pt idx="644" formatCode="0.00">
                  <c:v>46</c:v>
                </c:pt>
                <c:pt idx="645" formatCode="0.00">
                  <c:v>46.285714285714285</c:v>
                </c:pt>
                <c:pt idx="646" formatCode="0.00">
                  <c:v>46.714285714285715</c:v>
                </c:pt>
                <c:pt idx="647" formatCode="0.00">
                  <c:v>47.857142857142854</c:v>
                </c:pt>
                <c:pt idx="648" formatCode="0.00">
                  <c:v>48.285714285714285</c:v>
                </c:pt>
                <c:pt idx="649" formatCode="0.00">
                  <c:v>48.142857142857146</c:v>
                </c:pt>
                <c:pt idx="650" formatCode="0.00">
                  <c:v>48.571428571428569</c:v>
                </c:pt>
                <c:pt idx="651" formatCode="0.00">
                  <c:v>48.857142857142854</c:v>
                </c:pt>
                <c:pt idx="652" formatCode="0.00">
                  <c:v>48.857142857142854</c:v>
                </c:pt>
                <c:pt idx="653" formatCode="0.00">
                  <c:v>48.428571428571431</c:v>
                </c:pt>
                <c:pt idx="654" formatCode="0.00">
                  <c:v>48.142857142857146</c:v>
                </c:pt>
                <c:pt idx="655" formatCode="0.00">
                  <c:v>48</c:v>
                </c:pt>
                <c:pt idx="656" formatCode="0.00">
                  <c:v>47.571428571428569</c:v>
                </c:pt>
                <c:pt idx="657" formatCode="0.00">
                  <c:v>47</c:v>
                </c:pt>
                <c:pt idx="658" formatCode="0.00">
                  <c:v>46.571428571428569</c:v>
                </c:pt>
                <c:pt idx="659" formatCode="0.00">
                  <c:v>46.714285714285715</c:v>
                </c:pt>
                <c:pt idx="660" formatCode="0.00">
                  <c:v>46.857142857142854</c:v>
                </c:pt>
                <c:pt idx="661" formatCode="0.00">
                  <c:v>46.857142857142854</c:v>
                </c:pt>
                <c:pt idx="662" formatCode="0.00">
                  <c:v>47.428571428571431</c:v>
                </c:pt>
                <c:pt idx="663" formatCode="0.00">
                  <c:v>48.571428571428569</c:v>
                </c:pt>
                <c:pt idx="664" formatCode="0.00">
                  <c:v>48.428571428571431</c:v>
                </c:pt>
                <c:pt idx="665" formatCode="0.00">
                  <c:v>47.428571428571431</c:v>
                </c:pt>
                <c:pt idx="666" formatCode="0.00">
                  <c:v>47.142857142857146</c:v>
                </c:pt>
                <c:pt idx="667" formatCode="0.00">
                  <c:v>46.142857142857146</c:v>
                </c:pt>
                <c:pt idx="668" formatCode="0.00">
                  <c:v>45.285714285714285</c:v>
                </c:pt>
                <c:pt idx="669" formatCode="0.00">
                  <c:v>44.714285714285715</c:v>
                </c:pt>
                <c:pt idx="670" formatCode="0.00">
                  <c:v>45.571428571428569</c:v>
                </c:pt>
                <c:pt idx="671" formatCode="_ * #,##0.00_ ;_ * \-#,##0.00_ ;_ * &quot;-&quot;??_ ;_ @_ ">
                  <c:v>44.714285714285715</c:v>
                </c:pt>
                <c:pt idx="672" formatCode="_ * #,##0.00_ ;_ * \-#,##0.00_ ;_ * &quot;-&quot;??_ ;_ @_ ">
                  <c:v>45.285714285714285</c:v>
                </c:pt>
                <c:pt idx="673" formatCode="_ * #,##0.00_ ;_ * \-#,##0.00_ ;_ * &quot;-&quot;??_ ;_ @_ ">
                  <c:v>45.428571428571431</c:v>
                </c:pt>
                <c:pt idx="674" formatCode="_ * #,##0.00_ ;_ * \-#,##0.00_ ;_ * &quot;-&quot;??_ ;_ @_ ">
                  <c:v>46</c:v>
                </c:pt>
                <c:pt idx="675" formatCode="_ * #,##0.00_ ;_ * \-#,##0.00_ ;_ * &quot;-&quot;??_ ;_ @_ ">
                  <c:v>45.142857142857146</c:v>
                </c:pt>
                <c:pt idx="676" formatCode="_ * #,##0.00_ ;_ * \-#,##0.00_ ;_ * &quot;-&quot;??_ ;_ @_ ">
                  <c:v>44.428571428571431</c:v>
                </c:pt>
                <c:pt idx="677" formatCode="_ * #,##0.00_ ;_ * \-#,##0.00_ ;_ * &quot;-&quot;??_ ;_ @_ ">
                  <c:v>42.142857142857146</c:v>
                </c:pt>
                <c:pt idx="678" formatCode="_ * #,##0.00_ ;_ * \-#,##0.00_ ;_ * &quot;-&quot;??_ ;_ @_ ">
                  <c:v>40.857142857142854</c:v>
                </c:pt>
                <c:pt idx="679" formatCode="_ * #,##0.00_ ;_ * \-#,##0.00_ ;_ * &quot;-&quot;??_ ;_ @_ ">
                  <c:v>38.142857142857146</c:v>
                </c:pt>
                <c:pt idx="680" formatCode="_ * #,##0.00_ ;_ * \-#,##0.00_ ;_ * &quot;-&quot;??_ ;_ @_ ">
                  <c:v>38</c:v>
                </c:pt>
                <c:pt idx="681" formatCode="_ * #,##0.00_ ;_ * \-#,##0.00_ ;_ * &quot;-&quot;??_ ;_ @_ ">
                  <c:v>37.428571428571431</c:v>
                </c:pt>
                <c:pt idx="682" formatCode="_ * #,##0.00_ ;_ * \-#,##0.00_ ;_ * &quot;-&quot;??_ ;_ @_ ">
                  <c:v>38.428571428571431</c:v>
                </c:pt>
                <c:pt idx="683" formatCode="_ * #,##0.00_ ;_ * \-#,##0.00_ ;_ * &quot;-&quot;??_ ;_ @_ ">
                  <c:v>39.571428571428569</c:v>
                </c:pt>
                <c:pt idx="684" formatCode="_ * #,##0.00_ ;_ * \-#,##0.00_ ;_ * &quot;-&quot;??_ ;_ @_ ">
                  <c:v>37.571428571428569</c:v>
                </c:pt>
                <c:pt idx="685" formatCode="_ * #,##0.00_ ;_ * \-#,##0.00_ ;_ * &quot;-&quot;??_ ;_ @_ ">
                  <c:v>36.428571428571431</c:v>
                </c:pt>
                <c:pt idx="686" formatCode="_ * #,##0.00_ ;_ * \-#,##0.00_ ;_ * &quot;-&quot;??_ ;_ @_ ">
                  <c:v>35.285714285714285</c:v>
                </c:pt>
                <c:pt idx="687" formatCode="_ * #,##0.00_ ;_ * \-#,##0.00_ ;_ * &quot;-&quot;??_ ;_ @_ ">
                  <c:v>33.857142857142854</c:v>
                </c:pt>
                <c:pt idx="688" formatCode="_ * #,##0.00_ ;_ * \-#,##0.00_ ;_ * &quot;-&quot;??_ ;_ @_ ">
                  <c:v>33</c:v>
                </c:pt>
                <c:pt idx="689" formatCode="_ * #,##0.00_ ;_ * \-#,##0.00_ ;_ * &quot;-&quot;??_ ;_ @_ ">
                  <c:v>32.285714285714285</c:v>
                </c:pt>
                <c:pt idx="690" formatCode="_ * #,##0.00_ ;_ * \-#,##0.00_ ;_ * &quot;-&quot;??_ ;_ @_ ">
                  <c:v>30.857142857142858</c:v>
                </c:pt>
                <c:pt idx="691" formatCode="_ * #,##0.00_ ;_ * \-#,##0.00_ ;_ * &quot;-&quot;??_ ;_ @_ ">
                  <c:v>32.142857142857146</c:v>
                </c:pt>
                <c:pt idx="692" formatCode="_ * #,##0.00_ ;_ * \-#,##0.00_ ;_ * &quot;-&quot;??_ ;_ @_ ">
                  <c:v>33.428571428571431</c:v>
                </c:pt>
                <c:pt idx="693" formatCode="_ * #,##0.00_ ;_ * \-#,##0.00_ ;_ * &quot;-&quot;??_ ;_ @_ ">
                  <c:v>33.714285714285715</c:v>
                </c:pt>
                <c:pt idx="694" formatCode="_ * #,##0.00_ ;_ * \-#,##0.00_ ;_ * &quot;-&quot;??_ ;_ @_ ">
                  <c:v>34.285714285714285</c:v>
                </c:pt>
                <c:pt idx="695" formatCode="_ * #,##0.00_ ;_ * \-#,##0.00_ ;_ * &quot;-&quot;??_ ;_ @_ ">
                  <c:v>35.142857142857146</c:v>
                </c:pt>
                <c:pt idx="696" formatCode="_ * #,##0.00_ ;_ * \-#,##0.00_ ;_ * &quot;-&quot;??_ ;_ @_ ">
                  <c:v>35.142857142857146</c:v>
                </c:pt>
                <c:pt idx="697" formatCode="_ * #,##0.00_ ;_ * \-#,##0.00_ ;_ * &quot;-&quot;??_ ;_ @_ ">
                  <c:v>35.142857142857146</c:v>
                </c:pt>
                <c:pt idx="698" formatCode="_ * #,##0.00_ ;_ * \-#,##0.00_ ;_ * &quot;-&quot;??_ ;_ @_ ">
                  <c:v>35.142857142857146</c:v>
                </c:pt>
                <c:pt idx="699" formatCode="_ * #,##0.00_ ;_ * \-#,##0.00_ ;_ * &quot;-&quot;??_ ;_ @_ ">
                  <c:v>36.428571428571431</c:v>
                </c:pt>
                <c:pt idx="700" formatCode="_ * #,##0.00_ ;_ * \-#,##0.00_ ;_ * &quot;-&quot;??_ ;_ @_ ">
                  <c:v>39.285714285714285</c:v>
                </c:pt>
                <c:pt idx="701" formatCode="_ * #,##0.00_ ;_ * \-#,##0.00_ ;_ * &quot;-&quot;??_ ;_ @_ ">
                  <c:v>39.714285714285715</c:v>
                </c:pt>
                <c:pt idx="702" formatCode="_ * #,##0.00_ ;_ * \-#,##0.00_ ;_ * &quot;-&quot;??_ ;_ @_ ">
                  <c:v>40.285714285714285</c:v>
                </c:pt>
                <c:pt idx="703" formatCode="_ * #,##0.00_ ;_ * \-#,##0.00_ ;_ * &quot;-&quot;??_ ;_ @_ ">
                  <c:v>41.714285714285715</c:v>
                </c:pt>
                <c:pt idx="704" formatCode="_ * #,##0.00_ ;_ * \-#,##0.00_ ;_ * &quot;-&quot;??_ ;_ @_ ">
                  <c:v>42.428571428571431</c:v>
                </c:pt>
                <c:pt idx="705" formatCode="_ * #,##0.00_ ;_ * \-#,##0.00_ ;_ * &quot;-&quot;??_ ;_ @_ ">
                  <c:v>43.428571428571431</c:v>
                </c:pt>
                <c:pt idx="706" formatCode="_ * #,##0.00_ ;_ * \-#,##0.00_ ;_ * &quot;-&quot;??_ ;_ @_ ">
                  <c:v>44.428571428571431</c:v>
                </c:pt>
                <c:pt idx="707" formatCode="_ * #,##0.00_ ;_ * \-#,##0.00_ ;_ * &quot;-&quot;??_ ;_ @_ ">
                  <c:v>45.571428571428569</c:v>
                </c:pt>
                <c:pt idx="708" formatCode="_ * #,##0.00_ ;_ * \-#,##0.00_ ;_ * &quot;-&quot;??_ ;_ @_ ">
                  <c:v>46.428571428571431</c:v>
                </c:pt>
                <c:pt idx="709" formatCode="_ * #,##0.00_ ;_ * \-#,##0.00_ ;_ * &quot;-&quot;??_ ;_ @_ ">
                  <c:v>47</c:v>
                </c:pt>
                <c:pt idx="710" formatCode="_ * #,##0.00_ ;_ * \-#,##0.00_ ;_ * &quot;-&quot;??_ ;_ @_ ">
                  <c:v>47.142857142857146</c:v>
                </c:pt>
                <c:pt idx="711" formatCode="_ * #,##0.00_ ;_ * \-#,##0.00_ ;_ * &quot;-&quot;??_ ;_ @_ ">
                  <c:v>47.857142857142854</c:v>
                </c:pt>
                <c:pt idx="712" formatCode="_ * #,##0.00_ ;_ * \-#,##0.00_ ;_ * &quot;-&quot;??_ ;_ @_ ">
                  <c:v>48.285714285714285</c:v>
                </c:pt>
                <c:pt idx="713" formatCode="_ * #,##0.00_ ;_ * \-#,##0.00_ ;_ * &quot;-&quot;??_ ;_ @_ ">
                  <c:v>48.714285714285715</c:v>
                </c:pt>
                <c:pt idx="714" formatCode="_ * #,##0.00_ ;_ * \-#,##0.00_ ;_ * &quot;-&quot;??_ ;_ @_ ">
                  <c:v>49.428571428571431</c:v>
                </c:pt>
                <c:pt idx="715" formatCode="_ * #,##0.00_ ;_ * \-#,##0.00_ ;_ * &quot;-&quot;??_ ;_ @_ ">
                  <c:v>49.857142857142854</c:v>
                </c:pt>
                <c:pt idx="716" formatCode="_ * #,##0.00_ ;_ * \-#,##0.00_ ;_ * &quot;-&quot;??_ ;_ @_ ">
                  <c:v>50.142857142857146</c:v>
                </c:pt>
                <c:pt idx="717" formatCode="_ * #,##0.00_ ;_ * \-#,##0.00_ ;_ * &quot;-&quot;??_ ;_ @_ ">
                  <c:v>50.142857142857146</c:v>
                </c:pt>
                <c:pt idx="718" formatCode="_ * #,##0.00_ ;_ * \-#,##0.00_ ;_ * &quot;-&quot;??_ ;_ @_ ">
                  <c:v>50.285714285714285</c:v>
                </c:pt>
                <c:pt idx="719" formatCode="_ * #,##0.00_ ;_ * \-#,##0.00_ ;_ * &quot;-&quot;??_ ;_ @_ ">
                  <c:v>50.428571428571431</c:v>
                </c:pt>
                <c:pt idx="720" formatCode="_ * #,##0.00_ ;_ * \-#,##0.00_ ;_ * &quot;-&quot;??_ ;_ @_ ">
                  <c:v>50.142857142857146</c:v>
                </c:pt>
                <c:pt idx="721" formatCode="_ * #,##0.00_ ;_ * \-#,##0.00_ ;_ * &quot;-&quot;??_ ;_ @_ ">
                  <c:v>49.428571428571431</c:v>
                </c:pt>
                <c:pt idx="722" formatCode="0.00">
                  <c:v>48.857142857142854</c:v>
                </c:pt>
                <c:pt idx="723" formatCode="0.00">
                  <c:v>48.428571428571431</c:v>
                </c:pt>
                <c:pt idx="724" formatCode="0.00">
                  <c:v>47.857142857142854</c:v>
                </c:pt>
                <c:pt idx="725" formatCode="0.00">
                  <c:v>47.285714285714285</c:v>
                </c:pt>
                <c:pt idx="726" formatCode="0.00">
                  <c:v>46.714285714285715</c:v>
                </c:pt>
                <c:pt idx="727" formatCode="0.00">
                  <c:v>46.571428571428569</c:v>
                </c:pt>
                <c:pt idx="728" formatCode="0.00">
                  <c:v>46.714285714285715</c:v>
                </c:pt>
                <c:pt idx="729" formatCode="0.00">
                  <c:v>47.857142857142854</c:v>
                </c:pt>
                <c:pt idx="730" formatCode="0.00">
                  <c:v>48.142857142857146</c:v>
                </c:pt>
                <c:pt idx="731" formatCode="0.00">
                  <c:v>48.428571428571431</c:v>
                </c:pt>
                <c:pt idx="732" formatCode="0.00">
                  <c:v>49.142857142857146</c:v>
                </c:pt>
                <c:pt idx="733" formatCode="0.00">
                  <c:v>49.857142857142854</c:v>
                </c:pt>
                <c:pt idx="734" formatCode="0.00">
                  <c:v>50.571428571428569</c:v>
                </c:pt>
                <c:pt idx="735" formatCode="0.00">
                  <c:v>51.285714285714285</c:v>
                </c:pt>
                <c:pt idx="736" formatCode="0.00">
                  <c:v>50.571428571428569</c:v>
                </c:pt>
                <c:pt idx="737">
                  <c:v>50.857142857142854</c:v>
                </c:pt>
                <c:pt idx="738">
                  <c:v>51.285714285714285</c:v>
                </c:pt>
                <c:pt idx="739">
                  <c:v>51</c:v>
                </c:pt>
                <c:pt idx="740">
                  <c:v>50.714285714285715</c:v>
                </c:pt>
                <c:pt idx="741">
                  <c:v>50.571428571428569</c:v>
                </c:pt>
                <c:pt idx="742">
                  <c:v>50.571428571428569</c:v>
                </c:pt>
                <c:pt idx="743">
                  <c:v>50.571428571428569</c:v>
                </c:pt>
                <c:pt idx="744">
                  <c:v>50.571428571428569</c:v>
                </c:pt>
                <c:pt idx="745">
                  <c:v>51.285714285714285</c:v>
                </c:pt>
                <c:pt idx="746">
                  <c:v>52.857142857142854</c:v>
                </c:pt>
                <c:pt idx="747">
                  <c:v>48</c:v>
                </c:pt>
                <c:pt idx="748">
                  <c:v>45.857142857142854</c:v>
                </c:pt>
                <c:pt idx="749">
                  <c:v>44.714285714285715</c:v>
                </c:pt>
                <c:pt idx="750">
                  <c:v>44.285714285714285</c:v>
                </c:pt>
                <c:pt idx="751">
                  <c:v>43.428571428571431</c:v>
                </c:pt>
                <c:pt idx="752">
                  <c:v>42.285714285714285</c:v>
                </c:pt>
                <c:pt idx="753">
                  <c:v>40.428571428571431</c:v>
                </c:pt>
                <c:pt idx="754">
                  <c:v>45</c:v>
                </c:pt>
                <c:pt idx="755">
                  <c:v>46.714285714285715</c:v>
                </c:pt>
              </c:numCache>
            </c:numRef>
          </c:val>
          <c:smooth val="1"/>
          <c:extLst>
            <c:ext xmlns:c16="http://schemas.microsoft.com/office/drawing/2014/chart" uri="{C3380CC4-5D6E-409C-BE32-E72D297353CC}">
              <c16:uniqueId val="{00000001-C4A1-4218-9D28-006DC06AB873}"/>
            </c:ext>
          </c:extLst>
        </c:ser>
        <c:ser>
          <c:idx val="2"/>
          <c:order val="2"/>
          <c:tx>
            <c:strRef>
              <c:f>charts!$F$1</c:f>
              <c:strCache>
                <c:ptCount val="1"/>
                <c:pt idx="0">
                  <c:v>parks</c:v>
                </c:pt>
              </c:strCache>
            </c:strRef>
          </c:tx>
          <c:spPr>
            <a:ln w="28575" cap="rnd">
              <a:solidFill>
                <a:schemeClr val="tx1"/>
              </a:solidFill>
              <a:round/>
            </a:ln>
            <a:effectLst/>
          </c:spPr>
          <c:marker>
            <c:symbol val="none"/>
          </c:marker>
          <c:cat>
            <c:multiLvlStrRef>
              <c:f>charts!$A$2:$C$757</c:f>
              <c:multiLvlStrCache>
                <c:ptCount val="756"/>
                <c:lvl>
                  <c:pt idx="0">
                    <c:v>1-Mar</c:v>
                  </c:pt>
                  <c:pt idx="1">
                    <c:v>2-Mar</c:v>
                  </c:pt>
                  <c:pt idx="2">
                    <c:v>3-Mar</c:v>
                  </c:pt>
                  <c:pt idx="3">
                    <c:v>4-Mar</c:v>
                  </c:pt>
                  <c:pt idx="4">
                    <c:v>5-Mar</c:v>
                  </c:pt>
                  <c:pt idx="5">
                    <c:v>6-Mar</c:v>
                  </c:pt>
                  <c:pt idx="6">
                    <c:v>7-Mar</c:v>
                  </c:pt>
                  <c:pt idx="7">
                    <c:v>8-Mar</c:v>
                  </c:pt>
                  <c:pt idx="8">
                    <c:v>9-Mar</c:v>
                  </c:pt>
                  <c:pt idx="9">
                    <c:v>10-Mar</c:v>
                  </c:pt>
                  <c:pt idx="10">
                    <c:v>11-Mar</c:v>
                  </c:pt>
                  <c:pt idx="11">
                    <c:v>12-Mar</c:v>
                  </c:pt>
                  <c:pt idx="12">
                    <c:v>13-Mar</c:v>
                  </c:pt>
                  <c:pt idx="13">
                    <c:v>14-Mar</c:v>
                  </c:pt>
                  <c:pt idx="14">
                    <c:v>15-Mar</c:v>
                  </c:pt>
                  <c:pt idx="15">
                    <c:v>16-Mar</c:v>
                  </c:pt>
                  <c:pt idx="16">
                    <c:v>17-Mar</c:v>
                  </c:pt>
                  <c:pt idx="17">
                    <c:v>18-Mar</c:v>
                  </c:pt>
                  <c:pt idx="18">
                    <c:v>19-Mar</c:v>
                  </c:pt>
                  <c:pt idx="19">
                    <c:v>20-Mar</c:v>
                  </c:pt>
                  <c:pt idx="20">
                    <c:v>21-Mar</c:v>
                  </c:pt>
                  <c:pt idx="21">
                    <c:v>22-Mar</c:v>
                  </c:pt>
                  <c:pt idx="22">
                    <c:v>23-Mar</c:v>
                  </c:pt>
                  <c:pt idx="23">
                    <c:v>24-Mar</c:v>
                  </c:pt>
                  <c:pt idx="24">
                    <c:v>25-Mar</c:v>
                  </c:pt>
                  <c:pt idx="25">
                    <c:v>26-Mar</c:v>
                  </c:pt>
                  <c:pt idx="26">
                    <c:v>27-Mar</c:v>
                  </c:pt>
                  <c:pt idx="27">
                    <c:v>28-Mar</c:v>
                  </c:pt>
                  <c:pt idx="28">
                    <c:v>29-Mar</c:v>
                  </c:pt>
                  <c:pt idx="29">
                    <c:v>30-Mar</c:v>
                  </c:pt>
                  <c:pt idx="30">
                    <c:v>31-Mar</c:v>
                  </c:pt>
                  <c:pt idx="31">
                    <c:v>1-Apr</c:v>
                  </c:pt>
                  <c:pt idx="32">
                    <c:v>2-Apr</c:v>
                  </c:pt>
                  <c:pt idx="33">
                    <c:v>3-Apr</c:v>
                  </c:pt>
                  <c:pt idx="34">
                    <c:v>4-Apr</c:v>
                  </c:pt>
                  <c:pt idx="35">
                    <c:v>5-Apr</c:v>
                  </c:pt>
                  <c:pt idx="36">
                    <c:v>6-Apr</c:v>
                  </c:pt>
                  <c:pt idx="37">
                    <c:v>7-Apr</c:v>
                  </c:pt>
                  <c:pt idx="38">
                    <c:v>8-Apr</c:v>
                  </c:pt>
                  <c:pt idx="39">
                    <c:v>9-Apr</c:v>
                  </c:pt>
                  <c:pt idx="40">
                    <c:v>10-Apr</c:v>
                  </c:pt>
                  <c:pt idx="41">
                    <c:v>11-Apr</c:v>
                  </c:pt>
                  <c:pt idx="42">
                    <c:v>12-Apr</c:v>
                  </c:pt>
                  <c:pt idx="43">
                    <c:v>13-Apr</c:v>
                  </c:pt>
                  <c:pt idx="44">
                    <c:v>14-Apr</c:v>
                  </c:pt>
                  <c:pt idx="45">
                    <c:v>15-Apr</c:v>
                  </c:pt>
                  <c:pt idx="46">
                    <c:v>16-Apr</c:v>
                  </c:pt>
                  <c:pt idx="47">
                    <c:v>17-Apr</c:v>
                  </c:pt>
                  <c:pt idx="48">
                    <c:v>18-Apr</c:v>
                  </c:pt>
                  <c:pt idx="49">
                    <c:v>19-Apr</c:v>
                  </c:pt>
                  <c:pt idx="50">
                    <c:v>20-Apr</c:v>
                  </c:pt>
                  <c:pt idx="51">
                    <c:v>21-Apr</c:v>
                  </c:pt>
                  <c:pt idx="52">
                    <c:v>22-Apr</c:v>
                  </c:pt>
                  <c:pt idx="53">
                    <c:v>23-Apr</c:v>
                  </c:pt>
                  <c:pt idx="54">
                    <c:v>24-Apr</c:v>
                  </c:pt>
                  <c:pt idx="55">
                    <c:v>25-Apr</c:v>
                  </c:pt>
                  <c:pt idx="56">
                    <c:v>26-Apr</c:v>
                  </c:pt>
                  <c:pt idx="57">
                    <c:v>27-Apr</c:v>
                  </c:pt>
                  <c:pt idx="58">
                    <c:v>28-Apr</c:v>
                  </c:pt>
                  <c:pt idx="59">
                    <c:v>29-Apr</c:v>
                  </c:pt>
                  <c:pt idx="60">
                    <c:v>30-Apr</c:v>
                  </c:pt>
                  <c:pt idx="61">
                    <c:v>1-May</c:v>
                  </c:pt>
                  <c:pt idx="62">
                    <c:v>2-May</c:v>
                  </c:pt>
                  <c:pt idx="63">
                    <c:v>3-May</c:v>
                  </c:pt>
                  <c:pt idx="64">
                    <c:v>4-May</c:v>
                  </c:pt>
                  <c:pt idx="65">
                    <c:v>5-May</c:v>
                  </c:pt>
                  <c:pt idx="66">
                    <c:v>6-May</c:v>
                  </c:pt>
                  <c:pt idx="67">
                    <c:v>7-May</c:v>
                  </c:pt>
                  <c:pt idx="68">
                    <c:v>8-May</c:v>
                  </c:pt>
                  <c:pt idx="69">
                    <c:v>9-May</c:v>
                  </c:pt>
                  <c:pt idx="70">
                    <c:v>10-May</c:v>
                  </c:pt>
                  <c:pt idx="71">
                    <c:v>11-May</c:v>
                  </c:pt>
                  <c:pt idx="72">
                    <c:v>12-May</c:v>
                  </c:pt>
                  <c:pt idx="73">
                    <c:v>13-May</c:v>
                  </c:pt>
                  <c:pt idx="74">
                    <c:v>14-May</c:v>
                  </c:pt>
                  <c:pt idx="75">
                    <c:v>15-May</c:v>
                  </c:pt>
                  <c:pt idx="76">
                    <c:v>16-May</c:v>
                  </c:pt>
                  <c:pt idx="77">
                    <c:v>17-May</c:v>
                  </c:pt>
                  <c:pt idx="78">
                    <c:v>18-May</c:v>
                  </c:pt>
                  <c:pt idx="79">
                    <c:v>19-May</c:v>
                  </c:pt>
                  <c:pt idx="80">
                    <c:v>20-May</c:v>
                  </c:pt>
                  <c:pt idx="81">
                    <c:v>21-May</c:v>
                  </c:pt>
                  <c:pt idx="82">
                    <c:v>22-May</c:v>
                  </c:pt>
                  <c:pt idx="83">
                    <c:v>23-May</c:v>
                  </c:pt>
                  <c:pt idx="84">
                    <c:v>24-May</c:v>
                  </c:pt>
                  <c:pt idx="85">
                    <c:v>25-May</c:v>
                  </c:pt>
                  <c:pt idx="86">
                    <c:v>26-May</c:v>
                  </c:pt>
                  <c:pt idx="87">
                    <c:v>27-May</c:v>
                  </c:pt>
                  <c:pt idx="88">
                    <c:v>28-May</c:v>
                  </c:pt>
                  <c:pt idx="89">
                    <c:v>29-May</c:v>
                  </c:pt>
                  <c:pt idx="90">
                    <c:v>30-May</c:v>
                  </c:pt>
                  <c:pt idx="91">
                    <c:v>31-May</c:v>
                  </c:pt>
                  <c:pt idx="92">
                    <c:v>1-Jun</c:v>
                  </c:pt>
                  <c:pt idx="93">
                    <c:v>2-Jun</c:v>
                  </c:pt>
                  <c:pt idx="94">
                    <c:v>3-Jun</c:v>
                  </c:pt>
                  <c:pt idx="95">
                    <c:v>4-Jun</c:v>
                  </c:pt>
                  <c:pt idx="96">
                    <c:v>5-Jun</c:v>
                  </c:pt>
                  <c:pt idx="97">
                    <c:v>6-Jun</c:v>
                  </c:pt>
                  <c:pt idx="98">
                    <c:v>7-Jun</c:v>
                  </c:pt>
                  <c:pt idx="99">
                    <c:v>8-Jun</c:v>
                  </c:pt>
                  <c:pt idx="100">
                    <c:v>9-Jun</c:v>
                  </c:pt>
                  <c:pt idx="101">
                    <c:v>10-Jun</c:v>
                  </c:pt>
                  <c:pt idx="102">
                    <c:v>11-Jun</c:v>
                  </c:pt>
                  <c:pt idx="103">
                    <c:v>12-Jun</c:v>
                  </c:pt>
                  <c:pt idx="104">
                    <c:v>13-Jun</c:v>
                  </c:pt>
                  <c:pt idx="105">
                    <c:v>14-Jun</c:v>
                  </c:pt>
                  <c:pt idx="106">
                    <c:v>15-Jun</c:v>
                  </c:pt>
                  <c:pt idx="107">
                    <c:v>16-Jun</c:v>
                  </c:pt>
                  <c:pt idx="108">
                    <c:v>17-Jun</c:v>
                  </c:pt>
                  <c:pt idx="109">
                    <c:v>18-Jun</c:v>
                  </c:pt>
                  <c:pt idx="110">
                    <c:v>19-Jun</c:v>
                  </c:pt>
                  <c:pt idx="111">
                    <c:v>20-Jun</c:v>
                  </c:pt>
                  <c:pt idx="112">
                    <c:v>21-Jun</c:v>
                  </c:pt>
                  <c:pt idx="113">
                    <c:v>22-Jun</c:v>
                  </c:pt>
                  <c:pt idx="114">
                    <c:v>23-Jun</c:v>
                  </c:pt>
                  <c:pt idx="115">
                    <c:v>24-Jun</c:v>
                  </c:pt>
                  <c:pt idx="116">
                    <c:v>25-Jun</c:v>
                  </c:pt>
                  <c:pt idx="117">
                    <c:v>26-Jun</c:v>
                  </c:pt>
                  <c:pt idx="118">
                    <c:v>27-Jun</c:v>
                  </c:pt>
                  <c:pt idx="119">
                    <c:v>28-Jun</c:v>
                  </c:pt>
                  <c:pt idx="120">
                    <c:v>29-Jun</c:v>
                  </c:pt>
                  <c:pt idx="121">
                    <c:v>30-Jun</c:v>
                  </c:pt>
                  <c:pt idx="122">
                    <c:v>1-Jul</c:v>
                  </c:pt>
                  <c:pt idx="123">
                    <c:v>2-Jul</c:v>
                  </c:pt>
                  <c:pt idx="124">
                    <c:v>3-Jul</c:v>
                  </c:pt>
                  <c:pt idx="125">
                    <c:v>4-Jul</c:v>
                  </c:pt>
                  <c:pt idx="126">
                    <c:v>5-Jul</c:v>
                  </c:pt>
                  <c:pt idx="127">
                    <c:v>6-Jul</c:v>
                  </c:pt>
                  <c:pt idx="128">
                    <c:v>7-Jul</c:v>
                  </c:pt>
                  <c:pt idx="129">
                    <c:v>8-Jul</c:v>
                  </c:pt>
                  <c:pt idx="130">
                    <c:v>9-Jul</c:v>
                  </c:pt>
                  <c:pt idx="131">
                    <c:v>10-Jul</c:v>
                  </c:pt>
                  <c:pt idx="132">
                    <c:v>11-Jul</c:v>
                  </c:pt>
                  <c:pt idx="133">
                    <c:v>12-Jul</c:v>
                  </c:pt>
                  <c:pt idx="134">
                    <c:v>13-Jul</c:v>
                  </c:pt>
                  <c:pt idx="135">
                    <c:v>14-Jul</c:v>
                  </c:pt>
                  <c:pt idx="136">
                    <c:v>15-Jul</c:v>
                  </c:pt>
                  <c:pt idx="137">
                    <c:v>16-Jul</c:v>
                  </c:pt>
                  <c:pt idx="138">
                    <c:v>17-Jul</c:v>
                  </c:pt>
                  <c:pt idx="139">
                    <c:v>18-Jul</c:v>
                  </c:pt>
                  <c:pt idx="140">
                    <c:v>19-Jul</c:v>
                  </c:pt>
                  <c:pt idx="141">
                    <c:v>20-Jul</c:v>
                  </c:pt>
                  <c:pt idx="142">
                    <c:v>21-Jul</c:v>
                  </c:pt>
                  <c:pt idx="143">
                    <c:v>22-Jul</c:v>
                  </c:pt>
                  <c:pt idx="144">
                    <c:v>23-Jul</c:v>
                  </c:pt>
                  <c:pt idx="145">
                    <c:v>24-Jul</c:v>
                  </c:pt>
                  <c:pt idx="146">
                    <c:v>25-Jul</c:v>
                  </c:pt>
                  <c:pt idx="147">
                    <c:v>26-Jul</c:v>
                  </c:pt>
                  <c:pt idx="148">
                    <c:v>27-Jul</c:v>
                  </c:pt>
                  <c:pt idx="149">
                    <c:v>28-Jul</c:v>
                  </c:pt>
                  <c:pt idx="150">
                    <c:v>29-Jul</c:v>
                  </c:pt>
                  <c:pt idx="151">
                    <c:v>30-Jul</c:v>
                  </c:pt>
                  <c:pt idx="152">
                    <c:v>31-Jul</c:v>
                  </c:pt>
                  <c:pt idx="153">
                    <c:v>1-Aug</c:v>
                  </c:pt>
                  <c:pt idx="154">
                    <c:v>2-Aug</c:v>
                  </c:pt>
                  <c:pt idx="155">
                    <c:v>3-Aug</c:v>
                  </c:pt>
                  <c:pt idx="156">
                    <c:v>4-Aug</c:v>
                  </c:pt>
                  <c:pt idx="157">
                    <c:v>5-Aug</c:v>
                  </c:pt>
                  <c:pt idx="158">
                    <c:v>6-Aug</c:v>
                  </c:pt>
                  <c:pt idx="159">
                    <c:v>7-Aug</c:v>
                  </c:pt>
                  <c:pt idx="160">
                    <c:v>8-Aug</c:v>
                  </c:pt>
                  <c:pt idx="161">
                    <c:v>9-Aug</c:v>
                  </c:pt>
                  <c:pt idx="162">
                    <c:v>10-Aug</c:v>
                  </c:pt>
                  <c:pt idx="163">
                    <c:v>11-Aug</c:v>
                  </c:pt>
                  <c:pt idx="164">
                    <c:v>12-Aug</c:v>
                  </c:pt>
                  <c:pt idx="165">
                    <c:v>13-Aug</c:v>
                  </c:pt>
                  <c:pt idx="166">
                    <c:v>14-Aug</c:v>
                  </c:pt>
                  <c:pt idx="167">
                    <c:v>15-Aug</c:v>
                  </c:pt>
                  <c:pt idx="168">
                    <c:v>16-Aug</c:v>
                  </c:pt>
                  <c:pt idx="169">
                    <c:v>17-Aug</c:v>
                  </c:pt>
                  <c:pt idx="170">
                    <c:v>18-Aug</c:v>
                  </c:pt>
                  <c:pt idx="171">
                    <c:v>19-Aug</c:v>
                  </c:pt>
                  <c:pt idx="172">
                    <c:v>20-Aug</c:v>
                  </c:pt>
                  <c:pt idx="173">
                    <c:v>21-Aug</c:v>
                  </c:pt>
                  <c:pt idx="174">
                    <c:v>22-Aug</c:v>
                  </c:pt>
                  <c:pt idx="175">
                    <c:v>23-Aug</c:v>
                  </c:pt>
                  <c:pt idx="176">
                    <c:v>24-Aug</c:v>
                  </c:pt>
                  <c:pt idx="177">
                    <c:v>25-Aug</c:v>
                  </c:pt>
                  <c:pt idx="178">
                    <c:v>26-Aug</c:v>
                  </c:pt>
                  <c:pt idx="179">
                    <c:v>27-Aug</c:v>
                  </c:pt>
                  <c:pt idx="180">
                    <c:v>28-Aug</c:v>
                  </c:pt>
                  <c:pt idx="181">
                    <c:v>29-Aug</c:v>
                  </c:pt>
                  <c:pt idx="182">
                    <c:v>30-Aug</c:v>
                  </c:pt>
                  <c:pt idx="183">
                    <c:v>31-Aug</c:v>
                  </c:pt>
                  <c:pt idx="184">
                    <c:v>1-Sep</c:v>
                  </c:pt>
                  <c:pt idx="185">
                    <c:v>2-Sep</c:v>
                  </c:pt>
                  <c:pt idx="186">
                    <c:v>3-Sep</c:v>
                  </c:pt>
                  <c:pt idx="187">
                    <c:v>4-Sep</c:v>
                  </c:pt>
                  <c:pt idx="188">
                    <c:v>5-Sep</c:v>
                  </c:pt>
                  <c:pt idx="189">
                    <c:v>6-Sep</c:v>
                  </c:pt>
                  <c:pt idx="190">
                    <c:v>7-Sep</c:v>
                  </c:pt>
                  <c:pt idx="191">
                    <c:v>8-Sep</c:v>
                  </c:pt>
                  <c:pt idx="192">
                    <c:v>9-Sep</c:v>
                  </c:pt>
                  <c:pt idx="193">
                    <c:v>10-Sep</c:v>
                  </c:pt>
                  <c:pt idx="194">
                    <c:v>11-Sep</c:v>
                  </c:pt>
                  <c:pt idx="195">
                    <c:v>12-Sep</c:v>
                  </c:pt>
                  <c:pt idx="196">
                    <c:v>13-Sep</c:v>
                  </c:pt>
                  <c:pt idx="197">
                    <c:v>14-Sep</c:v>
                  </c:pt>
                  <c:pt idx="198">
                    <c:v>15-Sep</c:v>
                  </c:pt>
                  <c:pt idx="199">
                    <c:v>16-Sep</c:v>
                  </c:pt>
                  <c:pt idx="200">
                    <c:v>17-Sep</c:v>
                  </c:pt>
                  <c:pt idx="201">
                    <c:v>18-Sep</c:v>
                  </c:pt>
                  <c:pt idx="202">
                    <c:v>19-Sep</c:v>
                  </c:pt>
                  <c:pt idx="203">
                    <c:v>20-Sep</c:v>
                  </c:pt>
                  <c:pt idx="204">
                    <c:v>21-Sep</c:v>
                  </c:pt>
                  <c:pt idx="205">
                    <c:v>22-Sep</c:v>
                  </c:pt>
                  <c:pt idx="206">
                    <c:v>23-Sep</c:v>
                  </c:pt>
                  <c:pt idx="207">
                    <c:v>24-Sep</c:v>
                  </c:pt>
                  <c:pt idx="208">
                    <c:v>25-Sep</c:v>
                  </c:pt>
                  <c:pt idx="209">
                    <c:v>26-Sep</c:v>
                  </c:pt>
                  <c:pt idx="210">
                    <c:v>27-Sep</c:v>
                  </c:pt>
                  <c:pt idx="211">
                    <c:v>28-Sep</c:v>
                  </c:pt>
                  <c:pt idx="212">
                    <c:v>29-Sep</c:v>
                  </c:pt>
                  <c:pt idx="213">
                    <c:v>30-Sep</c:v>
                  </c:pt>
                  <c:pt idx="214">
                    <c:v>1-Oct</c:v>
                  </c:pt>
                  <c:pt idx="215">
                    <c:v>2-Oct</c:v>
                  </c:pt>
                  <c:pt idx="216">
                    <c:v>3-Oct</c:v>
                  </c:pt>
                  <c:pt idx="217">
                    <c:v>4-Oct</c:v>
                  </c:pt>
                  <c:pt idx="218">
                    <c:v>5-Oct</c:v>
                  </c:pt>
                  <c:pt idx="219">
                    <c:v>6-Oct</c:v>
                  </c:pt>
                  <c:pt idx="220">
                    <c:v>7-Oct</c:v>
                  </c:pt>
                  <c:pt idx="221">
                    <c:v>8-Oct</c:v>
                  </c:pt>
                  <c:pt idx="222">
                    <c:v>9-Oct</c:v>
                  </c:pt>
                  <c:pt idx="223">
                    <c:v>10-Oct</c:v>
                  </c:pt>
                  <c:pt idx="224">
                    <c:v>11-Oct</c:v>
                  </c:pt>
                  <c:pt idx="225">
                    <c:v>12-Oct</c:v>
                  </c:pt>
                  <c:pt idx="226">
                    <c:v>13-Oct</c:v>
                  </c:pt>
                  <c:pt idx="227">
                    <c:v>14-Oct</c:v>
                  </c:pt>
                  <c:pt idx="228">
                    <c:v>15-Oct</c:v>
                  </c:pt>
                  <c:pt idx="229">
                    <c:v>16-Oct</c:v>
                  </c:pt>
                  <c:pt idx="230">
                    <c:v>17-Oct</c:v>
                  </c:pt>
                  <c:pt idx="231">
                    <c:v>18-Oct</c:v>
                  </c:pt>
                  <c:pt idx="232">
                    <c:v>19-Oct</c:v>
                  </c:pt>
                  <c:pt idx="233">
                    <c:v>20-Oct</c:v>
                  </c:pt>
                  <c:pt idx="234">
                    <c:v>21-Oct</c:v>
                  </c:pt>
                  <c:pt idx="235">
                    <c:v>22-Oct</c:v>
                  </c:pt>
                  <c:pt idx="236">
                    <c:v>23-Oct</c:v>
                  </c:pt>
                  <c:pt idx="237">
                    <c:v>24-Oct</c:v>
                  </c:pt>
                  <c:pt idx="238">
                    <c:v>25-Oct</c:v>
                  </c:pt>
                  <c:pt idx="239">
                    <c:v>26-Oct</c:v>
                  </c:pt>
                  <c:pt idx="240">
                    <c:v>27-Oct</c:v>
                  </c:pt>
                  <c:pt idx="241">
                    <c:v>28-Oct</c:v>
                  </c:pt>
                  <c:pt idx="242">
                    <c:v>29-Oct</c:v>
                  </c:pt>
                  <c:pt idx="243">
                    <c:v>30-Oct</c:v>
                  </c:pt>
                  <c:pt idx="244">
                    <c:v>31-Oct</c:v>
                  </c:pt>
                  <c:pt idx="245">
                    <c:v>1-Nov</c:v>
                  </c:pt>
                  <c:pt idx="246">
                    <c:v>2-Nov</c:v>
                  </c:pt>
                  <c:pt idx="247">
                    <c:v>3-Nov</c:v>
                  </c:pt>
                  <c:pt idx="248">
                    <c:v>4-Nov</c:v>
                  </c:pt>
                  <c:pt idx="249">
                    <c:v>5-Nov</c:v>
                  </c:pt>
                  <c:pt idx="250">
                    <c:v>6-Nov</c:v>
                  </c:pt>
                  <c:pt idx="251">
                    <c:v>7-Nov</c:v>
                  </c:pt>
                  <c:pt idx="252">
                    <c:v>8-Nov</c:v>
                  </c:pt>
                  <c:pt idx="253">
                    <c:v>9-Nov</c:v>
                  </c:pt>
                  <c:pt idx="254">
                    <c:v>10-Nov</c:v>
                  </c:pt>
                  <c:pt idx="255">
                    <c:v>11-Nov</c:v>
                  </c:pt>
                  <c:pt idx="256">
                    <c:v>12-Nov</c:v>
                  </c:pt>
                  <c:pt idx="257">
                    <c:v>13-Nov</c:v>
                  </c:pt>
                  <c:pt idx="258">
                    <c:v>14-Nov</c:v>
                  </c:pt>
                  <c:pt idx="259">
                    <c:v>15-Nov</c:v>
                  </c:pt>
                  <c:pt idx="260">
                    <c:v>16-Nov</c:v>
                  </c:pt>
                  <c:pt idx="261">
                    <c:v>17-Nov</c:v>
                  </c:pt>
                  <c:pt idx="262">
                    <c:v>18-Nov</c:v>
                  </c:pt>
                  <c:pt idx="263">
                    <c:v>19-Nov</c:v>
                  </c:pt>
                  <c:pt idx="264">
                    <c:v>20-Nov</c:v>
                  </c:pt>
                  <c:pt idx="265">
                    <c:v>21-Nov</c:v>
                  </c:pt>
                  <c:pt idx="266">
                    <c:v>22-Nov</c:v>
                  </c:pt>
                  <c:pt idx="267">
                    <c:v>23-Nov</c:v>
                  </c:pt>
                  <c:pt idx="268">
                    <c:v>24-Nov</c:v>
                  </c:pt>
                  <c:pt idx="269">
                    <c:v>25-Nov</c:v>
                  </c:pt>
                  <c:pt idx="270">
                    <c:v>26-Nov</c:v>
                  </c:pt>
                  <c:pt idx="271">
                    <c:v>27-Nov</c:v>
                  </c:pt>
                  <c:pt idx="272">
                    <c:v>28-Nov</c:v>
                  </c:pt>
                  <c:pt idx="273">
                    <c:v>29-Nov</c:v>
                  </c:pt>
                  <c:pt idx="274">
                    <c:v>30-Nov</c:v>
                  </c:pt>
                  <c:pt idx="275">
                    <c:v>1-Dec</c:v>
                  </c:pt>
                  <c:pt idx="276">
                    <c:v>2-Dec</c:v>
                  </c:pt>
                  <c:pt idx="277">
                    <c:v>3-Dec</c:v>
                  </c:pt>
                  <c:pt idx="278">
                    <c:v>4-Dec</c:v>
                  </c:pt>
                  <c:pt idx="279">
                    <c:v>5-Dec</c:v>
                  </c:pt>
                  <c:pt idx="280">
                    <c:v>6-Dec</c:v>
                  </c:pt>
                  <c:pt idx="281">
                    <c:v>7-Dec</c:v>
                  </c:pt>
                  <c:pt idx="282">
                    <c:v>8-Dec</c:v>
                  </c:pt>
                  <c:pt idx="283">
                    <c:v>9-Dec</c:v>
                  </c:pt>
                  <c:pt idx="284">
                    <c:v>10-Dec</c:v>
                  </c:pt>
                  <c:pt idx="285">
                    <c:v>11-Dec</c:v>
                  </c:pt>
                  <c:pt idx="286">
                    <c:v>12-Dec</c:v>
                  </c:pt>
                  <c:pt idx="287">
                    <c:v>13-Dec</c:v>
                  </c:pt>
                  <c:pt idx="288">
                    <c:v>14-Dec</c:v>
                  </c:pt>
                  <c:pt idx="289">
                    <c:v>15-Dec</c:v>
                  </c:pt>
                  <c:pt idx="290">
                    <c:v>16-Dec</c:v>
                  </c:pt>
                  <c:pt idx="291">
                    <c:v>17-Dec</c:v>
                  </c:pt>
                  <c:pt idx="292">
                    <c:v>18-Dec</c:v>
                  </c:pt>
                  <c:pt idx="293">
                    <c:v>19-Dec</c:v>
                  </c:pt>
                  <c:pt idx="294">
                    <c:v>20-Dec</c:v>
                  </c:pt>
                  <c:pt idx="295">
                    <c:v>21-Dec</c:v>
                  </c:pt>
                  <c:pt idx="296">
                    <c:v>22-Dec</c:v>
                  </c:pt>
                  <c:pt idx="297">
                    <c:v>23-Dec</c:v>
                  </c:pt>
                  <c:pt idx="298">
                    <c:v>24-Dec</c:v>
                  </c:pt>
                  <c:pt idx="299">
                    <c:v>25-Dec</c:v>
                  </c:pt>
                  <c:pt idx="300">
                    <c:v>26-Dec</c:v>
                  </c:pt>
                  <c:pt idx="301">
                    <c:v>27-Dec</c:v>
                  </c:pt>
                  <c:pt idx="302">
                    <c:v>28-Dec</c:v>
                  </c:pt>
                  <c:pt idx="303">
                    <c:v>29-Dec</c:v>
                  </c:pt>
                  <c:pt idx="304">
                    <c:v>30-Dec</c:v>
                  </c:pt>
                  <c:pt idx="305">
                    <c:v>31-Dec</c:v>
                  </c:pt>
                  <c:pt idx="306">
                    <c:v>1-Jan</c:v>
                  </c:pt>
                  <c:pt idx="307">
                    <c:v>2-Jan</c:v>
                  </c:pt>
                  <c:pt idx="308">
                    <c:v>3-Jan</c:v>
                  </c:pt>
                  <c:pt idx="309">
                    <c:v>4-Jan</c:v>
                  </c:pt>
                  <c:pt idx="310">
                    <c:v>5-Jan</c:v>
                  </c:pt>
                  <c:pt idx="311">
                    <c:v>6-Jan</c:v>
                  </c:pt>
                  <c:pt idx="312">
                    <c:v>7-Jan</c:v>
                  </c:pt>
                  <c:pt idx="313">
                    <c:v>8-Jan</c:v>
                  </c:pt>
                  <c:pt idx="314">
                    <c:v>9-Jan</c:v>
                  </c:pt>
                  <c:pt idx="315">
                    <c:v>10-Jan</c:v>
                  </c:pt>
                  <c:pt idx="316">
                    <c:v>11-Jan</c:v>
                  </c:pt>
                  <c:pt idx="317">
                    <c:v>12-Jan</c:v>
                  </c:pt>
                  <c:pt idx="318">
                    <c:v>13-Jan</c:v>
                  </c:pt>
                  <c:pt idx="319">
                    <c:v>14-Jan</c:v>
                  </c:pt>
                  <c:pt idx="320">
                    <c:v>15-Jan</c:v>
                  </c:pt>
                  <c:pt idx="321">
                    <c:v>16-Jan</c:v>
                  </c:pt>
                  <c:pt idx="322">
                    <c:v>17-Jan</c:v>
                  </c:pt>
                  <c:pt idx="323">
                    <c:v>18-Jan</c:v>
                  </c:pt>
                  <c:pt idx="324">
                    <c:v>19-Jan</c:v>
                  </c:pt>
                  <c:pt idx="325">
                    <c:v>20-Jan</c:v>
                  </c:pt>
                  <c:pt idx="326">
                    <c:v>21-Jan</c:v>
                  </c:pt>
                  <c:pt idx="327">
                    <c:v>22-Jan</c:v>
                  </c:pt>
                  <c:pt idx="328">
                    <c:v>23-Jan</c:v>
                  </c:pt>
                  <c:pt idx="329">
                    <c:v>24-Jan</c:v>
                  </c:pt>
                  <c:pt idx="330">
                    <c:v>25-Jan</c:v>
                  </c:pt>
                  <c:pt idx="331">
                    <c:v>26-Jan</c:v>
                  </c:pt>
                  <c:pt idx="332">
                    <c:v>27-Jan</c:v>
                  </c:pt>
                  <c:pt idx="333">
                    <c:v>28-Jan</c:v>
                  </c:pt>
                  <c:pt idx="334">
                    <c:v>29-Jan</c:v>
                  </c:pt>
                  <c:pt idx="335">
                    <c:v>30-Jan</c:v>
                  </c:pt>
                  <c:pt idx="336">
                    <c:v>31-Jan</c:v>
                  </c:pt>
                  <c:pt idx="337">
                    <c:v>1-Feb</c:v>
                  </c:pt>
                  <c:pt idx="338">
                    <c:v>2-Feb</c:v>
                  </c:pt>
                  <c:pt idx="339">
                    <c:v>3-Feb</c:v>
                  </c:pt>
                  <c:pt idx="340">
                    <c:v>4-Feb</c:v>
                  </c:pt>
                  <c:pt idx="341">
                    <c:v>5-Feb</c:v>
                  </c:pt>
                  <c:pt idx="342">
                    <c:v>6-Feb</c:v>
                  </c:pt>
                  <c:pt idx="343">
                    <c:v>7-Feb</c:v>
                  </c:pt>
                  <c:pt idx="344">
                    <c:v>8-Feb</c:v>
                  </c:pt>
                  <c:pt idx="345">
                    <c:v>9-Feb</c:v>
                  </c:pt>
                  <c:pt idx="346">
                    <c:v>10-Feb</c:v>
                  </c:pt>
                  <c:pt idx="347">
                    <c:v>11-Feb</c:v>
                  </c:pt>
                  <c:pt idx="348">
                    <c:v>12-Feb</c:v>
                  </c:pt>
                  <c:pt idx="349">
                    <c:v>13-Feb</c:v>
                  </c:pt>
                  <c:pt idx="350">
                    <c:v>14-Feb</c:v>
                  </c:pt>
                  <c:pt idx="351">
                    <c:v>15-Feb</c:v>
                  </c:pt>
                  <c:pt idx="352">
                    <c:v>16-Feb</c:v>
                  </c:pt>
                  <c:pt idx="353">
                    <c:v>17-Feb</c:v>
                  </c:pt>
                  <c:pt idx="354">
                    <c:v>18-Feb</c:v>
                  </c:pt>
                  <c:pt idx="355">
                    <c:v>19-Feb</c:v>
                  </c:pt>
                  <c:pt idx="356">
                    <c:v>20-Feb</c:v>
                  </c:pt>
                  <c:pt idx="357">
                    <c:v>21-Feb</c:v>
                  </c:pt>
                  <c:pt idx="358">
                    <c:v>22-Feb</c:v>
                  </c:pt>
                  <c:pt idx="359">
                    <c:v>23-Feb</c:v>
                  </c:pt>
                  <c:pt idx="360">
                    <c:v>24-Feb</c:v>
                  </c:pt>
                  <c:pt idx="361">
                    <c:v>25-Feb</c:v>
                  </c:pt>
                  <c:pt idx="362">
                    <c:v>26-Feb</c:v>
                  </c:pt>
                  <c:pt idx="363">
                    <c:v>27-Feb</c:v>
                  </c:pt>
                  <c:pt idx="364">
                    <c:v>28-Feb</c:v>
                  </c:pt>
                  <c:pt idx="365">
                    <c:v>1-Mar</c:v>
                  </c:pt>
                  <c:pt idx="366">
                    <c:v>2-Mar</c:v>
                  </c:pt>
                  <c:pt idx="367">
                    <c:v>3-Mar</c:v>
                  </c:pt>
                  <c:pt idx="368">
                    <c:v>4-Mar</c:v>
                  </c:pt>
                  <c:pt idx="369">
                    <c:v>5-Mar</c:v>
                  </c:pt>
                  <c:pt idx="370">
                    <c:v>6-Mar</c:v>
                  </c:pt>
                  <c:pt idx="371">
                    <c:v>7-Mar</c:v>
                  </c:pt>
                  <c:pt idx="372">
                    <c:v>8-Mar</c:v>
                  </c:pt>
                  <c:pt idx="373">
                    <c:v>9-Mar</c:v>
                  </c:pt>
                  <c:pt idx="374">
                    <c:v>10-Mar</c:v>
                  </c:pt>
                  <c:pt idx="375">
                    <c:v>11-Mar</c:v>
                  </c:pt>
                  <c:pt idx="376">
                    <c:v>12-Mar</c:v>
                  </c:pt>
                  <c:pt idx="377">
                    <c:v>13-Mar</c:v>
                  </c:pt>
                  <c:pt idx="378">
                    <c:v>14-Mar</c:v>
                  </c:pt>
                  <c:pt idx="379">
                    <c:v>15-Mar</c:v>
                  </c:pt>
                  <c:pt idx="380">
                    <c:v>16-Mar</c:v>
                  </c:pt>
                  <c:pt idx="381">
                    <c:v>17-Mar</c:v>
                  </c:pt>
                  <c:pt idx="382">
                    <c:v>18-Mar</c:v>
                  </c:pt>
                  <c:pt idx="383">
                    <c:v>19-Mar</c:v>
                  </c:pt>
                  <c:pt idx="384">
                    <c:v>20-Mar</c:v>
                  </c:pt>
                  <c:pt idx="385">
                    <c:v>21-Mar</c:v>
                  </c:pt>
                  <c:pt idx="386">
                    <c:v>22-Mar</c:v>
                  </c:pt>
                  <c:pt idx="387">
                    <c:v>23-Mar</c:v>
                  </c:pt>
                  <c:pt idx="388">
                    <c:v>24-Mar</c:v>
                  </c:pt>
                  <c:pt idx="389">
                    <c:v>25-Mar</c:v>
                  </c:pt>
                  <c:pt idx="390">
                    <c:v>26-Mar</c:v>
                  </c:pt>
                  <c:pt idx="391">
                    <c:v>27-Mar</c:v>
                  </c:pt>
                  <c:pt idx="392">
                    <c:v>28-Mar</c:v>
                  </c:pt>
                  <c:pt idx="393">
                    <c:v>29-Mar</c:v>
                  </c:pt>
                  <c:pt idx="394">
                    <c:v>30-Mar</c:v>
                  </c:pt>
                  <c:pt idx="395">
                    <c:v>31-Mar</c:v>
                  </c:pt>
                  <c:pt idx="396">
                    <c:v>1-Apr</c:v>
                  </c:pt>
                  <c:pt idx="397">
                    <c:v>2-Apr</c:v>
                  </c:pt>
                  <c:pt idx="398">
                    <c:v>3-Apr</c:v>
                  </c:pt>
                  <c:pt idx="399">
                    <c:v>4-Apr</c:v>
                  </c:pt>
                  <c:pt idx="400">
                    <c:v>5-Apr</c:v>
                  </c:pt>
                  <c:pt idx="401">
                    <c:v>6-Apr</c:v>
                  </c:pt>
                  <c:pt idx="402">
                    <c:v>7-Apr</c:v>
                  </c:pt>
                  <c:pt idx="403">
                    <c:v>8-Apr</c:v>
                  </c:pt>
                  <c:pt idx="404">
                    <c:v>9-Apr</c:v>
                  </c:pt>
                  <c:pt idx="405">
                    <c:v>10-Apr</c:v>
                  </c:pt>
                  <c:pt idx="406">
                    <c:v>11-Apr</c:v>
                  </c:pt>
                  <c:pt idx="407">
                    <c:v>12-Apr</c:v>
                  </c:pt>
                  <c:pt idx="408">
                    <c:v>13-Apr</c:v>
                  </c:pt>
                  <c:pt idx="409">
                    <c:v>14-Apr</c:v>
                  </c:pt>
                  <c:pt idx="410">
                    <c:v>15-Apr</c:v>
                  </c:pt>
                  <c:pt idx="411">
                    <c:v>16-Apr</c:v>
                  </c:pt>
                  <c:pt idx="412">
                    <c:v>17-Apr</c:v>
                  </c:pt>
                  <c:pt idx="413">
                    <c:v>18-Apr</c:v>
                  </c:pt>
                  <c:pt idx="414">
                    <c:v>19-Apr</c:v>
                  </c:pt>
                  <c:pt idx="415">
                    <c:v>20-Apr</c:v>
                  </c:pt>
                  <c:pt idx="416">
                    <c:v>21-Apr</c:v>
                  </c:pt>
                  <c:pt idx="417">
                    <c:v>22-Apr</c:v>
                  </c:pt>
                  <c:pt idx="418">
                    <c:v>23-Apr</c:v>
                  </c:pt>
                  <c:pt idx="419">
                    <c:v>24-Apr</c:v>
                  </c:pt>
                  <c:pt idx="420">
                    <c:v>25-Apr</c:v>
                  </c:pt>
                  <c:pt idx="421">
                    <c:v>26-Apr</c:v>
                  </c:pt>
                  <c:pt idx="422">
                    <c:v>27-Apr</c:v>
                  </c:pt>
                  <c:pt idx="423">
                    <c:v>28-Apr</c:v>
                  </c:pt>
                  <c:pt idx="424">
                    <c:v>29-Apr</c:v>
                  </c:pt>
                  <c:pt idx="425">
                    <c:v>30-Apr</c:v>
                  </c:pt>
                  <c:pt idx="426">
                    <c:v>1-May</c:v>
                  </c:pt>
                  <c:pt idx="427">
                    <c:v>2-May</c:v>
                  </c:pt>
                  <c:pt idx="428">
                    <c:v>3-May</c:v>
                  </c:pt>
                  <c:pt idx="429">
                    <c:v>4-May</c:v>
                  </c:pt>
                  <c:pt idx="430">
                    <c:v>5-May</c:v>
                  </c:pt>
                  <c:pt idx="431">
                    <c:v>6-May</c:v>
                  </c:pt>
                  <c:pt idx="432">
                    <c:v>7-May</c:v>
                  </c:pt>
                  <c:pt idx="433">
                    <c:v>8-May</c:v>
                  </c:pt>
                  <c:pt idx="434">
                    <c:v>9-May</c:v>
                  </c:pt>
                  <c:pt idx="435">
                    <c:v>10-May</c:v>
                  </c:pt>
                  <c:pt idx="436">
                    <c:v>11-May</c:v>
                  </c:pt>
                  <c:pt idx="437">
                    <c:v>12-May</c:v>
                  </c:pt>
                  <c:pt idx="438">
                    <c:v>13-May</c:v>
                  </c:pt>
                  <c:pt idx="439">
                    <c:v>14-May</c:v>
                  </c:pt>
                  <c:pt idx="440">
                    <c:v>15-May</c:v>
                  </c:pt>
                  <c:pt idx="441">
                    <c:v>16-May</c:v>
                  </c:pt>
                  <c:pt idx="442">
                    <c:v>17-May</c:v>
                  </c:pt>
                  <c:pt idx="443">
                    <c:v>18-May</c:v>
                  </c:pt>
                  <c:pt idx="444">
                    <c:v>19-May</c:v>
                  </c:pt>
                  <c:pt idx="445">
                    <c:v>20-May</c:v>
                  </c:pt>
                  <c:pt idx="446">
                    <c:v>21-May</c:v>
                  </c:pt>
                  <c:pt idx="447">
                    <c:v>22-May</c:v>
                  </c:pt>
                  <c:pt idx="448">
                    <c:v>23-May</c:v>
                  </c:pt>
                  <c:pt idx="449">
                    <c:v>24-May</c:v>
                  </c:pt>
                  <c:pt idx="450">
                    <c:v>25-May</c:v>
                  </c:pt>
                  <c:pt idx="451">
                    <c:v>26-May</c:v>
                  </c:pt>
                  <c:pt idx="452">
                    <c:v>27-May</c:v>
                  </c:pt>
                  <c:pt idx="453">
                    <c:v>28-May</c:v>
                  </c:pt>
                  <c:pt idx="454">
                    <c:v>29-May</c:v>
                  </c:pt>
                  <c:pt idx="455">
                    <c:v>30-May</c:v>
                  </c:pt>
                  <c:pt idx="456">
                    <c:v>31-May</c:v>
                  </c:pt>
                  <c:pt idx="457">
                    <c:v>1-Jun</c:v>
                  </c:pt>
                  <c:pt idx="458">
                    <c:v>2-Jun</c:v>
                  </c:pt>
                  <c:pt idx="459">
                    <c:v>3-Jun</c:v>
                  </c:pt>
                  <c:pt idx="460">
                    <c:v>4-Jun</c:v>
                  </c:pt>
                  <c:pt idx="461">
                    <c:v>5-Jun</c:v>
                  </c:pt>
                  <c:pt idx="462">
                    <c:v>6-Jun</c:v>
                  </c:pt>
                  <c:pt idx="463">
                    <c:v>7-Jun</c:v>
                  </c:pt>
                  <c:pt idx="464">
                    <c:v>8-Jun</c:v>
                  </c:pt>
                  <c:pt idx="465">
                    <c:v>9-Jun</c:v>
                  </c:pt>
                  <c:pt idx="466">
                    <c:v>10-Jun</c:v>
                  </c:pt>
                  <c:pt idx="467">
                    <c:v>11-Jun</c:v>
                  </c:pt>
                  <c:pt idx="468">
                    <c:v>12-Jun</c:v>
                  </c:pt>
                  <c:pt idx="469">
                    <c:v>13-Jun</c:v>
                  </c:pt>
                  <c:pt idx="470">
                    <c:v>14-Jun</c:v>
                  </c:pt>
                  <c:pt idx="471">
                    <c:v>15-Jun</c:v>
                  </c:pt>
                  <c:pt idx="472">
                    <c:v>16-Jun</c:v>
                  </c:pt>
                  <c:pt idx="473">
                    <c:v>17-Jun</c:v>
                  </c:pt>
                  <c:pt idx="474">
                    <c:v>18-Jun</c:v>
                  </c:pt>
                  <c:pt idx="475">
                    <c:v>19-Jun</c:v>
                  </c:pt>
                  <c:pt idx="476">
                    <c:v>20-Jun</c:v>
                  </c:pt>
                  <c:pt idx="477">
                    <c:v>21-Jun</c:v>
                  </c:pt>
                  <c:pt idx="478">
                    <c:v>22-Jun</c:v>
                  </c:pt>
                  <c:pt idx="479">
                    <c:v>23-Jun</c:v>
                  </c:pt>
                  <c:pt idx="480">
                    <c:v>24-Jun</c:v>
                  </c:pt>
                  <c:pt idx="481">
                    <c:v>25-Jun</c:v>
                  </c:pt>
                  <c:pt idx="482">
                    <c:v>26-Jun</c:v>
                  </c:pt>
                  <c:pt idx="483">
                    <c:v>27-Jun</c:v>
                  </c:pt>
                  <c:pt idx="484">
                    <c:v>28-Jun</c:v>
                  </c:pt>
                  <c:pt idx="485">
                    <c:v>29-Jun</c:v>
                  </c:pt>
                  <c:pt idx="486">
                    <c:v>30-Jun</c:v>
                  </c:pt>
                  <c:pt idx="487">
                    <c:v>1-Jul</c:v>
                  </c:pt>
                  <c:pt idx="488">
                    <c:v>2-Jul</c:v>
                  </c:pt>
                  <c:pt idx="489">
                    <c:v>3-Jul</c:v>
                  </c:pt>
                  <c:pt idx="490">
                    <c:v>4-Jul</c:v>
                  </c:pt>
                  <c:pt idx="491">
                    <c:v>5-Jul</c:v>
                  </c:pt>
                  <c:pt idx="492">
                    <c:v>6-Jul</c:v>
                  </c:pt>
                  <c:pt idx="493">
                    <c:v>7-Jul</c:v>
                  </c:pt>
                  <c:pt idx="494">
                    <c:v>8-Jul</c:v>
                  </c:pt>
                  <c:pt idx="495">
                    <c:v>9-Jul</c:v>
                  </c:pt>
                  <c:pt idx="496">
                    <c:v>10-Jul</c:v>
                  </c:pt>
                  <c:pt idx="497">
                    <c:v>11-Jul</c:v>
                  </c:pt>
                  <c:pt idx="498">
                    <c:v>12-Jul</c:v>
                  </c:pt>
                  <c:pt idx="499">
                    <c:v>13-Jul</c:v>
                  </c:pt>
                  <c:pt idx="500">
                    <c:v>14-Jul</c:v>
                  </c:pt>
                  <c:pt idx="501">
                    <c:v>15-Jul</c:v>
                  </c:pt>
                  <c:pt idx="502">
                    <c:v>16-Jul</c:v>
                  </c:pt>
                  <c:pt idx="503">
                    <c:v>17-Jul</c:v>
                  </c:pt>
                  <c:pt idx="504">
                    <c:v>18-Jul</c:v>
                  </c:pt>
                  <c:pt idx="505">
                    <c:v>19-Jul</c:v>
                  </c:pt>
                  <c:pt idx="506">
                    <c:v>20-Jul</c:v>
                  </c:pt>
                  <c:pt idx="507">
                    <c:v>21-Jul</c:v>
                  </c:pt>
                  <c:pt idx="508">
                    <c:v>22-Jul</c:v>
                  </c:pt>
                  <c:pt idx="509">
                    <c:v>23-Jul</c:v>
                  </c:pt>
                  <c:pt idx="510">
                    <c:v>24-Jul</c:v>
                  </c:pt>
                  <c:pt idx="511">
                    <c:v>25-Jul</c:v>
                  </c:pt>
                  <c:pt idx="512">
                    <c:v>26-Jul</c:v>
                  </c:pt>
                  <c:pt idx="513">
                    <c:v>27-Jul</c:v>
                  </c:pt>
                  <c:pt idx="514">
                    <c:v>28-Jul</c:v>
                  </c:pt>
                  <c:pt idx="515">
                    <c:v>29-Jul</c:v>
                  </c:pt>
                  <c:pt idx="516">
                    <c:v>30-Jul</c:v>
                  </c:pt>
                  <c:pt idx="517">
                    <c:v>31-Jul</c:v>
                  </c:pt>
                  <c:pt idx="518">
                    <c:v>1-Aug</c:v>
                  </c:pt>
                  <c:pt idx="519">
                    <c:v>2-Aug</c:v>
                  </c:pt>
                  <c:pt idx="520">
                    <c:v>3-Aug</c:v>
                  </c:pt>
                  <c:pt idx="521">
                    <c:v>4-Aug</c:v>
                  </c:pt>
                  <c:pt idx="522">
                    <c:v>5-Aug</c:v>
                  </c:pt>
                  <c:pt idx="523">
                    <c:v>6-Aug</c:v>
                  </c:pt>
                  <c:pt idx="524">
                    <c:v>7-Aug</c:v>
                  </c:pt>
                  <c:pt idx="525">
                    <c:v>8-Aug</c:v>
                  </c:pt>
                  <c:pt idx="526">
                    <c:v>9-Aug</c:v>
                  </c:pt>
                  <c:pt idx="527">
                    <c:v>10-Aug</c:v>
                  </c:pt>
                  <c:pt idx="528">
                    <c:v>11-Aug</c:v>
                  </c:pt>
                  <c:pt idx="529">
                    <c:v>12-Aug</c:v>
                  </c:pt>
                  <c:pt idx="530">
                    <c:v>13-Aug</c:v>
                  </c:pt>
                  <c:pt idx="531">
                    <c:v>14-Aug</c:v>
                  </c:pt>
                  <c:pt idx="532">
                    <c:v>15-Aug</c:v>
                  </c:pt>
                  <c:pt idx="533">
                    <c:v>16-Aug</c:v>
                  </c:pt>
                  <c:pt idx="534">
                    <c:v>17-Aug</c:v>
                  </c:pt>
                  <c:pt idx="535">
                    <c:v>18-Aug</c:v>
                  </c:pt>
                  <c:pt idx="536">
                    <c:v>19-Aug</c:v>
                  </c:pt>
                  <c:pt idx="537">
                    <c:v>20-Aug</c:v>
                  </c:pt>
                  <c:pt idx="538">
                    <c:v>21-Aug</c:v>
                  </c:pt>
                  <c:pt idx="539">
                    <c:v>22-Aug</c:v>
                  </c:pt>
                  <c:pt idx="540">
                    <c:v>23-Aug</c:v>
                  </c:pt>
                  <c:pt idx="541">
                    <c:v>24-Aug</c:v>
                  </c:pt>
                  <c:pt idx="542">
                    <c:v>25-Aug</c:v>
                  </c:pt>
                  <c:pt idx="543">
                    <c:v>26-Aug</c:v>
                  </c:pt>
                  <c:pt idx="544">
                    <c:v>27-Aug</c:v>
                  </c:pt>
                  <c:pt idx="545">
                    <c:v>28-Aug</c:v>
                  </c:pt>
                  <c:pt idx="546">
                    <c:v>29-Aug</c:v>
                  </c:pt>
                  <c:pt idx="547">
                    <c:v>30-Aug</c:v>
                  </c:pt>
                  <c:pt idx="548">
                    <c:v>31-Aug</c:v>
                  </c:pt>
                  <c:pt idx="549">
                    <c:v>1-Sep</c:v>
                  </c:pt>
                  <c:pt idx="550">
                    <c:v>2-Sep</c:v>
                  </c:pt>
                  <c:pt idx="551">
                    <c:v>3-Sep</c:v>
                  </c:pt>
                  <c:pt idx="552">
                    <c:v>4-Sep</c:v>
                  </c:pt>
                  <c:pt idx="553">
                    <c:v>5-Sep</c:v>
                  </c:pt>
                  <c:pt idx="554">
                    <c:v>6-Sep</c:v>
                  </c:pt>
                  <c:pt idx="555">
                    <c:v>7-Sep</c:v>
                  </c:pt>
                  <c:pt idx="556">
                    <c:v>8-Sep</c:v>
                  </c:pt>
                  <c:pt idx="557">
                    <c:v>9-Sep</c:v>
                  </c:pt>
                  <c:pt idx="558">
                    <c:v>10-Sep</c:v>
                  </c:pt>
                  <c:pt idx="559">
                    <c:v>11-Sep</c:v>
                  </c:pt>
                  <c:pt idx="560">
                    <c:v>12-Sep</c:v>
                  </c:pt>
                  <c:pt idx="561">
                    <c:v>13-Sep</c:v>
                  </c:pt>
                  <c:pt idx="562">
                    <c:v>14-Sep</c:v>
                  </c:pt>
                  <c:pt idx="563">
                    <c:v>15-Sep</c:v>
                  </c:pt>
                  <c:pt idx="564">
                    <c:v>16-Sep</c:v>
                  </c:pt>
                  <c:pt idx="565">
                    <c:v>17-Sep</c:v>
                  </c:pt>
                  <c:pt idx="566">
                    <c:v>18-Sep</c:v>
                  </c:pt>
                  <c:pt idx="567">
                    <c:v>19-Sep</c:v>
                  </c:pt>
                  <c:pt idx="568">
                    <c:v>20-Sep</c:v>
                  </c:pt>
                  <c:pt idx="569">
                    <c:v>21-Sep</c:v>
                  </c:pt>
                  <c:pt idx="570">
                    <c:v>22-Sep</c:v>
                  </c:pt>
                  <c:pt idx="571">
                    <c:v>23-Sep</c:v>
                  </c:pt>
                  <c:pt idx="572">
                    <c:v>24-Sep</c:v>
                  </c:pt>
                  <c:pt idx="573">
                    <c:v>25-Sep</c:v>
                  </c:pt>
                  <c:pt idx="574">
                    <c:v>26-Sep</c:v>
                  </c:pt>
                  <c:pt idx="575">
                    <c:v>27-Sep</c:v>
                  </c:pt>
                  <c:pt idx="576">
                    <c:v>28-Sep</c:v>
                  </c:pt>
                  <c:pt idx="577">
                    <c:v>29-Sep</c:v>
                  </c:pt>
                  <c:pt idx="578">
                    <c:v>30-Sep</c:v>
                  </c:pt>
                  <c:pt idx="579">
                    <c:v>1-Oct</c:v>
                  </c:pt>
                  <c:pt idx="580">
                    <c:v>2-Oct</c:v>
                  </c:pt>
                  <c:pt idx="581">
                    <c:v>3-Oct</c:v>
                  </c:pt>
                  <c:pt idx="582">
                    <c:v>4-Oct</c:v>
                  </c:pt>
                  <c:pt idx="583">
                    <c:v>5-Oct</c:v>
                  </c:pt>
                  <c:pt idx="584">
                    <c:v>6-Oct</c:v>
                  </c:pt>
                  <c:pt idx="585">
                    <c:v>7-Oct</c:v>
                  </c:pt>
                  <c:pt idx="586">
                    <c:v>8-Oct</c:v>
                  </c:pt>
                  <c:pt idx="587">
                    <c:v>9-Oct</c:v>
                  </c:pt>
                  <c:pt idx="588">
                    <c:v>10-Oct</c:v>
                  </c:pt>
                  <c:pt idx="589">
                    <c:v>11-Oct</c:v>
                  </c:pt>
                  <c:pt idx="590">
                    <c:v>12-Oct</c:v>
                  </c:pt>
                  <c:pt idx="591">
                    <c:v>13-Oct</c:v>
                  </c:pt>
                  <c:pt idx="592">
                    <c:v>14-Oct</c:v>
                  </c:pt>
                  <c:pt idx="593">
                    <c:v>15-Oct</c:v>
                  </c:pt>
                  <c:pt idx="594">
                    <c:v>16-Oct</c:v>
                  </c:pt>
                  <c:pt idx="595">
                    <c:v>17-Oct</c:v>
                  </c:pt>
                  <c:pt idx="596">
                    <c:v>18-Oct</c:v>
                  </c:pt>
                  <c:pt idx="597">
                    <c:v>19-Oct</c:v>
                  </c:pt>
                  <c:pt idx="598">
                    <c:v>20-Oct</c:v>
                  </c:pt>
                  <c:pt idx="599">
                    <c:v>21-Oct</c:v>
                  </c:pt>
                  <c:pt idx="600">
                    <c:v>22-Oct</c:v>
                  </c:pt>
                  <c:pt idx="601">
                    <c:v>23-Oct</c:v>
                  </c:pt>
                  <c:pt idx="602">
                    <c:v>24-Oct</c:v>
                  </c:pt>
                  <c:pt idx="603">
                    <c:v>25-Oct</c:v>
                  </c:pt>
                  <c:pt idx="604">
                    <c:v>26-Oct</c:v>
                  </c:pt>
                  <c:pt idx="605">
                    <c:v>27-Oct</c:v>
                  </c:pt>
                  <c:pt idx="606">
                    <c:v>28-Oct</c:v>
                  </c:pt>
                  <c:pt idx="607">
                    <c:v>29-Oct</c:v>
                  </c:pt>
                  <c:pt idx="608">
                    <c:v>30-Oct</c:v>
                  </c:pt>
                  <c:pt idx="609">
                    <c:v>31-Oct</c:v>
                  </c:pt>
                  <c:pt idx="610">
                    <c:v>1-Nov</c:v>
                  </c:pt>
                  <c:pt idx="611">
                    <c:v>2-Nov</c:v>
                  </c:pt>
                  <c:pt idx="612">
                    <c:v>3-Nov</c:v>
                  </c:pt>
                  <c:pt idx="613">
                    <c:v>4-Nov</c:v>
                  </c:pt>
                  <c:pt idx="614">
                    <c:v>5-Nov</c:v>
                  </c:pt>
                  <c:pt idx="615">
                    <c:v>6-Nov</c:v>
                  </c:pt>
                  <c:pt idx="616">
                    <c:v>7-Nov</c:v>
                  </c:pt>
                  <c:pt idx="617">
                    <c:v>8-Nov</c:v>
                  </c:pt>
                  <c:pt idx="618">
                    <c:v>9-Nov</c:v>
                  </c:pt>
                  <c:pt idx="619">
                    <c:v>10-Nov</c:v>
                  </c:pt>
                  <c:pt idx="620">
                    <c:v>11-Nov</c:v>
                  </c:pt>
                  <c:pt idx="621">
                    <c:v>12-Nov</c:v>
                  </c:pt>
                  <c:pt idx="622">
                    <c:v>13-Nov</c:v>
                  </c:pt>
                  <c:pt idx="623">
                    <c:v>14-Nov</c:v>
                  </c:pt>
                  <c:pt idx="624">
                    <c:v>15-Nov</c:v>
                  </c:pt>
                  <c:pt idx="625">
                    <c:v>16-Nov</c:v>
                  </c:pt>
                  <c:pt idx="626">
                    <c:v>17-Nov</c:v>
                  </c:pt>
                  <c:pt idx="627">
                    <c:v>18-Nov</c:v>
                  </c:pt>
                  <c:pt idx="628">
                    <c:v>19-Nov</c:v>
                  </c:pt>
                  <c:pt idx="629">
                    <c:v>20-Nov</c:v>
                  </c:pt>
                  <c:pt idx="630">
                    <c:v>21-Nov</c:v>
                  </c:pt>
                  <c:pt idx="631">
                    <c:v>22-Nov</c:v>
                  </c:pt>
                  <c:pt idx="632">
                    <c:v>23-Nov</c:v>
                  </c:pt>
                  <c:pt idx="633">
                    <c:v>24-Nov</c:v>
                  </c:pt>
                  <c:pt idx="634">
                    <c:v>25-Nov</c:v>
                  </c:pt>
                  <c:pt idx="635">
                    <c:v>26-Nov</c:v>
                  </c:pt>
                  <c:pt idx="636">
                    <c:v>27-Nov</c:v>
                  </c:pt>
                  <c:pt idx="637">
                    <c:v>28-Nov</c:v>
                  </c:pt>
                  <c:pt idx="638">
                    <c:v>29-Nov</c:v>
                  </c:pt>
                  <c:pt idx="639">
                    <c:v>30-Nov</c:v>
                  </c:pt>
                  <c:pt idx="640">
                    <c:v>1-Dec</c:v>
                  </c:pt>
                  <c:pt idx="641">
                    <c:v>2-Dec</c:v>
                  </c:pt>
                  <c:pt idx="642">
                    <c:v>3-Dec</c:v>
                  </c:pt>
                  <c:pt idx="643">
                    <c:v>4-Dec</c:v>
                  </c:pt>
                  <c:pt idx="644">
                    <c:v>5-Dec</c:v>
                  </c:pt>
                  <c:pt idx="645">
                    <c:v>6-Dec</c:v>
                  </c:pt>
                  <c:pt idx="646">
                    <c:v>7-Dec</c:v>
                  </c:pt>
                  <c:pt idx="647">
                    <c:v>8-Dec</c:v>
                  </c:pt>
                  <c:pt idx="648">
                    <c:v>9-Dec</c:v>
                  </c:pt>
                  <c:pt idx="649">
                    <c:v>10-Dec</c:v>
                  </c:pt>
                  <c:pt idx="650">
                    <c:v>11-Dec</c:v>
                  </c:pt>
                  <c:pt idx="651">
                    <c:v>12-Dec</c:v>
                  </c:pt>
                  <c:pt idx="652">
                    <c:v>13-Dec</c:v>
                  </c:pt>
                  <c:pt idx="653">
                    <c:v>14-Dec</c:v>
                  </c:pt>
                  <c:pt idx="654">
                    <c:v>15-Dec</c:v>
                  </c:pt>
                  <c:pt idx="655">
                    <c:v>16-Dec</c:v>
                  </c:pt>
                  <c:pt idx="656">
                    <c:v>17-Dec</c:v>
                  </c:pt>
                  <c:pt idx="657">
                    <c:v>18-Dec</c:v>
                  </c:pt>
                  <c:pt idx="658">
                    <c:v>19-Dec</c:v>
                  </c:pt>
                  <c:pt idx="659">
                    <c:v>20-Dec</c:v>
                  </c:pt>
                  <c:pt idx="660">
                    <c:v>21-Dec</c:v>
                  </c:pt>
                  <c:pt idx="661">
                    <c:v>22-Dec</c:v>
                  </c:pt>
                  <c:pt idx="662">
                    <c:v>23-Dec</c:v>
                  </c:pt>
                  <c:pt idx="663">
                    <c:v>24-Dec</c:v>
                  </c:pt>
                  <c:pt idx="664">
                    <c:v>25-Dec</c:v>
                  </c:pt>
                  <c:pt idx="665">
                    <c:v>26-Dec</c:v>
                  </c:pt>
                  <c:pt idx="666">
                    <c:v>27-Dec</c:v>
                  </c:pt>
                  <c:pt idx="667">
                    <c:v>28-Dec</c:v>
                  </c:pt>
                  <c:pt idx="668">
                    <c:v>29-Dec</c:v>
                  </c:pt>
                  <c:pt idx="669">
                    <c:v>30-Dec</c:v>
                  </c:pt>
                  <c:pt idx="670">
                    <c:v>31-Dec</c:v>
                  </c:pt>
                  <c:pt idx="671">
                    <c:v>1-Jan</c:v>
                  </c:pt>
                  <c:pt idx="672">
                    <c:v>2-Jan</c:v>
                  </c:pt>
                  <c:pt idx="673">
                    <c:v>3-Jan</c:v>
                  </c:pt>
                  <c:pt idx="674">
                    <c:v>4-Jan</c:v>
                  </c:pt>
                  <c:pt idx="675">
                    <c:v>5-Jan</c:v>
                  </c:pt>
                  <c:pt idx="676">
                    <c:v>6-Jan</c:v>
                  </c:pt>
                  <c:pt idx="677">
                    <c:v>7-Jan</c:v>
                  </c:pt>
                  <c:pt idx="678">
                    <c:v>8-Jan</c:v>
                  </c:pt>
                  <c:pt idx="679">
                    <c:v>9-Jan</c:v>
                  </c:pt>
                  <c:pt idx="680">
                    <c:v>10-Jan</c:v>
                  </c:pt>
                  <c:pt idx="681">
                    <c:v>11-Jan</c:v>
                  </c:pt>
                  <c:pt idx="682">
                    <c:v>12-Jan</c:v>
                  </c:pt>
                  <c:pt idx="683">
                    <c:v>13-Jan</c:v>
                  </c:pt>
                  <c:pt idx="684">
                    <c:v>14-Jan</c:v>
                  </c:pt>
                  <c:pt idx="685">
                    <c:v>15-Jan</c:v>
                  </c:pt>
                  <c:pt idx="686">
                    <c:v>16-Jan</c:v>
                  </c:pt>
                  <c:pt idx="687">
                    <c:v>17-Jan</c:v>
                  </c:pt>
                  <c:pt idx="688">
                    <c:v>18-Jan</c:v>
                  </c:pt>
                  <c:pt idx="689">
                    <c:v>19-Jan</c:v>
                  </c:pt>
                  <c:pt idx="690">
                    <c:v>20-Jan</c:v>
                  </c:pt>
                  <c:pt idx="691">
                    <c:v>21-Jan</c:v>
                  </c:pt>
                  <c:pt idx="692">
                    <c:v>22-Jan</c:v>
                  </c:pt>
                  <c:pt idx="693">
                    <c:v>23-Jan</c:v>
                  </c:pt>
                  <c:pt idx="694">
                    <c:v>24-Jan</c:v>
                  </c:pt>
                  <c:pt idx="695">
                    <c:v>25-Jan</c:v>
                  </c:pt>
                  <c:pt idx="696">
                    <c:v>26-Jan</c:v>
                  </c:pt>
                  <c:pt idx="697">
                    <c:v>27-Jan</c:v>
                  </c:pt>
                  <c:pt idx="698">
                    <c:v>28-Jan</c:v>
                  </c:pt>
                  <c:pt idx="699">
                    <c:v>29-Jan</c:v>
                  </c:pt>
                  <c:pt idx="700">
                    <c:v>30-Jan</c:v>
                  </c:pt>
                  <c:pt idx="701">
                    <c:v>31-Jan</c:v>
                  </c:pt>
                  <c:pt idx="702">
                    <c:v>1-Feb</c:v>
                  </c:pt>
                  <c:pt idx="703">
                    <c:v>2-Feb</c:v>
                  </c:pt>
                  <c:pt idx="704">
                    <c:v>3-Feb</c:v>
                  </c:pt>
                  <c:pt idx="705">
                    <c:v>4-Feb</c:v>
                  </c:pt>
                  <c:pt idx="706">
                    <c:v>5-Feb</c:v>
                  </c:pt>
                  <c:pt idx="707">
                    <c:v>6-Feb</c:v>
                  </c:pt>
                  <c:pt idx="708">
                    <c:v>7-Feb</c:v>
                  </c:pt>
                  <c:pt idx="709">
                    <c:v>8-Feb</c:v>
                  </c:pt>
                  <c:pt idx="710">
                    <c:v>9-Feb</c:v>
                  </c:pt>
                  <c:pt idx="711">
                    <c:v>10-Feb</c:v>
                  </c:pt>
                  <c:pt idx="712">
                    <c:v>11-Feb</c:v>
                  </c:pt>
                  <c:pt idx="713">
                    <c:v>12-Feb</c:v>
                  </c:pt>
                  <c:pt idx="714">
                    <c:v>13-Feb</c:v>
                  </c:pt>
                  <c:pt idx="715">
                    <c:v>14-Feb</c:v>
                  </c:pt>
                  <c:pt idx="716">
                    <c:v>15-Feb</c:v>
                  </c:pt>
                  <c:pt idx="717">
                    <c:v>16-Feb</c:v>
                  </c:pt>
                  <c:pt idx="718">
                    <c:v>17-Feb</c:v>
                  </c:pt>
                  <c:pt idx="719">
                    <c:v>18-Feb</c:v>
                  </c:pt>
                  <c:pt idx="720">
                    <c:v>19-Feb</c:v>
                  </c:pt>
                  <c:pt idx="721">
                    <c:v>20-Feb</c:v>
                  </c:pt>
                  <c:pt idx="722">
                    <c:v>21-Feb</c:v>
                  </c:pt>
                  <c:pt idx="723">
                    <c:v>22-Feb</c:v>
                  </c:pt>
                  <c:pt idx="724">
                    <c:v>23-Feb</c:v>
                  </c:pt>
                  <c:pt idx="725">
                    <c:v>24-Feb</c:v>
                  </c:pt>
                  <c:pt idx="726">
                    <c:v>25-Feb</c:v>
                  </c:pt>
                  <c:pt idx="727">
                    <c:v>26-Feb</c:v>
                  </c:pt>
                  <c:pt idx="728">
                    <c:v>27-Feb</c:v>
                  </c:pt>
                  <c:pt idx="729">
                    <c:v>28-Feb</c:v>
                  </c:pt>
                  <c:pt idx="730">
                    <c:v>1-Mar</c:v>
                  </c:pt>
                  <c:pt idx="731">
                    <c:v>2-Mar</c:v>
                  </c:pt>
                  <c:pt idx="732">
                    <c:v>3-Mar</c:v>
                  </c:pt>
                  <c:pt idx="733">
                    <c:v>4-Mar</c:v>
                  </c:pt>
                  <c:pt idx="734">
                    <c:v>5-Mar</c:v>
                  </c:pt>
                  <c:pt idx="735">
                    <c:v>6-Mar</c:v>
                  </c:pt>
                  <c:pt idx="736">
                    <c:v>7-Mar</c:v>
                  </c:pt>
                  <c:pt idx="737">
                    <c:v>8-Mar</c:v>
                  </c:pt>
                  <c:pt idx="738">
                    <c:v>9-Mar</c:v>
                  </c:pt>
                  <c:pt idx="739">
                    <c:v>10-Mar</c:v>
                  </c:pt>
                  <c:pt idx="740">
                    <c:v>11-Mar</c:v>
                  </c:pt>
                  <c:pt idx="741">
                    <c:v>12-Mar</c:v>
                  </c:pt>
                  <c:pt idx="742">
                    <c:v>13-Mar</c:v>
                  </c:pt>
                  <c:pt idx="743">
                    <c:v>14-Mar</c:v>
                  </c:pt>
                  <c:pt idx="744">
                    <c:v>15-Mar</c:v>
                  </c:pt>
                  <c:pt idx="745">
                    <c:v>16-Mar</c:v>
                  </c:pt>
                  <c:pt idx="746">
                    <c:v>17-Mar</c:v>
                  </c:pt>
                  <c:pt idx="747">
                    <c:v>18-Mar</c:v>
                  </c:pt>
                  <c:pt idx="748">
                    <c:v>19-Mar</c:v>
                  </c:pt>
                  <c:pt idx="749">
                    <c:v>20-Mar</c:v>
                  </c:pt>
                  <c:pt idx="750">
                    <c:v>21-Mar</c:v>
                  </c:pt>
                  <c:pt idx="751">
                    <c:v>22-Mar</c:v>
                  </c:pt>
                  <c:pt idx="752">
                    <c:v>23-Mar</c:v>
                  </c:pt>
                  <c:pt idx="753">
                    <c:v>24-Mar</c:v>
                  </c:pt>
                  <c:pt idx="754">
                    <c:v>25-Mar</c:v>
                  </c:pt>
                  <c:pt idx="755">
                    <c:v>26-Mar</c:v>
                  </c:pt>
                </c:lvl>
                <c:lvl>
                  <c:pt idx="0">
                    <c:v>Mar</c:v>
                  </c:pt>
                  <c:pt idx="31">
                    <c:v>Apr</c:v>
                  </c:pt>
                  <c:pt idx="61">
                    <c:v>May</c:v>
                  </c:pt>
                  <c:pt idx="92">
                    <c:v>Jun</c:v>
                  </c:pt>
                  <c:pt idx="122">
                    <c:v>Jul</c:v>
                  </c:pt>
                  <c:pt idx="153">
                    <c:v>Aug</c:v>
                  </c:pt>
                  <c:pt idx="184">
                    <c:v>Sep</c:v>
                  </c:pt>
                  <c:pt idx="214">
                    <c:v>Oct</c:v>
                  </c:pt>
                  <c:pt idx="245">
                    <c:v>Nov</c:v>
                  </c:pt>
                  <c:pt idx="275">
                    <c:v>Dec</c:v>
                  </c:pt>
                  <c:pt idx="306">
                    <c:v>Jan</c:v>
                  </c:pt>
                  <c:pt idx="337">
                    <c:v>Feb</c:v>
                  </c:pt>
                  <c:pt idx="365">
                    <c:v>Mar</c:v>
                  </c:pt>
                  <c:pt idx="396">
                    <c:v>Apr</c:v>
                  </c:pt>
                  <c:pt idx="426">
                    <c:v>May</c:v>
                  </c:pt>
                  <c:pt idx="457">
                    <c:v>Jun</c:v>
                  </c:pt>
                  <c:pt idx="487">
                    <c:v>July</c:v>
                  </c:pt>
                  <c:pt idx="518">
                    <c:v>Aug</c:v>
                  </c:pt>
                  <c:pt idx="549">
                    <c:v>Sep</c:v>
                  </c:pt>
                  <c:pt idx="579">
                    <c:v>Occt</c:v>
                  </c:pt>
                  <c:pt idx="610">
                    <c:v>Nov</c:v>
                  </c:pt>
                  <c:pt idx="640">
                    <c:v>Dec</c:v>
                  </c:pt>
                  <c:pt idx="671">
                    <c:v>Jan</c:v>
                  </c:pt>
                  <c:pt idx="702">
                    <c:v>Feb</c:v>
                  </c:pt>
                  <c:pt idx="730">
                    <c:v>Mar</c:v>
                  </c:pt>
                </c:lvl>
                <c:lvl>
                  <c:pt idx="0">
                    <c:v>FY20</c:v>
                  </c:pt>
                  <c:pt idx="31">
                    <c:v>FY21</c:v>
                  </c:pt>
                  <c:pt idx="396">
                    <c:v>FY22</c:v>
                  </c:pt>
                </c:lvl>
              </c:multiLvlStrCache>
            </c:multiLvlStrRef>
          </c:cat>
          <c:val>
            <c:numRef>
              <c:f>charts!$F$2:$F$757</c:f>
              <c:numCache>
                <c:formatCode>0.0</c:formatCode>
                <c:ptCount val="756"/>
                <c:pt idx="0">
                  <c:v>1.7142857142857142</c:v>
                </c:pt>
                <c:pt idx="1">
                  <c:v>1.8571428571428572</c:v>
                </c:pt>
                <c:pt idx="2">
                  <c:v>1.8571428571428572</c:v>
                </c:pt>
                <c:pt idx="3">
                  <c:v>1.8571428571428572</c:v>
                </c:pt>
                <c:pt idx="4">
                  <c:v>1.8571428571428572</c:v>
                </c:pt>
                <c:pt idx="5">
                  <c:v>1.4285714285714286</c:v>
                </c:pt>
                <c:pt idx="6">
                  <c:v>1.8571428571428572</c:v>
                </c:pt>
                <c:pt idx="7">
                  <c:v>2</c:v>
                </c:pt>
                <c:pt idx="8">
                  <c:v>2.1428571428571428</c:v>
                </c:pt>
                <c:pt idx="9">
                  <c:v>1.1428571428571428</c:v>
                </c:pt>
                <c:pt idx="10">
                  <c:v>0.7142857142857143</c:v>
                </c:pt>
                <c:pt idx="11">
                  <c:v>0.5714285714285714</c:v>
                </c:pt>
                <c:pt idx="12">
                  <c:v>0.5714285714285714</c:v>
                </c:pt>
                <c:pt idx="13">
                  <c:v>-0.5714285714285714</c:v>
                </c:pt>
                <c:pt idx="14">
                  <c:v>-1.7142857142857142</c:v>
                </c:pt>
                <c:pt idx="15">
                  <c:v>-2.4285714285714284</c:v>
                </c:pt>
                <c:pt idx="16">
                  <c:v>-2.1428571428571428</c:v>
                </c:pt>
                <c:pt idx="17">
                  <c:v>-2.7142857142857144</c:v>
                </c:pt>
                <c:pt idx="18">
                  <c:v>-4</c:v>
                </c:pt>
                <c:pt idx="19">
                  <c:v>-5.8571428571428568</c:v>
                </c:pt>
                <c:pt idx="20">
                  <c:v>-8.2857142857142865</c:v>
                </c:pt>
                <c:pt idx="21">
                  <c:v>-15.714285714285714</c:v>
                </c:pt>
                <c:pt idx="22">
                  <c:v>-20.571428571428573</c:v>
                </c:pt>
                <c:pt idx="23">
                  <c:v>-26.571428571428573</c:v>
                </c:pt>
                <c:pt idx="24">
                  <c:v>-33.285714285714285</c:v>
                </c:pt>
                <c:pt idx="25">
                  <c:v>-39.571428571428569</c:v>
                </c:pt>
                <c:pt idx="26">
                  <c:v>-45.142857142857146</c:v>
                </c:pt>
                <c:pt idx="27">
                  <c:v>-49.571428571428569</c:v>
                </c:pt>
                <c:pt idx="28">
                  <c:v>-49.428571428571431</c:v>
                </c:pt>
                <c:pt idx="29">
                  <c:v>-51.714285714285715</c:v>
                </c:pt>
                <c:pt idx="30">
                  <c:v>-52.571428571428569</c:v>
                </c:pt>
                <c:pt idx="31">
                  <c:v>-52.428571428571431</c:v>
                </c:pt>
                <c:pt idx="32">
                  <c:v>-52.428571428571431</c:v>
                </c:pt>
                <c:pt idx="33">
                  <c:v>-52.285714285714285</c:v>
                </c:pt>
                <c:pt idx="34">
                  <c:v>-52.142857142857146</c:v>
                </c:pt>
                <c:pt idx="35">
                  <c:v>-52</c:v>
                </c:pt>
                <c:pt idx="36">
                  <c:v>-51.857142857142854</c:v>
                </c:pt>
                <c:pt idx="37">
                  <c:v>-51.285714285714285</c:v>
                </c:pt>
                <c:pt idx="38">
                  <c:v>-50.714285714285715</c:v>
                </c:pt>
                <c:pt idx="39">
                  <c:v>-50.285714285714285</c:v>
                </c:pt>
                <c:pt idx="40">
                  <c:v>-49.857142857142854</c:v>
                </c:pt>
                <c:pt idx="41">
                  <c:v>-49.714285714285715</c:v>
                </c:pt>
                <c:pt idx="42">
                  <c:v>-49.428571428571431</c:v>
                </c:pt>
                <c:pt idx="43">
                  <c:v>-49.142857142857146</c:v>
                </c:pt>
                <c:pt idx="44">
                  <c:v>-49.285714285714285</c:v>
                </c:pt>
                <c:pt idx="45">
                  <c:v>-49.285714285714285</c:v>
                </c:pt>
                <c:pt idx="46">
                  <c:v>-51</c:v>
                </c:pt>
                <c:pt idx="47">
                  <c:v>-52.714285714285715</c:v>
                </c:pt>
                <c:pt idx="48">
                  <c:v>-54.714285714285715</c:v>
                </c:pt>
                <c:pt idx="49">
                  <c:v>-56.714285714285715</c:v>
                </c:pt>
                <c:pt idx="50">
                  <c:v>-58.714285714285715</c:v>
                </c:pt>
                <c:pt idx="51">
                  <c:v>-60.857142857142854</c:v>
                </c:pt>
                <c:pt idx="52">
                  <c:v>-63</c:v>
                </c:pt>
                <c:pt idx="53">
                  <c:v>-63.285714285714285</c:v>
                </c:pt>
                <c:pt idx="54">
                  <c:v>-63.714285714285715</c:v>
                </c:pt>
                <c:pt idx="55">
                  <c:v>-63.571428571428569</c:v>
                </c:pt>
                <c:pt idx="56">
                  <c:v>-63.571428571428569</c:v>
                </c:pt>
                <c:pt idx="57">
                  <c:v>-63.571428571428569</c:v>
                </c:pt>
                <c:pt idx="58">
                  <c:v>-63.428571428571431</c:v>
                </c:pt>
                <c:pt idx="59">
                  <c:v>-63.285714285714285</c:v>
                </c:pt>
                <c:pt idx="60">
                  <c:v>-63</c:v>
                </c:pt>
                <c:pt idx="61">
                  <c:v>-62.857142857142854</c:v>
                </c:pt>
                <c:pt idx="62">
                  <c:v>-62.714285714285715</c:v>
                </c:pt>
                <c:pt idx="63">
                  <c:v>-62.571428571428569</c:v>
                </c:pt>
                <c:pt idx="64">
                  <c:v>-62.285714285714285</c:v>
                </c:pt>
                <c:pt idx="65">
                  <c:v>-62.142857142857146</c:v>
                </c:pt>
                <c:pt idx="66">
                  <c:v>-61.857142857142854</c:v>
                </c:pt>
                <c:pt idx="67">
                  <c:v>-61.714285714285715</c:v>
                </c:pt>
                <c:pt idx="68">
                  <c:v>-61.285714285714285</c:v>
                </c:pt>
                <c:pt idx="69">
                  <c:v>-61</c:v>
                </c:pt>
                <c:pt idx="70">
                  <c:v>-60.714285714285715</c:v>
                </c:pt>
                <c:pt idx="71">
                  <c:v>-60.428571428571431</c:v>
                </c:pt>
                <c:pt idx="72">
                  <c:v>-60</c:v>
                </c:pt>
                <c:pt idx="73">
                  <c:v>-59.714285714285715</c:v>
                </c:pt>
                <c:pt idx="74">
                  <c:v>-59.428571428571431</c:v>
                </c:pt>
                <c:pt idx="75">
                  <c:v>-59</c:v>
                </c:pt>
                <c:pt idx="76">
                  <c:v>-58.571428571428569</c:v>
                </c:pt>
                <c:pt idx="77">
                  <c:v>-58.285714285714285</c:v>
                </c:pt>
                <c:pt idx="78">
                  <c:v>-58</c:v>
                </c:pt>
                <c:pt idx="79">
                  <c:v>-57.857142857142854</c:v>
                </c:pt>
                <c:pt idx="80">
                  <c:v>-57.714285714285715</c:v>
                </c:pt>
                <c:pt idx="81">
                  <c:v>-57.571428571428569</c:v>
                </c:pt>
                <c:pt idx="82">
                  <c:v>-57.571428571428569</c:v>
                </c:pt>
                <c:pt idx="83">
                  <c:v>-57.571428571428569</c:v>
                </c:pt>
                <c:pt idx="84">
                  <c:v>-57.285714285714285</c:v>
                </c:pt>
                <c:pt idx="85">
                  <c:v>-57.142857142857146</c:v>
                </c:pt>
                <c:pt idx="86">
                  <c:v>-56.857142857142854</c:v>
                </c:pt>
                <c:pt idx="87">
                  <c:v>-56.571428571428569</c:v>
                </c:pt>
                <c:pt idx="88">
                  <c:v>-56.285714285714285</c:v>
                </c:pt>
                <c:pt idx="89">
                  <c:v>-56</c:v>
                </c:pt>
                <c:pt idx="90">
                  <c:v>-55.857142857142854</c:v>
                </c:pt>
                <c:pt idx="91">
                  <c:v>-55.857142857142854</c:v>
                </c:pt>
                <c:pt idx="92">
                  <c:v>-55.571428571428569</c:v>
                </c:pt>
                <c:pt idx="93">
                  <c:v>-55.428571428571431</c:v>
                </c:pt>
                <c:pt idx="94">
                  <c:v>-55.285714285714285</c:v>
                </c:pt>
                <c:pt idx="95">
                  <c:v>-55.142857142857146</c:v>
                </c:pt>
                <c:pt idx="96">
                  <c:v>-54.857142857142854</c:v>
                </c:pt>
                <c:pt idx="97">
                  <c:v>-54.428571428571431</c:v>
                </c:pt>
                <c:pt idx="98">
                  <c:v>-54</c:v>
                </c:pt>
                <c:pt idx="99">
                  <c:v>-53.714285714285715</c:v>
                </c:pt>
                <c:pt idx="100">
                  <c:v>-53.428571428571431</c:v>
                </c:pt>
                <c:pt idx="101">
                  <c:v>-53</c:v>
                </c:pt>
                <c:pt idx="102">
                  <c:v>-52.428571428571431</c:v>
                </c:pt>
                <c:pt idx="103">
                  <c:v>-52.142857142857146</c:v>
                </c:pt>
                <c:pt idx="104">
                  <c:v>-51.857142857142854</c:v>
                </c:pt>
                <c:pt idx="105">
                  <c:v>-51.571428571428569</c:v>
                </c:pt>
                <c:pt idx="106">
                  <c:v>-51.285714285714285</c:v>
                </c:pt>
                <c:pt idx="107">
                  <c:v>-50.857142857142854</c:v>
                </c:pt>
                <c:pt idx="108">
                  <c:v>-50.714285714285715</c:v>
                </c:pt>
                <c:pt idx="109">
                  <c:v>-50.714285714285715</c:v>
                </c:pt>
                <c:pt idx="110">
                  <c:v>-50.714285714285715</c:v>
                </c:pt>
                <c:pt idx="111">
                  <c:v>-50.714285714285715</c:v>
                </c:pt>
                <c:pt idx="112">
                  <c:v>-51</c:v>
                </c:pt>
                <c:pt idx="113">
                  <c:v>-51</c:v>
                </c:pt>
                <c:pt idx="114">
                  <c:v>-51</c:v>
                </c:pt>
                <c:pt idx="115">
                  <c:v>-51</c:v>
                </c:pt>
                <c:pt idx="116">
                  <c:v>-51</c:v>
                </c:pt>
                <c:pt idx="117">
                  <c:v>-50.857142857142854</c:v>
                </c:pt>
                <c:pt idx="118">
                  <c:v>-50.857142857142854</c:v>
                </c:pt>
                <c:pt idx="119">
                  <c:v>-50.714285714285715</c:v>
                </c:pt>
                <c:pt idx="120">
                  <c:v>-50.714285714285715</c:v>
                </c:pt>
                <c:pt idx="121">
                  <c:v>-50.714285714285715</c:v>
                </c:pt>
                <c:pt idx="122">
                  <c:v>-50.571428571428569</c:v>
                </c:pt>
                <c:pt idx="123">
                  <c:v>-50.428571428571431</c:v>
                </c:pt>
                <c:pt idx="124">
                  <c:v>-50.428571428571431</c:v>
                </c:pt>
                <c:pt idx="125">
                  <c:v>-50.428571428571431</c:v>
                </c:pt>
                <c:pt idx="126">
                  <c:v>-50.428571428571431</c:v>
                </c:pt>
                <c:pt idx="127">
                  <c:v>-50.428571428571431</c:v>
                </c:pt>
                <c:pt idx="128">
                  <c:v>-50.428571428571431</c:v>
                </c:pt>
                <c:pt idx="129">
                  <c:v>-50.571428571428569</c:v>
                </c:pt>
                <c:pt idx="130">
                  <c:v>-50.714285714285715</c:v>
                </c:pt>
                <c:pt idx="131">
                  <c:v>-50.857142857142854</c:v>
                </c:pt>
                <c:pt idx="132">
                  <c:v>-51</c:v>
                </c:pt>
                <c:pt idx="133">
                  <c:v>-51.142857142857146</c:v>
                </c:pt>
                <c:pt idx="134">
                  <c:v>-51.142857142857146</c:v>
                </c:pt>
                <c:pt idx="135">
                  <c:v>-51.285714285714285</c:v>
                </c:pt>
                <c:pt idx="136">
                  <c:v>-51.428571428571431</c:v>
                </c:pt>
                <c:pt idx="137">
                  <c:v>-51.571428571428569</c:v>
                </c:pt>
                <c:pt idx="138">
                  <c:v>-51.571428571428569</c:v>
                </c:pt>
                <c:pt idx="139">
                  <c:v>-51.571428571428569</c:v>
                </c:pt>
                <c:pt idx="140">
                  <c:v>-51.571428571428569</c:v>
                </c:pt>
                <c:pt idx="141">
                  <c:v>-51.714285714285715</c:v>
                </c:pt>
                <c:pt idx="142">
                  <c:v>-51.857142857142854</c:v>
                </c:pt>
                <c:pt idx="143">
                  <c:v>-51.857142857142854</c:v>
                </c:pt>
                <c:pt idx="144">
                  <c:v>-52</c:v>
                </c:pt>
                <c:pt idx="145">
                  <c:v>-51.714285714285715</c:v>
                </c:pt>
                <c:pt idx="146">
                  <c:v>-51.714285714285715</c:v>
                </c:pt>
                <c:pt idx="147">
                  <c:v>-51.571428571428569</c:v>
                </c:pt>
                <c:pt idx="148">
                  <c:v>-51.285714285714285</c:v>
                </c:pt>
                <c:pt idx="149">
                  <c:v>-51.142857142857146</c:v>
                </c:pt>
                <c:pt idx="150">
                  <c:v>-51.142857142857146</c:v>
                </c:pt>
                <c:pt idx="151">
                  <c:v>-50.571428571428569</c:v>
                </c:pt>
                <c:pt idx="152">
                  <c:v>-50.428571428571431</c:v>
                </c:pt>
                <c:pt idx="153">
                  <c:v>-50</c:v>
                </c:pt>
                <c:pt idx="154">
                  <c:v>-49.571428571428569</c:v>
                </c:pt>
                <c:pt idx="155">
                  <c:v>-49.142857142857146</c:v>
                </c:pt>
                <c:pt idx="156">
                  <c:v>-49</c:v>
                </c:pt>
                <c:pt idx="157">
                  <c:v>-49.714285714285715</c:v>
                </c:pt>
                <c:pt idx="158">
                  <c:v>-50.571428571428569</c:v>
                </c:pt>
                <c:pt idx="159">
                  <c:v>-51.142857142857146</c:v>
                </c:pt>
                <c:pt idx="160">
                  <c:v>-52</c:v>
                </c:pt>
                <c:pt idx="161">
                  <c:v>-52.714285714285715</c:v>
                </c:pt>
                <c:pt idx="162">
                  <c:v>-53.571428571428569</c:v>
                </c:pt>
                <c:pt idx="163">
                  <c:v>-54</c:v>
                </c:pt>
                <c:pt idx="164">
                  <c:v>-53.571428571428569</c:v>
                </c:pt>
                <c:pt idx="165">
                  <c:v>-53.428571428571431</c:v>
                </c:pt>
                <c:pt idx="166">
                  <c:v>-53.428571428571431</c:v>
                </c:pt>
                <c:pt idx="167">
                  <c:v>-53.142857142857146</c:v>
                </c:pt>
                <c:pt idx="168">
                  <c:v>-53.142857142857146</c:v>
                </c:pt>
                <c:pt idx="169">
                  <c:v>-53</c:v>
                </c:pt>
                <c:pt idx="170">
                  <c:v>-52.714285714285715</c:v>
                </c:pt>
                <c:pt idx="171">
                  <c:v>-52.428571428571431</c:v>
                </c:pt>
                <c:pt idx="172">
                  <c:v>-52.428571428571431</c:v>
                </c:pt>
                <c:pt idx="173">
                  <c:v>-52.428571428571431</c:v>
                </c:pt>
                <c:pt idx="174">
                  <c:v>-52.428571428571431</c:v>
                </c:pt>
                <c:pt idx="175">
                  <c:v>-52.142857142857146</c:v>
                </c:pt>
                <c:pt idx="176">
                  <c:v>-51.857142857142854</c:v>
                </c:pt>
                <c:pt idx="177">
                  <c:v>-51.714285714285715</c:v>
                </c:pt>
                <c:pt idx="178">
                  <c:v>-51.571428571428569</c:v>
                </c:pt>
                <c:pt idx="179">
                  <c:v>-51.142857142857146</c:v>
                </c:pt>
                <c:pt idx="180">
                  <c:v>-50.714285714285715</c:v>
                </c:pt>
                <c:pt idx="181">
                  <c:v>-50.285714285714285</c:v>
                </c:pt>
                <c:pt idx="182">
                  <c:v>-49.857142857142854</c:v>
                </c:pt>
                <c:pt idx="183">
                  <c:v>-49.714285714285715</c:v>
                </c:pt>
                <c:pt idx="184">
                  <c:v>-49.285714285714285</c:v>
                </c:pt>
                <c:pt idx="185">
                  <c:v>-49</c:v>
                </c:pt>
                <c:pt idx="186">
                  <c:v>-48.714285714285715</c:v>
                </c:pt>
                <c:pt idx="187">
                  <c:v>-48.571428571428569</c:v>
                </c:pt>
                <c:pt idx="188">
                  <c:v>-48.142857142857146</c:v>
                </c:pt>
                <c:pt idx="189">
                  <c:v>-47.714285714285715</c:v>
                </c:pt>
                <c:pt idx="190">
                  <c:v>-47.714285714285715</c:v>
                </c:pt>
                <c:pt idx="191">
                  <c:v>-47.571428571428569</c:v>
                </c:pt>
                <c:pt idx="192">
                  <c:v>-47.285714285714285</c:v>
                </c:pt>
                <c:pt idx="193">
                  <c:v>-47</c:v>
                </c:pt>
                <c:pt idx="194">
                  <c:v>-47</c:v>
                </c:pt>
                <c:pt idx="195">
                  <c:v>-46.857142857142854</c:v>
                </c:pt>
                <c:pt idx="196">
                  <c:v>-46.571428571428569</c:v>
                </c:pt>
                <c:pt idx="197">
                  <c:v>-46.142857142857146</c:v>
                </c:pt>
                <c:pt idx="198">
                  <c:v>-46.142857142857146</c:v>
                </c:pt>
                <c:pt idx="199">
                  <c:v>-46</c:v>
                </c:pt>
                <c:pt idx="200">
                  <c:v>-46</c:v>
                </c:pt>
                <c:pt idx="201">
                  <c:v>-45.714285714285715</c:v>
                </c:pt>
                <c:pt idx="202">
                  <c:v>-45.571428571428569</c:v>
                </c:pt>
                <c:pt idx="203">
                  <c:v>-45.428571428571431</c:v>
                </c:pt>
                <c:pt idx="204">
                  <c:v>-45.285714285714285</c:v>
                </c:pt>
                <c:pt idx="205">
                  <c:v>-45</c:v>
                </c:pt>
                <c:pt idx="206">
                  <c:v>-44.857142857142854</c:v>
                </c:pt>
                <c:pt idx="207">
                  <c:v>-44.428571428571431</c:v>
                </c:pt>
                <c:pt idx="208">
                  <c:v>-44.285714285714285</c:v>
                </c:pt>
                <c:pt idx="209">
                  <c:v>-43.857142857142854</c:v>
                </c:pt>
                <c:pt idx="210">
                  <c:v>-43</c:v>
                </c:pt>
                <c:pt idx="211">
                  <c:v>-42.714285714285715</c:v>
                </c:pt>
                <c:pt idx="212">
                  <c:v>-42.571428571428569</c:v>
                </c:pt>
                <c:pt idx="213">
                  <c:v>-42.714285714285715</c:v>
                </c:pt>
                <c:pt idx="214">
                  <c:v>-43.285714285714285</c:v>
                </c:pt>
                <c:pt idx="215">
                  <c:v>-43.285714285714285</c:v>
                </c:pt>
                <c:pt idx="216">
                  <c:v>-43.714285714285715</c:v>
                </c:pt>
                <c:pt idx="217">
                  <c:v>-44.142857142857146</c:v>
                </c:pt>
                <c:pt idx="218">
                  <c:v>-44.571428571428569</c:v>
                </c:pt>
                <c:pt idx="219">
                  <c:v>-45</c:v>
                </c:pt>
                <c:pt idx="220">
                  <c:v>-45</c:v>
                </c:pt>
                <c:pt idx="221">
                  <c:v>-44.714285714285715</c:v>
                </c:pt>
                <c:pt idx="222">
                  <c:v>-44.571428571428569</c:v>
                </c:pt>
                <c:pt idx="223">
                  <c:v>-44.285714285714285</c:v>
                </c:pt>
                <c:pt idx="224">
                  <c:v>-44</c:v>
                </c:pt>
                <c:pt idx="225">
                  <c:v>-43.714285714285715</c:v>
                </c:pt>
                <c:pt idx="226">
                  <c:v>-43.428571428571431</c:v>
                </c:pt>
                <c:pt idx="227">
                  <c:v>-43.142857142857146</c:v>
                </c:pt>
                <c:pt idx="228">
                  <c:v>-42.857142857142854</c:v>
                </c:pt>
                <c:pt idx="229">
                  <c:v>-42.571428571428569</c:v>
                </c:pt>
                <c:pt idx="230">
                  <c:v>-42.428571428571431</c:v>
                </c:pt>
                <c:pt idx="231">
                  <c:v>-42.142857142857146</c:v>
                </c:pt>
                <c:pt idx="232">
                  <c:v>-41.714285714285715</c:v>
                </c:pt>
                <c:pt idx="233">
                  <c:v>-41.428571428571431</c:v>
                </c:pt>
                <c:pt idx="234">
                  <c:v>-41.142857142857146</c:v>
                </c:pt>
                <c:pt idx="235">
                  <c:v>-40.714285714285715</c:v>
                </c:pt>
                <c:pt idx="236">
                  <c:v>-40.285714285714285</c:v>
                </c:pt>
                <c:pt idx="237">
                  <c:v>-39.428571428571431</c:v>
                </c:pt>
                <c:pt idx="238">
                  <c:v>-38.857142857142854</c:v>
                </c:pt>
                <c:pt idx="239">
                  <c:v>-38.142857142857146</c:v>
                </c:pt>
                <c:pt idx="240">
                  <c:v>-37.714285714285715</c:v>
                </c:pt>
                <c:pt idx="241">
                  <c:v>-37.571428571428569</c:v>
                </c:pt>
                <c:pt idx="242">
                  <c:v>-37.571428571428569</c:v>
                </c:pt>
                <c:pt idx="243">
                  <c:v>-37.857142857142854</c:v>
                </c:pt>
                <c:pt idx="244">
                  <c:v>-38.285714285714285</c:v>
                </c:pt>
                <c:pt idx="245">
                  <c:v>-38.571428571428569</c:v>
                </c:pt>
                <c:pt idx="246">
                  <c:v>-39.142857142857146</c:v>
                </c:pt>
                <c:pt idx="247">
                  <c:v>-39.142857142857146</c:v>
                </c:pt>
                <c:pt idx="248">
                  <c:v>-39.142857142857146</c:v>
                </c:pt>
                <c:pt idx="249">
                  <c:v>-39</c:v>
                </c:pt>
                <c:pt idx="250">
                  <c:v>-38.714285714285715</c:v>
                </c:pt>
                <c:pt idx="251">
                  <c:v>-38.285714285714285</c:v>
                </c:pt>
                <c:pt idx="252">
                  <c:v>-37.857142857142854</c:v>
                </c:pt>
                <c:pt idx="253">
                  <c:v>-37.571428571428569</c:v>
                </c:pt>
                <c:pt idx="254">
                  <c:v>-37.285714285714285</c:v>
                </c:pt>
                <c:pt idx="255">
                  <c:v>-36.714285714285715</c:v>
                </c:pt>
                <c:pt idx="256">
                  <c:v>-36</c:v>
                </c:pt>
                <c:pt idx="257">
                  <c:v>-35</c:v>
                </c:pt>
                <c:pt idx="258">
                  <c:v>-34.857142857142854</c:v>
                </c:pt>
                <c:pt idx="259">
                  <c:v>-34.857142857142854</c:v>
                </c:pt>
                <c:pt idx="260">
                  <c:v>-33.857142857142854</c:v>
                </c:pt>
                <c:pt idx="261">
                  <c:v>-33.142857142857146</c:v>
                </c:pt>
                <c:pt idx="262">
                  <c:v>-32.571428571428569</c:v>
                </c:pt>
                <c:pt idx="263">
                  <c:v>-32.285714285714285</c:v>
                </c:pt>
                <c:pt idx="264">
                  <c:v>-32.285714285714285</c:v>
                </c:pt>
                <c:pt idx="265">
                  <c:v>-31.714285714285715</c:v>
                </c:pt>
                <c:pt idx="266">
                  <c:v>-31.142857142857142</c:v>
                </c:pt>
                <c:pt idx="267">
                  <c:v>-31.571428571428573</c:v>
                </c:pt>
                <c:pt idx="268">
                  <c:v>-31.857142857142858</c:v>
                </c:pt>
                <c:pt idx="269">
                  <c:v>-32.142857142857146</c:v>
                </c:pt>
                <c:pt idx="270">
                  <c:v>-32.714285714285715</c:v>
                </c:pt>
                <c:pt idx="271">
                  <c:v>-33</c:v>
                </c:pt>
                <c:pt idx="272">
                  <c:v>-33.142857142857146</c:v>
                </c:pt>
                <c:pt idx="273">
                  <c:v>-33</c:v>
                </c:pt>
                <c:pt idx="274">
                  <c:v>-32.571428571428569</c:v>
                </c:pt>
                <c:pt idx="275">
                  <c:v>-32</c:v>
                </c:pt>
                <c:pt idx="276">
                  <c:v>-30.142857142857142</c:v>
                </c:pt>
                <c:pt idx="277">
                  <c:v>-28.142857142857142</c:v>
                </c:pt>
                <c:pt idx="278">
                  <c:v>-26.428571428571427</c:v>
                </c:pt>
                <c:pt idx="279">
                  <c:v>-24.714285714285715</c:v>
                </c:pt>
                <c:pt idx="280">
                  <c:v>-22.571428571428573</c:v>
                </c:pt>
                <c:pt idx="281">
                  <c:v>-20.714285714285715</c:v>
                </c:pt>
                <c:pt idx="282">
                  <c:v>-19.857142857142858</c:v>
                </c:pt>
                <c:pt idx="283">
                  <c:v>-19.285714285714285</c:v>
                </c:pt>
                <c:pt idx="284">
                  <c:v>-18.428571428571427</c:v>
                </c:pt>
                <c:pt idx="285">
                  <c:v>-17.857142857142858</c:v>
                </c:pt>
                <c:pt idx="286">
                  <c:v>-17.571428571428573</c:v>
                </c:pt>
                <c:pt idx="287">
                  <c:v>-17.285714285714285</c:v>
                </c:pt>
                <c:pt idx="288">
                  <c:v>-17.571428571428573</c:v>
                </c:pt>
                <c:pt idx="289">
                  <c:v>-16.714285714285715</c:v>
                </c:pt>
                <c:pt idx="290">
                  <c:v>-17.142857142857142</c:v>
                </c:pt>
                <c:pt idx="291">
                  <c:v>-17.714285714285715</c:v>
                </c:pt>
                <c:pt idx="292">
                  <c:v>-18</c:v>
                </c:pt>
                <c:pt idx="293">
                  <c:v>-18</c:v>
                </c:pt>
                <c:pt idx="294">
                  <c:v>-17.857142857142858</c:v>
                </c:pt>
                <c:pt idx="295">
                  <c:v>-17.571428571428573</c:v>
                </c:pt>
                <c:pt idx="296">
                  <c:v>-17.714285714285715</c:v>
                </c:pt>
                <c:pt idx="297">
                  <c:v>-17.571428571428573</c:v>
                </c:pt>
                <c:pt idx="298">
                  <c:v>-17</c:v>
                </c:pt>
                <c:pt idx="299">
                  <c:v>-15.428571428571429</c:v>
                </c:pt>
                <c:pt idx="300">
                  <c:v>-14.857142857142858</c:v>
                </c:pt>
                <c:pt idx="301">
                  <c:v>-14.428571428571429</c:v>
                </c:pt>
                <c:pt idx="302">
                  <c:v>-14.142857142857142</c:v>
                </c:pt>
                <c:pt idx="303">
                  <c:v>-13.857142857142858</c:v>
                </c:pt>
                <c:pt idx="304" formatCode="General">
                  <c:v>-13.571428571428571</c:v>
                </c:pt>
                <c:pt idx="305" formatCode="General">
                  <c:v>-13.142857142857142</c:v>
                </c:pt>
                <c:pt idx="306" formatCode="General">
                  <c:v>-12.857142857142858</c:v>
                </c:pt>
                <c:pt idx="307" formatCode="General">
                  <c:v>-13.285714285714286</c:v>
                </c:pt>
                <c:pt idx="308" formatCode="General">
                  <c:v>-13.714285714285714</c:v>
                </c:pt>
                <c:pt idx="309" formatCode="General">
                  <c:v>-14.142857142857142</c:v>
                </c:pt>
                <c:pt idx="310" formatCode="General">
                  <c:v>-14.571428571428571</c:v>
                </c:pt>
                <c:pt idx="311" formatCode="General">
                  <c:v>-14.428571428571429</c:v>
                </c:pt>
                <c:pt idx="312" formatCode="General">
                  <c:v>-14.571428571428571</c:v>
                </c:pt>
                <c:pt idx="313" formatCode="General">
                  <c:v>-15.571428571428571</c:v>
                </c:pt>
                <c:pt idx="314" formatCode="General">
                  <c:v>-14.857142857142858</c:v>
                </c:pt>
                <c:pt idx="315" formatCode="General">
                  <c:v>-14</c:v>
                </c:pt>
                <c:pt idx="316" formatCode="General">
                  <c:v>-13</c:v>
                </c:pt>
                <c:pt idx="317" formatCode="General">
                  <c:v>-11.857142857142858</c:v>
                </c:pt>
                <c:pt idx="318" formatCode="General">
                  <c:v>-11.714285714285714</c:v>
                </c:pt>
                <c:pt idx="319" formatCode="General">
                  <c:v>-11.857142857142858</c:v>
                </c:pt>
                <c:pt idx="320" formatCode="General">
                  <c:v>-12.428571428571429</c:v>
                </c:pt>
                <c:pt idx="321" formatCode="General">
                  <c:v>-13.142857142857142</c:v>
                </c:pt>
                <c:pt idx="322" formatCode="General">
                  <c:v>-14.142857142857142</c:v>
                </c:pt>
                <c:pt idx="323" formatCode="General">
                  <c:v>-14.857142857142858</c:v>
                </c:pt>
                <c:pt idx="324" formatCode="General">
                  <c:v>-15.571428571428571</c:v>
                </c:pt>
                <c:pt idx="325" formatCode="General">
                  <c:v>-15.857142857142858</c:v>
                </c:pt>
                <c:pt idx="326" formatCode="General">
                  <c:v>-16</c:v>
                </c:pt>
                <c:pt idx="327" formatCode="General">
                  <c:v>-15.714285714285714</c:v>
                </c:pt>
                <c:pt idx="328" formatCode="General">
                  <c:v>-15.142857142857142</c:v>
                </c:pt>
                <c:pt idx="329" formatCode="General">
                  <c:v>-14.285714285714286</c:v>
                </c:pt>
                <c:pt idx="330" formatCode="General">
                  <c:v>-13.285714285714286</c:v>
                </c:pt>
                <c:pt idx="331" formatCode="General">
                  <c:v>-11.285714285714286</c:v>
                </c:pt>
                <c:pt idx="332" formatCode="General">
                  <c:v>-10.857142857142858</c:v>
                </c:pt>
                <c:pt idx="333" formatCode="General">
                  <c:v>-10.571428571428571</c:v>
                </c:pt>
                <c:pt idx="334" formatCode="General">
                  <c:v>-10.714285714285714</c:v>
                </c:pt>
                <c:pt idx="335" formatCode="General">
                  <c:v>-11</c:v>
                </c:pt>
                <c:pt idx="336" formatCode="General">
                  <c:v>-11.571428571428571</c:v>
                </c:pt>
                <c:pt idx="337" formatCode="General">
                  <c:v>-12.428571428571429</c:v>
                </c:pt>
                <c:pt idx="338" formatCode="General">
                  <c:v>-14.285714285714286</c:v>
                </c:pt>
                <c:pt idx="339" formatCode="General">
                  <c:v>-15</c:v>
                </c:pt>
                <c:pt idx="340" formatCode="General">
                  <c:v>-15.857142857142858</c:v>
                </c:pt>
                <c:pt idx="341" formatCode="General">
                  <c:v>-16.142857142857142</c:v>
                </c:pt>
                <c:pt idx="342" formatCode="General">
                  <c:v>-16.428571428571427</c:v>
                </c:pt>
                <c:pt idx="343" formatCode="General">
                  <c:v>-16.285714285714285</c:v>
                </c:pt>
                <c:pt idx="344" formatCode="General">
                  <c:v>-16.571428571428573</c:v>
                </c:pt>
                <c:pt idx="345" formatCode="General">
                  <c:v>-16.714285714285715</c:v>
                </c:pt>
                <c:pt idx="346" formatCode="General">
                  <c:v>-16.571428571428573</c:v>
                </c:pt>
                <c:pt idx="347" formatCode="General">
                  <c:v>-16</c:v>
                </c:pt>
                <c:pt idx="348" formatCode="General">
                  <c:v>-15.571428571428571</c:v>
                </c:pt>
                <c:pt idx="349" formatCode="General">
                  <c:v>-14.571428571428571</c:v>
                </c:pt>
                <c:pt idx="350" formatCode="General">
                  <c:v>-13.571428571428571</c:v>
                </c:pt>
                <c:pt idx="351" formatCode="General">
                  <c:v>-12.571428571428571</c:v>
                </c:pt>
                <c:pt idx="352" formatCode="General">
                  <c:v>-11.428571428571429</c:v>
                </c:pt>
                <c:pt idx="353" formatCode="General">
                  <c:v>-10.857142857142858</c:v>
                </c:pt>
                <c:pt idx="354" formatCode="General">
                  <c:v>-10.714285714285714</c:v>
                </c:pt>
                <c:pt idx="355" formatCode="General">
                  <c:v>-10.571428571428571</c:v>
                </c:pt>
                <c:pt idx="356" formatCode="General">
                  <c:v>-10.571428571428571</c:v>
                </c:pt>
                <c:pt idx="357" formatCode="General">
                  <c:v>-11</c:v>
                </c:pt>
                <c:pt idx="358" formatCode="General">
                  <c:v>-11.285714285714286</c:v>
                </c:pt>
                <c:pt idx="359" formatCode="General">
                  <c:v>-11.857142857142858</c:v>
                </c:pt>
                <c:pt idx="360" formatCode="General">
                  <c:v>-11.857142857142858</c:v>
                </c:pt>
                <c:pt idx="361" formatCode="General">
                  <c:v>-11.714285714285714</c:v>
                </c:pt>
                <c:pt idx="362" formatCode="General">
                  <c:v>-11.714285714285714</c:v>
                </c:pt>
                <c:pt idx="363" formatCode="General">
                  <c:v>-11.714285714285714</c:v>
                </c:pt>
                <c:pt idx="364" formatCode="General">
                  <c:v>-11.714285714285714</c:v>
                </c:pt>
                <c:pt idx="365" formatCode="General">
                  <c:v>-11.571428571428571</c:v>
                </c:pt>
                <c:pt idx="366" formatCode="General">
                  <c:v>-11.571428571428571</c:v>
                </c:pt>
                <c:pt idx="367" formatCode="General">
                  <c:v>-11.428571428571429</c:v>
                </c:pt>
                <c:pt idx="368" formatCode="General">
                  <c:v>-11.285714285714286</c:v>
                </c:pt>
                <c:pt idx="369" formatCode="General">
                  <c:v>-11.142857142857142</c:v>
                </c:pt>
                <c:pt idx="370" formatCode="General">
                  <c:v>-11.142857142857142</c:v>
                </c:pt>
                <c:pt idx="371" formatCode="General">
                  <c:v>-11</c:v>
                </c:pt>
                <c:pt idx="372" formatCode="General">
                  <c:v>-10.857142857142858</c:v>
                </c:pt>
                <c:pt idx="373" formatCode="General">
                  <c:v>-10.714285714285714</c:v>
                </c:pt>
                <c:pt idx="374" formatCode="General">
                  <c:v>-10.428571428571429</c:v>
                </c:pt>
                <c:pt idx="375" formatCode="General">
                  <c:v>-9.5714285714285712</c:v>
                </c:pt>
                <c:pt idx="376" formatCode="General">
                  <c:v>-9.5714285714285712</c:v>
                </c:pt>
                <c:pt idx="377" formatCode="General">
                  <c:v>-9.4285714285714288</c:v>
                </c:pt>
                <c:pt idx="378" formatCode="General">
                  <c:v>-9.5714285714285712</c:v>
                </c:pt>
                <c:pt idx="379" formatCode="General">
                  <c:v>-9.4285714285714288</c:v>
                </c:pt>
                <c:pt idx="380" formatCode="General">
                  <c:v>-9.5714285714285712</c:v>
                </c:pt>
                <c:pt idx="381" formatCode="General">
                  <c:v>-10</c:v>
                </c:pt>
                <c:pt idx="382" formatCode="General">
                  <c:v>-10.857142857142858</c:v>
                </c:pt>
                <c:pt idx="383" formatCode="General">
                  <c:v>-10.857142857142858</c:v>
                </c:pt>
                <c:pt idx="384" formatCode="General">
                  <c:v>-11</c:v>
                </c:pt>
                <c:pt idx="385" formatCode="General">
                  <c:v>-11.285714285714286</c:v>
                </c:pt>
                <c:pt idx="386" formatCode="General">
                  <c:v>-11.571428571428571</c:v>
                </c:pt>
                <c:pt idx="387" formatCode="General">
                  <c:v>-11.571428571428571</c:v>
                </c:pt>
                <c:pt idx="388" formatCode="General">
                  <c:v>-11.428571428571429</c:v>
                </c:pt>
                <c:pt idx="389" formatCode="General">
                  <c:v>-11.428571428571429</c:v>
                </c:pt>
                <c:pt idx="390" formatCode="General">
                  <c:v>-11.428571428571429</c:v>
                </c:pt>
                <c:pt idx="391" formatCode="General">
                  <c:v>-11.428571428571429</c:v>
                </c:pt>
                <c:pt idx="392" formatCode="General">
                  <c:v>-12.285714285714286</c:v>
                </c:pt>
                <c:pt idx="393" formatCode="General">
                  <c:v>-14</c:v>
                </c:pt>
                <c:pt idx="394" formatCode="General">
                  <c:v>-14.571428571428571</c:v>
                </c:pt>
                <c:pt idx="395" formatCode="General">
                  <c:v>-14.857142857142858</c:v>
                </c:pt>
                <c:pt idx="396" formatCode="General">
                  <c:v>-15</c:v>
                </c:pt>
                <c:pt idx="397" formatCode="General">
                  <c:v>-15</c:v>
                </c:pt>
                <c:pt idx="398" formatCode="General">
                  <c:v>-15.142857142857142</c:v>
                </c:pt>
                <c:pt idx="399" formatCode="General">
                  <c:v>-14.857142857142858</c:v>
                </c:pt>
                <c:pt idx="400" formatCode="General">
                  <c:v>-13.285714285714286</c:v>
                </c:pt>
                <c:pt idx="401" formatCode="General">
                  <c:v>-13</c:v>
                </c:pt>
                <c:pt idx="402" formatCode="General">
                  <c:v>-13.285714285714286</c:v>
                </c:pt>
                <c:pt idx="403" formatCode="General">
                  <c:v>-13.714285714285714</c:v>
                </c:pt>
                <c:pt idx="404" formatCode="General">
                  <c:v>-14.285714285714286</c:v>
                </c:pt>
                <c:pt idx="405" formatCode="General">
                  <c:v>-15.857142857142858</c:v>
                </c:pt>
                <c:pt idx="406" formatCode="General">
                  <c:v>-17.285714285714285</c:v>
                </c:pt>
                <c:pt idx="407" formatCode="General">
                  <c:v>-17.857142857142858</c:v>
                </c:pt>
                <c:pt idx="408" formatCode="General">
                  <c:v>-18.714285714285715</c:v>
                </c:pt>
                <c:pt idx="409" formatCode="General">
                  <c:v>-19.571428571428573</c:v>
                </c:pt>
                <c:pt idx="410" formatCode="General">
                  <c:v>-20.857142857142858</c:v>
                </c:pt>
                <c:pt idx="411" formatCode="General">
                  <c:v>-22.285714285714285</c:v>
                </c:pt>
                <c:pt idx="412" formatCode="General">
                  <c:v>-23.714285714285715</c:v>
                </c:pt>
                <c:pt idx="413" formatCode="General">
                  <c:v>-25.714285714285715</c:v>
                </c:pt>
                <c:pt idx="414" formatCode="General">
                  <c:v>-27.285714285714285</c:v>
                </c:pt>
                <c:pt idx="415" formatCode="General">
                  <c:v>-29</c:v>
                </c:pt>
                <c:pt idx="416" formatCode="General">
                  <c:v>-30.714285714285715</c:v>
                </c:pt>
                <c:pt idx="417" formatCode="General">
                  <c:v>-32</c:v>
                </c:pt>
                <c:pt idx="418" formatCode="General">
                  <c:v>-33.142857142857146</c:v>
                </c:pt>
                <c:pt idx="419" formatCode="General">
                  <c:v>-34.571428571428569</c:v>
                </c:pt>
                <c:pt idx="420" formatCode="General">
                  <c:v>-36</c:v>
                </c:pt>
                <c:pt idx="421" formatCode="General">
                  <c:v>-37</c:v>
                </c:pt>
                <c:pt idx="422" formatCode="General">
                  <c:v>-37.571428571428569</c:v>
                </c:pt>
                <c:pt idx="423" formatCode="General">
                  <c:v>-38.142857142857146</c:v>
                </c:pt>
                <c:pt idx="424" formatCode="General">
                  <c:v>-38.857142857142854</c:v>
                </c:pt>
                <c:pt idx="425" formatCode="General">
                  <c:v>-39.285714285714285</c:v>
                </c:pt>
                <c:pt idx="426" formatCode="General">
                  <c:v>-39.857142857142854</c:v>
                </c:pt>
                <c:pt idx="427" formatCode="General">
                  <c:v>-40.285714285714285</c:v>
                </c:pt>
                <c:pt idx="428" formatCode="General">
                  <c:v>-41.285714285714285</c:v>
                </c:pt>
                <c:pt idx="429" formatCode="General">
                  <c:v>-42</c:v>
                </c:pt>
                <c:pt idx="430" formatCode="General">
                  <c:v>-42.714285714285715</c:v>
                </c:pt>
                <c:pt idx="431" formatCode="General">
                  <c:v>-43.428571428571431</c:v>
                </c:pt>
                <c:pt idx="432" formatCode="General">
                  <c:v>-44.142857142857146</c:v>
                </c:pt>
                <c:pt idx="433" formatCode="General">
                  <c:v>-44</c:v>
                </c:pt>
                <c:pt idx="434" formatCode="General">
                  <c:v>-43.571428571428569</c:v>
                </c:pt>
                <c:pt idx="435" formatCode="General">
                  <c:v>-44.142857142857146</c:v>
                </c:pt>
                <c:pt idx="436" formatCode="General">
                  <c:v>-44.714285714285715</c:v>
                </c:pt>
                <c:pt idx="437" formatCode="General">
                  <c:v>-44.857142857142854</c:v>
                </c:pt>
                <c:pt idx="438" formatCode="General">
                  <c:v>-44.714285714285715</c:v>
                </c:pt>
                <c:pt idx="439" formatCode="General">
                  <c:v>-44.857142857142854</c:v>
                </c:pt>
                <c:pt idx="440" formatCode="General">
                  <c:v>-44.857142857142854</c:v>
                </c:pt>
                <c:pt idx="441" formatCode="General">
                  <c:v>-45.142857142857146</c:v>
                </c:pt>
                <c:pt idx="442" formatCode="General">
                  <c:v>-45</c:v>
                </c:pt>
                <c:pt idx="443" formatCode="General">
                  <c:v>-45</c:v>
                </c:pt>
                <c:pt idx="444" formatCode="General">
                  <c:v>-45.142857142857146</c:v>
                </c:pt>
                <c:pt idx="445" formatCode="General">
                  <c:v>-45.142857142857146</c:v>
                </c:pt>
                <c:pt idx="446" formatCode="General">
                  <c:v>-44.857142857142854</c:v>
                </c:pt>
                <c:pt idx="447" formatCode="General">
                  <c:v>-44.714285714285715</c:v>
                </c:pt>
                <c:pt idx="448" formatCode="General">
                  <c:v>-44</c:v>
                </c:pt>
                <c:pt idx="449" formatCode="General">
                  <c:v>-43.428571428571431</c:v>
                </c:pt>
                <c:pt idx="450" formatCode="General">
                  <c:v>-42.857142857142854</c:v>
                </c:pt>
                <c:pt idx="451" formatCode="General">
                  <c:v>-42.285714285714285</c:v>
                </c:pt>
                <c:pt idx="452" formatCode="General">
                  <c:v>-41.857142857142854</c:v>
                </c:pt>
                <c:pt idx="453" formatCode="General">
                  <c:v>-41</c:v>
                </c:pt>
                <c:pt idx="454" formatCode="General">
                  <c:v>-40</c:v>
                </c:pt>
                <c:pt idx="455" formatCode="General">
                  <c:v>-39.142857142857146</c:v>
                </c:pt>
                <c:pt idx="456" formatCode="General">
                  <c:v>-38</c:v>
                </c:pt>
                <c:pt idx="457" formatCode="General">
                  <c:v>-36.571428571428569</c:v>
                </c:pt>
                <c:pt idx="458" formatCode="General">
                  <c:v>-34.857142857142854</c:v>
                </c:pt>
                <c:pt idx="459" formatCode="General">
                  <c:v>-33.285714285714285</c:v>
                </c:pt>
                <c:pt idx="460" formatCode="General">
                  <c:v>-32.285714285714285</c:v>
                </c:pt>
                <c:pt idx="461" formatCode="General">
                  <c:v>-31.571428571428573</c:v>
                </c:pt>
                <c:pt idx="462" formatCode="General">
                  <c:v>-31</c:v>
                </c:pt>
                <c:pt idx="463" formatCode="General">
                  <c:v>-30.142857142857142</c:v>
                </c:pt>
                <c:pt idx="464" formatCode="General">
                  <c:v>-29.285714285714285</c:v>
                </c:pt>
                <c:pt idx="465" formatCode="General">
                  <c:v>-28.571428571428573</c:v>
                </c:pt>
                <c:pt idx="466" formatCode="General">
                  <c:v>-27.857142857142858</c:v>
                </c:pt>
                <c:pt idx="467" formatCode="General">
                  <c:v>-27.142857142857142</c:v>
                </c:pt>
                <c:pt idx="468" formatCode="General">
                  <c:v>-26.571428571428573</c:v>
                </c:pt>
                <c:pt idx="469" formatCode="General">
                  <c:v>-25.857142857142858</c:v>
                </c:pt>
                <c:pt idx="470" formatCode="General">
                  <c:v>-25.142857142857142</c:v>
                </c:pt>
                <c:pt idx="471" formatCode="General">
                  <c:v>-24.571428571428573</c:v>
                </c:pt>
                <c:pt idx="472" formatCode="General">
                  <c:v>-24.142857142857142</c:v>
                </c:pt>
                <c:pt idx="473" formatCode="General">
                  <c:v>-23.857142857142858</c:v>
                </c:pt>
                <c:pt idx="474" formatCode="General">
                  <c:v>-23.428571428571427</c:v>
                </c:pt>
                <c:pt idx="475" formatCode="General">
                  <c:v>-23</c:v>
                </c:pt>
                <c:pt idx="476" formatCode="General">
                  <c:v>-22.571428571428573</c:v>
                </c:pt>
                <c:pt idx="477" formatCode="General">
                  <c:v>-22</c:v>
                </c:pt>
                <c:pt idx="478" formatCode="General">
                  <c:v>-21.571428571428573</c:v>
                </c:pt>
                <c:pt idx="479" formatCode="General">
                  <c:v>-21</c:v>
                </c:pt>
                <c:pt idx="480" formatCode="General">
                  <c:v>-20.285714285714285</c:v>
                </c:pt>
                <c:pt idx="481" formatCode="General">
                  <c:v>-19.714285714285715</c:v>
                </c:pt>
                <c:pt idx="482" formatCode="General">
                  <c:v>-19</c:v>
                </c:pt>
                <c:pt idx="483" formatCode="General">
                  <c:v>-18.285714285714285</c:v>
                </c:pt>
                <c:pt idx="484" formatCode="General">
                  <c:v>-17.857142857142858</c:v>
                </c:pt>
                <c:pt idx="485" formatCode="General">
                  <c:v>-17.714285714285715</c:v>
                </c:pt>
                <c:pt idx="486" formatCode="General">
                  <c:v>-17.714285714285715</c:v>
                </c:pt>
                <c:pt idx="487" formatCode="General">
                  <c:v>-17.285714285714285</c:v>
                </c:pt>
                <c:pt idx="488" formatCode="General">
                  <c:v>-16.857142857142858</c:v>
                </c:pt>
                <c:pt idx="489" formatCode="General">
                  <c:v>-16.285714285714285</c:v>
                </c:pt>
                <c:pt idx="490" formatCode="General">
                  <c:v>-15.571428571428571</c:v>
                </c:pt>
                <c:pt idx="491" formatCode="General">
                  <c:v>-15</c:v>
                </c:pt>
                <c:pt idx="492" formatCode="General">
                  <c:v>-14.142857142857142</c:v>
                </c:pt>
                <c:pt idx="493" formatCode="General">
                  <c:v>-13.428571428571429</c:v>
                </c:pt>
                <c:pt idx="494" formatCode="General">
                  <c:v>-13.142857142857142</c:v>
                </c:pt>
                <c:pt idx="495" formatCode="General">
                  <c:v>-12.714285714285714</c:v>
                </c:pt>
                <c:pt idx="496" formatCode="General">
                  <c:v>-12.428571428571429</c:v>
                </c:pt>
                <c:pt idx="497" formatCode="General">
                  <c:v>-12.142857142857142</c:v>
                </c:pt>
                <c:pt idx="498" formatCode="General">
                  <c:v>-12.142857142857142</c:v>
                </c:pt>
                <c:pt idx="499" formatCode="General">
                  <c:v>-12.285714285714286</c:v>
                </c:pt>
                <c:pt idx="500" formatCode="General">
                  <c:v>-12.285714285714286</c:v>
                </c:pt>
                <c:pt idx="501" formatCode="General">
                  <c:v>-12</c:v>
                </c:pt>
                <c:pt idx="502" formatCode="General">
                  <c:v>-12</c:v>
                </c:pt>
                <c:pt idx="503" formatCode="General">
                  <c:v>-12</c:v>
                </c:pt>
                <c:pt idx="504" formatCode="General">
                  <c:v>-12.142857142857142</c:v>
                </c:pt>
                <c:pt idx="505" formatCode="General">
                  <c:v>-12.714285714285714</c:v>
                </c:pt>
                <c:pt idx="506" formatCode="General">
                  <c:v>-12.714285714285714</c:v>
                </c:pt>
                <c:pt idx="507" formatCode="General">
                  <c:v>-12.857142857142858</c:v>
                </c:pt>
                <c:pt idx="508" formatCode="General">
                  <c:v>-13.285714285714286</c:v>
                </c:pt>
                <c:pt idx="509" formatCode="General">
                  <c:v>-13.428571428571429</c:v>
                </c:pt>
                <c:pt idx="510">
                  <c:v>-13.285714285714286</c:v>
                </c:pt>
                <c:pt idx="511">
                  <c:v>-13.142857142857142</c:v>
                </c:pt>
                <c:pt idx="512">
                  <c:v>-12.571428571428571</c:v>
                </c:pt>
                <c:pt idx="513">
                  <c:v>-12.571428571428571</c:v>
                </c:pt>
                <c:pt idx="514">
                  <c:v>-12.857142857142858</c:v>
                </c:pt>
                <c:pt idx="515">
                  <c:v>-13</c:v>
                </c:pt>
                <c:pt idx="516">
                  <c:v>-13.142857142857142</c:v>
                </c:pt>
                <c:pt idx="517">
                  <c:v>-13.142857142857142</c:v>
                </c:pt>
                <c:pt idx="518">
                  <c:v>-12.571428571428571</c:v>
                </c:pt>
                <c:pt idx="519">
                  <c:v>-12.428571428571429</c:v>
                </c:pt>
                <c:pt idx="520">
                  <c:v>-11.857142857142858</c:v>
                </c:pt>
                <c:pt idx="521">
                  <c:v>-11.142857142857142</c:v>
                </c:pt>
                <c:pt idx="522">
                  <c:v>-10.285714285714286</c:v>
                </c:pt>
                <c:pt idx="523">
                  <c:v>-9.7142857142857135</c:v>
                </c:pt>
                <c:pt idx="524">
                  <c:v>-9.2857142857142865</c:v>
                </c:pt>
                <c:pt idx="525">
                  <c:v>-9.4285714285714288</c:v>
                </c:pt>
                <c:pt idx="526">
                  <c:v>-9</c:v>
                </c:pt>
                <c:pt idx="527">
                  <c:v>-8.7142857142857135</c:v>
                </c:pt>
                <c:pt idx="528">
                  <c:v>-8.1428571428571423</c:v>
                </c:pt>
                <c:pt idx="529">
                  <c:v>-8</c:v>
                </c:pt>
                <c:pt idx="530">
                  <c:v>-7.7142857142857144</c:v>
                </c:pt>
                <c:pt idx="531">
                  <c:v>-7.4285714285714288</c:v>
                </c:pt>
                <c:pt idx="532">
                  <c:v>-6.5714285714285712</c:v>
                </c:pt>
                <c:pt idx="533">
                  <c:v>-6.4285714285714288</c:v>
                </c:pt>
                <c:pt idx="534">
                  <c:v>-6.5714285714285712</c:v>
                </c:pt>
                <c:pt idx="535" formatCode="General">
                  <c:v>-6.8571428571428568</c:v>
                </c:pt>
                <c:pt idx="536" formatCode="General">
                  <c:v>-6.7142857142857144</c:v>
                </c:pt>
                <c:pt idx="537" formatCode="General">
                  <c:v>-6.5714285714285712</c:v>
                </c:pt>
                <c:pt idx="538" formatCode="General">
                  <c:v>-6.2857142857142856</c:v>
                </c:pt>
                <c:pt idx="539" formatCode="General">
                  <c:v>-5.8571428571428568</c:v>
                </c:pt>
                <c:pt idx="540" formatCode="General">
                  <c:v>-5.8571428571428568</c:v>
                </c:pt>
                <c:pt idx="541" formatCode="General">
                  <c:v>-5.4285714285714288</c:v>
                </c:pt>
                <c:pt idx="542" formatCode="General">
                  <c:v>-5</c:v>
                </c:pt>
                <c:pt idx="543" formatCode="General">
                  <c:v>-5</c:v>
                </c:pt>
                <c:pt idx="544">
                  <c:v>-5.1428571428571432</c:v>
                </c:pt>
                <c:pt idx="545">
                  <c:v>-5.2857142857142856</c:v>
                </c:pt>
                <c:pt idx="546">
                  <c:v>-5.7142857142857144</c:v>
                </c:pt>
                <c:pt idx="547">
                  <c:v>-5.2857142857142856</c:v>
                </c:pt>
                <c:pt idx="548">
                  <c:v>-5.7142857142857144</c:v>
                </c:pt>
                <c:pt idx="549">
                  <c:v>-6</c:v>
                </c:pt>
                <c:pt idx="550">
                  <c:v>-6.1428571428571432</c:v>
                </c:pt>
                <c:pt idx="551">
                  <c:v>-6.2857142857142856</c:v>
                </c:pt>
                <c:pt idx="552">
                  <c:v>-6.4285714285714288</c:v>
                </c:pt>
                <c:pt idx="553">
                  <c:v>-6.7142857142857144</c:v>
                </c:pt>
                <c:pt idx="554">
                  <c:v>-7.2857142857142856</c:v>
                </c:pt>
                <c:pt idx="555">
                  <c:v>-7.1428571428571432</c:v>
                </c:pt>
                <c:pt idx="556">
                  <c:v>-6.5714285714285712</c:v>
                </c:pt>
                <c:pt idx="557">
                  <c:v>-5.7142857142857144</c:v>
                </c:pt>
                <c:pt idx="558">
                  <c:v>-5</c:v>
                </c:pt>
                <c:pt idx="559">
                  <c:v>-4.7142857142857144</c:v>
                </c:pt>
                <c:pt idx="560">
                  <c:v>-4.2857142857142856</c:v>
                </c:pt>
                <c:pt idx="561">
                  <c:v>-4</c:v>
                </c:pt>
                <c:pt idx="562">
                  <c:v>-3.5714285714285716</c:v>
                </c:pt>
                <c:pt idx="563">
                  <c:v>-3.5714285714285716</c:v>
                </c:pt>
                <c:pt idx="564">
                  <c:v>-3.8571428571428572</c:v>
                </c:pt>
                <c:pt idx="565" formatCode="General">
                  <c:v>-3.8571428571428572</c:v>
                </c:pt>
                <c:pt idx="566" formatCode="General">
                  <c:v>-3.2857142857142856</c:v>
                </c:pt>
                <c:pt idx="567" formatCode="General">
                  <c:v>-2.7142857142857144</c:v>
                </c:pt>
                <c:pt idx="568" formatCode="General">
                  <c:v>-2.5714285714285716</c:v>
                </c:pt>
                <c:pt idx="569" formatCode="General">
                  <c:v>-2.8571428571428572</c:v>
                </c:pt>
                <c:pt idx="570" formatCode="General">
                  <c:v>-3.1428571428571428</c:v>
                </c:pt>
                <c:pt idx="571" formatCode="General">
                  <c:v>-3.2857142857142856</c:v>
                </c:pt>
                <c:pt idx="572" formatCode="General">
                  <c:v>-3.4285714285714284</c:v>
                </c:pt>
                <c:pt idx="573" formatCode="General">
                  <c:v>-3.4285714285714284</c:v>
                </c:pt>
                <c:pt idx="574" formatCode="General">
                  <c:v>-3.8571428571428572</c:v>
                </c:pt>
                <c:pt idx="575" formatCode="General">
                  <c:v>-4.4285714285714288</c:v>
                </c:pt>
                <c:pt idx="576" formatCode="General">
                  <c:v>-4.2857142857142856</c:v>
                </c:pt>
                <c:pt idx="577" formatCode="General">
                  <c:v>-4.2857142857142856</c:v>
                </c:pt>
                <c:pt idx="578" formatCode="General">
                  <c:v>-4</c:v>
                </c:pt>
                <c:pt idx="579">
                  <c:v>-3.5714285714285716</c:v>
                </c:pt>
                <c:pt idx="580">
                  <c:v>-3</c:v>
                </c:pt>
                <c:pt idx="581">
                  <c:v>-2.2857142857142856</c:v>
                </c:pt>
                <c:pt idx="582">
                  <c:v>-1.1428571428571428</c:v>
                </c:pt>
                <c:pt idx="583">
                  <c:v>-0.5714285714285714</c:v>
                </c:pt>
                <c:pt idx="584">
                  <c:v>0.14285714285714285</c:v>
                </c:pt>
                <c:pt idx="585">
                  <c:v>0.42857142857142855</c:v>
                </c:pt>
                <c:pt idx="586">
                  <c:v>0.5714285714285714</c:v>
                </c:pt>
                <c:pt idx="587">
                  <c:v>0.42857142857142855</c:v>
                </c:pt>
                <c:pt idx="588">
                  <c:v>0.8571428571428571</c:v>
                </c:pt>
                <c:pt idx="589">
                  <c:v>1.5714285714285714</c:v>
                </c:pt>
                <c:pt idx="590">
                  <c:v>3.1428571428571428</c:v>
                </c:pt>
                <c:pt idx="591">
                  <c:v>5</c:v>
                </c:pt>
                <c:pt idx="592">
                  <c:v>7.5714285714285712</c:v>
                </c:pt>
                <c:pt idx="593">
                  <c:v>10.285714285714286</c:v>
                </c:pt>
                <c:pt idx="594">
                  <c:v>10.714285714285714</c:v>
                </c:pt>
                <c:pt idx="595">
                  <c:v>10.142857142857142</c:v>
                </c:pt>
                <c:pt idx="596">
                  <c:v>9.5714285714285712</c:v>
                </c:pt>
                <c:pt idx="597">
                  <c:v>8.7142857142857135</c:v>
                </c:pt>
                <c:pt idx="598">
                  <c:v>7.2857142857142856</c:v>
                </c:pt>
                <c:pt idx="599">
                  <c:v>5.4285714285714288</c:v>
                </c:pt>
                <c:pt idx="600">
                  <c:v>3.2857142857142856</c:v>
                </c:pt>
                <c:pt idx="601">
                  <c:v>3.1428571428571428</c:v>
                </c:pt>
                <c:pt idx="602">
                  <c:v>3</c:v>
                </c:pt>
                <c:pt idx="603">
                  <c:v>3.2857142857142856</c:v>
                </c:pt>
                <c:pt idx="604">
                  <c:v>3.2857142857142856</c:v>
                </c:pt>
                <c:pt idx="605">
                  <c:v>3.4285714285714284</c:v>
                </c:pt>
                <c:pt idx="606">
                  <c:v>3.4285714285714284</c:v>
                </c:pt>
                <c:pt idx="607">
                  <c:v>3.2857142857142856</c:v>
                </c:pt>
                <c:pt idx="608" formatCode="_ * #,##0.0_ ;_ * \-#,##0.0_ ;_ * &quot;-&quot;??_ ;_ @_ ">
                  <c:v>3.4285714285714284</c:v>
                </c:pt>
                <c:pt idx="609" formatCode="_ * #,##0.0_ ;_ * \-#,##0.0_ ;_ * &quot;-&quot;??_ ;_ @_ ">
                  <c:v>4.1428571428571432</c:v>
                </c:pt>
                <c:pt idx="610" formatCode="_ * #,##0.0_ ;_ * \-#,##0.0_ ;_ * &quot;-&quot;??_ ;_ @_ ">
                  <c:v>4.8571428571428568</c:v>
                </c:pt>
                <c:pt idx="611" formatCode="_ * #,##0.0_ ;_ * \-#,##0.0_ ;_ * &quot;-&quot;??_ ;_ @_ ">
                  <c:v>5.8571428571428568</c:v>
                </c:pt>
                <c:pt idx="612" formatCode="_ * #,##0.0_ ;_ * \-#,##0.0_ ;_ * &quot;-&quot;??_ ;_ @_ ">
                  <c:v>7.2857142857142856</c:v>
                </c:pt>
                <c:pt idx="613" formatCode="_ * #,##0.0_ ;_ * \-#,##0.0_ ;_ * &quot;-&quot;??_ ;_ @_ ">
                  <c:v>8.5714285714285712</c:v>
                </c:pt>
                <c:pt idx="614" formatCode="_ * #,##0.0_ ;_ * \-#,##0.0_ ;_ * &quot;-&quot;??_ ;_ @_ ">
                  <c:v>10</c:v>
                </c:pt>
                <c:pt idx="615" formatCode="_ * #,##0.0_ ;_ * \-#,##0.0_ ;_ * &quot;-&quot;??_ ;_ @_ ">
                  <c:v>11.428571428571429</c:v>
                </c:pt>
                <c:pt idx="616">
                  <c:v>12.428571428571429</c:v>
                </c:pt>
                <c:pt idx="617">
                  <c:v>13</c:v>
                </c:pt>
                <c:pt idx="618">
                  <c:v>13.285714285714286</c:v>
                </c:pt>
                <c:pt idx="619">
                  <c:v>13.571428571428571</c:v>
                </c:pt>
                <c:pt idx="620">
                  <c:v>13.428571428571429</c:v>
                </c:pt>
                <c:pt idx="621">
                  <c:v>12.571428571428571</c:v>
                </c:pt>
                <c:pt idx="622">
                  <c:v>11.571428571428571</c:v>
                </c:pt>
                <c:pt idx="623">
                  <c:v>11.285714285714286</c:v>
                </c:pt>
                <c:pt idx="624">
                  <c:v>10.857142857142858</c:v>
                </c:pt>
                <c:pt idx="625">
                  <c:v>10.428571428571429</c:v>
                </c:pt>
                <c:pt idx="626">
                  <c:v>9.4285714285714288</c:v>
                </c:pt>
                <c:pt idx="627">
                  <c:v>8.7142857142857135</c:v>
                </c:pt>
                <c:pt idx="628">
                  <c:v>9.2857142857142865</c:v>
                </c:pt>
                <c:pt idx="629">
                  <c:v>9.5714285714285712</c:v>
                </c:pt>
                <c:pt idx="630">
                  <c:v>10.142857142857142</c:v>
                </c:pt>
                <c:pt idx="631" formatCode="0.00">
                  <c:v>10.428571428571429</c:v>
                </c:pt>
                <c:pt idx="632" formatCode="0.00">
                  <c:v>10.428571428571429</c:v>
                </c:pt>
                <c:pt idx="633" formatCode="0.00">
                  <c:v>10.571428571428571</c:v>
                </c:pt>
                <c:pt idx="634" formatCode="0.00">
                  <c:v>11</c:v>
                </c:pt>
                <c:pt idx="635" formatCode="0.00">
                  <c:v>10.857142857142858</c:v>
                </c:pt>
                <c:pt idx="636" formatCode="0.00">
                  <c:v>11</c:v>
                </c:pt>
                <c:pt idx="637" formatCode="0.00">
                  <c:v>10.857142857142858</c:v>
                </c:pt>
                <c:pt idx="638" formatCode="0.00">
                  <c:v>11</c:v>
                </c:pt>
                <c:pt idx="639" formatCode="0.00">
                  <c:v>11.285714285714286</c:v>
                </c:pt>
                <c:pt idx="640" formatCode="0.00">
                  <c:v>11</c:v>
                </c:pt>
                <c:pt idx="641" formatCode="0.00">
                  <c:v>10.428571428571429</c:v>
                </c:pt>
                <c:pt idx="642" formatCode="0.00">
                  <c:v>10.428571428571429</c:v>
                </c:pt>
                <c:pt idx="643" formatCode="0.00">
                  <c:v>10.142857142857142</c:v>
                </c:pt>
                <c:pt idx="644" formatCode="0.00">
                  <c:v>9.8571428571428577</c:v>
                </c:pt>
                <c:pt idx="645" formatCode="0.00">
                  <c:v>9.7142857142857135</c:v>
                </c:pt>
                <c:pt idx="646" formatCode="0.00">
                  <c:v>10</c:v>
                </c:pt>
                <c:pt idx="647" formatCode="0.00">
                  <c:v>10.857142857142858</c:v>
                </c:pt>
                <c:pt idx="648" formatCode="0.00">
                  <c:v>11.571428571428571</c:v>
                </c:pt>
                <c:pt idx="649" formatCode="0.00">
                  <c:v>11.857142857142858</c:v>
                </c:pt>
                <c:pt idx="650" formatCode="0.00">
                  <c:v>12.714285714285714</c:v>
                </c:pt>
                <c:pt idx="651" formatCode="0.00">
                  <c:v>13.571428571428571</c:v>
                </c:pt>
                <c:pt idx="652" formatCode="0.00">
                  <c:v>14</c:v>
                </c:pt>
                <c:pt idx="653" formatCode="0.00">
                  <c:v>13.571428571428571</c:v>
                </c:pt>
                <c:pt idx="654" formatCode="0.00">
                  <c:v>13.142857142857142</c:v>
                </c:pt>
                <c:pt idx="655" formatCode="0.00">
                  <c:v>12.857142857142858</c:v>
                </c:pt>
                <c:pt idx="656" formatCode="0.00">
                  <c:v>12.428571428571429</c:v>
                </c:pt>
                <c:pt idx="657" formatCode="0.00">
                  <c:v>11.857142857142858</c:v>
                </c:pt>
                <c:pt idx="658" formatCode="0.00">
                  <c:v>11.428571428571429</c:v>
                </c:pt>
                <c:pt idx="659" formatCode="0.00">
                  <c:v>11</c:v>
                </c:pt>
                <c:pt idx="660" formatCode="0.00">
                  <c:v>11</c:v>
                </c:pt>
                <c:pt idx="661" formatCode="0.00">
                  <c:v>11</c:v>
                </c:pt>
                <c:pt idx="662" formatCode="0.00">
                  <c:v>11.285714285714286</c:v>
                </c:pt>
                <c:pt idx="663" formatCode="0.00">
                  <c:v>12.285714285714286</c:v>
                </c:pt>
                <c:pt idx="664" formatCode="0.00">
                  <c:v>13.857142857142858</c:v>
                </c:pt>
                <c:pt idx="665" formatCode="0.00">
                  <c:v>14.428571428571429</c:v>
                </c:pt>
                <c:pt idx="666" formatCode="0.00">
                  <c:v>15.285714285714286</c:v>
                </c:pt>
                <c:pt idx="667" formatCode="0.00">
                  <c:v>15.571428571428571</c:v>
                </c:pt>
                <c:pt idx="668" formatCode="0.00">
                  <c:v>15.857142857142858</c:v>
                </c:pt>
                <c:pt idx="669" formatCode="0.00">
                  <c:v>16.142857142857142</c:v>
                </c:pt>
                <c:pt idx="670" formatCode="0.00">
                  <c:v>16.714285714285715</c:v>
                </c:pt>
                <c:pt idx="671" formatCode="_ * #,##0.00_ ;_ * \-#,##0.00_ ;_ * &quot;-&quot;??_ ;_ @_ ">
                  <c:v>16.857142857142858</c:v>
                </c:pt>
                <c:pt idx="672" formatCode="_ * #,##0.00_ ;_ * \-#,##0.00_ ;_ * &quot;-&quot;??_ ;_ @_ ">
                  <c:v>16.428571428571427</c:v>
                </c:pt>
                <c:pt idx="673" formatCode="_ * #,##0.00_ ;_ * \-#,##0.00_ ;_ * &quot;-&quot;??_ ;_ @_ ">
                  <c:v>15.285714285714286</c:v>
                </c:pt>
                <c:pt idx="674" formatCode="_ * #,##0.00_ ;_ * \-#,##0.00_ ;_ * &quot;-&quot;??_ ;_ @_ ">
                  <c:v>14.428571428571429</c:v>
                </c:pt>
                <c:pt idx="675" formatCode="_ * #,##0.00_ ;_ * \-#,##0.00_ ;_ * &quot;-&quot;??_ ;_ @_ ">
                  <c:v>12.714285714285714</c:v>
                </c:pt>
                <c:pt idx="676" formatCode="_ * #,##0.00_ ;_ * \-#,##0.00_ ;_ * &quot;-&quot;??_ ;_ @_ ">
                  <c:v>11.285714285714286</c:v>
                </c:pt>
                <c:pt idx="677" formatCode="_ * #,##0.00_ ;_ * \-#,##0.00_ ;_ * &quot;-&quot;??_ ;_ @_ ">
                  <c:v>9</c:v>
                </c:pt>
                <c:pt idx="678" formatCode="_ * #,##0.00_ ;_ * \-#,##0.00_ ;_ * &quot;-&quot;??_ ;_ @_ ">
                  <c:v>5.4285714285714288</c:v>
                </c:pt>
                <c:pt idx="679" formatCode="_ * #,##0.00_ ;_ * \-#,##0.00_ ;_ * &quot;-&quot;??_ ;_ @_ ">
                  <c:v>2.7142857142857144</c:v>
                </c:pt>
                <c:pt idx="680" formatCode="_ * #,##0.00_ ;_ * \-#,##0.00_ ;_ * &quot;-&quot;??_ ;_ @_ ">
                  <c:v>2.1428571428571428</c:v>
                </c:pt>
                <c:pt idx="681" formatCode="_ * #,##0.00_ ;_ * \-#,##0.00_ ;_ * &quot;-&quot;??_ ;_ @_ ">
                  <c:v>1.5714285714285714</c:v>
                </c:pt>
                <c:pt idx="682" formatCode="_ * #,##0.00_ ;_ * \-#,##0.00_ ;_ * &quot;-&quot;??_ ;_ @_ ">
                  <c:v>2.1428571428571428</c:v>
                </c:pt>
                <c:pt idx="683" formatCode="_ * #,##0.00_ ;_ * \-#,##0.00_ ;_ * &quot;-&quot;??_ ;_ @_ ">
                  <c:v>2.7142857142857144</c:v>
                </c:pt>
                <c:pt idx="684" formatCode="_ * #,##0.00_ ;_ * \-#,##0.00_ ;_ * &quot;-&quot;??_ ;_ @_ ">
                  <c:v>2.8571428571428572</c:v>
                </c:pt>
                <c:pt idx="685" formatCode="_ * #,##0.00_ ;_ * \-#,##0.00_ ;_ * &quot;-&quot;??_ ;_ @_ ">
                  <c:v>3.5714285714285716</c:v>
                </c:pt>
                <c:pt idx="686" formatCode="_ * #,##0.00_ ;_ * \-#,##0.00_ ;_ * &quot;-&quot;??_ ;_ @_ ">
                  <c:v>3.8571428571428572</c:v>
                </c:pt>
                <c:pt idx="687" formatCode="_ * #,##0.00_ ;_ * \-#,##0.00_ ;_ * &quot;-&quot;??_ ;_ @_ ">
                  <c:v>4.1428571428571432</c:v>
                </c:pt>
                <c:pt idx="688" formatCode="_ * #,##0.00_ ;_ * \-#,##0.00_ ;_ * &quot;-&quot;??_ ;_ @_ ">
                  <c:v>4.4285714285714288</c:v>
                </c:pt>
                <c:pt idx="689" formatCode="_ * #,##0.00_ ;_ * \-#,##0.00_ ;_ * &quot;-&quot;??_ ;_ @_ ">
                  <c:v>4.7142857142857144</c:v>
                </c:pt>
                <c:pt idx="690" formatCode="_ * #,##0.00_ ;_ * \-#,##0.00_ ;_ * &quot;-&quot;??_ ;_ @_ ">
                  <c:v>4.5714285714285712</c:v>
                </c:pt>
                <c:pt idx="691" formatCode="_ * #,##0.00_ ;_ * \-#,##0.00_ ;_ * &quot;-&quot;??_ ;_ @_ ">
                  <c:v>4.7142857142857144</c:v>
                </c:pt>
                <c:pt idx="692" formatCode="_ * #,##0.00_ ;_ * \-#,##0.00_ ;_ * &quot;-&quot;??_ ;_ @_ ">
                  <c:v>4.5714285714285712</c:v>
                </c:pt>
                <c:pt idx="693" formatCode="_ * #,##0.00_ ;_ * \-#,##0.00_ ;_ * &quot;-&quot;??_ ;_ @_ ">
                  <c:v>4.5714285714285712</c:v>
                </c:pt>
                <c:pt idx="694" formatCode="_ * #,##0.00_ ;_ * \-#,##0.00_ ;_ * &quot;-&quot;??_ ;_ @_ ">
                  <c:v>4.7142857142857144</c:v>
                </c:pt>
                <c:pt idx="695" formatCode="_ * #,##0.00_ ;_ * \-#,##0.00_ ;_ * &quot;-&quot;??_ ;_ @_ ">
                  <c:v>5.2857142857142856</c:v>
                </c:pt>
                <c:pt idx="696" formatCode="_ * #,##0.00_ ;_ * \-#,##0.00_ ;_ * &quot;-&quot;??_ ;_ @_ ">
                  <c:v>6.7142857142857144</c:v>
                </c:pt>
                <c:pt idx="697" formatCode="_ * #,##0.00_ ;_ * \-#,##0.00_ ;_ * &quot;-&quot;??_ ;_ @_ ">
                  <c:v>7.1428571428571432</c:v>
                </c:pt>
                <c:pt idx="698" formatCode="_ * #,##0.00_ ;_ * \-#,##0.00_ ;_ * &quot;-&quot;??_ ;_ @_ ">
                  <c:v>7.4285714285714288</c:v>
                </c:pt>
                <c:pt idx="699" formatCode="_ * #,##0.00_ ;_ * \-#,##0.00_ ;_ * &quot;-&quot;??_ ;_ @_ ">
                  <c:v>8.4285714285714288</c:v>
                </c:pt>
                <c:pt idx="700" formatCode="_ * #,##0.00_ ;_ * \-#,##0.00_ ;_ * &quot;-&quot;??_ ;_ @_ ">
                  <c:v>10.142857142857142</c:v>
                </c:pt>
                <c:pt idx="701" formatCode="_ * #,##0.00_ ;_ * \-#,##0.00_ ;_ * &quot;-&quot;??_ ;_ @_ ">
                  <c:v>10.714285714285714</c:v>
                </c:pt>
                <c:pt idx="702" formatCode="_ * #,##0.00_ ;_ * \-#,##0.00_ ;_ * &quot;-&quot;??_ ;_ @_ ">
                  <c:v>11.285714285714286</c:v>
                </c:pt>
                <c:pt idx="703" formatCode="_ * #,##0.00_ ;_ * \-#,##0.00_ ;_ * &quot;-&quot;??_ ;_ @_ ">
                  <c:v>11</c:v>
                </c:pt>
                <c:pt idx="704" formatCode="_ * #,##0.00_ ;_ * \-#,##0.00_ ;_ * &quot;-&quot;??_ ;_ @_ ">
                  <c:v>11.285714285714286</c:v>
                </c:pt>
                <c:pt idx="705" formatCode="_ * #,##0.00_ ;_ * \-#,##0.00_ ;_ * &quot;-&quot;??_ ;_ @_ ">
                  <c:v>12</c:v>
                </c:pt>
                <c:pt idx="706" formatCode="_ * #,##0.00_ ;_ * \-#,##0.00_ ;_ * &quot;-&quot;??_ ;_ @_ ">
                  <c:v>13.714285714285714</c:v>
                </c:pt>
                <c:pt idx="707" formatCode="_ * #,##0.00_ ;_ * \-#,##0.00_ ;_ * &quot;-&quot;??_ ;_ @_ ">
                  <c:v>15.142857142857142</c:v>
                </c:pt>
                <c:pt idx="708" formatCode="_ * #,##0.00_ ;_ * \-#,##0.00_ ;_ * &quot;-&quot;??_ ;_ @_ ">
                  <c:v>16.428571428571427</c:v>
                </c:pt>
                <c:pt idx="709" formatCode="_ * #,##0.00_ ;_ * \-#,##0.00_ ;_ * &quot;-&quot;??_ ;_ @_ ">
                  <c:v>17.428571428571427</c:v>
                </c:pt>
                <c:pt idx="710" formatCode="_ * #,##0.00_ ;_ * \-#,##0.00_ ;_ * &quot;-&quot;??_ ;_ @_ ">
                  <c:v>18</c:v>
                </c:pt>
                <c:pt idx="711" formatCode="_ * #,##0.00_ ;_ * \-#,##0.00_ ;_ * &quot;-&quot;??_ ;_ @_ ">
                  <c:v>19.428571428571427</c:v>
                </c:pt>
                <c:pt idx="712" formatCode="_ * #,##0.00_ ;_ * \-#,##0.00_ ;_ * &quot;-&quot;??_ ;_ @_ ">
                  <c:v>20.571428571428573</c:v>
                </c:pt>
                <c:pt idx="713" formatCode="_ * #,##0.00_ ;_ * \-#,##0.00_ ;_ * &quot;-&quot;??_ ;_ @_ ">
                  <c:v>20.571428571428573</c:v>
                </c:pt>
                <c:pt idx="714" formatCode="_ * #,##0.00_ ;_ * \-#,##0.00_ ;_ * &quot;-&quot;??_ ;_ @_ ">
                  <c:v>21.285714285714285</c:v>
                </c:pt>
                <c:pt idx="715" formatCode="_ * #,##0.00_ ;_ * \-#,##0.00_ ;_ * &quot;-&quot;??_ ;_ @_ ">
                  <c:v>21.857142857142858</c:v>
                </c:pt>
                <c:pt idx="716" formatCode="_ * #,##0.00_ ;_ * \-#,##0.00_ ;_ * &quot;-&quot;??_ ;_ @_ ">
                  <c:v>22.142857142857142</c:v>
                </c:pt>
                <c:pt idx="717" formatCode="_ * #,##0.00_ ;_ * \-#,##0.00_ ;_ * &quot;-&quot;??_ ;_ @_ ">
                  <c:v>22.857142857142858</c:v>
                </c:pt>
                <c:pt idx="718" formatCode="_ * #,##0.00_ ;_ * \-#,##0.00_ ;_ * &quot;-&quot;??_ ;_ @_ ">
                  <c:v>23.142857142857142</c:v>
                </c:pt>
                <c:pt idx="719" formatCode="_ * #,##0.00_ ;_ * \-#,##0.00_ ;_ * &quot;-&quot;??_ ;_ @_ ">
                  <c:v>24.142857142857142</c:v>
                </c:pt>
                <c:pt idx="720" formatCode="_ * #,##0.00_ ;_ * \-#,##0.00_ ;_ * &quot;-&quot;??_ ;_ @_ ">
                  <c:v>25.142857142857142</c:v>
                </c:pt>
                <c:pt idx="721" formatCode="_ * #,##0.00_ ;_ * \-#,##0.00_ ;_ * &quot;-&quot;??_ ;_ @_ ">
                  <c:v>25.571428571428573</c:v>
                </c:pt>
                <c:pt idx="722" formatCode="0.00">
                  <c:v>25.571428571428573</c:v>
                </c:pt>
                <c:pt idx="723" formatCode="0.00">
                  <c:v>26.285714285714285</c:v>
                </c:pt>
                <c:pt idx="724" formatCode="0.00">
                  <c:v>26.714285714285715</c:v>
                </c:pt>
                <c:pt idx="725" formatCode="0.00">
                  <c:v>27.571428571428573</c:v>
                </c:pt>
                <c:pt idx="726" formatCode="0.00">
                  <c:v>27.714285714285715</c:v>
                </c:pt>
                <c:pt idx="727" formatCode="0.00">
                  <c:v>27.857142857142858</c:v>
                </c:pt>
                <c:pt idx="728" formatCode="0.00">
                  <c:v>28.285714285714285</c:v>
                </c:pt>
                <c:pt idx="729" formatCode="0.00">
                  <c:v>29.857142857142858</c:v>
                </c:pt>
                <c:pt idx="730" formatCode="0.00">
                  <c:v>32.428571428571431</c:v>
                </c:pt>
                <c:pt idx="731" formatCode="0.00">
                  <c:v>33.428571428571431</c:v>
                </c:pt>
                <c:pt idx="732" formatCode="0.00">
                  <c:v>35</c:v>
                </c:pt>
                <c:pt idx="733" formatCode="0.00">
                  <c:v>37.142857142857146</c:v>
                </c:pt>
                <c:pt idx="734" formatCode="0.00">
                  <c:v>39</c:v>
                </c:pt>
                <c:pt idx="735" formatCode="0.00">
                  <c:v>40.571428571428569</c:v>
                </c:pt>
                <c:pt idx="736" formatCode="0.00">
                  <c:v>42.285714285714285</c:v>
                </c:pt>
                <c:pt idx="737">
                  <c:v>43.571428571428569</c:v>
                </c:pt>
                <c:pt idx="738">
                  <c:v>46.571428571428569</c:v>
                </c:pt>
                <c:pt idx="739">
                  <c:v>49.285714285714285</c:v>
                </c:pt>
                <c:pt idx="740">
                  <c:v>51.428571428571431</c:v>
                </c:pt>
                <c:pt idx="741">
                  <c:v>53.714285714285715</c:v>
                </c:pt>
                <c:pt idx="742">
                  <c:v>55.857142857142854</c:v>
                </c:pt>
                <c:pt idx="743">
                  <c:v>58.142857142857146</c:v>
                </c:pt>
                <c:pt idx="744">
                  <c:v>59.571428571428569</c:v>
                </c:pt>
                <c:pt idx="745">
                  <c:v>60.857142857142854</c:v>
                </c:pt>
                <c:pt idx="746">
                  <c:v>62</c:v>
                </c:pt>
                <c:pt idx="747">
                  <c:v>61.285714285714285</c:v>
                </c:pt>
                <c:pt idx="748">
                  <c:v>60.714285714285715</c:v>
                </c:pt>
                <c:pt idx="749">
                  <c:v>60.428571428571431</c:v>
                </c:pt>
                <c:pt idx="750">
                  <c:v>60.571428571428569</c:v>
                </c:pt>
                <c:pt idx="751">
                  <c:v>60.428571428571431</c:v>
                </c:pt>
                <c:pt idx="752">
                  <c:v>60</c:v>
                </c:pt>
                <c:pt idx="753">
                  <c:v>59.142857142857146</c:v>
                </c:pt>
                <c:pt idx="754">
                  <c:v>60</c:v>
                </c:pt>
                <c:pt idx="755">
                  <c:v>60.428571428571431</c:v>
                </c:pt>
              </c:numCache>
            </c:numRef>
          </c:val>
          <c:smooth val="1"/>
          <c:extLst>
            <c:ext xmlns:c16="http://schemas.microsoft.com/office/drawing/2014/chart" uri="{C3380CC4-5D6E-409C-BE32-E72D297353CC}">
              <c16:uniqueId val="{00000002-C4A1-4218-9D28-006DC06AB873}"/>
            </c:ext>
          </c:extLst>
        </c:ser>
        <c:dLbls>
          <c:showLegendKey val="0"/>
          <c:showVal val="0"/>
          <c:showCatName val="0"/>
          <c:showSerName val="0"/>
          <c:showPercent val="0"/>
          <c:showBubbleSize val="0"/>
        </c:dLbls>
        <c:smooth val="0"/>
        <c:axId val="-550491584"/>
        <c:axId val="-550489408"/>
      </c:lineChart>
      <c:catAx>
        <c:axId val="-550491584"/>
        <c:scaling>
          <c:orientation val="minMax"/>
        </c:scaling>
        <c:delete val="0"/>
        <c:axPos val="b"/>
        <c:numFmt formatCode="General" sourceLinked="1"/>
        <c:majorTickMark val="none"/>
        <c:minorTickMark val="none"/>
        <c:tickLblPos val="high"/>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50489408"/>
        <c:crosses val="autoZero"/>
        <c:auto val="1"/>
        <c:lblAlgn val="ctr"/>
        <c:lblOffset val="100"/>
        <c:noMultiLvlLbl val="0"/>
      </c:catAx>
      <c:valAx>
        <c:axId val="-55048940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50491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800">
          <a:latin typeface="Arial" panose="020B0604020202020204" pitchFamily="34" charset="0"/>
          <a:cs typeface="Arial" panose="020B0604020202020204" pitchFamily="34" charset="0"/>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I$5</c:f>
              <c:strCache>
                <c:ptCount val="1"/>
                <c:pt idx="0">
                  <c:v>YTD FY20</c:v>
                </c:pt>
              </c:strCache>
            </c:strRef>
          </c:tx>
          <c:spPr>
            <a:solidFill>
              <a:schemeClr val="bg2">
                <a:lumMod val="90000"/>
              </a:schemeClr>
            </a:solidFill>
            <a:ln>
              <a:noFill/>
            </a:ln>
            <a:effectLst/>
          </c:spPr>
          <c:invertIfNegative val="0"/>
          <c:dLbls>
            <c:spPr>
              <a:noFill/>
              <a:ln>
                <a:noFill/>
              </a:ln>
              <a:effectLst/>
            </c:spPr>
            <c:txPr>
              <a:bodyPr rot="-5400000" spcFirstLastPara="1" vertOverflow="ellipsis" wrap="square" anchor="ctr" anchorCtr="1"/>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6:$H$24</c:f>
              <c:strCache>
                <c:ptCount val="19"/>
                <c:pt idx="0">
                  <c:v> Tamilnadu</c:v>
                </c:pt>
                <c:pt idx="1">
                  <c:v> Uttarpradesh</c:v>
                </c:pt>
                <c:pt idx="2">
                  <c:v> Westbengal</c:v>
                </c:pt>
                <c:pt idx="3">
                  <c:v> Karnataka</c:v>
                </c:pt>
                <c:pt idx="4">
                  <c:v> Maharashtra</c:v>
                </c:pt>
                <c:pt idx="5">
                  <c:v> Rajasthan</c:v>
                </c:pt>
                <c:pt idx="6">
                  <c:v> Andhra</c:v>
                </c:pt>
                <c:pt idx="7">
                  <c:v> Telangana</c:v>
                </c:pt>
                <c:pt idx="8">
                  <c:v> Gujarat</c:v>
                </c:pt>
                <c:pt idx="9">
                  <c:v> Punjab</c:v>
                </c:pt>
                <c:pt idx="10">
                  <c:v> Madhyapradesh</c:v>
                </c:pt>
                <c:pt idx="11">
                  <c:v> Bihar</c:v>
                </c:pt>
                <c:pt idx="12">
                  <c:v> Haryana</c:v>
                </c:pt>
                <c:pt idx="13">
                  <c:v> Kerala</c:v>
                </c:pt>
                <c:pt idx="14">
                  <c:v> Assam</c:v>
                </c:pt>
                <c:pt idx="15">
                  <c:v> Chhattisgarh</c:v>
                </c:pt>
                <c:pt idx="16">
                  <c:v> Jammukashmir</c:v>
                </c:pt>
                <c:pt idx="17">
                  <c:v> Jharkhand</c:v>
                </c:pt>
                <c:pt idx="18">
                  <c:v> Himachal Pr</c:v>
                </c:pt>
              </c:strCache>
            </c:strRef>
          </c:cat>
          <c:val>
            <c:numRef>
              <c:f>Sheet2!$I$6:$I$24</c:f>
              <c:numCache>
                <c:formatCode>_ * #,##0_ ;_ * \-#,##0_ ;_ * "-"??_ ;_ @_ </c:formatCode>
                <c:ptCount val="19"/>
                <c:pt idx="0">
                  <c:v>63760</c:v>
                </c:pt>
                <c:pt idx="1">
                  <c:v>67453</c:v>
                </c:pt>
                <c:pt idx="2">
                  <c:v>60000</c:v>
                </c:pt>
                <c:pt idx="3">
                  <c:v>48500</c:v>
                </c:pt>
                <c:pt idx="4">
                  <c:v>45000</c:v>
                </c:pt>
                <c:pt idx="5">
                  <c:v>39205.5</c:v>
                </c:pt>
                <c:pt idx="6">
                  <c:v>45663.487000000001</c:v>
                </c:pt>
                <c:pt idx="7">
                  <c:v>40197.97</c:v>
                </c:pt>
                <c:pt idx="8">
                  <c:v>34800</c:v>
                </c:pt>
                <c:pt idx="9">
                  <c:v>27835.5</c:v>
                </c:pt>
                <c:pt idx="10">
                  <c:v>21250</c:v>
                </c:pt>
                <c:pt idx="11">
                  <c:v>25001</c:v>
                </c:pt>
                <c:pt idx="12">
                  <c:v>25656</c:v>
                </c:pt>
                <c:pt idx="13">
                  <c:v>18073</c:v>
                </c:pt>
                <c:pt idx="14">
                  <c:v>12906</c:v>
                </c:pt>
                <c:pt idx="15">
                  <c:v>11680</c:v>
                </c:pt>
                <c:pt idx="16">
                  <c:v>7869</c:v>
                </c:pt>
                <c:pt idx="17">
                  <c:v>6000</c:v>
                </c:pt>
                <c:pt idx="18">
                  <c:v>5580</c:v>
                </c:pt>
              </c:numCache>
            </c:numRef>
          </c:val>
          <c:extLst>
            <c:ext xmlns:c16="http://schemas.microsoft.com/office/drawing/2014/chart" uri="{C3380CC4-5D6E-409C-BE32-E72D297353CC}">
              <c16:uniqueId val="{00000000-DAB7-4D0F-AB38-7AA8BBA261B0}"/>
            </c:ext>
          </c:extLst>
        </c:ser>
        <c:ser>
          <c:idx val="1"/>
          <c:order val="1"/>
          <c:tx>
            <c:strRef>
              <c:f>Sheet2!$J$5</c:f>
              <c:strCache>
                <c:ptCount val="1"/>
                <c:pt idx="0">
                  <c:v>YTD FY21</c:v>
                </c:pt>
              </c:strCache>
            </c:strRef>
          </c:tx>
          <c:spPr>
            <a:solidFill>
              <a:schemeClr val="accent4"/>
            </a:solidFill>
            <a:ln>
              <a:noFill/>
            </a:ln>
            <a:effectLst/>
          </c:spPr>
          <c:invertIfNegative val="0"/>
          <c:dLbls>
            <c:spPr>
              <a:noFill/>
              <a:ln>
                <a:noFill/>
              </a:ln>
              <a:effectLst/>
            </c:spPr>
            <c:txPr>
              <a:bodyPr rot="-5400000" spcFirstLastPara="1" vertOverflow="ellipsis" wrap="square" anchor="ctr" anchorCtr="1"/>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6:$H$24</c:f>
              <c:strCache>
                <c:ptCount val="19"/>
                <c:pt idx="0">
                  <c:v> Tamilnadu</c:v>
                </c:pt>
                <c:pt idx="1">
                  <c:v> Uttarpradesh</c:v>
                </c:pt>
                <c:pt idx="2">
                  <c:v> Westbengal</c:v>
                </c:pt>
                <c:pt idx="3">
                  <c:v> Karnataka</c:v>
                </c:pt>
                <c:pt idx="4">
                  <c:v> Maharashtra</c:v>
                </c:pt>
                <c:pt idx="5">
                  <c:v> Rajasthan</c:v>
                </c:pt>
                <c:pt idx="6">
                  <c:v> Andhra</c:v>
                </c:pt>
                <c:pt idx="7">
                  <c:v> Telangana</c:v>
                </c:pt>
                <c:pt idx="8">
                  <c:v> Gujarat</c:v>
                </c:pt>
                <c:pt idx="9">
                  <c:v> Punjab</c:v>
                </c:pt>
                <c:pt idx="10">
                  <c:v> Madhyapradesh</c:v>
                </c:pt>
                <c:pt idx="11">
                  <c:v> Bihar</c:v>
                </c:pt>
                <c:pt idx="12">
                  <c:v> Haryana</c:v>
                </c:pt>
                <c:pt idx="13">
                  <c:v> Kerala</c:v>
                </c:pt>
                <c:pt idx="14">
                  <c:v> Assam</c:v>
                </c:pt>
                <c:pt idx="15">
                  <c:v> Chhattisgarh</c:v>
                </c:pt>
                <c:pt idx="16">
                  <c:v> Jammukashmir</c:v>
                </c:pt>
                <c:pt idx="17">
                  <c:v> Jharkhand</c:v>
                </c:pt>
                <c:pt idx="18">
                  <c:v> Himachal Pr</c:v>
                </c:pt>
              </c:strCache>
            </c:strRef>
          </c:cat>
          <c:val>
            <c:numRef>
              <c:f>Sheet2!$J$6:$J$24</c:f>
              <c:numCache>
                <c:formatCode>_ * #,##0_ ;_ * \-#,##0_ ;_ * "-"??_ ;_ @_ </c:formatCode>
                <c:ptCount val="19"/>
                <c:pt idx="0">
                  <c:v>82977</c:v>
                </c:pt>
                <c:pt idx="1">
                  <c:v>75000</c:v>
                </c:pt>
                <c:pt idx="2">
                  <c:v>56680</c:v>
                </c:pt>
                <c:pt idx="3">
                  <c:v>69000</c:v>
                </c:pt>
                <c:pt idx="4">
                  <c:v>55750</c:v>
                </c:pt>
                <c:pt idx="5">
                  <c:v>55859</c:v>
                </c:pt>
                <c:pt idx="6">
                  <c:v>50896</c:v>
                </c:pt>
                <c:pt idx="7">
                  <c:v>35372.800000000003</c:v>
                </c:pt>
                <c:pt idx="8">
                  <c:v>37700</c:v>
                </c:pt>
                <c:pt idx="9">
                  <c:v>33614.464999999997</c:v>
                </c:pt>
                <c:pt idx="10">
                  <c:v>45573</c:v>
                </c:pt>
                <c:pt idx="11">
                  <c:v>27285</c:v>
                </c:pt>
                <c:pt idx="12">
                  <c:v>28000</c:v>
                </c:pt>
                <c:pt idx="13">
                  <c:v>28136</c:v>
                </c:pt>
                <c:pt idx="14">
                  <c:v>14930</c:v>
                </c:pt>
                <c:pt idx="15">
                  <c:v>13000</c:v>
                </c:pt>
                <c:pt idx="16">
                  <c:v>9328</c:v>
                </c:pt>
                <c:pt idx="17">
                  <c:v>8000</c:v>
                </c:pt>
                <c:pt idx="18">
                  <c:v>6000</c:v>
                </c:pt>
              </c:numCache>
            </c:numRef>
          </c:val>
          <c:extLst>
            <c:ext xmlns:c16="http://schemas.microsoft.com/office/drawing/2014/chart" uri="{C3380CC4-5D6E-409C-BE32-E72D297353CC}">
              <c16:uniqueId val="{00000001-DAB7-4D0F-AB38-7AA8BBA261B0}"/>
            </c:ext>
          </c:extLst>
        </c:ser>
        <c:ser>
          <c:idx val="2"/>
          <c:order val="2"/>
          <c:tx>
            <c:strRef>
              <c:f>Sheet2!$K$5</c:f>
              <c:strCache>
                <c:ptCount val="1"/>
                <c:pt idx="0">
                  <c:v>YTD FY22</c:v>
                </c:pt>
              </c:strCache>
            </c:strRef>
          </c:tx>
          <c:spPr>
            <a:solidFill>
              <a:schemeClr val="accent6"/>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6:$H$24</c:f>
              <c:strCache>
                <c:ptCount val="19"/>
                <c:pt idx="0">
                  <c:v> Tamilnadu</c:v>
                </c:pt>
                <c:pt idx="1">
                  <c:v> Uttarpradesh</c:v>
                </c:pt>
                <c:pt idx="2">
                  <c:v> Westbengal</c:v>
                </c:pt>
                <c:pt idx="3">
                  <c:v> Karnataka</c:v>
                </c:pt>
                <c:pt idx="4">
                  <c:v> Maharashtra</c:v>
                </c:pt>
                <c:pt idx="5">
                  <c:v> Rajasthan</c:v>
                </c:pt>
                <c:pt idx="6">
                  <c:v> Andhra</c:v>
                </c:pt>
                <c:pt idx="7">
                  <c:v> Telangana</c:v>
                </c:pt>
                <c:pt idx="8">
                  <c:v> Gujarat</c:v>
                </c:pt>
                <c:pt idx="9">
                  <c:v> Punjab</c:v>
                </c:pt>
                <c:pt idx="10">
                  <c:v> Madhyapradesh</c:v>
                </c:pt>
                <c:pt idx="11">
                  <c:v> Bihar</c:v>
                </c:pt>
                <c:pt idx="12">
                  <c:v> Haryana</c:v>
                </c:pt>
                <c:pt idx="13">
                  <c:v> Kerala</c:v>
                </c:pt>
                <c:pt idx="14">
                  <c:v> Assam</c:v>
                </c:pt>
                <c:pt idx="15">
                  <c:v> Chhattisgarh</c:v>
                </c:pt>
                <c:pt idx="16">
                  <c:v> Jammukashmir</c:v>
                </c:pt>
                <c:pt idx="17">
                  <c:v> Jharkhand</c:v>
                </c:pt>
                <c:pt idx="18">
                  <c:v> Himachal Pr</c:v>
                </c:pt>
              </c:strCache>
            </c:strRef>
          </c:cat>
          <c:val>
            <c:numRef>
              <c:f>Sheet2!$K$6:$K$24</c:f>
              <c:numCache>
                <c:formatCode>_ * #,##0_ ;_ * \-#,##0_ ;_ * "-"??_ ;_ @_ </c:formatCode>
                <c:ptCount val="19"/>
                <c:pt idx="0">
                  <c:v>82000</c:v>
                </c:pt>
                <c:pt idx="1">
                  <c:v>62500</c:v>
                </c:pt>
                <c:pt idx="2">
                  <c:v>66390</c:v>
                </c:pt>
                <c:pt idx="3">
                  <c:v>59000</c:v>
                </c:pt>
                <c:pt idx="4">
                  <c:v>64000</c:v>
                </c:pt>
                <c:pt idx="5">
                  <c:v>50149</c:v>
                </c:pt>
                <c:pt idx="6">
                  <c:v>44443</c:v>
                </c:pt>
                <c:pt idx="7">
                  <c:v>45716</c:v>
                </c:pt>
                <c:pt idx="8">
                  <c:v>27500</c:v>
                </c:pt>
                <c:pt idx="9">
                  <c:v>28200</c:v>
                </c:pt>
                <c:pt idx="10">
                  <c:v>20000</c:v>
                </c:pt>
                <c:pt idx="11">
                  <c:v>28489</c:v>
                </c:pt>
                <c:pt idx="12">
                  <c:v>26500</c:v>
                </c:pt>
                <c:pt idx="13">
                  <c:v>27000</c:v>
                </c:pt>
                <c:pt idx="14">
                  <c:v>12753</c:v>
                </c:pt>
                <c:pt idx="15">
                  <c:v>4000</c:v>
                </c:pt>
                <c:pt idx="16">
                  <c:v>8562</c:v>
                </c:pt>
                <c:pt idx="17">
                  <c:v>2500</c:v>
                </c:pt>
                <c:pt idx="18">
                  <c:v>4000</c:v>
                </c:pt>
              </c:numCache>
            </c:numRef>
          </c:val>
          <c:extLst>
            <c:ext xmlns:c16="http://schemas.microsoft.com/office/drawing/2014/chart" uri="{C3380CC4-5D6E-409C-BE32-E72D297353CC}">
              <c16:uniqueId val="{00000002-DAB7-4D0F-AB38-7AA8BBA261B0}"/>
            </c:ext>
          </c:extLst>
        </c:ser>
        <c:dLbls>
          <c:showLegendKey val="0"/>
          <c:showVal val="1"/>
          <c:showCatName val="0"/>
          <c:showSerName val="0"/>
          <c:showPercent val="0"/>
          <c:showBubbleSize val="0"/>
        </c:dLbls>
        <c:gapWidth val="75"/>
        <c:axId val="-1679603136"/>
        <c:axId val="-1679600416"/>
      </c:barChart>
      <c:catAx>
        <c:axId val="-167960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9600416"/>
        <c:crosses val="autoZero"/>
        <c:auto val="1"/>
        <c:lblAlgn val="ctr"/>
        <c:lblOffset val="100"/>
        <c:noMultiLvlLbl val="0"/>
      </c:catAx>
      <c:valAx>
        <c:axId val="-1679600416"/>
        <c:scaling>
          <c:orientation val="minMax"/>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960313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36</c:f>
              <c:strCache>
                <c:ptCount val="1"/>
                <c:pt idx="0">
                  <c:v>FY18</c:v>
                </c:pt>
              </c:strCache>
            </c:strRef>
          </c:tx>
          <c:spPr>
            <a:solidFill>
              <a:schemeClr val="accent4"/>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A$4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B$37:$B$48</c:f>
              <c:numCache>
                <c:formatCode>_ * #,##0.0_ ;_ * \-#,##0.0_ ;_ * "-"??_ ;_ @_ </c:formatCode>
                <c:ptCount val="12"/>
                <c:pt idx="0">
                  <c:v>0.1535</c:v>
                </c:pt>
                <c:pt idx="1">
                  <c:v>0.35899999999999999</c:v>
                </c:pt>
                <c:pt idx="2">
                  <c:v>0.61729999999999996</c:v>
                </c:pt>
                <c:pt idx="3">
                  <c:v>0.94155</c:v>
                </c:pt>
                <c:pt idx="4">
                  <c:v>1.3181041999999998</c:v>
                </c:pt>
                <c:pt idx="5">
                  <c:v>1.7203541999999998</c:v>
                </c:pt>
                <c:pt idx="6">
                  <c:v>1.9370541999999997</c:v>
                </c:pt>
                <c:pt idx="7">
                  <c:v>2.3575542</c:v>
                </c:pt>
                <c:pt idx="8">
                  <c:v>2.7486466999999997</c:v>
                </c:pt>
                <c:pt idx="9">
                  <c:v>3.2415966999999997</c:v>
                </c:pt>
                <c:pt idx="10">
                  <c:v>3.7078466999999997</c:v>
                </c:pt>
                <c:pt idx="11">
                  <c:v>4.1552141999999996</c:v>
                </c:pt>
              </c:numCache>
            </c:numRef>
          </c:val>
          <c:extLst>
            <c:ext xmlns:c16="http://schemas.microsoft.com/office/drawing/2014/chart" uri="{C3380CC4-5D6E-409C-BE32-E72D297353CC}">
              <c16:uniqueId val="{00000000-D73D-4150-8DDB-CA5FBAAF61C3}"/>
            </c:ext>
          </c:extLst>
        </c:ser>
        <c:ser>
          <c:idx val="1"/>
          <c:order val="1"/>
          <c:tx>
            <c:strRef>
              <c:f>Sheet1!$C$36</c:f>
              <c:strCache>
                <c:ptCount val="1"/>
                <c:pt idx="0">
                  <c:v>FY19</c:v>
                </c:pt>
              </c:strCache>
            </c:strRef>
          </c:tx>
          <c:spPr>
            <a:solidFill>
              <a:schemeClr val="accent3"/>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A$4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C$37:$C$48</c:f>
              <c:numCache>
                <c:formatCode>_ * #,##0.0_ ;_ * \-#,##0.0_ ;_ * "-"??_ ;_ @_ </c:formatCode>
                <c:ptCount val="12"/>
                <c:pt idx="0">
                  <c:v>0.32650000000000001</c:v>
                </c:pt>
                <c:pt idx="1">
                  <c:v>0.58875</c:v>
                </c:pt>
                <c:pt idx="2">
                  <c:v>0.79325000000000001</c:v>
                </c:pt>
                <c:pt idx="3">
                  <c:v>1.10775</c:v>
                </c:pt>
                <c:pt idx="4">
                  <c:v>1.3932500000000001</c:v>
                </c:pt>
                <c:pt idx="5">
                  <c:v>1.6512500000000001</c:v>
                </c:pt>
                <c:pt idx="6">
                  <c:v>2.1305700000000001</c:v>
                </c:pt>
                <c:pt idx="7">
                  <c:v>2.5253239999999999</c:v>
                </c:pt>
                <c:pt idx="8">
                  <c:v>2.9557122999999996</c:v>
                </c:pt>
                <c:pt idx="9">
                  <c:v>3.5575302999999998</c:v>
                </c:pt>
                <c:pt idx="10">
                  <c:v>4.2318702999999998</c:v>
                </c:pt>
                <c:pt idx="11">
                  <c:v>4.8428078999999995</c:v>
                </c:pt>
              </c:numCache>
            </c:numRef>
          </c:val>
          <c:extLst>
            <c:ext xmlns:c16="http://schemas.microsoft.com/office/drawing/2014/chart" uri="{C3380CC4-5D6E-409C-BE32-E72D297353CC}">
              <c16:uniqueId val="{00000001-D73D-4150-8DDB-CA5FBAAF61C3}"/>
            </c:ext>
          </c:extLst>
        </c:ser>
        <c:ser>
          <c:idx val="2"/>
          <c:order val="2"/>
          <c:tx>
            <c:strRef>
              <c:f>Sheet1!$D$36</c:f>
              <c:strCache>
                <c:ptCount val="1"/>
                <c:pt idx="0">
                  <c:v>FY20</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A$4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D$37:$D$48</c:f>
              <c:numCache>
                <c:formatCode>_ * #,##0.0_ ;_ * \-#,##0.0_ ;_ * "-"??_ ;_ @_ </c:formatCode>
                <c:ptCount val="12"/>
                <c:pt idx="0">
                  <c:v>0.28771999999999998</c:v>
                </c:pt>
                <c:pt idx="1">
                  <c:v>0.50371999999999995</c:v>
                </c:pt>
                <c:pt idx="2">
                  <c:v>0.80223</c:v>
                </c:pt>
                <c:pt idx="3">
                  <c:v>1.3312299999999999</c:v>
                </c:pt>
                <c:pt idx="4">
                  <c:v>1.77576</c:v>
                </c:pt>
                <c:pt idx="5">
                  <c:v>2.2676400000000001</c:v>
                </c:pt>
                <c:pt idx="6">
                  <c:v>2.8725499999999999</c:v>
                </c:pt>
                <c:pt idx="7">
                  <c:v>3.3426999999999998</c:v>
                </c:pt>
                <c:pt idx="8">
                  <c:v>3.8143846999999997</c:v>
                </c:pt>
                <c:pt idx="9">
                  <c:v>4.5503146999999995</c:v>
                </c:pt>
                <c:pt idx="10">
                  <c:v>5.1819048699999994</c:v>
                </c:pt>
                <c:pt idx="11">
                  <c:v>6.4005445699999992</c:v>
                </c:pt>
              </c:numCache>
            </c:numRef>
          </c:val>
          <c:extLst>
            <c:ext xmlns:c16="http://schemas.microsoft.com/office/drawing/2014/chart" uri="{C3380CC4-5D6E-409C-BE32-E72D297353CC}">
              <c16:uniqueId val="{00000002-D73D-4150-8DDB-CA5FBAAF61C3}"/>
            </c:ext>
          </c:extLst>
        </c:ser>
        <c:ser>
          <c:idx val="3"/>
          <c:order val="3"/>
          <c:tx>
            <c:strRef>
              <c:f>Sheet1!$E$36</c:f>
              <c:strCache>
                <c:ptCount val="1"/>
                <c:pt idx="0">
                  <c:v>FY21</c:v>
                </c:pt>
              </c:strCache>
            </c:strRef>
          </c:tx>
          <c:spPr>
            <a:solidFill>
              <a:schemeClr val="accent5"/>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A$4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E$37:$E$48</c:f>
              <c:numCache>
                <c:formatCode>_ * #,##0.0_ ;_ * \-#,##0.0_ ;_ * "-"??_ ;_ @_ </c:formatCode>
                <c:ptCount val="12"/>
                <c:pt idx="0">
                  <c:v>0.59494999999999998</c:v>
                </c:pt>
                <c:pt idx="1">
                  <c:v>1.06945</c:v>
                </c:pt>
                <c:pt idx="2">
                  <c:v>1.51305</c:v>
                </c:pt>
                <c:pt idx="3">
                  <c:v>2.01905</c:v>
                </c:pt>
                <c:pt idx="4">
                  <c:v>2.5275500000000002</c:v>
                </c:pt>
                <c:pt idx="5">
                  <c:v>3.2891499999999998</c:v>
                </c:pt>
                <c:pt idx="6">
                  <c:v>3.9803999999999999</c:v>
                </c:pt>
                <c:pt idx="7">
                  <c:v>4.5868880000000001</c:v>
                </c:pt>
                <c:pt idx="8">
                  <c:v>5.2166526500000003</c:v>
                </c:pt>
                <c:pt idx="9">
                  <c:v>5.7631526500000003</c:v>
                </c:pt>
                <c:pt idx="10">
                  <c:v>6.5398526500000003</c:v>
                </c:pt>
                <c:pt idx="11">
                  <c:v>7.5926426500000002</c:v>
                </c:pt>
              </c:numCache>
            </c:numRef>
          </c:val>
          <c:extLst>
            <c:ext xmlns:c16="http://schemas.microsoft.com/office/drawing/2014/chart" uri="{C3380CC4-5D6E-409C-BE32-E72D297353CC}">
              <c16:uniqueId val="{00000003-D73D-4150-8DDB-CA5FBAAF61C3}"/>
            </c:ext>
          </c:extLst>
        </c:ser>
        <c:ser>
          <c:idx val="4"/>
          <c:order val="4"/>
          <c:tx>
            <c:strRef>
              <c:f>Sheet1!$F$36</c:f>
              <c:strCache>
                <c:ptCount val="1"/>
                <c:pt idx="0">
                  <c:v>FY22</c:v>
                </c:pt>
              </c:strCache>
            </c:strRef>
          </c:tx>
          <c:spPr>
            <a:solidFill>
              <a:schemeClr val="accent6"/>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7:$A$48</c:f>
              <c:strCache>
                <c:ptCount val="12"/>
                <c:pt idx="0">
                  <c:v>Apr</c:v>
                </c:pt>
                <c:pt idx="1">
                  <c:v>May</c:v>
                </c:pt>
                <c:pt idx="2">
                  <c:v>Jun</c:v>
                </c:pt>
                <c:pt idx="3">
                  <c:v>Jul</c:v>
                </c:pt>
                <c:pt idx="4">
                  <c:v>Aug</c:v>
                </c:pt>
                <c:pt idx="5">
                  <c:v>Sep</c:v>
                </c:pt>
                <c:pt idx="6">
                  <c:v>Oct</c:v>
                </c:pt>
                <c:pt idx="7">
                  <c:v>Nov</c:v>
                </c:pt>
                <c:pt idx="8">
                  <c:v>Dec</c:v>
                </c:pt>
                <c:pt idx="9">
                  <c:v>Jan</c:v>
                </c:pt>
                <c:pt idx="10">
                  <c:v>Feb</c:v>
                </c:pt>
                <c:pt idx="11">
                  <c:v>Mar</c:v>
                </c:pt>
              </c:strCache>
            </c:strRef>
          </c:cat>
          <c:val>
            <c:numRef>
              <c:f>Sheet1!$F$37:$F$48</c:f>
              <c:numCache>
                <c:formatCode>_ * #,##0.0_ ;_ * \-#,##0.0_ ;_ * "-"??_ ;_ @_ </c:formatCode>
                <c:ptCount val="12"/>
                <c:pt idx="0">
                  <c:v>9.1499999999999998E-2</c:v>
                </c:pt>
                <c:pt idx="1">
                  <c:v>0.57699999999999996</c:v>
                </c:pt>
                <c:pt idx="2">
                  <c:v>1.3955</c:v>
                </c:pt>
                <c:pt idx="3">
                  <c:v>1.8759999999999999</c:v>
                </c:pt>
                <c:pt idx="4">
                  <c:v>2.3140000000000001</c:v>
                </c:pt>
                <c:pt idx="5">
                  <c:v>3.0180186</c:v>
                </c:pt>
                <c:pt idx="6">
                  <c:v>3.6303486</c:v>
                </c:pt>
                <c:pt idx="7">
                  <c:v>4.0085986</c:v>
                </c:pt>
                <c:pt idx="8">
                  <c:v>4.6092186000000002</c:v>
                </c:pt>
                <c:pt idx="9">
                  <c:v>5.4125985999999999</c:v>
                </c:pt>
                <c:pt idx="10">
                  <c:v>5.9279285999999995</c:v>
                </c:pt>
                <c:pt idx="11">
                  <c:v>6.7856785999999998</c:v>
                </c:pt>
              </c:numCache>
            </c:numRef>
          </c:val>
          <c:extLst>
            <c:ext xmlns:c16="http://schemas.microsoft.com/office/drawing/2014/chart" uri="{C3380CC4-5D6E-409C-BE32-E72D297353CC}">
              <c16:uniqueId val="{00000004-D73D-4150-8DDB-CA5FBAAF61C3}"/>
            </c:ext>
          </c:extLst>
        </c:ser>
        <c:dLbls>
          <c:showLegendKey val="0"/>
          <c:showVal val="1"/>
          <c:showCatName val="0"/>
          <c:showSerName val="0"/>
          <c:showPercent val="0"/>
          <c:showBubbleSize val="0"/>
        </c:dLbls>
        <c:gapWidth val="75"/>
        <c:axId val="-1679588992"/>
        <c:axId val="-1679573216"/>
      </c:barChart>
      <c:catAx>
        <c:axId val="-1679588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9573216"/>
        <c:crosses val="autoZero"/>
        <c:auto val="1"/>
        <c:lblAlgn val="ctr"/>
        <c:lblOffset val="100"/>
        <c:noMultiLvlLbl val="0"/>
      </c:catAx>
      <c:valAx>
        <c:axId val="-1679573216"/>
        <c:scaling>
          <c:orientation val="minMax"/>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9588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PFCE!$B$13</c:f>
              <c:strCache>
                <c:ptCount val="1"/>
                <c:pt idx="0">
                  <c:v>PFCE Growth</c:v>
                </c:pt>
              </c:strCache>
            </c:strRef>
          </c:tx>
          <c:spPr>
            <a:ln w="28575" cap="rnd">
              <a:solidFill>
                <a:schemeClr val="accent2"/>
              </a:solidFill>
              <a:round/>
            </a:ln>
            <a:effectLst/>
          </c:spPr>
          <c:marker>
            <c:symbol val="none"/>
          </c:marker>
          <c:dLbls>
            <c:dLbl>
              <c:idx val="6"/>
              <c:layout>
                <c:manualLayout>
                  <c:x val="-8.4216167539727188E-2"/>
                  <c:y val="1.3409005692470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F47-4690-8FE8-9CDF679BC696}"/>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FCE!$A$14:$A$22</c:f>
              <c:strCache>
                <c:ptCount val="9"/>
                <c:pt idx="0">
                  <c:v>FY15</c:v>
                </c:pt>
                <c:pt idx="1">
                  <c:v>FY16</c:v>
                </c:pt>
                <c:pt idx="2">
                  <c:v>FY17</c:v>
                </c:pt>
                <c:pt idx="3">
                  <c:v>FY18</c:v>
                </c:pt>
                <c:pt idx="4">
                  <c:v>FY19</c:v>
                </c:pt>
                <c:pt idx="5">
                  <c:v>FY20</c:v>
                </c:pt>
                <c:pt idx="6">
                  <c:v>FY21E</c:v>
                </c:pt>
                <c:pt idx="7">
                  <c:v>FY22P</c:v>
                </c:pt>
                <c:pt idx="8">
                  <c:v>FY23P</c:v>
                </c:pt>
              </c:strCache>
            </c:strRef>
          </c:cat>
          <c:val>
            <c:numRef>
              <c:f>PFCE!$B$14:$B$22</c:f>
              <c:numCache>
                <c:formatCode>0.0%</c:formatCode>
                <c:ptCount val="9"/>
                <c:pt idx="0">
                  <c:v>6.3938555592123247E-2</c:v>
                </c:pt>
                <c:pt idx="1">
                  <c:v>7.9281111211655819E-2</c:v>
                </c:pt>
                <c:pt idx="2">
                  <c:v>8.1301245448115012E-2</c:v>
                </c:pt>
                <c:pt idx="3">
                  <c:v>6.2388080641494703E-2</c:v>
                </c:pt>
                <c:pt idx="4">
                  <c:v>7.5530681254422305E-2</c:v>
                </c:pt>
                <c:pt idx="5">
                  <c:v>5.5460900543183866E-2</c:v>
                </c:pt>
                <c:pt idx="6">
                  <c:v>-9.14134242188549E-2</c:v>
                </c:pt>
                <c:pt idx="7">
                  <c:v>8.6999999999999966E-2</c:v>
                </c:pt>
                <c:pt idx="8">
                  <c:v>8.0999999999999961E-2</c:v>
                </c:pt>
              </c:numCache>
            </c:numRef>
          </c:val>
          <c:smooth val="1"/>
          <c:extLst>
            <c:ext xmlns:c16="http://schemas.microsoft.com/office/drawing/2014/chart" uri="{C3380CC4-5D6E-409C-BE32-E72D297353CC}">
              <c16:uniqueId val="{00000001-8F47-4690-8FE8-9CDF679BC696}"/>
            </c:ext>
          </c:extLst>
        </c:ser>
        <c:dLbls>
          <c:showLegendKey val="0"/>
          <c:showVal val="0"/>
          <c:showCatName val="0"/>
          <c:showSerName val="0"/>
          <c:showPercent val="0"/>
          <c:showBubbleSize val="0"/>
        </c:dLbls>
        <c:smooth val="0"/>
        <c:axId val="111227648"/>
        <c:axId val="111229184"/>
      </c:lineChart>
      <c:catAx>
        <c:axId val="111227648"/>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1229184"/>
        <c:crosses val="autoZero"/>
        <c:auto val="1"/>
        <c:lblAlgn val="ctr"/>
        <c:lblOffset val="100"/>
        <c:noMultiLvlLbl val="0"/>
      </c:catAx>
      <c:valAx>
        <c:axId val="111229184"/>
        <c:scaling>
          <c:orientation val="minMax"/>
        </c:scaling>
        <c:delete val="0"/>
        <c:axPos val="l"/>
        <c:title>
          <c:tx>
            <c:rich>
              <a:bodyPr rot="-54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Growth YoY (%)</a:t>
                </a:r>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122764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nsumer Confidence Index'!$D$7</c:f>
              <c:strCache>
                <c:ptCount val="1"/>
                <c:pt idx="0">
                  <c:v>Current Situation Index</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nsumer Confidence Index'!$B$40:$C$56</c:f>
              <c:multiLvlStrCache>
                <c:ptCount val="17"/>
                <c:lvl>
                  <c:pt idx="0">
                    <c:v>May-19</c:v>
                  </c:pt>
                  <c:pt idx="1">
                    <c:v>Jul-19</c:v>
                  </c:pt>
                  <c:pt idx="2">
                    <c:v>Sep-19</c:v>
                  </c:pt>
                  <c:pt idx="3">
                    <c:v>Nov-19</c:v>
                  </c:pt>
                  <c:pt idx="4">
                    <c:v>Jan-20</c:v>
                  </c:pt>
                  <c:pt idx="5">
                    <c:v>Mar-20</c:v>
                  </c:pt>
                  <c:pt idx="6">
                    <c:v>May-20</c:v>
                  </c:pt>
                  <c:pt idx="7">
                    <c:v>Jul-20</c:v>
                  </c:pt>
                  <c:pt idx="8">
                    <c:v>Sep-20</c:v>
                  </c:pt>
                  <c:pt idx="9">
                    <c:v>Nov-20</c:v>
                  </c:pt>
                  <c:pt idx="10">
                    <c:v>Jan-21</c:v>
                  </c:pt>
                  <c:pt idx="11">
                    <c:v>Mar-21</c:v>
                  </c:pt>
                  <c:pt idx="12">
                    <c:v>May-21</c:v>
                  </c:pt>
                  <c:pt idx="13">
                    <c:v>Jul-21</c:v>
                  </c:pt>
                  <c:pt idx="14">
                    <c:v>Sep-21</c:v>
                  </c:pt>
                  <c:pt idx="15">
                    <c:v>Nov-21</c:v>
                  </c:pt>
                  <c:pt idx="16">
                    <c:v>Jan-22</c:v>
                  </c:pt>
                </c:lvl>
                <c:lvl>
                  <c:pt idx="0">
                    <c:v>FY20</c:v>
                  </c:pt>
                  <c:pt idx="6">
                    <c:v>FY21</c:v>
                  </c:pt>
                  <c:pt idx="12">
                    <c:v>FY22</c:v>
                  </c:pt>
                </c:lvl>
              </c:multiLvlStrCache>
            </c:multiLvlStrRef>
          </c:cat>
          <c:val>
            <c:numRef>
              <c:f>'Consumer Confidence Index'!$D$40:$D$56</c:f>
              <c:numCache>
                <c:formatCode>0</c:formatCode>
                <c:ptCount val="17"/>
                <c:pt idx="0">
                  <c:v>97.34</c:v>
                </c:pt>
                <c:pt idx="1">
                  <c:v>95.74</c:v>
                </c:pt>
                <c:pt idx="2">
                  <c:v>89.4</c:v>
                </c:pt>
                <c:pt idx="3">
                  <c:v>85.7</c:v>
                </c:pt>
                <c:pt idx="4">
                  <c:v>83.7</c:v>
                </c:pt>
                <c:pt idx="5">
                  <c:v>85.6</c:v>
                </c:pt>
                <c:pt idx="6">
                  <c:v>63.7</c:v>
                </c:pt>
                <c:pt idx="7">
                  <c:v>53.8</c:v>
                </c:pt>
                <c:pt idx="8">
                  <c:v>49.9</c:v>
                </c:pt>
                <c:pt idx="9">
                  <c:v>52.3</c:v>
                </c:pt>
                <c:pt idx="10">
                  <c:v>55.5</c:v>
                </c:pt>
                <c:pt idx="11">
                  <c:v>53.1</c:v>
                </c:pt>
                <c:pt idx="12">
                  <c:v>48.5</c:v>
                </c:pt>
                <c:pt idx="13">
                  <c:v>48.6</c:v>
                </c:pt>
                <c:pt idx="14">
                  <c:v>57.7</c:v>
                </c:pt>
                <c:pt idx="15">
                  <c:v>62.3</c:v>
                </c:pt>
                <c:pt idx="16">
                  <c:v>63.7</c:v>
                </c:pt>
              </c:numCache>
            </c:numRef>
          </c:val>
          <c:smooth val="0"/>
          <c:extLst>
            <c:ext xmlns:c16="http://schemas.microsoft.com/office/drawing/2014/chart" uri="{C3380CC4-5D6E-409C-BE32-E72D297353CC}">
              <c16:uniqueId val="{00000000-1F14-4AF4-8C53-65D9A4490148}"/>
            </c:ext>
          </c:extLst>
        </c:ser>
        <c:ser>
          <c:idx val="1"/>
          <c:order val="1"/>
          <c:tx>
            <c:strRef>
              <c:f>'Consumer Confidence Index'!$E$7</c:f>
              <c:strCache>
                <c:ptCount val="1"/>
                <c:pt idx="0">
                  <c:v>Future Expectation Index</c:v>
                </c:pt>
              </c:strCache>
            </c:strRef>
          </c:tx>
          <c:spPr>
            <a:ln w="28575" cap="rnd">
              <a:solidFill>
                <a:schemeClr val="accent6">
                  <a:lumMod val="75000"/>
                </a:schemeClr>
              </a:solidFill>
              <a:round/>
            </a:ln>
            <a:effectLst/>
          </c:spPr>
          <c:marker>
            <c:symbol val="circle"/>
            <c:size val="5"/>
            <c:spPr>
              <a:solidFill>
                <a:schemeClr val="accent6">
                  <a:lumMod val="75000"/>
                </a:schemeClr>
              </a:solidFill>
              <a:ln w="9525">
                <a:solidFill>
                  <a:schemeClr val="accent6">
                    <a:lumMod val="75000"/>
                  </a:schemeClr>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nsumer Confidence Index'!$B$40:$C$56</c:f>
              <c:multiLvlStrCache>
                <c:ptCount val="17"/>
                <c:lvl>
                  <c:pt idx="0">
                    <c:v>May-19</c:v>
                  </c:pt>
                  <c:pt idx="1">
                    <c:v>Jul-19</c:v>
                  </c:pt>
                  <c:pt idx="2">
                    <c:v>Sep-19</c:v>
                  </c:pt>
                  <c:pt idx="3">
                    <c:v>Nov-19</c:v>
                  </c:pt>
                  <c:pt idx="4">
                    <c:v>Jan-20</c:v>
                  </c:pt>
                  <c:pt idx="5">
                    <c:v>Mar-20</c:v>
                  </c:pt>
                  <c:pt idx="6">
                    <c:v>May-20</c:v>
                  </c:pt>
                  <c:pt idx="7">
                    <c:v>Jul-20</c:v>
                  </c:pt>
                  <c:pt idx="8">
                    <c:v>Sep-20</c:v>
                  </c:pt>
                  <c:pt idx="9">
                    <c:v>Nov-20</c:v>
                  </c:pt>
                  <c:pt idx="10">
                    <c:v>Jan-21</c:v>
                  </c:pt>
                  <c:pt idx="11">
                    <c:v>Mar-21</c:v>
                  </c:pt>
                  <c:pt idx="12">
                    <c:v>May-21</c:v>
                  </c:pt>
                  <c:pt idx="13">
                    <c:v>Jul-21</c:v>
                  </c:pt>
                  <c:pt idx="14">
                    <c:v>Sep-21</c:v>
                  </c:pt>
                  <c:pt idx="15">
                    <c:v>Nov-21</c:v>
                  </c:pt>
                  <c:pt idx="16">
                    <c:v>Jan-22</c:v>
                  </c:pt>
                </c:lvl>
                <c:lvl>
                  <c:pt idx="0">
                    <c:v>FY20</c:v>
                  </c:pt>
                  <c:pt idx="6">
                    <c:v>FY21</c:v>
                  </c:pt>
                  <c:pt idx="12">
                    <c:v>FY22</c:v>
                  </c:pt>
                </c:lvl>
              </c:multiLvlStrCache>
            </c:multiLvlStrRef>
          </c:cat>
          <c:val>
            <c:numRef>
              <c:f>'Consumer Confidence Index'!$E$40:$E$56</c:f>
              <c:numCache>
                <c:formatCode>0</c:formatCode>
                <c:ptCount val="17"/>
                <c:pt idx="0">
                  <c:v>128.41999999999999</c:v>
                </c:pt>
                <c:pt idx="1">
                  <c:v>124.78</c:v>
                </c:pt>
                <c:pt idx="2">
                  <c:v>118</c:v>
                </c:pt>
                <c:pt idx="3">
                  <c:v>114.5</c:v>
                </c:pt>
                <c:pt idx="4">
                  <c:v>115.1</c:v>
                </c:pt>
                <c:pt idx="5">
                  <c:v>115.2</c:v>
                </c:pt>
                <c:pt idx="6">
                  <c:v>97.9</c:v>
                </c:pt>
                <c:pt idx="7">
                  <c:v>105.4</c:v>
                </c:pt>
                <c:pt idx="8">
                  <c:v>115.9</c:v>
                </c:pt>
                <c:pt idx="9">
                  <c:v>115.9</c:v>
                </c:pt>
                <c:pt idx="10">
                  <c:v>117</c:v>
                </c:pt>
                <c:pt idx="11">
                  <c:v>108.8</c:v>
                </c:pt>
                <c:pt idx="12">
                  <c:v>96.4</c:v>
                </c:pt>
                <c:pt idx="13">
                  <c:v>104</c:v>
                </c:pt>
                <c:pt idx="14">
                  <c:v>107</c:v>
                </c:pt>
                <c:pt idx="15">
                  <c:v>109.6</c:v>
                </c:pt>
                <c:pt idx="16">
                  <c:v>103</c:v>
                </c:pt>
              </c:numCache>
            </c:numRef>
          </c:val>
          <c:smooth val="0"/>
          <c:extLst>
            <c:ext xmlns:c16="http://schemas.microsoft.com/office/drawing/2014/chart" uri="{C3380CC4-5D6E-409C-BE32-E72D297353CC}">
              <c16:uniqueId val="{00000001-1F14-4AF4-8C53-65D9A4490148}"/>
            </c:ext>
          </c:extLst>
        </c:ser>
        <c:dLbls>
          <c:dLblPos val="t"/>
          <c:showLegendKey val="0"/>
          <c:showVal val="1"/>
          <c:showCatName val="0"/>
          <c:showSerName val="0"/>
          <c:showPercent val="0"/>
          <c:showBubbleSize val="0"/>
        </c:dLbls>
        <c:marker val="1"/>
        <c:smooth val="0"/>
        <c:axId val="111253760"/>
        <c:axId val="111259648"/>
      </c:lineChart>
      <c:catAx>
        <c:axId val="111253760"/>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1259648"/>
        <c:crosses val="autoZero"/>
        <c:auto val="1"/>
        <c:lblAlgn val="ctr"/>
        <c:lblOffset val="100"/>
        <c:noMultiLvlLbl val="0"/>
      </c:catAx>
      <c:valAx>
        <c:axId val="111259648"/>
        <c:scaling>
          <c:orientation val="minMax"/>
        </c:scaling>
        <c:delete val="0"/>
        <c:axPos val="l"/>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125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605424397962692E-2"/>
          <c:y val="0.17171293168330204"/>
          <c:w val="0.93906877247280507"/>
          <c:h val="0.61498432487605714"/>
        </c:manualLayout>
      </c:layout>
      <c:barChart>
        <c:barDir val="col"/>
        <c:grouping val="clustered"/>
        <c:varyColors val="0"/>
        <c:ser>
          <c:idx val="0"/>
          <c:order val="0"/>
          <c:tx>
            <c:strRef>
              <c:f>'All India'!$L$22:$U$22</c:f>
              <c:strCache>
                <c:ptCount val="1"/>
                <c:pt idx="0">
                  <c:v>Kharif</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l India'!$A$29:$A$35</c:f>
              <c:strCache>
                <c:ptCount val="7"/>
                <c:pt idx="0">
                  <c:v>2015-16</c:v>
                </c:pt>
                <c:pt idx="1">
                  <c:v>2016-17</c:v>
                </c:pt>
                <c:pt idx="2">
                  <c:v>2017-18</c:v>
                </c:pt>
                <c:pt idx="3">
                  <c:v>2018-19</c:v>
                </c:pt>
                <c:pt idx="4">
                  <c:v>2019-20 E</c:v>
                </c:pt>
                <c:pt idx="5">
                  <c:v>2020-21 E</c:v>
                </c:pt>
                <c:pt idx="6">
                  <c:v>2021-22 P</c:v>
                </c:pt>
              </c:strCache>
            </c:strRef>
          </c:cat>
          <c:val>
            <c:numRef>
              <c:f>'All India'!$S$29:$S$35</c:f>
              <c:numCache>
                <c:formatCode>0</c:formatCode>
                <c:ptCount val="7"/>
                <c:pt idx="0">
                  <c:v>83.227819309263225</c:v>
                </c:pt>
                <c:pt idx="1">
                  <c:v>86.567593584522044</c:v>
                </c:pt>
                <c:pt idx="2">
                  <c:v>99.759399142556632</c:v>
                </c:pt>
                <c:pt idx="3">
                  <c:v>110.24198849204397</c:v>
                </c:pt>
                <c:pt idx="4">
                  <c:v>109.56769939327172</c:v>
                </c:pt>
                <c:pt idx="5">
                  <c:v>117</c:v>
                </c:pt>
                <c:pt idx="6">
                  <c:v>118</c:v>
                </c:pt>
              </c:numCache>
            </c:numRef>
          </c:val>
          <c:extLst>
            <c:ext xmlns:c16="http://schemas.microsoft.com/office/drawing/2014/chart" uri="{C3380CC4-5D6E-409C-BE32-E72D297353CC}">
              <c16:uniqueId val="{00000000-83CA-41F4-A034-015DB751C9EF}"/>
            </c:ext>
          </c:extLst>
        </c:ser>
        <c:ser>
          <c:idx val="1"/>
          <c:order val="1"/>
          <c:tx>
            <c:strRef>
              <c:f>'All India'!$V$22:$AE$22</c:f>
              <c:strCache>
                <c:ptCount val="1"/>
                <c:pt idx="0">
                  <c:v>Rabi</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l India'!$A$29:$A$35</c:f>
              <c:strCache>
                <c:ptCount val="7"/>
                <c:pt idx="0">
                  <c:v>2015-16</c:v>
                </c:pt>
                <c:pt idx="1">
                  <c:v>2016-17</c:v>
                </c:pt>
                <c:pt idx="2">
                  <c:v>2017-18</c:v>
                </c:pt>
                <c:pt idx="3">
                  <c:v>2018-19</c:v>
                </c:pt>
                <c:pt idx="4">
                  <c:v>2019-20 E</c:v>
                </c:pt>
                <c:pt idx="5">
                  <c:v>2020-21 E</c:v>
                </c:pt>
                <c:pt idx="6">
                  <c:v>2021-22 P</c:v>
                </c:pt>
              </c:strCache>
            </c:strRef>
          </c:cat>
          <c:val>
            <c:numRef>
              <c:f>'All India'!$AC$29:$AC$35</c:f>
              <c:numCache>
                <c:formatCode>0</c:formatCode>
                <c:ptCount val="7"/>
                <c:pt idx="0">
                  <c:v>54.808294922675152</c:v>
                </c:pt>
                <c:pt idx="1">
                  <c:v>73.33478579580995</c:v>
                </c:pt>
                <c:pt idx="2">
                  <c:v>74.51296029277448</c:v>
                </c:pt>
                <c:pt idx="3">
                  <c:v>74.592251109034791</c:v>
                </c:pt>
                <c:pt idx="4">
                  <c:v>79.786276400446425</c:v>
                </c:pt>
                <c:pt idx="5">
                  <c:v>81</c:v>
                </c:pt>
                <c:pt idx="6">
                  <c:v>82</c:v>
                </c:pt>
              </c:numCache>
            </c:numRef>
          </c:val>
          <c:extLst>
            <c:ext xmlns:c16="http://schemas.microsoft.com/office/drawing/2014/chart" uri="{C3380CC4-5D6E-409C-BE32-E72D297353CC}">
              <c16:uniqueId val="{00000001-83CA-41F4-A034-015DB751C9EF}"/>
            </c:ext>
          </c:extLst>
        </c:ser>
        <c:dLbls>
          <c:showLegendKey val="0"/>
          <c:showVal val="0"/>
          <c:showCatName val="0"/>
          <c:showSerName val="0"/>
          <c:showPercent val="0"/>
          <c:showBubbleSize val="0"/>
        </c:dLbls>
        <c:gapWidth val="219"/>
        <c:overlap val="-27"/>
        <c:axId val="1979066816"/>
        <c:axId val="1979063552"/>
      </c:barChart>
      <c:catAx>
        <c:axId val="197906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979063552"/>
        <c:crosses val="autoZero"/>
        <c:auto val="1"/>
        <c:lblAlgn val="ctr"/>
        <c:lblOffset val="100"/>
        <c:noMultiLvlLbl val="0"/>
      </c:catAx>
      <c:valAx>
        <c:axId val="197906355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9790668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solidFill>
        <a:schemeClr val="bg1">
          <a:lumMod val="75000"/>
        </a:schemeClr>
      </a:solid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C$2</c:f>
              <c:strCache>
                <c:ptCount val="1"/>
                <c:pt idx="0">
                  <c:v>Kharif</c:v>
                </c:pt>
              </c:strCache>
            </c:strRef>
          </c:tx>
          <c:spPr>
            <a:solidFill>
              <a:schemeClr val="accent4"/>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B$13</c:f>
              <c:strCache>
                <c:ptCount val="7"/>
                <c:pt idx="0">
                  <c:v>2015-16</c:v>
                </c:pt>
                <c:pt idx="1">
                  <c:v>2016-17</c:v>
                </c:pt>
                <c:pt idx="2">
                  <c:v>2017-18</c:v>
                </c:pt>
                <c:pt idx="3">
                  <c:v>2018-19</c:v>
                </c:pt>
                <c:pt idx="4">
                  <c:v>2019-20 E</c:v>
                </c:pt>
                <c:pt idx="5">
                  <c:v>2020-21 E</c:v>
                </c:pt>
                <c:pt idx="6">
                  <c:v>2021-22 P</c:v>
                </c:pt>
              </c:strCache>
            </c:strRef>
          </c:cat>
          <c:val>
            <c:numRef>
              <c:f>Sheet1!$E$7:$E$13</c:f>
              <c:numCache>
                <c:formatCode>0</c:formatCode>
                <c:ptCount val="7"/>
                <c:pt idx="0">
                  <c:v>379.34341727000003</c:v>
                </c:pt>
                <c:pt idx="1">
                  <c:v>387.43899232999996</c:v>
                </c:pt>
                <c:pt idx="2">
                  <c:v>446.77508528999999</c:v>
                </c:pt>
                <c:pt idx="3">
                  <c:v>459.94722665</c:v>
                </c:pt>
                <c:pt idx="4">
                  <c:v>421.22738753211775</c:v>
                </c:pt>
                <c:pt idx="5">
                  <c:v>438.70604995427158</c:v>
                </c:pt>
                <c:pt idx="6">
                  <c:v>440.13055042922144</c:v>
                </c:pt>
              </c:numCache>
            </c:numRef>
          </c:val>
          <c:extLst>
            <c:ext xmlns:c16="http://schemas.microsoft.com/office/drawing/2014/chart" uri="{C3380CC4-5D6E-409C-BE32-E72D297353CC}">
              <c16:uniqueId val="{00000000-6B8D-4270-A227-900EED9C065E}"/>
            </c:ext>
          </c:extLst>
        </c:ser>
        <c:ser>
          <c:idx val="1"/>
          <c:order val="1"/>
          <c:tx>
            <c:strRef>
              <c:f>Sheet1!$D$2</c:f>
              <c:strCache>
                <c:ptCount val="1"/>
                <c:pt idx="0">
                  <c:v>Rabi</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B$13</c:f>
              <c:strCache>
                <c:ptCount val="7"/>
                <c:pt idx="0">
                  <c:v>2015-16</c:v>
                </c:pt>
                <c:pt idx="1">
                  <c:v>2016-17</c:v>
                </c:pt>
                <c:pt idx="2">
                  <c:v>2017-18</c:v>
                </c:pt>
                <c:pt idx="3">
                  <c:v>2018-19</c:v>
                </c:pt>
                <c:pt idx="4">
                  <c:v>2019-20 E</c:v>
                </c:pt>
                <c:pt idx="5">
                  <c:v>2020-21 E</c:v>
                </c:pt>
                <c:pt idx="6">
                  <c:v>2021-22 P</c:v>
                </c:pt>
              </c:strCache>
            </c:strRef>
          </c:cat>
          <c:val>
            <c:numRef>
              <c:f>Sheet1!$F$7:$F$13</c:f>
              <c:numCache>
                <c:formatCode>0</c:formatCode>
                <c:ptCount val="7"/>
                <c:pt idx="0">
                  <c:v>167.55500000000001</c:v>
                </c:pt>
                <c:pt idx="1">
                  <c:v>198.59452000000002</c:v>
                </c:pt>
                <c:pt idx="2">
                  <c:v>203.80800999999997</c:v>
                </c:pt>
                <c:pt idx="3">
                  <c:v>196.15540000000001</c:v>
                </c:pt>
                <c:pt idx="4">
                  <c:v>188.31545725369233</c:v>
                </c:pt>
                <c:pt idx="5">
                  <c:v>186.4410571139172</c:v>
                </c:pt>
                <c:pt idx="6">
                  <c:v>178.77086831274272</c:v>
                </c:pt>
              </c:numCache>
            </c:numRef>
          </c:val>
          <c:extLst>
            <c:ext xmlns:c16="http://schemas.microsoft.com/office/drawing/2014/chart" uri="{C3380CC4-5D6E-409C-BE32-E72D297353CC}">
              <c16:uniqueId val="{00000001-6B8D-4270-A227-900EED9C065E}"/>
            </c:ext>
          </c:extLst>
        </c:ser>
        <c:dLbls>
          <c:showLegendKey val="0"/>
          <c:showVal val="0"/>
          <c:showCatName val="0"/>
          <c:showSerName val="0"/>
          <c:showPercent val="0"/>
          <c:showBubbleSize val="0"/>
        </c:dLbls>
        <c:gapWidth val="218"/>
        <c:overlap val="-27"/>
        <c:axId val="1979065728"/>
        <c:axId val="1979067904"/>
      </c:barChart>
      <c:catAx>
        <c:axId val="1979065728"/>
        <c:scaling>
          <c:orientation val="minMax"/>
        </c:scaling>
        <c:delete val="0"/>
        <c:axPos val="b"/>
        <c:numFmt formatCode="General" sourceLinked="0"/>
        <c:majorTickMark val="out"/>
        <c:minorTickMark val="none"/>
        <c:tickLblPos val="nextTo"/>
        <c:crossAx val="1979067904"/>
        <c:crosses val="autoZero"/>
        <c:auto val="0"/>
        <c:lblAlgn val="ctr"/>
        <c:lblOffset val="100"/>
        <c:noMultiLvlLbl val="0"/>
      </c:catAx>
      <c:valAx>
        <c:axId val="1979067904"/>
        <c:scaling>
          <c:orientation val="minMax"/>
        </c:scaling>
        <c:delete val="1"/>
        <c:axPos val="l"/>
        <c:numFmt formatCode="0" sourceLinked="1"/>
        <c:majorTickMark val="out"/>
        <c:minorTickMark val="none"/>
        <c:tickLblPos val="nextTo"/>
        <c:crossAx val="1979065728"/>
        <c:crosses val="autoZero"/>
        <c:crossBetween val="between"/>
      </c:valAx>
    </c:plotArea>
    <c:legend>
      <c:legendPos val="t"/>
      <c:overlay val="0"/>
    </c:legend>
    <c:plotVisOnly val="1"/>
    <c:dispBlanksAs val="gap"/>
    <c:showDLblsOverMax val="0"/>
  </c:chart>
  <c:spPr>
    <a:ln>
      <a:solidFill>
        <a:schemeClr val="bg1">
          <a:lumMod val="75000"/>
        </a:schemeClr>
      </a:solidFill>
    </a:ln>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NREGA_expenditure!$H$3</c:f>
              <c:strCache>
                <c:ptCount val="1"/>
                <c:pt idx="0">
                  <c:v>Expenditure on wages under MNREGA (INR bn)</c:v>
                </c:pt>
              </c:strCache>
            </c:strRef>
          </c:tx>
          <c:spPr>
            <a:solidFill>
              <a:schemeClr val="accent4"/>
            </a:solidFill>
            <a:ln>
              <a:noFill/>
            </a:ln>
            <a:effectLst/>
          </c:spPr>
          <c:invertIfNegative val="0"/>
          <c:cat>
            <c:multiLvlStrRef>
              <c:f>MNREGA_expenditure!$F$16:$G$63</c:f>
              <c:multiLvlStrCache>
                <c:ptCount val="48"/>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pt idx="46">
                    <c:v>Feb</c:v>
                  </c:pt>
                  <c:pt idx="47">
                    <c:v>Mar</c:v>
                  </c:pt>
                </c:lvl>
                <c:lvl>
                  <c:pt idx="0">
                    <c:v>FY19</c:v>
                  </c:pt>
                  <c:pt idx="12">
                    <c:v>FY20</c:v>
                  </c:pt>
                  <c:pt idx="24">
                    <c:v>FY21</c:v>
                  </c:pt>
                  <c:pt idx="36">
                    <c:v>FY22</c:v>
                  </c:pt>
                </c:lvl>
              </c:multiLvlStrCache>
            </c:multiLvlStrRef>
          </c:cat>
          <c:val>
            <c:numRef>
              <c:f>MNREGA_expenditure!$H$16:$H$63</c:f>
              <c:numCache>
                <c:formatCode>_ * #,##0_ ;_ * \-#,##0_ ;_ * "-"??_ ;_ @_ </c:formatCode>
                <c:ptCount val="48"/>
                <c:pt idx="0">
                  <c:v>36.271885476000001</c:v>
                </c:pt>
                <c:pt idx="1">
                  <c:v>52.575182765999998</c:v>
                </c:pt>
                <c:pt idx="2">
                  <c:v>50.715393958999996</c:v>
                </c:pt>
                <c:pt idx="3">
                  <c:v>37.178248934999999</c:v>
                </c:pt>
                <c:pt idx="4">
                  <c:v>31.288125551</c:v>
                </c:pt>
                <c:pt idx="5">
                  <c:v>29.80288195</c:v>
                </c:pt>
                <c:pt idx="6">
                  <c:v>35.647042865000003</c:v>
                </c:pt>
                <c:pt idx="7">
                  <c:v>37.281853193000003</c:v>
                </c:pt>
                <c:pt idx="8">
                  <c:v>43.821130091000001</c:v>
                </c:pt>
                <c:pt idx="9">
                  <c:v>46.137004916000002</c:v>
                </c:pt>
                <c:pt idx="10">
                  <c:v>43.001559145000002</c:v>
                </c:pt>
                <c:pt idx="11">
                  <c:v>36.163445107999998</c:v>
                </c:pt>
                <c:pt idx="12">
                  <c:v>47.809138492000002</c:v>
                </c:pt>
                <c:pt idx="13">
                  <c:v>64.673654666999994</c:v>
                </c:pt>
                <c:pt idx="14">
                  <c:v>56.840661202</c:v>
                </c:pt>
                <c:pt idx="15">
                  <c:v>35.893955157000001</c:v>
                </c:pt>
                <c:pt idx="16">
                  <c:v>28.902785775000002</c:v>
                </c:pt>
                <c:pt idx="17">
                  <c:v>27.742544723999998</c:v>
                </c:pt>
                <c:pt idx="18">
                  <c:v>26.453691745</c:v>
                </c:pt>
                <c:pt idx="19">
                  <c:v>31.849565895000001</c:v>
                </c:pt>
                <c:pt idx="20">
                  <c:v>37.787203067</c:v>
                </c:pt>
                <c:pt idx="21">
                  <c:v>42.550793943999999</c:v>
                </c:pt>
                <c:pt idx="22">
                  <c:v>49.074726343999998</c:v>
                </c:pt>
                <c:pt idx="23">
                  <c:v>33.72293122</c:v>
                </c:pt>
                <c:pt idx="24">
                  <c:v>27.798938739</c:v>
                </c:pt>
                <c:pt idx="25">
                  <c:v>110.85717354099999</c:v>
                </c:pt>
                <c:pt idx="26">
                  <c:v>126.840737334</c:v>
                </c:pt>
                <c:pt idx="27">
                  <c:v>78.200035768999996</c:v>
                </c:pt>
                <c:pt idx="28">
                  <c:v>52.834457473999997</c:v>
                </c:pt>
                <c:pt idx="29">
                  <c:v>53.750830004000001</c:v>
                </c:pt>
                <c:pt idx="30">
                  <c:v>56.184377206999997</c:v>
                </c:pt>
                <c:pt idx="31">
                  <c:v>50.392231738</c:v>
                </c:pt>
                <c:pt idx="32">
                  <c:v>59.974064875000003</c:v>
                </c:pt>
                <c:pt idx="33">
                  <c:v>56.643025551000001</c:v>
                </c:pt>
                <c:pt idx="34">
                  <c:v>62.318304298999998</c:v>
                </c:pt>
                <c:pt idx="35">
                  <c:v>52.116758695000001</c:v>
                </c:pt>
                <c:pt idx="36">
                  <c:v>69.246122980999999</c:v>
                </c:pt>
                <c:pt idx="37">
                  <c:v>75.949112416000006</c:v>
                </c:pt>
                <c:pt idx="38">
                  <c:v>93.545200176999998</c:v>
                </c:pt>
                <c:pt idx="39">
                  <c:v>78.878234155000001</c:v>
                </c:pt>
                <c:pt idx="40">
                  <c:v>58.943424809</c:v>
                </c:pt>
                <c:pt idx="41">
                  <c:v>59.97910821</c:v>
                </c:pt>
                <c:pt idx="42">
                  <c:v>48.371622283000001</c:v>
                </c:pt>
                <c:pt idx="43">
                  <c:v>49.212807349999999</c:v>
                </c:pt>
                <c:pt idx="44">
                  <c:v>62.550717450999997</c:v>
                </c:pt>
                <c:pt idx="45">
                  <c:v>55.904757732999997</c:v>
                </c:pt>
                <c:pt idx="46">
                  <c:v>54.452989146999997</c:v>
                </c:pt>
                <c:pt idx="47">
                  <c:v>44.272747270000004</c:v>
                </c:pt>
              </c:numCache>
            </c:numRef>
          </c:val>
          <c:extLst>
            <c:ext xmlns:c16="http://schemas.microsoft.com/office/drawing/2014/chart" uri="{C3380CC4-5D6E-409C-BE32-E72D297353CC}">
              <c16:uniqueId val="{00000000-F479-40C1-B440-574B58CAA414}"/>
            </c:ext>
          </c:extLst>
        </c:ser>
        <c:dLbls>
          <c:showLegendKey val="0"/>
          <c:showVal val="0"/>
          <c:showCatName val="0"/>
          <c:showSerName val="0"/>
          <c:showPercent val="0"/>
          <c:showBubbleSize val="0"/>
        </c:dLbls>
        <c:gapWidth val="75"/>
        <c:axId val="-98152096"/>
        <c:axId val="-98151008"/>
      </c:barChart>
      <c:lineChart>
        <c:grouping val="standard"/>
        <c:varyColors val="0"/>
        <c:ser>
          <c:idx val="1"/>
          <c:order val="1"/>
          <c:tx>
            <c:strRef>
              <c:f>MNREGA_expenditure!$I$3</c:f>
              <c:strCache>
                <c:ptCount val="1"/>
                <c:pt idx="0">
                  <c:v>% growth y-o-y</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MNREGA_expenditure!$F$16:$G$63</c:f>
              <c:multiLvlStrCache>
                <c:ptCount val="48"/>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pt idx="46">
                    <c:v>Feb</c:v>
                  </c:pt>
                  <c:pt idx="47">
                    <c:v>Mar</c:v>
                  </c:pt>
                </c:lvl>
                <c:lvl>
                  <c:pt idx="0">
                    <c:v>FY19</c:v>
                  </c:pt>
                  <c:pt idx="12">
                    <c:v>FY20</c:v>
                  </c:pt>
                  <c:pt idx="24">
                    <c:v>FY21</c:v>
                  </c:pt>
                  <c:pt idx="36">
                    <c:v>FY22</c:v>
                  </c:pt>
                </c:lvl>
              </c:multiLvlStrCache>
            </c:multiLvlStrRef>
          </c:cat>
          <c:val>
            <c:numRef>
              <c:f>MNREGA_expenditure!$I$16:$I$63</c:f>
              <c:numCache>
                <c:formatCode>0%</c:formatCode>
                <c:ptCount val="48"/>
                <c:pt idx="0">
                  <c:v>9.3529603220455781E-2</c:v>
                </c:pt>
                <c:pt idx="1">
                  <c:v>-0.12539363575184659</c:v>
                </c:pt>
                <c:pt idx="2">
                  <c:v>-8.775516750145107E-2</c:v>
                </c:pt>
                <c:pt idx="3">
                  <c:v>0.14453589144157819</c:v>
                </c:pt>
                <c:pt idx="4">
                  <c:v>0.2892814993978674</c:v>
                </c:pt>
                <c:pt idx="5">
                  <c:v>0.46655781711331334</c:v>
                </c:pt>
                <c:pt idx="6">
                  <c:v>0.59526739989272204</c:v>
                </c:pt>
                <c:pt idx="7">
                  <c:v>0.68014163165539299</c:v>
                </c:pt>
                <c:pt idx="8">
                  <c:v>0.58657179627593004</c:v>
                </c:pt>
                <c:pt idx="9">
                  <c:v>0.44082306659235426</c:v>
                </c:pt>
                <c:pt idx="10">
                  <c:v>0.24473267830342982</c:v>
                </c:pt>
                <c:pt idx="11">
                  <c:v>0.15296878868474839</c:v>
                </c:pt>
                <c:pt idx="12">
                  <c:v>0.31807701376962738</c:v>
                </c:pt>
                <c:pt idx="13">
                  <c:v>0.23011754338254042</c:v>
                </c:pt>
                <c:pt idx="14">
                  <c:v>0.12077727815644845</c:v>
                </c:pt>
                <c:pt idx="15">
                  <c:v>-3.4544224507328858E-2</c:v>
                </c:pt>
                <c:pt idx="16">
                  <c:v>-7.6237861296991616E-2</c:v>
                </c:pt>
                <c:pt idx="17">
                  <c:v>-6.9132147335838501E-2</c:v>
                </c:pt>
                <c:pt idx="18">
                  <c:v>-0.25789940430168135</c:v>
                </c:pt>
                <c:pt idx="19">
                  <c:v>-0.14570861780604727</c:v>
                </c:pt>
                <c:pt idx="20">
                  <c:v>-0.13769446409688213</c:v>
                </c:pt>
                <c:pt idx="21">
                  <c:v>-7.772960075170221E-2</c:v>
                </c:pt>
                <c:pt idx="22">
                  <c:v>0.14123132555546314</c:v>
                </c:pt>
                <c:pt idx="23">
                  <c:v>-6.748565798174222E-2</c:v>
                </c:pt>
                <c:pt idx="24">
                  <c:v>-0.41854340789571742</c:v>
                </c:pt>
                <c:pt idx="25">
                  <c:v>0.71410095983898891</c:v>
                </c:pt>
                <c:pt idx="26">
                  <c:v>1.2315141071852445</c:v>
                </c:pt>
                <c:pt idx="27">
                  <c:v>1.1786408164537283</c:v>
                </c:pt>
                <c:pt idx="28">
                  <c:v>0.82800571146675206</c:v>
                </c:pt>
                <c:pt idx="29">
                  <c:v>0.9374873696247592</c:v>
                </c:pt>
                <c:pt idx="30">
                  <c:v>1.1238766123302764</c:v>
                </c:pt>
                <c:pt idx="31">
                  <c:v>0.58219524574151182</c:v>
                </c:pt>
                <c:pt idx="32">
                  <c:v>0.58715279267059706</c:v>
                </c:pt>
                <c:pt idx="33">
                  <c:v>0.33118610255654501</c:v>
                </c:pt>
                <c:pt idx="34">
                  <c:v>0.26986554875856572</c:v>
                </c:pt>
                <c:pt idx="35">
                  <c:v>0.54543975892852425</c:v>
                </c:pt>
                <c:pt idx="36">
                  <c:v>1.4909628252769394</c:v>
                </c:pt>
                <c:pt idx="37">
                  <c:v>-0.31489221680443991</c:v>
                </c:pt>
                <c:pt idx="38">
                  <c:v>-0.26249876701146424</c:v>
                </c:pt>
                <c:pt idx="39">
                  <c:v>8.6726096648264139E-3</c:v>
                </c:pt>
                <c:pt idx="40">
                  <c:v>0.11562468182826047</c:v>
                </c:pt>
                <c:pt idx="41">
                  <c:v>0.11587315406174215</c:v>
                </c:pt>
                <c:pt idx="42">
                  <c:v>-0.13905564700335604</c:v>
                </c:pt>
                <c:pt idx="43">
                  <c:v>-2.3404884985687491E-2</c:v>
                </c:pt>
                <c:pt idx="44">
                  <c:v>4.2962780351312624E-2</c:v>
                </c:pt>
                <c:pt idx="45">
                  <c:v>-1.3033693218510778E-2</c:v>
                </c:pt>
                <c:pt idx="46">
                  <c:v>-0.12621195715247047</c:v>
                </c:pt>
                <c:pt idx="47">
                  <c:v>-0.15050842802609943</c:v>
                </c:pt>
              </c:numCache>
            </c:numRef>
          </c:val>
          <c:smooth val="1"/>
          <c:extLst>
            <c:ext xmlns:c16="http://schemas.microsoft.com/office/drawing/2014/chart" uri="{C3380CC4-5D6E-409C-BE32-E72D297353CC}">
              <c16:uniqueId val="{00000001-F479-40C1-B440-574B58CAA414}"/>
            </c:ext>
          </c:extLst>
        </c:ser>
        <c:dLbls>
          <c:showLegendKey val="0"/>
          <c:showVal val="0"/>
          <c:showCatName val="0"/>
          <c:showSerName val="0"/>
          <c:showPercent val="0"/>
          <c:showBubbleSize val="0"/>
        </c:dLbls>
        <c:marker val="1"/>
        <c:smooth val="0"/>
        <c:axId val="-1865643296"/>
        <c:axId val="-98154816"/>
      </c:lineChart>
      <c:catAx>
        <c:axId val="-98152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1008"/>
        <c:crosses val="autoZero"/>
        <c:auto val="1"/>
        <c:lblAlgn val="ctr"/>
        <c:lblOffset val="100"/>
        <c:noMultiLvlLbl val="0"/>
      </c:catAx>
      <c:valAx>
        <c:axId val="-98151008"/>
        <c:scaling>
          <c:orientation val="minMax"/>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2096"/>
        <c:crosses val="autoZero"/>
        <c:crossBetween val="between"/>
      </c:valAx>
      <c:valAx>
        <c:axId val="-9815481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65643296"/>
        <c:crosses val="max"/>
        <c:crossBetween val="between"/>
      </c:valAx>
      <c:catAx>
        <c:axId val="-1865643296"/>
        <c:scaling>
          <c:orientation val="minMax"/>
        </c:scaling>
        <c:delete val="1"/>
        <c:axPos val="b"/>
        <c:numFmt formatCode="General" sourceLinked="1"/>
        <c:majorTickMark val="out"/>
        <c:minorTickMark val="none"/>
        <c:tickLblPos val="nextTo"/>
        <c:crossAx val="-981548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800">
          <a:latin typeface="Arial" panose="020B0604020202020204" pitchFamily="34" charset="0"/>
          <a:cs typeface="Arial" panose="020B0604020202020204" pitchFamily="34"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nrega allocation'!$D$2</c:f>
              <c:strCache>
                <c:ptCount val="1"/>
                <c:pt idx="0">
                  <c:v>Budget Allocation</c:v>
                </c:pt>
              </c:strCache>
            </c:strRef>
          </c:tx>
          <c:spPr>
            <a:solidFill>
              <a:schemeClr val="accent4"/>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nrega allocation'!$C$3:$C$10</c:f>
              <c:strCache>
                <c:ptCount val="8"/>
                <c:pt idx="0">
                  <c:v>FY16</c:v>
                </c:pt>
                <c:pt idx="1">
                  <c:v>FY17</c:v>
                </c:pt>
                <c:pt idx="2">
                  <c:v>FY18</c:v>
                </c:pt>
                <c:pt idx="3">
                  <c:v>FY19</c:v>
                </c:pt>
                <c:pt idx="4">
                  <c:v>FY20</c:v>
                </c:pt>
                <c:pt idx="5">
                  <c:v>FY21</c:v>
                </c:pt>
                <c:pt idx="6">
                  <c:v>FY22</c:v>
                </c:pt>
                <c:pt idx="7">
                  <c:v>FY23</c:v>
                </c:pt>
              </c:strCache>
            </c:strRef>
          </c:cat>
          <c:val>
            <c:numRef>
              <c:f>'Mnrega allocation'!$D$3:$D$10</c:f>
              <c:numCache>
                <c:formatCode>#,##0</c:formatCode>
                <c:ptCount val="8"/>
                <c:pt idx="0">
                  <c:v>33700</c:v>
                </c:pt>
                <c:pt idx="1">
                  <c:v>38500</c:v>
                </c:pt>
                <c:pt idx="2">
                  <c:v>48000</c:v>
                </c:pt>
                <c:pt idx="3">
                  <c:v>55000</c:v>
                </c:pt>
                <c:pt idx="4">
                  <c:v>60000</c:v>
                </c:pt>
                <c:pt idx="5">
                  <c:v>111500</c:v>
                </c:pt>
                <c:pt idx="6">
                  <c:v>98000</c:v>
                </c:pt>
                <c:pt idx="7">
                  <c:v>73000</c:v>
                </c:pt>
              </c:numCache>
            </c:numRef>
          </c:val>
          <c:extLst>
            <c:ext xmlns:c16="http://schemas.microsoft.com/office/drawing/2014/chart" uri="{C3380CC4-5D6E-409C-BE32-E72D297353CC}">
              <c16:uniqueId val="{00000000-F568-4CF3-AA70-107A298CC01C}"/>
            </c:ext>
          </c:extLst>
        </c:ser>
        <c:ser>
          <c:idx val="1"/>
          <c:order val="1"/>
          <c:tx>
            <c:strRef>
              <c:f>'Mnrega allocation'!$E$2</c:f>
              <c:strCache>
                <c:ptCount val="1"/>
                <c:pt idx="0">
                  <c:v>Actual Expenditure</c:v>
                </c:pt>
              </c:strCache>
            </c:strRef>
          </c:tx>
          <c:spPr>
            <a:solidFill>
              <a:schemeClr val="tx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nrega allocation'!$C$3:$C$10</c:f>
              <c:strCache>
                <c:ptCount val="8"/>
                <c:pt idx="0">
                  <c:v>FY16</c:v>
                </c:pt>
                <c:pt idx="1">
                  <c:v>FY17</c:v>
                </c:pt>
                <c:pt idx="2">
                  <c:v>FY18</c:v>
                </c:pt>
                <c:pt idx="3">
                  <c:v>FY19</c:v>
                </c:pt>
                <c:pt idx="4">
                  <c:v>FY20</c:v>
                </c:pt>
                <c:pt idx="5">
                  <c:v>FY21</c:v>
                </c:pt>
                <c:pt idx="6">
                  <c:v>FY22</c:v>
                </c:pt>
                <c:pt idx="7">
                  <c:v>FY23</c:v>
                </c:pt>
              </c:strCache>
            </c:strRef>
          </c:cat>
          <c:val>
            <c:numRef>
              <c:f>'Mnrega allocation'!$E$3:$E$10</c:f>
              <c:numCache>
                <c:formatCode>#,##0</c:formatCode>
                <c:ptCount val="8"/>
                <c:pt idx="0">
                  <c:v>37341</c:v>
                </c:pt>
                <c:pt idx="1">
                  <c:v>48215</c:v>
                </c:pt>
                <c:pt idx="2">
                  <c:v>55166</c:v>
                </c:pt>
                <c:pt idx="3">
                  <c:v>61815</c:v>
                </c:pt>
                <c:pt idx="4">
                  <c:v>71687</c:v>
                </c:pt>
                <c:pt idx="5">
                  <c:v>111170</c:v>
                </c:pt>
                <c:pt idx="6">
                  <c:v>106290</c:v>
                </c:pt>
              </c:numCache>
            </c:numRef>
          </c:val>
          <c:extLst>
            <c:ext xmlns:c16="http://schemas.microsoft.com/office/drawing/2014/chart" uri="{C3380CC4-5D6E-409C-BE32-E72D297353CC}">
              <c16:uniqueId val="{00000001-F568-4CF3-AA70-107A298CC01C}"/>
            </c:ext>
          </c:extLst>
        </c:ser>
        <c:dLbls>
          <c:showLegendKey val="0"/>
          <c:showVal val="0"/>
          <c:showCatName val="0"/>
          <c:showSerName val="0"/>
          <c:showPercent val="0"/>
          <c:showBubbleSize val="0"/>
        </c:dLbls>
        <c:gapWidth val="75"/>
        <c:axId val="-98149920"/>
        <c:axId val="-98152640"/>
      </c:barChart>
      <c:scatterChart>
        <c:scatterStyle val="lineMarker"/>
        <c:varyColors val="0"/>
        <c:ser>
          <c:idx val="2"/>
          <c:order val="2"/>
          <c:tx>
            <c:strRef>
              <c:f>'Mnrega allocation'!$F$2</c:f>
              <c:strCache>
                <c:ptCount val="1"/>
                <c:pt idx="0">
                  <c:v>% utilisation of budget allocation</c:v>
                </c:pt>
              </c:strCache>
            </c:strRef>
          </c:tx>
          <c:spPr>
            <a:ln w="25400" cap="rnd">
              <a:noFill/>
              <a:round/>
            </a:ln>
            <a:effectLst/>
          </c:spPr>
          <c:marker>
            <c:symbol val="triangle"/>
            <c:size val="9"/>
            <c:spPr>
              <a:solidFill>
                <a:schemeClr val="accent3"/>
              </a:solidFill>
              <a:ln w="9525">
                <a:solidFill>
                  <a:schemeClr val="accent3"/>
                </a:solidFill>
                <a:miter lim="800000"/>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strRef>
              <c:f>'Mnrega allocation'!$C$3:$C$10</c:f>
              <c:strCache>
                <c:ptCount val="8"/>
                <c:pt idx="0">
                  <c:v>FY16</c:v>
                </c:pt>
                <c:pt idx="1">
                  <c:v>FY17</c:v>
                </c:pt>
                <c:pt idx="2">
                  <c:v>FY18</c:v>
                </c:pt>
                <c:pt idx="3">
                  <c:v>FY19</c:v>
                </c:pt>
                <c:pt idx="4">
                  <c:v>FY20</c:v>
                </c:pt>
                <c:pt idx="5">
                  <c:v>FY21</c:v>
                </c:pt>
                <c:pt idx="6">
                  <c:v>FY22</c:v>
                </c:pt>
                <c:pt idx="7">
                  <c:v>FY23</c:v>
                </c:pt>
              </c:strCache>
            </c:strRef>
          </c:xVal>
          <c:yVal>
            <c:numRef>
              <c:f>'Mnrega allocation'!$F$3:$F$10</c:f>
              <c:numCache>
                <c:formatCode>0%</c:formatCode>
                <c:ptCount val="8"/>
                <c:pt idx="0">
                  <c:v>1.1080415430267063</c:v>
                </c:pt>
                <c:pt idx="1">
                  <c:v>1.2523376623376623</c:v>
                </c:pt>
                <c:pt idx="2">
                  <c:v>1.1492916666666666</c:v>
                </c:pt>
                <c:pt idx="3">
                  <c:v>1.123909090909091</c:v>
                </c:pt>
                <c:pt idx="4">
                  <c:v>1.1947833333333333</c:v>
                </c:pt>
                <c:pt idx="5">
                  <c:v>0.99704035874439467</c:v>
                </c:pt>
                <c:pt idx="6">
                  <c:v>1.0845918367346938</c:v>
                </c:pt>
              </c:numCache>
            </c:numRef>
          </c:yVal>
          <c:smooth val="0"/>
          <c:extLst>
            <c:ext xmlns:c16="http://schemas.microsoft.com/office/drawing/2014/chart" uri="{C3380CC4-5D6E-409C-BE32-E72D297353CC}">
              <c16:uniqueId val="{00000002-F568-4CF3-AA70-107A298CC01C}"/>
            </c:ext>
          </c:extLst>
        </c:ser>
        <c:dLbls>
          <c:showLegendKey val="0"/>
          <c:showVal val="0"/>
          <c:showCatName val="0"/>
          <c:showSerName val="0"/>
          <c:showPercent val="0"/>
          <c:showBubbleSize val="0"/>
        </c:dLbls>
        <c:axId val="-98156448"/>
        <c:axId val="-98149376"/>
      </c:scatterChart>
      <c:catAx>
        <c:axId val="-98149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2640"/>
        <c:crosses val="autoZero"/>
        <c:auto val="1"/>
        <c:lblAlgn val="ctr"/>
        <c:lblOffset val="100"/>
        <c:noMultiLvlLbl val="0"/>
      </c:catAx>
      <c:valAx>
        <c:axId val="-981526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49920"/>
        <c:crosses val="autoZero"/>
        <c:crossBetween val="between"/>
      </c:valAx>
      <c:valAx>
        <c:axId val="-9814937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6448"/>
        <c:crosses val="max"/>
        <c:crossBetween val="midCat"/>
      </c:valAx>
      <c:valAx>
        <c:axId val="-98156448"/>
        <c:scaling>
          <c:orientation val="minMax"/>
        </c:scaling>
        <c:delete val="1"/>
        <c:axPos val="b"/>
        <c:numFmt formatCode="General" sourceLinked="1"/>
        <c:majorTickMark val="out"/>
        <c:minorTickMark val="none"/>
        <c:tickLblPos val="nextTo"/>
        <c:crossAx val="-981493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4!$I$5</c:f>
              <c:strCache>
                <c:ptCount val="1"/>
                <c:pt idx="0">
                  <c:v>Commercial Infra</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5:$O$5</c:f>
              <c:numCache>
                <c:formatCode>_ * #,##0.0_ ;_ * \-#,##0.0_ ;_ * "-"??_ ;_ @_ </c:formatCode>
                <c:ptCount val="6"/>
                <c:pt idx="0">
                  <c:v>5.9799999999999995</c:v>
                </c:pt>
                <c:pt idx="1">
                  <c:v>6.61</c:v>
                </c:pt>
                <c:pt idx="2" formatCode="0.0">
                  <c:v>6.7249999999999996</c:v>
                </c:pt>
                <c:pt idx="3" formatCode="General">
                  <c:v>6.04</c:v>
                </c:pt>
                <c:pt idx="4" formatCode="General">
                  <c:v>6.05</c:v>
                </c:pt>
                <c:pt idx="5" formatCode="General">
                  <c:v>6.0860000000000003</c:v>
                </c:pt>
              </c:numCache>
            </c:numRef>
          </c:val>
          <c:extLst>
            <c:ext xmlns:c16="http://schemas.microsoft.com/office/drawing/2014/chart" uri="{C3380CC4-5D6E-409C-BE32-E72D297353CC}">
              <c16:uniqueId val="{00000000-2734-4E9B-9964-961635BE981C}"/>
            </c:ext>
          </c:extLst>
        </c:ser>
        <c:ser>
          <c:idx val="1"/>
          <c:order val="1"/>
          <c:tx>
            <c:strRef>
              <c:f>Sheet4!$I$6</c:f>
              <c:strCache>
                <c:ptCount val="1"/>
                <c:pt idx="0">
                  <c:v>Communication</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6:$O$6</c:f>
              <c:numCache>
                <c:formatCode>_ * #,##0.0_ ;_ * \-#,##0.0_ ;_ * "-"??_ ;_ @_ </c:formatCode>
                <c:ptCount val="6"/>
                <c:pt idx="0">
                  <c:v>0.83795999999999982</c:v>
                </c:pt>
                <c:pt idx="1">
                  <c:v>0.83796000000000004</c:v>
                </c:pt>
                <c:pt idx="2" formatCode="0.0">
                  <c:v>0.83099999999999996</c:v>
                </c:pt>
                <c:pt idx="3" formatCode="General">
                  <c:v>0.82599999999999996</c:v>
                </c:pt>
                <c:pt idx="4" formatCode="General">
                  <c:v>1.1259999999999999</c:v>
                </c:pt>
                <c:pt idx="5" formatCode="General">
                  <c:v>1.1260000000000001</c:v>
                </c:pt>
              </c:numCache>
            </c:numRef>
          </c:val>
          <c:extLst>
            <c:ext xmlns:c16="http://schemas.microsoft.com/office/drawing/2014/chart" uri="{C3380CC4-5D6E-409C-BE32-E72D297353CC}">
              <c16:uniqueId val="{00000001-2734-4E9B-9964-961635BE981C}"/>
            </c:ext>
          </c:extLst>
        </c:ser>
        <c:ser>
          <c:idx val="2"/>
          <c:order val="2"/>
          <c:tx>
            <c:strRef>
              <c:f>Sheet4!$I$7</c:f>
              <c:strCache>
                <c:ptCount val="1"/>
                <c:pt idx="0">
                  <c:v>Energy</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7:$O$7</c:f>
              <c:numCache>
                <c:formatCode>_ * #,##0.0_ ;_ * \-#,##0.0_ ;_ * "-"??_ ;_ @_ </c:formatCode>
                <c:ptCount val="6"/>
                <c:pt idx="0">
                  <c:v>26.21</c:v>
                </c:pt>
                <c:pt idx="1">
                  <c:v>32.74</c:v>
                </c:pt>
                <c:pt idx="2" formatCode="0.0">
                  <c:v>34.69</c:v>
                </c:pt>
                <c:pt idx="3" formatCode="General">
                  <c:v>35.75</c:v>
                </c:pt>
                <c:pt idx="4" formatCode="General">
                  <c:v>35.840000000000003</c:v>
                </c:pt>
                <c:pt idx="5" formatCode="General">
                  <c:v>30.68</c:v>
                </c:pt>
              </c:numCache>
            </c:numRef>
          </c:val>
          <c:extLst>
            <c:ext xmlns:c16="http://schemas.microsoft.com/office/drawing/2014/chart" uri="{C3380CC4-5D6E-409C-BE32-E72D297353CC}">
              <c16:uniqueId val="{00000002-2734-4E9B-9964-961635BE981C}"/>
            </c:ext>
          </c:extLst>
        </c:ser>
        <c:ser>
          <c:idx val="3"/>
          <c:order val="3"/>
          <c:tx>
            <c:strRef>
              <c:f>Sheet4!$I$8</c:f>
              <c:strCache>
                <c:ptCount val="1"/>
                <c:pt idx="0">
                  <c:v>Logistics</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8:$O$8</c:f>
              <c:numCache>
                <c:formatCode>_ * #,##0.0_ ;_ * \-#,##0.0_ ;_ * "-"??_ ;_ @_ </c:formatCode>
                <c:ptCount val="6"/>
                <c:pt idx="0">
                  <c:v>3.1536</c:v>
                </c:pt>
                <c:pt idx="1">
                  <c:v>3.79</c:v>
                </c:pt>
                <c:pt idx="2" formatCode="0.0">
                  <c:v>3.78</c:v>
                </c:pt>
                <c:pt idx="3" formatCode="General">
                  <c:v>3.78</c:v>
                </c:pt>
                <c:pt idx="4" formatCode="General">
                  <c:v>3.79</c:v>
                </c:pt>
                <c:pt idx="5" formatCode="General">
                  <c:v>3.68</c:v>
                </c:pt>
              </c:numCache>
            </c:numRef>
          </c:val>
          <c:extLst>
            <c:ext xmlns:c16="http://schemas.microsoft.com/office/drawing/2014/chart" uri="{C3380CC4-5D6E-409C-BE32-E72D297353CC}">
              <c16:uniqueId val="{00000003-2734-4E9B-9964-961635BE981C}"/>
            </c:ext>
          </c:extLst>
        </c:ser>
        <c:ser>
          <c:idx val="4"/>
          <c:order val="4"/>
          <c:tx>
            <c:strRef>
              <c:f>Sheet4!$I$9</c:f>
              <c:strCache>
                <c:ptCount val="1"/>
                <c:pt idx="0">
                  <c:v>Social Infra</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9:$O$9</c:f>
              <c:numCache>
                <c:formatCode>_ * #,##0.0_ ;_ * \-#,##0.0_ ;_ * "-"??_ ;_ @_ </c:formatCode>
                <c:ptCount val="6"/>
                <c:pt idx="0">
                  <c:v>14.48</c:v>
                </c:pt>
                <c:pt idx="1">
                  <c:v>18.16</c:v>
                </c:pt>
                <c:pt idx="2" formatCode="0.0">
                  <c:v>18.62</c:v>
                </c:pt>
                <c:pt idx="3" formatCode="General">
                  <c:v>18.630000000000003</c:v>
                </c:pt>
                <c:pt idx="4" formatCode="General">
                  <c:v>18.64</c:v>
                </c:pt>
                <c:pt idx="5" formatCode="General">
                  <c:v>18.724</c:v>
                </c:pt>
              </c:numCache>
            </c:numRef>
          </c:val>
          <c:extLst>
            <c:ext xmlns:c16="http://schemas.microsoft.com/office/drawing/2014/chart" uri="{C3380CC4-5D6E-409C-BE32-E72D297353CC}">
              <c16:uniqueId val="{00000004-2734-4E9B-9964-961635BE981C}"/>
            </c:ext>
          </c:extLst>
        </c:ser>
        <c:ser>
          <c:idx val="5"/>
          <c:order val="5"/>
          <c:tx>
            <c:strRef>
              <c:f>Sheet4!$I$10</c:f>
              <c:strCache>
                <c:ptCount val="1"/>
                <c:pt idx="0">
                  <c:v>Transpor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10:$O$10</c:f>
              <c:numCache>
                <c:formatCode>_ * #,##0.0_ ;_ * \-#,##0.0_ ;_ * "-"??_ ;_ @_ </c:formatCode>
                <c:ptCount val="6"/>
                <c:pt idx="0">
                  <c:v>54.47</c:v>
                </c:pt>
                <c:pt idx="1">
                  <c:v>56.59</c:v>
                </c:pt>
                <c:pt idx="2" formatCode="0.0">
                  <c:v>57.150000000000006</c:v>
                </c:pt>
                <c:pt idx="3" formatCode="General">
                  <c:v>57.28</c:v>
                </c:pt>
                <c:pt idx="4" formatCode="General">
                  <c:v>59.48</c:v>
                </c:pt>
                <c:pt idx="5" formatCode="General">
                  <c:v>59.89</c:v>
                </c:pt>
              </c:numCache>
            </c:numRef>
          </c:val>
          <c:extLst>
            <c:ext xmlns:c16="http://schemas.microsoft.com/office/drawing/2014/chart" uri="{C3380CC4-5D6E-409C-BE32-E72D297353CC}">
              <c16:uniqueId val="{00000005-2734-4E9B-9964-961635BE981C}"/>
            </c:ext>
          </c:extLst>
        </c:ser>
        <c:ser>
          <c:idx val="6"/>
          <c:order val="6"/>
          <c:tx>
            <c:strRef>
              <c:f>Sheet4!$I$11</c:f>
              <c:strCache>
                <c:ptCount val="1"/>
                <c:pt idx="0">
                  <c:v>Water and Sanitation</c:v>
                </c:pt>
              </c:strCache>
            </c:strRef>
          </c:tx>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11:$O$11</c:f>
              <c:numCache>
                <c:formatCode>_ * #,##0.0_ ;_ * \-#,##0.0_ ;_ * "-"??_ ;_ @_ </c:formatCode>
                <c:ptCount val="6"/>
                <c:pt idx="0">
                  <c:v>21.52</c:v>
                </c:pt>
                <c:pt idx="1">
                  <c:v>21.21</c:v>
                </c:pt>
                <c:pt idx="2" formatCode="0.0">
                  <c:v>21.13</c:v>
                </c:pt>
                <c:pt idx="3" formatCode="General">
                  <c:v>21.32</c:v>
                </c:pt>
                <c:pt idx="4" formatCode="General">
                  <c:v>21.14</c:v>
                </c:pt>
                <c:pt idx="5" formatCode="General">
                  <c:v>22.27</c:v>
                </c:pt>
              </c:numCache>
            </c:numRef>
          </c:val>
          <c:extLst>
            <c:ext xmlns:c16="http://schemas.microsoft.com/office/drawing/2014/chart" uri="{C3380CC4-5D6E-409C-BE32-E72D297353CC}">
              <c16:uniqueId val="{00000006-2734-4E9B-9964-961635BE981C}"/>
            </c:ext>
          </c:extLst>
        </c:ser>
        <c:ser>
          <c:idx val="7"/>
          <c:order val="7"/>
          <c:tx>
            <c:strRef>
              <c:f>Sheet4!$I$12</c:f>
              <c:strCache>
                <c:ptCount val="1"/>
                <c:pt idx="0">
                  <c:v>Grand Total</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4!$J$4:$O$4</c:f>
              <c:numCache>
                <c:formatCode>mmm\-yy</c:formatCode>
                <c:ptCount val="6"/>
                <c:pt idx="0">
                  <c:v>44197</c:v>
                </c:pt>
                <c:pt idx="1">
                  <c:v>44256</c:v>
                </c:pt>
                <c:pt idx="2">
                  <c:v>44348</c:v>
                </c:pt>
                <c:pt idx="3">
                  <c:v>44440</c:v>
                </c:pt>
                <c:pt idx="4">
                  <c:v>44531</c:v>
                </c:pt>
                <c:pt idx="5">
                  <c:v>44621</c:v>
                </c:pt>
              </c:numCache>
            </c:numRef>
          </c:cat>
          <c:val>
            <c:numRef>
              <c:f>Sheet4!$J$12:$O$12</c:f>
              <c:numCache>
                <c:formatCode>_ * #,##0.0_ ;_ * \-#,##0.0_ ;_ * "-"??_ ;_ @_ </c:formatCode>
                <c:ptCount val="6"/>
                <c:pt idx="0">
                  <c:v>126.65155999999999</c:v>
                </c:pt>
                <c:pt idx="1">
                  <c:v>139.93796</c:v>
                </c:pt>
                <c:pt idx="2">
                  <c:v>142.92600000000002</c:v>
                </c:pt>
                <c:pt idx="3" formatCode="General">
                  <c:v>143.6</c:v>
                </c:pt>
                <c:pt idx="4" formatCode="0.0">
                  <c:v>146.06599999999997</c:v>
                </c:pt>
                <c:pt idx="5" formatCode="0.0">
                  <c:v>142.45600000000002</c:v>
                </c:pt>
              </c:numCache>
            </c:numRef>
          </c:val>
          <c:extLst>
            <c:ext xmlns:c16="http://schemas.microsoft.com/office/drawing/2014/chart" uri="{C3380CC4-5D6E-409C-BE32-E72D297353CC}">
              <c16:uniqueId val="{00000007-2734-4E9B-9964-961635BE981C}"/>
            </c:ext>
          </c:extLst>
        </c:ser>
        <c:dLbls>
          <c:showLegendKey val="0"/>
          <c:showVal val="1"/>
          <c:showCatName val="0"/>
          <c:showSerName val="0"/>
          <c:showPercent val="0"/>
          <c:showBubbleSize val="0"/>
        </c:dLbls>
        <c:gapWidth val="0"/>
        <c:overlap val="100"/>
        <c:axId val="209727488"/>
        <c:axId val="209729408"/>
      </c:barChart>
      <c:dateAx>
        <c:axId val="20972748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09729408"/>
        <c:crosses val="autoZero"/>
        <c:auto val="1"/>
        <c:lblOffset val="100"/>
        <c:baseTimeUnit val="months"/>
      </c:dateAx>
      <c:valAx>
        <c:axId val="209729408"/>
        <c:scaling>
          <c:orientation val="minMax"/>
          <c:max val="150"/>
          <c:min val="0"/>
        </c:scaling>
        <c:delete val="0"/>
        <c:axPos val="l"/>
        <c:numFmt formatCode="_ * #,##0.0_ ;_ * \-#,##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209727488"/>
        <c:crosses val="autoZero"/>
        <c:crossBetween val="between"/>
      </c:valAx>
      <c:spPr>
        <a:noFill/>
        <a:ln>
          <a:noFill/>
        </a:ln>
        <a:effectLst/>
      </c:spPr>
    </c:plotArea>
    <c:legend>
      <c:legendPos val="b"/>
      <c:legendEntry>
        <c:idx val="7"/>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13933507309567"/>
          <c:y val="3.4098811374504295E-2"/>
          <c:w val="0.4485151291730794"/>
          <c:h val="0.94641615355435038"/>
        </c:manualLayout>
      </c:layout>
      <c:doughnutChart>
        <c:varyColors val="1"/>
        <c:ser>
          <c:idx val="0"/>
          <c:order val="0"/>
          <c:dLbls>
            <c:spPr>
              <a:noFill/>
              <a:ln>
                <a:noFill/>
              </a:ln>
              <a:effectLst/>
            </c:spPr>
            <c:txPr>
              <a:bodyPr wrap="square" lIns="38100" tIns="19050" rIns="38100" bIns="19050" anchor="ctr">
                <a:spAutoFit/>
              </a:bodyPr>
              <a:lstStyle/>
              <a:p>
                <a:pPr>
                  <a:defRPr sz="12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C$29:$C$33</c:f>
              <c:strCache>
                <c:ptCount val="5"/>
                <c:pt idx="0">
                  <c:v>Roads and Bridges</c:v>
                </c:pt>
                <c:pt idx="1">
                  <c:v>Railways</c:v>
                </c:pt>
                <c:pt idx="2">
                  <c:v>Urban Public transport</c:v>
                </c:pt>
                <c:pt idx="3">
                  <c:v>Airports and Aviation Infrastructure</c:v>
                </c:pt>
                <c:pt idx="4">
                  <c:v>Others</c:v>
                </c:pt>
              </c:strCache>
            </c:strRef>
          </c:cat>
          <c:val>
            <c:numRef>
              <c:f>Sheet1!$D$29:$D$33</c:f>
              <c:numCache>
                <c:formatCode>0%</c:formatCode>
                <c:ptCount val="5"/>
                <c:pt idx="0">
                  <c:v>0.75747076656561285</c:v>
                </c:pt>
                <c:pt idx="1">
                  <c:v>0.15179731485491554</c:v>
                </c:pt>
                <c:pt idx="2">
                  <c:v>4.8072758770030317E-2</c:v>
                </c:pt>
                <c:pt idx="3">
                  <c:v>2.0138588133391078E-2</c:v>
                </c:pt>
                <c:pt idx="4">
                  <c:v>2.252057167605024E-2</c:v>
                </c:pt>
              </c:numCache>
            </c:numRef>
          </c:val>
          <c:extLst>
            <c:ext xmlns:c16="http://schemas.microsoft.com/office/drawing/2014/chart" uri="{C3380CC4-5D6E-409C-BE32-E72D297353CC}">
              <c16:uniqueId val="{00000000-13AF-4D90-9C74-71819368A795}"/>
            </c:ext>
          </c:extLst>
        </c:ser>
        <c:dLbls>
          <c:showLegendKey val="0"/>
          <c:showVal val="0"/>
          <c:showCatName val="0"/>
          <c:showSerName val="0"/>
          <c:showPercent val="0"/>
          <c:showBubbleSize val="0"/>
          <c:showLeaderLines val="1"/>
        </c:dLbls>
        <c:firstSliceAng val="0"/>
        <c:holeSize val="50"/>
      </c:doughnutChart>
    </c:plotArea>
    <c:legend>
      <c:legendPos val="r"/>
      <c:overlay val="0"/>
      <c:txPr>
        <a:bodyPr/>
        <a:lstStyle/>
        <a:p>
          <a:pPr>
            <a:defRPr lang="en-US" sz="1400" b="0" i="0" u="none" strike="noStrike" kern="1200" baseline="0">
              <a:solidFill>
                <a:schemeClr val="tx1"/>
              </a:solidFill>
              <a:latin typeface="+mn-lt"/>
              <a:ea typeface="+mn-ea"/>
              <a:cs typeface="+mn-cs"/>
            </a:defRPr>
          </a:pPr>
          <a:endParaRPr lang="en-U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harts!$G$1</c:f>
              <c:strCache>
                <c:ptCount val="1"/>
                <c:pt idx="0">
                  <c:v>transit stations</c:v>
                </c:pt>
              </c:strCache>
            </c:strRef>
          </c:tx>
          <c:spPr>
            <a:ln w="28575" cap="rnd">
              <a:solidFill>
                <a:srgbClr val="00B0F0"/>
              </a:solidFill>
              <a:round/>
            </a:ln>
            <a:effectLst/>
          </c:spPr>
          <c:marker>
            <c:symbol val="none"/>
          </c:marker>
          <c:cat>
            <c:multiLvlStrRef>
              <c:f>charts!$A$2:$C$757</c:f>
              <c:multiLvlStrCache>
                <c:ptCount val="756"/>
                <c:lvl>
                  <c:pt idx="0">
                    <c:v>1-Mar</c:v>
                  </c:pt>
                  <c:pt idx="1">
                    <c:v>2-Mar</c:v>
                  </c:pt>
                  <c:pt idx="2">
                    <c:v>3-Mar</c:v>
                  </c:pt>
                  <c:pt idx="3">
                    <c:v>4-Mar</c:v>
                  </c:pt>
                  <c:pt idx="4">
                    <c:v>5-Mar</c:v>
                  </c:pt>
                  <c:pt idx="5">
                    <c:v>6-Mar</c:v>
                  </c:pt>
                  <c:pt idx="6">
                    <c:v>7-Mar</c:v>
                  </c:pt>
                  <c:pt idx="7">
                    <c:v>8-Mar</c:v>
                  </c:pt>
                  <c:pt idx="8">
                    <c:v>9-Mar</c:v>
                  </c:pt>
                  <c:pt idx="9">
                    <c:v>10-Mar</c:v>
                  </c:pt>
                  <c:pt idx="10">
                    <c:v>11-Mar</c:v>
                  </c:pt>
                  <c:pt idx="11">
                    <c:v>12-Mar</c:v>
                  </c:pt>
                  <c:pt idx="12">
                    <c:v>13-Mar</c:v>
                  </c:pt>
                  <c:pt idx="13">
                    <c:v>14-Mar</c:v>
                  </c:pt>
                  <c:pt idx="14">
                    <c:v>15-Mar</c:v>
                  </c:pt>
                  <c:pt idx="15">
                    <c:v>16-Mar</c:v>
                  </c:pt>
                  <c:pt idx="16">
                    <c:v>17-Mar</c:v>
                  </c:pt>
                  <c:pt idx="17">
                    <c:v>18-Mar</c:v>
                  </c:pt>
                  <c:pt idx="18">
                    <c:v>19-Mar</c:v>
                  </c:pt>
                  <c:pt idx="19">
                    <c:v>20-Mar</c:v>
                  </c:pt>
                  <c:pt idx="20">
                    <c:v>21-Mar</c:v>
                  </c:pt>
                  <c:pt idx="21">
                    <c:v>22-Mar</c:v>
                  </c:pt>
                  <c:pt idx="22">
                    <c:v>23-Mar</c:v>
                  </c:pt>
                  <c:pt idx="23">
                    <c:v>24-Mar</c:v>
                  </c:pt>
                  <c:pt idx="24">
                    <c:v>25-Mar</c:v>
                  </c:pt>
                  <c:pt idx="25">
                    <c:v>26-Mar</c:v>
                  </c:pt>
                  <c:pt idx="26">
                    <c:v>27-Mar</c:v>
                  </c:pt>
                  <c:pt idx="27">
                    <c:v>28-Mar</c:v>
                  </c:pt>
                  <c:pt idx="28">
                    <c:v>29-Mar</c:v>
                  </c:pt>
                  <c:pt idx="29">
                    <c:v>30-Mar</c:v>
                  </c:pt>
                  <c:pt idx="30">
                    <c:v>31-Mar</c:v>
                  </c:pt>
                  <c:pt idx="31">
                    <c:v>1-Apr</c:v>
                  </c:pt>
                  <c:pt idx="32">
                    <c:v>2-Apr</c:v>
                  </c:pt>
                  <c:pt idx="33">
                    <c:v>3-Apr</c:v>
                  </c:pt>
                  <c:pt idx="34">
                    <c:v>4-Apr</c:v>
                  </c:pt>
                  <c:pt idx="35">
                    <c:v>5-Apr</c:v>
                  </c:pt>
                  <c:pt idx="36">
                    <c:v>6-Apr</c:v>
                  </c:pt>
                  <c:pt idx="37">
                    <c:v>7-Apr</c:v>
                  </c:pt>
                  <c:pt idx="38">
                    <c:v>8-Apr</c:v>
                  </c:pt>
                  <c:pt idx="39">
                    <c:v>9-Apr</c:v>
                  </c:pt>
                  <c:pt idx="40">
                    <c:v>10-Apr</c:v>
                  </c:pt>
                  <c:pt idx="41">
                    <c:v>11-Apr</c:v>
                  </c:pt>
                  <c:pt idx="42">
                    <c:v>12-Apr</c:v>
                  </c:pt>
                  <c:pt idx="43">
                    <c:v>13-Apr</c:v>
                  </c:pt>
                  <c:pt idx="44">
                    <c:v>14-Apr</c:v>
                  </c:pt>
                  <c:pt idx="45">
                    <c:v>15-Apr</c:v>
                  </c:pt>
                  <c:pt idx="46">
                    <c:v>16-Apr</c:v>
                  </c:pt>
                  <c:pt idx="47">
                    <c:v>17-Apr</c:v>
                  </c:pt>
                  <c:pt idx="48">
                    <c:v>18-Apr</c:v>
                  </c:pt>
                  <c:pt idx="49">
                    <c:v>19-Apr</c:v>
                  </c:pt>
                  <c:pt idx="50">
                    <c:v>20-Apr</c:v>
                  </c:pt>
                  <c:pt idx="51">
                    <c:v>21-Apr</c:v>
                  </c:pt>
                  <c:pt idx="52">
                    <c:v>22-Apr</c:v>
                  </c:pt>
                  <c:pt idx="53">
                    <c:v>23-Apr</c:v>
                  </c:pt>
                  <c:pt idx="54">
                    <c:v>24-Apr</c:v>
                  </c:pt>
                  <c:pt idx="55">
                    <c:v>25-Apr</c:v>
                  </c:pt>
                  <c:pt idx="56">
                    <c:v>26-Apr</c:v>
                  </c:pt>
                  <c:pt idx="57">
                    <c:v>27-Apr</c:v>
                  </c:pt>
                  <c:pt idx="58">
                    <c:v>28-Apr</c:v>
                  </c:pt>
                  <c:pt idx="59">
                    <c:v>29-Apr</c:v>
                  </c:pt>
                  <c:pt idx="60">
                    <c:v>30-Apr</c:v>
                  </c:pt>
                  <c:pt idx="61">
                    <c:v>1-May</c:v>
                  </c:pt>
                  <c:pt idx="62">
                    <c:v>2-May</c:v>
                  </c:pt>
                  <c:pt idx="63">
                    <c:v>3-May</c:v>
                  </c:pt>
                  <c:pt idx="64">
                    <c:v>4-May</c:v>
                  </c:pt>
                  <c:pt idx="65">
                    <c:v>5-May</c:v>
                  </c:pt>
                  <c:pt idx="66">
                    <c:v>6-May</c:v>
                  </c:pt>
                  <c:pt idx="67">
                    <c:v>7-May</c:v>
                  </c:pt>
                  <c:pt idx="68">
                    <c:v>8-May</c:v>
                  </c:pt>
                  <c:pt idx="69">
                    <c:v>9-May</c:v>
                  </c:pt>
                  <c:pt idx="70">
                    <c:v>10-May</c:v>
                  </c:pt>
                  <c:pt idx="71">
                    <c:v>11-May</c:v>
                  </c:pt>
                  <c:pt idx="72">
                    <c:v>12-May</c:v>
                  </c:pt>
                  <c:pt idx="73">
                    <c:v>13-May</c:v>
                  </c:pt>
                  <c:pt idx="74">
                    <c:v>14-May</c:v>
                  </c:pt>
                  <c:pt idx="75">
                    <c:v>15-May</c:v>
                  </c:pt>
                  <c:pt idx="76">
                    <c:v>16-May</c:v>
                  </c:pt>
                  <c:pt idx="77">
                    <c:v>17-May</c:v>
                  </c:pt>
                  <c:pt idx="78">
                    <c:v>18-May</c:v>
                  </c:pt>
                  <c:pt idx="79">
                    <c:v>19-May</c:v>
                  </c:pt>
                  <c:pt idx="80">
                    <c:v>20-May</c:v>
                  </c:pt>
                  <c:pt idx="81">
                    <c:v>21-May</c:v>
                  </c:pt>
                  <c:pt idx="82">
                    <c:v>22-May</c:v>
                  </c:pt>
                  <c:pt idx="83">
                    <c:v>23-May</c:v>
                  </c:pt>
                  <c:pt idx="84">
                    <c:v>24-May</c:v>
                  </c:pt>
                  <c:pt idx="85">
                    <c:v>25-May</c:v>
                  </c:pt>
                  <c:pt idx="86">
                    <c:v>26-May</c:v>
                  </c:pt>
                  <c:pt idx="87">
                    <c:v>27-May</c:v>
                  </c:pt>
                  <c:pt idx="88">
                    <c:v>28-May</c:v>
                  </c:pt>
                  <c:pt idx="89">
                    <c:v>29-May</c:v>
                  </c:pt>
                  <c:pt idx="90">
                    <c:v>30-May</c:v>
                  </c:pt>
                  <c:pt idx="91">
                    <c:v>31-May</c:v>
                  </c:pt>
                  <c:pt idx="92">
                    <c:v>1-Jun</c:v>
                  </c:pt>
                  <c:pt idx="93">
                    <c:v>2-Jun</c:v>
                  </c:pt>
                  <c:pt idx="94">
                    <c:v>3-Jun</c:v>
                  </c:pt>
                  <c:pt idx="95">
                    <c:v>4-Jun</c:v>
                  </c:pt>
                  <c:pt idx="96">
                    <c:v>5-Jun</c:v>
                  </c:pt>
                  <c:pt idx="97">
                    <c:v>6-Jun</c:v>
                  </c:pt>
                  <c:pt idx="98">
                    <c:v>7-Jun</c:v>
                  </c:pt>
                  <c:pt idx="99">
                    <c:v>8-Jun</c:v>
                  </c:pt>
                  <c:pt idx="100">
                    <c:v>9-Jun</c:v>
                  </c:pt>
                  <c:pt idx="101">
                    <c:v>10-Jun</c:v>
                  </c:pt>
                  <c:pt idx="102">
                    <c:v>11-Jun</c:v>
                  </c:pt>
                  <c:pt idx="103">
                    <c:v>12-Jun</c:v>
                  </c:pt>
                  <c:pt idx="104">
                    <c:v>13-Jun</c:v>
                  </c:pt>
                  <c:pt idx="105">
                    <c:v>14-Jun</c:v>
                  </c:pt>
                  <c:pt idx="106">
                    <c:v>15-Jun</c:v>
                  </c:pt>
                  <c:pt idx="107">
                    <c:v>16-Jun</c:v>
                  </c:pt>
                  <c:pt idx="108">
                    <c:v>17-Jun</c:v>
                  </c:pt>
                  <c:pt idx="109">
                    <c:v>18-Jun</c:v>
                  </c:pt>
                  <c:pt idx="110">
                    <c:v>19-Jun</c:v>
                  </c:pt>
                  <c:pt idx="111">
                    <c:v>20-Jun</c:v>
                  </c:pt>
                  <c:pt idx="112">
                    <c:v>21-Jun</c:v>
                  </c:pt>
                  <c:pt idx="113">
                    <c:v>22-Jun</c:v>
                  </c:pt>
                  <c:pt idx="114">
                    <c:v>23-Jun</c:v>
                  </c:pt>
                  <c:pt idx="115">
                    <c:v>24-Jun</c:v>
                  </c:pt>
                  <c:pt idx="116">
                    <c:v>25-Jun</c:v>
                  </c:pt>
                  <c:pt idx="117">
                    <c:v>26-Jun</c:v>
                  </c:pt>
                  <c:pt idx="118">
                    <c:v>27-Jun</c:v>
                  </c:pt>
                  <c:pt idx="119">
                    <c:v>28-Jun</c:v>
                  </c:pt>
                  <c:pt idx="120">
                    <c:v>29-Jun</c:v>
                  </c:pt>
                  <c:pt idx="121">
                    <c:v>30-Jun</c:v>
                  </c:pt>
                  <c:pt idx="122">
                    <c:v>1-Jul</c:v>
                  </c:pt>
                  <c:pt idx="123">
                    <c:v>2-Jul</c:v>
                  </c:pt>
                  <c:pt idx="124">
                    <c:v>3-Jul</c:v>
                  </c:pt>
                  <c:pt idx="125">
                    <c:v>4-Jul</c:v>
                  </c:pt>
                  <c:pt idx="126">
                    <c:v>5-Jul</c:v>
                  </c:pt>
                  <c:pt idx="127">
                    <c:v>6-Jul</c:v>
                  </c:pt>
                  <c:pt idx="128">
                    <c:v>7-Jul</c:v>
                  </c:pt>
                  <c:pt idx="129">
                    <c:v>8-Jul</c:v>
                  </c:pt>
                  <c:pt idx="130">
                    <c:v>9-Jul</c:v>
                  </c:pt>
                  <c:pt idx="131">
                    <c:v>10-Jul</c:v>
                  </c:pt>
                  <c:pt idx="132">
                    <c:v>11-Jul</c:v>
                  </c:pt>
                  <c:pt idx="133">
                    <c:v>12-Jul</c:v>
                  </c:pt>
                  <c:pt idx="134">
                    <c:v>13-Jul</c:v>
                  </c:pt>
                  <c:pt idx="135">
                    <c:v>14-Jul</c:v>
                  </c:pt>
                  <c:pt idx="136">
                    <c:v>15-Jul</c:v>
                  </c:pt>
                  <c:pt idx="137">
                    <c:v>16-Jul</c:v>
                  </c:pt>
                  <c:pt idx="138">
                    <c:v>17-Jul</c:v>
                  </c:pt>
                  <c:pt idx="139">
                    <c:v>18-Jul</c:v>
                  </c:pt>
                  <c:pt idx="140">
                    <c:v>19-Jul</c:v>
                  </c:pt>
                  <c:pt idx="141">
                    <c:v>20-Jul</c:v>
                  </c:pt>
                  <c:pt idx="142">
                    <c:v>21-Jul</c:v>
                  </c:pt>
                  <c:pt idx="143">
                    <c:v>22-Jul</c:v>
                  </c:pt>
                  <c:pt idx="144">
                    <c:v>23-Jul</c:v>
                  </c:pt>
                  <c:pt idx="145">
                    <c:v>24-Jul</c:v>
                  </c:pt>
                  <c:pt idx="146">
                    <c:v>25-Jul</c:v>
                  </c:pt>
                  <c:pt idx="147">
                    <c:v>26-Jul</c:v>
                  </c:pt>
                  <c:pt idx="148">
                    <c:v>27-Jul</c:v>
                  </c:pt>
                  <c:pt idx="149">
                    <c:v>28-Jul</c:v>
                  </c:pt>
                  <c:pt idx="150">
                    <c:v>29-Jul</c:v>
                  </c:pt>
                  <c:pt idx="151">
                    <c:v>30-Jul</c:v>
                  </c:pt>
                  <c:pt idx="152">
                    <c:v>31-Jul</c:v>
                  </c:pt>
                  <c:pt idx="153">
                    <c:v>1-Aug</c:v>
                  </c:pt>
                  <c:pt idx="154">
                    <c:v>2-Aug</c:v>
                  </c:pt>
                  <c:pt idx="155">
                    <c:v>3-Aug</c:v>
                  </c:pt>
                  <c:pt idx="156">
                    <c:v>4-Aug</c:v>
                  </c:pt>
                  <c:pt idx="157">
                    <c:v>5-Aug</c:v>
                  </c:pt>
                  <c:pt idx="158">
                    <c:v>6-Aug</c:v>
                  </c:pt>
                  <c:pt idx="159">
                    <c:v>7-Aug</c:v>
                  </c:pt>
                  <c:pt idx="160">
                    <c:v>8-Aug</c:v>
                  </c:pt>
                  <c:pt idx="161">
                    <c:v>9-Aug</c:v>
                  </c:pt>
                  <c:pt idx="162">
                    <c:v>10-Aug</c:v>
                  </c:pt>
                  <c:pt idx="163">
                    <c:v>11-Aug</c:v>
                  </c:pt>
                  <c:pt idx="164">
                    <c:v>12-Aug</c:v>
                  </c:pt>
                  <c:pt idx="165">
                    <c:v>13-Aug</c:v>
                  </c:pt>
                  <c:pt idx="166">
                    <c:v>14-Aug</c:v>
                  </c:pt>
                  <c:pt idx="167">
                    <c:v>15-Aug</c:v>
                  </c:pt>
                  <c:pt idx="168">
                    <c:v>16-Aug</c:v>
                  </c:pt>
                  <c:pt idx="169">
                    <c:v>17-Aug</c:v>
                  </c:pt>
                  <c:pt idx="170">
                    <c:v>18-Aug</c:v>
                  </c:pt>
                  <c:pt idx="171">
                    <c:v>19-Aug</c:v>
                  </c:pt>
                  <c:pt idx="172">
                    <c:v>20-Aug</c:v>
                  </c:pt>
                  <c:pt idx="173">
                    <c:v>21-Aug</c:v>
                  </c:pt>
                  <c:pt idx="174">
                    <c:v>22-Aug</c:v>
                  </c:pt>
                  <c:pt idx="175">
                    <c:v>23-Aug</c:v>
                  </c:pt>
                  <c:pt idx="176">
                    <c:v>24-Aug</c:v>
                  </c:pt>
                  <c:pt idx="177">
                    <c:v>25-Aug</c:v>
                  </c:pt>
                  <c:pt idx="178">
                    <c:v>26-Aug</c:v>
                  </c:pt>
                  <c:pt idx="179">
                    <c:v>27-Aug</c:v>
                  </c:pt>
                  <c:pt idx="180">
                    <c:v>28-Aug</c:v>
                  </c:pt>
                  <c:pt idx="181">
                    <c:v>29-Aug</c:v>
                  </c:pt>
                  <c:pt idx="182">
                    <c:v>30-Aug</c:v>
                  </c:pt>
                  <c:pt idx="183">
                    <c:v>31-Aug</c:v>
                  </c:pt>
                  <c:pt idx="184">
                    <c:v>1-Sep</c:v>
                  </c:pt>
                  <c:pt idx="185">
                    <c:v>2-Sep</c:v>
                  </c:pt>
                  <c:pt idx="186">
                    <c:v>3-Sep</c:v>
                  </c:pt>
                  <c:pt idx="187">
                    <c:v>4-Sep</c:v>
                  </c:pt>
                  <c:pt idx="188">
                    <c:v>5-Sep</c:v>
                  </c:pt>
                  <c:pt idx="189">
                    <c:v>6-Sep</c:v>
                  </c:pt>
                  <c:pt idx="190">
                    <c:v>7-Sep</c:v>
                  </c:pt>
                  <c:pt idx="191">
                    <c:v>8-Sep</c:v>
                  </c:pt>
                  <c:pt idx="192">
                    <c:v>9-Sep</c:v>
                  </c:pt>
                  <c:pt idx="193">
                    <c:v>10-Sep</c:v>
                  </c:pt>
                  <c:pt idx="194">
                    <c:v>11-Sep</c:v>
                  </c:pt>
                  <c:pt idx="195">
                    <c:v>12-Sep</c:v>
                  </c:pt>
                  <c:pt idx="196">
                    <c:v>13-Sep</c:v>
                  </c:pt>
                  <c:pt idx="197">
                    <c:v>14-Sep</c:v>
                  </c:pt>
                  <c:pt idx="198">
                    <c:v>15-Sep</c:v>
                  </c:pt>
                  <c:pt idx="199">
                    <c:v>16-Sep</c:v>
                  </c:pt>
                  <c:pt idx="200">
                    <c:v>17-Sep</c:v>
                  </c:pt>
                  <c:pt idx="201">
                    <c:v>18-Sep</c:v>
                  </c:pt>
                  <c:pt idx="202">
                    <c:v>19-Sep</c:v>
                  </c:pt>
                  <c:pt idx="203">
                    <c:v>20-Sep</c:v>
                  </c:pt>
                  <c:pt idx="204">
                    <c:v>21-Sep</c:v>
                  </c:pt>
                  <c:pt idx="205">
                    <c:v>22-Sep</c:v>
                  </c:pt>
                  <c:pt idx="206">
                    <c:v>23-Sep</c:v>
                  </c:pt>
                  <c:pt idx="207">
                    <c:v>24-Sep</c:v>
                  </c:pt>
                  <c:pt idx="208">
                    <c:v>25-Sep</c:v>
                  </c:pt>
                  <c:pt idx="209">
                    <c:v>26-Sep</c:v>
                  </c:pt>
                  <c:pt idx="210">
                    <c:v>27-Sep</c:v>
                  </c:pt>
                  <c:pt idx="211">
                    <c:v>28-Sep</c:v>
                  </c:pt>
                  <c:pt idx="212">
                    <c:v>29-Sep</c:v>
                  </c:pt>
                  <c:pt idx="213">
                    <c:v>30-Sep</c:v>
                  </c:pt>
                  <c:pt idx="214">
                    <c:v>1-Oct</c:v>
                  </c:pt>
                  <c:pt idx="215">
                    <c:v>2-Oct</c:v>
                  </c:pt>
                  <c:pt idx="216">
                    <c:v>3-Oct</c:v>
                  </c:pt>
                  <c:pt idx="217">
                    <c:v>4-Oct</c:v>
                  </c:pt>
                  <c:pt idx="218">
                    <c:v>5-Oct</c:v>
                  </c:pt>
                  <c:pt idx="219">
                    <c:v>6-Oct</c:v>
                  </c:pt>
                  <c:pt idx="220">
                    <c:v>7-Oct</c:v>
                  </c:pt>
                  <c:pt idx="221">
                    <c:v>8-Oct</c:v>
                  </c:pt>
                  <c:pt idx="222">
                    <c:v>9-Oct</c:v>
                  </c:pt>
                  <c:pt idx="223">
                    <c:v>10-Oct</c:v>
                  </c:pt>
                  <c:pt idx="224">
                    <c:v>11-Oct</c:v>
                  </c:pt>
                  <c:pt idx="225">
                    <c:v>12-Oct</c:v>
                  </c:pt>
                  <c:pt idx="226">
                    <c:v>13-Oct</c:v>
                  </c:pt>
                  <c:pt idx="227">
                    <c:v>14-Oct</c:v>
                  </c:pt>
                  <c:pt idx="228">
                    <c:v>15-Oct</c:v>
                  </c:pt>
                  <c:pt idx="229">
                    <c:v>16-Oct</c:v>
                  </c:pt>
                  <c:pt idx="230">
                    <c:v>17-Oct</c:v>
                  </c:pt>
                  <c:pt idx="231">
                    <c:v>18-Oct</c:v>
                  </c:pt>
                  <c:pt idx="232">
                    <c:v>19-Oct</c:v>
                  </c:pt>
                  <c:pt idx="233">
                    <c:v>20-Oct</c:v>
                  </c:pt>
                  <c:pt idx="234">
                    <c:v>21-Oct</c:v>
                  </c:pt>
                  <c:pt idx="235">
                    <c:v>22-Oct</c:v>
                  </c:pt>
                  <c:pt idx="236">
                    <c:v>23-Oct</c:v>
                  </c:pt>
                  <c:pt idx="237">
                    <c:v>24-Oct</c:v>
                  </c:pt>
                  <c:pt idx="238">
                    <c:v>25-Oct</c:v>
                  </c:pt>
                  <c:pt idx="239">
                    <c:v>26-Oct</c:v>
                  </c:pt>
                  <c:pt idx="240">
                    <c:v>27-Oct</c:v>
                  </c:pt>
                  <c:pt idx="241">
                    <c:v>28-Oct</c:v>
                  </c:pt>
                  <c:pt idx="242">
                    <c:v>29-Oct</c:v>
                  </c:pt>
                  <c:pt idx="243">
                    <c:v>30-Oct</c:v>
                  </c:pt>
                  <c:pt idx="244">
                    <c:v>31-Oct</c:v>
                  </c:pt>
                  <c:pt idx="245">
                    <c:v>1-Nov</c:v>
                  </c:pt>
                  <c:pt idx="246">
                    <c:v>2-Nov</c:v>
                  </c:pt>
                  <c:pt idx="247">
                    <c:v>3-Nov</c:v>
                  </c:pt>
                  <c:pt idx="248">
                    <c:v>4-Nov</c:v>
                  </c:pt>
                  <c:pt idx="249">
                    <c:v>5-Nov</c:v>
                  </c:pt>
                  <c:pt idx="250">
                    <c:v>6-Nov</c:v>
                  </c:pt>
                  <c:pt idx="251">
                    <c:v>7-Nov</c:v>
                  </c:pt>
                  <c:pt idx="252">
                    <c:v>8-Nov</c:v>
                  </c:pt>
                  <c:pt idx="253">
                    <c:v>9-Nov</c:v>
                  </c:pt>
                  <c:pt idx="254">
                    <c:v>10-Nov</c:v>
                  </c:pt>
                  <c:pt idx="255">
                    <c:v>11-Nov</c:v>
                  </c:pt>
                  <c:pt idx="256">
                    <c:v>12-Nov</c:v>
                  </c:pt>
                  <c:pt idx="257">
                    <c:v>13-Nov</c:v>
                  </c:pt>
                  <c:pt idx="258">
                    <c:v>14-Nov</c:v>
                  </c:pt>
                  <c:pt idx="259">
                    <c:v>15-Nov</c:v>
                  </c:pt>
                  <c:pt idx="260">
                    <c:v>16-Nov</c:v>
                  </c:pt>
                  <c:pt idx="261">
                    <c:v>17-Nov</c:v>
                  </c:pt>
                  <c:pt idx="262">
                    <c:v>18-Nov</c:v>
                  </c:pt>
                  <c:pt idx="263">
                    <c:v>19-Nov</c:v>
                  </c:pt>
                  <c:pt idx="264">
                    <c:v>20-Nov</c:v>
                  </c:pt>
                  <c:pt idx="265">
                    <c:v>21-Nov</c:v>
                  </c:pt>
                  <c:pt idx="266">
                    <c:v>22-Nov</c:v>
                  </c:pt>
                  <c:pt idx="267">
                    <c:v>23-Nov</c:v>
                  </c:pt>
                  <c:pt idx="268">
                    <c:v>24-Nov</c:v>
                  </c:pt>
                  <c:pt idx="269">
                    <c:v>25-Nov</c:v>
                  </c:pt>
                  <c:pt idx="270">
                    <c:v>26-Nov</c:v>
                  </c:pt>
                  <c:pt idx="271">
                    <c:v>27-Nov</c:v>
                  </c:pt>
                  <c:pt idx="272">
                    <c:v>28-Nov</c:v>
                  </c:pt>
                  <c:pt idx="273">
                    <c:v>29-Nov</c:v>
                  </c:pt>
                  <c:pt idx="274">
                    <c:v>30-Nov</c:v>
                  </c:pt>
                  <c:pt idx="275">
                    <c:v>1-Dec</c:v>
                  </c:pt>
                  <c:pt idx="276">
                    <c:v>2-Dec</c:v>
                  </c:pt>
                  <c:pt idx="277">
                    <c:v>3-Dec</c:v>
                  </c:pt>
                  <c:pt idx="278">
                    <c:v>4-Dec</c:v>
                  </c:pt>
                  <c:pt idx="279">
                    <c:v>5-Dec</c:v>
                  </c:pt>
                  <c:pt idx="280">
                    <c:v>6-Dec</c:v>
                  </c:pt>
                  <c:pt idx="281">
                    <c:v>7-Dec</c:v>
                  </c:pt>
                  <c:pt idx="282">
                    <c:v>8-Dec</c:v>
                  </c:pt>
                  <c:pt idx="283">
                    <c:v>9-Dec</c:v>
                  </c:pt>
                  <c:pt idx="284">
                    <c:v>10-Dec</c:v>
                  </c:pt>
                  <c:pt idx="285">
                    <c:v>11-Dec</c:v>
                  </c:pt>
                  <c:pt idx="286">
                    <c:v>12-Dec</c:v>
                  </c:pt>
                  <c:pt idx="287">
                    <c:v>13-Dec</c:v>
                  </c:pt>
                  <c:pt idx="288">
                    <c:v>14-Dec</c:v>
                  </c:pt>
                  <c:pt idx="289">
                    <c:v>15-Dec</c:v>
                  </c:pt>
                  <c:pt idx="290">
                    <c:v>16-Dec</c:v>
                  </c:pt>
                  <c:pt idx="291">
                    <c:v>17-Dec</c:v>
                  </c:pt>
                  <c:pt idx="292">
                    <c:v>18-Dec</c:v>
                  </c:pt>
                  <c:pt idx="293">
                    <c:v>19-Dec</c:v>
                  </c:pt>
                  <c:pt idx="294">
                    <c:v>20-Dec</c:v>
                  </c:pt>
                  <c:pt idx="295">
                    <c:v>21-Dec</c:v>
                  </c:pt>
                  <c:pt idx="296">
                    <c:v>22-Dec</c:v>
                  </c:pt>
                  <c:pt idx="297">
                    <c:v>23-Dec</c:v>
                  </c:pt>
                  <c:pt idx="298">
                    <c:v>24-Dec</c:v>
                  </c:pt>
                  <c:pt idx="299">
                    <c:v>25-Dec</c:v>
                  </c:pt>
                  <c:pt idx="300">
                    <c:v>26-Dec</c:v>
                  </c:pt>
                  <c:pt idx="301">
                    <c:v>27-Dec</c:v>
                  </c:pt>
                  <c:pt idx="302">
                    <c:v>28-Dec</c:v>
                  </c:pt>
                  <c:pt idx="303">
                    <c:v>29-Dec</c:v>
                  </c:pt>
                  <c:pt idx="304">
                    <c:v>30-Dec</c:v>
                  </c:pt>
                  <c:pt idx="305">
                    <c:v>31-Dec</c:v>
                  </c:pt>
                  <c:pt idx="306">
                    <c:v>1-Jan</c:v>
                  </c:pt>
                  <c:pt idx="307">
                    <c:v>2-Jan</c:v>
                  </c:pt>
                  <c:pt idx="308">
                    <c:v>3-Jan</c:v>
                  </c:pt>
                  <c:pt idx="309">
                    <c:v>4-Jan</c:v>
                  </c:pt>
                  <c:pt idx="310">
                    <c:v>5-Jan</c:v>
                  </c:pt>
                  <c:pt idx="311">
                    <c:v>6-Jan</c:v>
                  </c:pt>
                  <c:pt idx="312">
                    <c:v>7-Jan</c:v>
                  </c:pt>
                  <c:pt idx="313">
                    <c:v>8-Jan</c:v>
                  </c:pt>
                  <c:pt idx="314">
                    <c:v>9-Jan</c:v>
                  </c:pt>
                  <c:pt idx="315">
                    <c:v>10-Jan</c:v>
                  </c:pt>
                  <c:pt idx="316">
                    <c:v>11-Jan</c:v>
                  </c:pt>
                  <c:pt idx="317">
                    <c:v>12-Jan</c:v>
                  </c:pt>
                  <c:pt idx="318">
                    <c:v>13-Jan</c:v>
                  </c:pt>
                  <c:pt idx="319">
                    <c:v>14-Jan</c:v>
                  </c:pt>
                  <c:pt idx="320">
                    <c:v>15-Jan</c:v>
                  </c:pt>
                  <c:pt idx="321">
                    <c:v>16-Jan</c:v>
                  </c:pt>
                  <c:pt idx="322">
                    <c:v>17-Jan</c:v>
                  </c:pt>
                  <c:pt idx="323">
                    <c:v>18-Jan</c:v>
                  </c:pt>
                  <c:pt idx="324">
                    <c:v>19-Jan</c:v>
                  </c:pt>
                  <c:pt idx="325">
                    <c:v>20-Jan</c:v>
                  </c:pt>
                  <c:pt idx="326">
                    <c:v>21-Jan</c:v>
                  </c:pt>
                  <c:pt idx="327">
                    <c:v>22-Jan</c:v>
                  </c:pt>
                  <c:pt idx="328">
                    <c:v>23-Jan</c:v>
                  </c:pt>
                  <c:pt idx="329">
                    <c:v>24-Jan</c:v>
                  </c:pt>
                  <c:pt idx="330">
                    <c:v>25-Jan</c:v>
                  </c:pt>
                  <c:pt idx="331">
                    <c:v>26-Jan</c:v>
                  </c:pt>
                  <c:pt idx="332">
                    <c:v>27-Jan</c:v>
                  </c:pt>
                  <c:pt idx="333">
                    <c:v>28-Jan</c:v>
                  </c:pt>
                  <c:pt idx="334">
                    <c:v>29-Jan</c:v>
                  </c:pt>
                  <c:pt idx="335">
                    <c:v>30-Jan</c:v>
                  </c:pt>
                  <c:pt idx="336">
                    <c:v>31-Jan</c:v>
                  </c:pt>
                  <c:pt idx="337">
                    <c:v>1-Feb</c:v>
                  </c:pt>
                  <c:pt idx="338">
                    <c:v>2-Feb</c:v>
                  </c:pt>
                  <c:pt idx="339">
                    <c:v>3-Feb</c:v>
                  </c:pt>
                  <c:pt idx="340">
                    <c:v>4-Feb</c:v>
                  </c:pt>
                  <c:pt idx="341">
                    <c:v>5-Feb</c:v>
                  </c:pt>
                  <c:pt idx="342">
                    <c:v>6-Feb</c:v>
                  </c:pt>
                  <c:pt idx="343">
                    <c:v>7-Feb</c:v>
                  </c:pt>
                  <c:pt idx="344">
                    <c:v>8-Feb</c:v>
                  </c:pt>
                  <c:pt idx="345">
                    <c:v>9-Feb</c:v>
                  </c:pt>
                  <c:pt idx="346">
                    <c:v>10-Feb</c:v>
                  </c:pt>
                  <c:pt idx="347">
                    <c:v>11-Feb</c:v>
                  </c:pt>
                  <c:pt idx="348">
                    <c:v>12-Feb</c:v>
                  </c:pt>
                  <c:pt idx="349">
                    <c:v>13-Feb</c:v>
                  </c:pt>
                  <c:pt idx="350">
                    <c:v>14-Feb</c:v>
                  </c:pt>
                  <c:pt idx="351">
                    <c:v>15-Feb</c:v>
                  </c:pt>
                  <c:pt idx="352">
                    <c:v>16-Feb</c:v>
                  </c:pt>
                  <c:pt idx="353">
                    <c:v>17-Feb</c:v>
                  </c:pt>
                  <c:pt idx="354">
                    <c:v>18-Feb</c:v>
                  </c:pt>
                  <c:pt idx="355">
                    <c:v>19-Feb</c:v>
                  </c:pt>
                  <c:pt idx="356">
                    <c:v>20-Feb</c:v>
                  </c:pt>
                  <c:pt idx="357">
                    <c:v>21-Feb</c:v>
                  </c:pt>
                  <c:pt idx="358">
                    <c:v>22-Feb</c:v>
                  </c:pt>
                  <c:pt idx="359">
                    <c:v>23-Feb</c:v>
                  </c:pt>
                  <c:pt idx="360">
                    <c:v>24-Feb</c:v>
                  </c:pt>
                  <c:pt idx="361">
                    <c:v>25-Feb</c:v>
                  </c:pt>
                  <c:pt idx="362">
                    <c:v>26-Feb</c:v>
                  </c:pt>
                  <c:pt idx="363">
                    <c:v>27-Feb</c:v>
                  </c:pt>
                  <c:pt idx="364">
                    <c:v>28-Feb</c:v>
                  </c:pt>
                  <c:pt idx="365">
                    <c:v>1-Mar</c:v>
                  </c:pt>
                  <c:pt idx="366">
                    <c:v>2-Mar</c:v>
                  </c:pt>
                  <c:pt idx="367">
                    <c:v>3-Mar</c:v>
                  </c:pt>
                  <c:pt idx="368">
                    <c:v>4-Mar</c:v>
                  </c:pt>
                  <c:pt idx="369">
                    <c:v>5-Mar</c:v>
                  </c:pt>
                  <c:pt idx="370">
                    <c:v>6-Mar</c:v>
                  </c:pt>
                  <c:pt idx="371">
                    <c:v>7-Mar</c:v>
                  </c:pt>
                  <c:pt idx="372">
                    <c:v>8-Mar</c:v>
                  </c:pt>
                  <c:pt idx="373">
                    <c:v>9-Mar</c:v>
                  </c:pt>
                  <c:pt idx="374">
                    <c:v>10-Mar</c:v>
                  </c:pt>
                  <c:pt idx="375">
                    <c:v>11-Mar</c:v>
                  </c:pt>
                  <c:pt idx="376">
                    <c:v>12-Mar</c:v>
                  </c:pt>
                  <c:pt idx="377">
                    <c:v>13-Mar</c:v>
                  </c:pt>
                  <c:pt idx="378">
                    <c:v>14-Mar</c:v>
                  </c:pt>
                  <c:pt idx="379">
                    <c:v>15-Mar</c:v>
                  </c:pt>
                  <c:pt idx="380">
                    <c:v>16-Mar</c:v>
                  </c:pt>
                  <c:pt idx="381">
                    <c:v>17-Mar</c:v>
                  </c:pt>
                  <c:pt idx="382">
                    <c:v>18-Mar</c:v>
                  </c:pt>
                  <c:pt idx="383">
                    <c:v>19-Mar</c:v>
                  </c:pt>
                  <c:pt idx="384">
                    <c:v>20-Mar</c:v>
                  </c:pt>
                  <c:pt idx="385">
                    <c:v>21-Mar</c:v>
                  </c:pt>
                  <c:pt idx="386">
                    <c:v>22-Mar</c:v>
                  </c:pt>
                  <c:pt idx="387">
                    <c:v>23-Mar</c:v>
                  </c:pt>
                  <c:pt idx="388">
                    <c:v>24-Mar</c:v>
                  </c:pt>
                  <c:pt idx="389">
                    <c:v>25-Mar</c:v>
                  </c:pt>
                  <c:pt idx="390">
                    <c:v>26-Mar</c:v>
                  </c:pt>
                  <c:pt idx="391">
                    <c:v>27-Mar</c:v>
                  </c:pt>
                  <c:pt idx="392">
                    <c:v>28-Mar</c:v>
                  </c:pt>
                  <c:pt idx="393">
                    <c:v>29-Mar</c:v>
                  </c:pt>
                  <c:pt idx="394">
                    <c:v>30-Mar</c:v>
                  </c:pt>
                  <c:pt idx="395">
                    <c:v>31-Mar</c:v>
                  </c:pt>
                  <c:pt idx="396">
                    <c:v>1-Apr</c:v>
                  </c:pt>
                  <c:pt idx="397">
                    <c:v>2-Apr</c:v>
                  </c:pt>
                  <c:pt idx="398">
                    <c:v>3-Apr</c:v>
                  </c:pt>
                  <c:pt idx="399">
                    <c:v>4-Apr</c:v>
                  </c:pt>
                  <c:pt idx="400">
                    <c:v>5-Apr</c:v>
                  </c:pt>
                  <c:pt idx="401">
                    <c:v>6-Apr</c:v>
                  </c:pt>
                  <c:pt idx="402">
                    <c:v>7-Apr</c:v>
                  </c:pt>
                  <c:pt idx="403">
                    <c:v>8-Apr</c:v>
                  </c:pt>
                  <c:pt idx="404">
                    <c:v>9-Apr</c:v>
                  </c:pt>
                  <c:pt idx="405">
                    <c:v>10-Apr</c:v>
                  </c:pt>
                  <c:pt idx="406">
                    <c:v>11-Apr</c:v>
                  </c:pt>
                  <c:pt idx="407">
                    <c:v>12-Apr</c:v>
                  </c:pt>
                  <c:pt idx="408">
                    <c:v>13-Apr</c:v>
                  </c:pt>
                  <c:pt idx="409">
                    <c:v>14-Apr</c:v>
                  </c:pt>
                  <c:pt idx="410">
                    <c:v>15-Apr</c:v>
                  </c:pt>
                  <c:pt idx="411">
                    <c:v>16-Apr</c:v>
                  </c:pt>
                  <c:pt idx="412">
                    <c:v>17-Apr</c:v>
                  </c:pt>
                  <c:pt idx="413">
                    <c:v>18-Apr</c:v>
                  </c:pt>
                  <c:pt idx="414">
                    <c:v>19-Apr</c:v>
                  </c:pt>
                  <c:pt idx="415">
                    <c:v>20-Apr</c:v>
                  </c:pt>
                  <c:pt idx="416">
                    <c:v>21-Apr</c:v>
                  </c:pt>
                  <c:pt idx="417">
                    <c:v>22-Apr</c:v>
                  </c:pt>
                  <c:pt idx="418">
                    <c:v>23-Apr</c:v>
                  </c:pt>
                  <c:pt idx="419">
                    <c:v>24-Apr</c:v>
                  </c:pt>
                  <c:pt idx="420">
                    <c:v>25-Apr</c:v>
                  </c:pt>
                  <c:pt idx="421">
                    <c:v>26-Apr</c:v>
                  </c:pt>
                  <c:pt idx="422">
                    <c:v>27-Apr</c:v>
                  </c:pt>
                  <c:pt idx="423">
                    <c:v>28-Apr</c:v>
                  </c:pt>
                  <c:pt idx="424">
                    <c:v>29-Apr</c:v>
                  </c:pt>
                  <c:pt idx="425">
                    <c:v>30-Apr</c:v>
                  </c:pt>
                  <c:pt idx="426">
                    <c:v>1-May</c:v>
                  </c:pt>
                  <c:pt idx="427">
                    <c:v>2-May</c:v>
                  </c:pt>
                  <c:pt idx="428">
                    <c:v>3-May</c:v>
                  </c:pt>
                  <c:pt idx="429">
                    <c:v>4-May</c:v>
                  </c:pt>
                  <c:pt idx="430">
                    <c:v>5-May</c:v>
                  </c:pt>
                  <c:pt idx="431">
                    <c:v>6-May</c:v>
                  </c:pt>
                  <c:pt idx="432">
                    <c:v>7-May</c:v>
                  </c:pt>
                  <c:pt idx="433">
                    <c:v>8-May</c:v>
                  </c:pt>
                  <c:pt idx="434">
                    <c:v>9-May</c:v>
                  </c:pt>
                  <c:pt idx="435">
                    <c:v>10-May</c:v>
                  </c:pt>
                  <c:pt idx="436">
                    <c:v>11-May</c:v>
                  </c:pt>
                  <c:pt idx="437">
                    <c:v>12-May</c:v>
                  </c:pt>
                  <c:pt idx="438">
                    <c:v>13-May</c:v>
                  </c:pt>
                  <c:pt idx="439">
                    <c:v>14-May</c:v>
                  </c:pt>
                  <c:pt idx="440">
                    <c:v>15-May</c:v>
                  </c:pt>
                  <c:pt idx="441">
                    <c:v>16-May</c:v>
                  </c:pt>
                  <c:pt idx="442">
                    <c:v>17-May</c:v>
                  </c:pt>
                  <c:pt idx="443">
                    <c:v>18-May</c:v>
                  </c:pt>
                  <c:pt idx="444">
                    <c:v>19-May</c:v>
                  </c:pt>
                  <c:pt idx="445">
                    <c:v>20-May</c:v>
                  </c:pt>
                  <c:pt idx="446">
                    <c:v>21-May</c:v>
                  </c:pt>
                  <c:pt idx="447">
                    <c:v>22-May</c:v>
                  </c:pt>
                  <c:pt idx="448">
                    <c:v>23-May</c:v>
                  </c:pt>
                  <c:pt idx="449">
                    <c:v>24-May</c:v>
                  </c:pt>
                  <c:pt idx="450">
                    <c:v>25-May</c:v>
                  </c:pt>
                  <c:pt idx="451">
                    <c:v>26-May</c:v>
                  </c:pt>
                  <c:pt idx="452">
                    <c:v>27-May</c:v>
                  </c:pt>
                  <c:pt idx="453">
                    <c:v>28-May</c:v>
                  </c:pt>
                  <c:pt idx="454">
                    <c:v>29-May</c:v>
                  </c:pt>
                  <c:pt idx="455">
                    <c:v>30-May</c:v>
                  </c:pt>
                  <c:pt idx="456">
                    <c:v>31-May</c:v>
                  </c:pt>
                  <c:pt idx="457">
                    <c:v>1-Jun</c:v>
                  </c:pt>
                  <c:pt idx="458">
                    <c:v>2-Jun</c:v>
                  </c:pt>
                  <c:pt idx="459">
                    <c:v>3-Jun</c:v>
                  </c:pt>
                  <c:pt idx="460">
                    <c:v>4-Jun</c:v>
                  </c:pt>
                  <c:pt idx="461">
                    <c:v>5-Jun</c:v>
                  </c:pt>
                  <c:pt idx="462">
                    <c:v>6-Jun</c:v>
                  </c:pt>
                  <c:pt idx="463">
                    <c:v>7-Jun</c:v>
                  </c:pt>
                  <c:pt idx="464">
                    <c:v>8-Jun</c:v>
                  </c:pt>
                  <c:pt idx="465">
                    <c:v>9-Jun</c:v>
                  </c:pt>
                  <c:pt idx="466">
                    <c:v>10-Jun</c:v>
                  </c:pt>
                  <c:pt idx="467">
                    <c:v>11-Jun</c:v>
                  </c:pt>
                  <c:pt idx="468">
                    <c:v>12-Jun</c:v>
                  </c:pt>
                  <c:pt idx="469">
                    <c:v>13-Jun</c:v>
                  </c:pt>
                  <c:pt idx="470">
                    <c:v>14-Jun</c:v>
                  </c:pt>
                  <c:pt idx="471">
                    <c:v>15-Jun</c:v>
                  </c:pt>
                  <c:pt idx="472">
                    <c:v>16-Jun</c:v>
                  </c:pt>
                  <c:pt idx="473">
                    <c:v>17-Jun</c:v>
                  </c:pt>
                  <c:pt idx="474">
                    <c:v>18-Jun</c:v>
                  </c:pt>
                  <c:pt idx="475">
                    <c:v>19-Jun</c:v>
                  </c:pt>
                  <c:pt idx="476">
                    <c:v>20-Jun</c:v>
                  </c:pt>
                  <c:pt idx="477">
                    <c:v>21-Jun</c:v>
                  </c:pt>
                  <c:pt idx="478">
                    <c:v>22-Jun</c:v>
                  </c:pt>
                  <c:pt idx="479">
                    <c:v>23-Jun</c:v>
                  </c:pt>
                  <c:pt idx="480">
                    <c:v>24-Jun</c:v>
                  </c:pt>
                  <c:pt idx="481">
                    <c:v>25-Jun</c:v>
                  </c:pt>
                  <c:pt idx="482">
                    <c:v>26-Jun</c:v>
                  </c:pt>
                  <c:pt idx="483">
                    <c:v>27-Jun</c:v>
                  </c:pt>
                  <c:pt idx="484">
                    <c:v>28-Jun</c:v>
                  </c:pt>
                  <c:pt idx="485">
                    <c:v>29-Jun</c:v>
                  </c:pt>
                  <c:pt idx="486">
                    <c:v>30-Jun</c:v>
                  </c:pt>
                  <c:pt idx="487">
                    <c:v>1-Jul</c:v>
                  </c:pt>
                  <c:pt idx="488">
                    <c:v>2-Jul</c:v>
                  </c:pt>
                  <c:pt idx="489">
                    <c:v>3-Jul</c:v>
                  </c:pt>
                  <c:pt idx="490">
                    <c:v>4-Jul</c:v>
                  </c:pt>
                  <c:pt idx="491">
                    <c:v>5-Jul</c:v>
                  </c:pt>
                  <c:pt idx="492">
                    <c:v>6-Jul</c:v>
                  </c:pt>
                  <c:pt idx="493">
                    <c:v>7-Jul</c:v>
                  </c:pt>
                  <c:pt idx="494">
                    <c:v>8-Jul</c:v>
                  </c:pt>
                  <c:pt idx="495">
                    <c:v>9-Jul</c:v>
                  </c:pt>
                  <c:pt idx="496">
                    <c:v>10-Jul</c:v>
                  </c:pt>
                  <c:pt idx="497">
                    <c:v>11-Jul</c:v>
                  </c:pt>
                  <c:pt idx="498">
                    <c:v>12-Jul</c:v>
                  </c:pt>
                  <c:pt idx="499">
                    <c:v>13-Jul</c:v>
                  </c:pt>
                  <c:pt idx="500">
                    <c:v>14-Jul</c:v>
                  </c:pt>
                  <c:pt idx="501">
                    <c:v>15-Jul</c:v>
                  </c:pt>
                  <c:pt idx="502">
                    <c:v>16-Jul</c:v>
                  </c:pt>
                  <c:pt idx="503">
                    <c:v>17-Jul</c:v>
                  </c:pt>
                  <c:pt idx="504">
                    <c:v>18-Jul</c:v>
                  </c:pt>
                  <c:pt idx="505">
                    <c:v>19-Jul</c:v>
                  </c:pt>
                  <c:pt idx="506">
                    <c:v>20-Jul</c:v>
                  </c:pt>
                  <c:pt idx="507">
                    <c:v>21-Jul</c:v>
                  </c:pt>
                  <c:pt idx="508">
                    <c:v>22-Jul</c:v>
                  </c:pt>
                  <c:pt idx="509">
                    <c:v>23-Jul</c:v>
                  </c:pt>
                  <c:pt idx="510">
                    <c:v>24-Jul</c:v>
                  </c:pt>
                  <c:pt idx="511">
                    <c:v>25-Jul</c:v>
                  </c:pt>
                  <c:pt idx="512">
                    <c:v>26-Jul</c:v>
                  </c:pt>
                  <c:pt idx="513">
                    <c:v>27-Jul</c:v>
                  </c:pt>
                  <c:pt idx="514">
                    <c:v>28-Jul</c:v>
                  </c:pt>
                  <c:pt idx="515">
                    <c:v>29-Jul</c:v>
                  </c:pt>
                  <c:pt idx="516">
                    <c:v>30-Jul</c:v>
                  </c:pt>
                  <c:pt idx="517">
                    <c:v>31-Jul</c:v>
                  </c:pt>
                  <c:pt idx="518">
                    <c:v>1-Aug</c:v>
                  </c:pt>
                  <c:pt idx="519">
                    <c:v>2-Aug</c:v>
                  </c:pt>
                  <c:pt idx="520">
                    <c:v>3-Aug</c:v>
                  </c:pt>
                  <c:pt idx="521">
                    <c:v>4-Aug</c:v>
                  </c:pt>
                  <c:pt idx="522">
                    <c:v>5-Aug</c:v>
                  </c:pt>
                  <c:pt idx="523">
                    <c:v>6-Aug</c:v>
                  </c:pt>
                  <c:pt idx="524">
                    <c:v>7-Aug</c:v>
                  </c:pt>
                  <c:pt idx="525">
                    <c:v>8-Aug</c:v>
                  </c:pt>
                  <c:pt idx="526">
                    <c:v>9-Aug</c:v>
                  </c:pt>
                  <c:pt idx="527">
                    <c:v>10-Aug</c:v>
                  </c:pt>
                  <c:pt idx="528">
                    <c:v>11-Aug</c:v>
                  </c:pt>
                  <c:pt idx="529">
                    <c:v>12-Aug</c:v>
                  </c:pt>
                  <c:pt idx="530">
                    <c:v>13-Aug</c:v>
                  </c:pt>
                  <c:pt idx="531">
                    <c:v>14-Aug</c:v>
                  </c:pt>
                  <c:pt idx="532">
                    <c:v>15-Aug</c:v>
                  </c:pt>
                  <c:pt idx="533">
                    <c:v>16-Aug</c:v>
                  </c:pt>
                  <c:pt idx="534">
                    <c:v>17-Aug</c:v>
                  </c:pt>
                  <c:pt idx="535">
                    <c:v>18-Aug</c:v>
                  </c:pt>
                  <c:pt idx="536">
                    <c:v>19-Aug</c:v>
                  </c:pt>
                  <c:pt idx="537">
                    <c:v>20-Aug</c:v>
                  </c:pt>
                  <c:pt idx="538">
                    <c:v>21-Aug</c:v>
                  </c:pt>
                  <c:pt idx="539">
                    <c:v>22-Aug</c:v>
                  </c:pt>
                  <c:pt idx="540">
                    <c:v>23-Aug</c:v>
                  </c:pt>
                  <c:pt idx="541">
                    <c:v>24-Aug</c:v>
                  </c:pt>
                  <c:pt idx="542">
                    <c:v>25-Aug</c:v>
                  </c:pt>
                  <c:pt idx="543">
                    <c:v>26-Aug</c:v>
                  </c:pt>
                  <c:pt idx="544">
                    <c:v>27-Aug</c:v>
                  </c:pt>
                  <c:pt idx="545">
                    <c:v>28-Aug</c:v>
                  </c:pt>
                  <c:pt idx="546">
                    <c:v>29-Aug</c:v>
                  </c:pt>
                  <c:pt idx="547">
                    <c:v>30-Aug</c:v>
                  </c:pt>
                  <c:pt idx="548">
                    <c:v>31-Aug</c:v>
                  </c:pt>
                  <c:pt idx="549">
                    <c:v>1-Sep</c:v>
                  </c:pt>
                  <c:pt idx="550">
                    <c:v>2-Sep</c:v>
                  </c:pt>
                  <c:pt idx="551">
                    <c:v>3-Sep</c:v>
                  </c:pt>
                  <c:pt idx="552">
                    <c:v>4-Sep</c:v>
                  </c:pt>
                  <c:pt idx="553">
                    <c:v>5-Sep</c:v>
                  </c:pt>
                  <c:pt idx="554">
                    <c:v>6-Sep</c:v>
                  </c:pt>
                  <c:pt idx="555">
                    <c:v>7-Sep</c:v>
                  </c:pt>
                  <c:pt idx="556">
                    <c:v>8-Sep</c:v>
                  </c:pt>
                  <c:pt idx="557">
                    <c:v>9-Sep</c:v>
                  </c:pt>
                  <c:pt idx="558">
                    <c:v>10-Sep</c:v>
                  </c:pt>
                  <c:pt idx="559">
                    <c:v>11-Sep</c:v>
                  </c:pt>
                  <c:pt idx="560">
                    <c:v>12-Sep</c:v>
                  </c:pt>
                  <c:pt idx="561">
                    <c:v>13-Sep</c:v>
                  </c:pt>
                  <c:pt idx="562">
                    <c:v>14-Sep</c:v>
                  </c:pt>
                  <c:pt idx="563">
                    <c:v>15-Sep</c:v>
                  </c:pt>
                  <c:pt idx="564">
                    <c:v>16-Sep</c:v>
                  </c:pt>
                  <c:pt idx="565">
                    <c:v>17-Sep</c:v>
                  </c:pt>
                  <c:pt idx="566">
                    <c:v>18-Sep</c:v>
                  </c:pt>
                  <c:pt idx="567">
                    <c:v>19-Sep</c:v>
                  </c:pt>
                  <c:pt idx="568">
                    <c:v>20-Sep</c:v>
                  </c:pt>
                  <c:pt idx="569">
                    <c:v>21-Sep</c:v>
                  </c:pt>
                  <c:pt idx="570">
                    <c:v>22-Sep</c:v>
                  </c:pt>
                  <c:pt idx="571">
                    <c:v>23-Sep</c:v>
                  </c:pt>
                  <c:pt idx="572">
                    <c:v>24-Sep</c:v>
                  </c:pt>
                  <c:pt idx="573">
                    <c:v>25-Sep</c:v>
                  </c:pt>
                  <c:pt idx="574">
                    <c:v>26-Sep</c:v>
                  </c:pt>
                  <c:pt idx="575">
                    <c:v>27-Sep</c:v>
                  </c:pt>
                  <c:pt idx="576">
                    <c:v>28-Sep</c:v>
                  </c:pt>
                  <c:pt idx="577">
                    <c:v>29-Sep</c:v>
                  </c:pt>
                  <c:pt idx="578">
                    <c:v>30-Sep</c:v>
                  </c:pt>
                  <c:pt idx="579">
                    <c:v>1-Oct</c:v>
                  </c:pt>
                  <c:pt idx="580">
                    <c:v>2-Oct</c:v>
                  </c:pt>
                  <c:pt idx="581">
                    <c:v>3-Oct</c:v>
                  </c:pt>
                  <c:pt idx="582">
                    <c:v>4-Oct</c:v>
                  </c:pt>
                  <c:pt idx="583">
                    <c:v>5-Oct</c:v>
                  </c:pt>
                  <c:pt idx="584">
                    <c:v>6-Oct</c:v>
                  </c:pt>
                  <c:pt idx="585">
                    <c:v>7-Oct</c:v>
                  </c:pt>
                  <c:pt idx="586">
                    <c:v>8-Oct</c:v>
                  </c:pt>
                  <c:pt idx="587">
                    <c:v>9-Oct</c:v>
                  </c:pt>
                  <c:pt idx="588">
                    <c:v>10-Oct</c:v>
                  </c:pt>
                  <c:pt idx="589">
                    <c:v>11-Oct</c:v>
                  </c:pt>
                  <c:pt idx="590">
                    <c:v>12-Oct</c:v>
                  </c:pt>
                  <c:pt idx="591">
                    <c:v>13-Oct</c:v>
                  </c:pt>
                  <c:pt idx="592">
                    <c:v>14-Oct</c:v>
                  </c:pt>
                  <c:pt idx="593">
                    <c:v>15-Oct</c:v>
                  </c:pt>
                  <c:pt idx="594">
                    <c:v>16-Oct</c:v>
                  </c:pt>
                  <c:pt idx="595">
                    <c:v>17-Oct</c:v>
                  </c:pt>
                  <c:pt idx="596">
                    <c:v>18-Oct</c:v>
                  </c:pt>
                  <c:pt idx="597">
                    <c:v>19-Oct</c:v>
                  </c:pt>
                  <c:pt idx="598">
                    <c:v>20-Oct</c:v>
                  </c:pt>
                  <c:pt idx="599">
                    <c:v>21-Oct</c:v>
                  </c:pt>
                  <c:pt idx="600">
                    <c:v>22-Oct</c:v>
                  </c:pt>
                  <c:pt idx="601">
                    <c:v>23-Oct</c:v>
                  </c:pt>
                  <c:pt idx="602">
                    <c:v>24-Oct</c:v>
                  </c:pt>
                  <c:pt idx="603">
                    <c:v>25-Oct</c:v>
                  </c:pt>
                  <c:pt idx="604">
                    <c:v>26-Oct</c:v>
                  </c:pt>
                  <c:pt idx="605">
                    <c:v>27-Oct</c:v>
                  </c:pt>
                  <c:pt idx="606">
                    <c:v>28-Oct</c:v>
                  </c:pt>
                  <c:pt idx="607">
                    <c:v>29-Oct</c:v>
                  </c:pt>
                  <c:pt idx="608">
                    <c:v>30-Oct</c:v>
                  </c:pt>
                  <c:pt idx="609">
                    <c:v>31-Oct</c:v>
                  </c:pt>
                  <c:pt idx="610">
                    <c:v>1-Nov</c:v>
                  </c:pt>
                  <c:pt idx="611">
                    <c:v>2-Nov</c:v>
                  </c:pt>
                  <c:pt idx="612">
                    <c:v>3-Nov</c:v>
                  </c:pt>
                  <c:pt idx="613">
                    <c:v>4-Nov</c:v>
                  </c:pt>
                  <c:pt idx="614">
                    <c:v>5-Nov</c:v>
                  </c:pt>
                  <c:pt idx="615">
                    <c:v>6-Nov</c:v>
                  </c:pt>
                  <c:pt idx="616">
                    <c:v>7-Nov</c:v>
                  </c:pt>
                  <c:pt idx="617">
                    <c:v>8-Nov</c:v>
                  </c:pt>
                  <c:pt idx="618">
                    <c:v>9-Nov</c:v>
                  </c:pt>
                  <c:pt idx="619">
                    <c:v>10-Nov</c:v>
                  </c:pt>
                  <c:pt idx="620">
                    <c:v>11-Nov</c:v>
                  </c:pt>
                  <c:pt idx="621">
                    <c:v>12-Nov</c:v>
                  </c:pt>
                  <c:pt idx="622">
                    <c:v>13-Nov</c:v>
                  </c:pt>
                  <c:pt idx="623">
                    <c:v>14-Nov</c:v>
                  </c:pt>
                  <c:pt idx="624">
                    <c:v>15-Nov</c:v>
                  </c:pt>
                  <c:pt idx="625">
                    <c:v>16-Nov</c:v>
                  </c:pt>
                  <c:pt idx="626">
                    <c:v>17-Nov</c:v>
                  </c:pt>
                  <c:pt idx="627">
                    <c:v>18-Nov</c:v>
                  </c:pt>
                  <c:pt idx="628">
                    <c:v>19-Nov</c:v>
                  </c:pt>
                  <c:pt idx="629">
                    <c:v>20-Nov</c:v>
                  </c:pt>
                  <c:pt idx="630">
                    <c:v>21-Nov</c:v>
                  </c:pt>
                  <c:pt idx="631">
                    <c:v>22-Nov</c:v>
                  </c:pt>
                  <c:pt idx="632">
                    <c:v>23-Nov</c:v>
                  </c:pt>
                  <c:pt idx="633">
                    <c:v>24-Nov</c:v>
                  </c:pt>
                  <c:pt idx="634">
                    <c:v>25-Nov</c:v>
                  </c:pt>
                  <c:pt idx="635">
                    <c:v>26-Nov</c:v>
                  </c:pt>
                  <c:pt idx="636">
                    <c:v>27-Nov</c:v>
                  </c:pt>
                  <c:pt idx="637">
                    <c:v>28-Nov</c:v>
                  </c:pt>
                  <c:pt idx="638">
                    <c:v>29-Nov</c:v>
                  </c:pt>
                  <c:pt idx="639">
                    <c:v>30-Nov</c:v>
                  </c:pt>
                  <c:pt idx="640">
                    <c:v>1-Dec</c:v>
                  </c:pt>
                  <c:pt idx="641">
                    <c:v>2-Dec</c:v>
                  </c:pt>
                  <c:pt idx="642">
                    <c:v>3-Dec</c:v>
                  </c:pt>
                  <c:pt idx="643">
                    <c:v>4-Dec</c:v>
                  </c:pt>
                  <c:pt idx="644">
                    <c:v>5-Dec</c:v>
                  </c:pt>
                  <c:pt idx="645">
                    <c:v>6-Dec</c:v>
                  </c:pt>
                  <c:pt idx="646">
                    <c:v>7-Dec</c:v>
                  </c:pt>
                  <c:pt idx="647">
                    <c:v>8-Dec</c:v>
                  </c:pt>
                  <c:pt idx="648">
                    <c:v>9-Dec</c:v>
                  </c:pt>
                  <c:pt idx="649">
                    <c:v>10-Dec</c:v>
                  </c:pt>
                  <c:pt idx="650">
                    <c:v>11-Dec</c:v>
                  </c:pt>
                  <c:pt idx="651">
                    <c:v>12-Dec</c:v>
                  </c:pt>
                  <c:pt idx="652">
                    <c:v>13-Dec</c:v>
                  </c:pt>
                  <c:pt idx="653">
                    <c:v>14-Dec</c:v>
                  </c:pt>
                  <c:pt idx="654">
                    <c:v>15-Dec</c:v>
                  </c:pt>
                  <c:pt idx="655">
                    <c:v>16-Dec</c:v>
                  </c:pt>
                  <c:pt idx="656">
                    <c:v>17-Dec</c:v>
                  </c:pt>
                  <c:pt idx="657">
                    <c:v>18-Dec</c:v>
                  </c:pt>
                  <c:pt idx="658">
                    <c:v>19-Dec</c:v>
                  </c:pt>
                  <c:pt idx="659">
                    <c:v>20-Dec</c:v>
                  </c:pt>
                  <c:pt idx="660">
                    <c:v>21-Dec</c:v>
                  </c:pt>
                  <c:pt idx="661">
                    <c:v>22-Dec</c:v>
                  </c:pt>
                  <c:pt idx="662">
                    <c:v>23-Dec</c:v>
                  </c:pt>
                  <c:pt idx="663">
                    <c:v>24-Dec</c:v>
                  </c:pt>
                  <c:pt idx="664">
                    <c:v>25-Dec</c:v>
                  </c:pt>
                  <c:pt idx="665">
                    <c:v>26-Dec</c:v>
                  </c:pt>
                  <c:pt idx="666">
                    <c:v>27-Dec</c:v>
                  </c:pt>
                  <c:pt idx="667">
                    <c:v>28-Dec</c:v>
                  </c:pt>
                  <c:pt idx="668">
                    <c:v>29-Dec</c:v>
                  </c:pt>
                  <c:pt idx="669">
                    <c:v>30-Dec</c:v>
                  </c:pt>
                  <c:pt idx="670">
                    <c:v>31-Dec</c:v>
                  </c:pt>
                  <c:pt idx="671">
                    <c:v>1-Jan</c:v>
                  </c:pt>
                  <c:pt idx="672">
                    <c:v>2-Jan</c:v>
                  </c:pt>
                  <c:pt idx="673">
                    <c:v>3-Jan</c:v>
                  </c:pt>
                  <c:pt idx="674">
                    <c:v>4-Jan</c:v>
                  </c:pt>
                  <c:pt idx="675">
                    <c:v>5-Jan</c:v>
                  </c:pt>
                  <c:pt idx="676">
                    <c:v>6-Jan</c:v>
                  </c:pt>
                  <c:pt idx="677">
                    <c:v>7-Jan</c:v>
                  </c:pt>
                  <c:pt idx="678">
                    <c:v>8-Jan</c:v>
                  </c:pt>
                  <c:pt idx="679">
                    <c:v>9-Jan</c:v>
                  </c:pt>
                  <c:pt idx="680">
                    <c:v>10-Jan</c:v>
                  </c:pt>
                  <c:pt idx="681">
                    <c:v>11-Jan</c:v>
                  </c:pt>
                  <c:pt idx="682">
                    <c:v>12-Jan</c:v>
                  </c:pt>
                  <c:pt idx="683">
                    <c:v>13-Jan</c:v>
                  </c:pt>
                  <c:pt idx="684">
                    <c:v>14-Jan</c:v>
                  </c:pt>
                  <c:pt idx="685">
                    <c:v>15-Jan</c:v>
                  </c:pt>
                  <c:pt idx="686">
                    <c:v>16-Jan</c:v>
                  </c:pt>
                  <c:pt idx="687">
                    <c:v>17-Jan</c:v>
                  </c:pt>
                  <c:pt idx="688">
                    <c:v>18-Jan</c:v>
                  </c:pt>
                  <c:pt idx="689">
                    <c:v>19-Jan</c:v>
                  </c:pt>
                  <c:pt idx="690">
                    <c:v>20-Jan</c:v>
                  </c:pt>
                  <c:pt idx="691">
                    <c:v>21-Jan</c:v>
                  </c:pt>
                  <c:pt idx="692">
                    <c:v>22-Jan</c:v>
                  </c:pt>
                  <c:pt idx="693">
                    <c:v>23-Jan</c:v>
                  </c:pt>
                  <c:pt idx="694">
                    <c:v>24-Jan</c:v>
                  </c:pt>
                  <c:pt idx="695">
                    <c:v>25-Jan</c:v>
                  </c:pt>
                  <c:pt idx="696">
                    <c:v>26-Jan</c:v>
                  </c:pt>
                  <c:pt idx="697">
                    <c:v>27-Jan</c:v>
                  </c:pt>
                  <c:pt idx="698">
                    <c:v>28-Jan</c:v>
                  </c:pt>
                  <c:pt idx="699">
                    <c:v>29-Jan</c:v>
                  </c:pt>
                  <c:pt idx="700">
                    <c:v>30-Jan</c:v>
                  </c:pt>
                  <c:pt idx="701">
                    <c:v>31-Jan</c:v>
                  </c:pt>
                  <c:pt idx="702">
                    <c:v>1-Feb</c:v>
                  </c:pt>
                  <c:pt idx="703">
                    <c:v>2-Feb</c:v>
                  </c:pt>
                  <c:pt idx="704">
                    <c:v>3-Feb</c:v>
                  </c:pt>
                  <c:pt idx="705">
                    <c:v>4-Feb</c:v>
                  </c:pt>
                  <c:pt idx="706">
                    <c:v>5-Feb</c:v>
                  </c:pt>
                  <c:pt idx="707">
                    <c:v>6-Feb</c:v>
                  </c:pt>
                  <c:pt idx="708">
                    <c:v>7-Feb</c:v>
                  </c:pt>
                  <c:pt idx="709">
                    <c:v>8-Feb</c:v>
                  </c:pt>
                  <c:pt idx="710">
                    <c:v>9-Feb</c:v>
                  </c:pt>
                  <c:pt idx="711">
                    <c:v>10-Feb</c:v>
                  </c:pt>
                  <c:pt idx="712">
                    <c:v>11-Feb</c:v>
                  </c:pt>
                  <c:pt idx="713">
                    <c:v>12-Feb</c:v>
                  </c:pt>
                  <c:pt idx="714">
                    <c:v>13-Feb</c:v>
                  </c:pt>
                  <c:pt idx="715">
                    <c:v>14-Feb</c:v>
                  </c:pt>
                  <c:pt idx="716">
                    <c:v>15-Feb</c:v>
                  </c:pt>
                  <c:pt idx="717">
                    <c:v>16-Feb</c:v>
                  </c:pt>
                  <c:pt idx="718">
                    <c:v>17-Feb</c:v>
                  </c:pt>
                  <c:pt idx="719">
                    <c:v>18-Feb</c:v>
                  </c:pt>
                  <c:pt idx="720">
                    <c:v>19-Feb</c:v>
                  </c:pt>
                  <c:pt idx="721">
                    <c:v>20-Feb</c:v>
                  </c:pt>
                  <c:pt idx="722">
                    <c:v>21-Feb</c:v>
                  </c:pt>
                  <c:pt idx="723">
                    <c:v>22-Feb</c:v>
                  </c:pt>
                  <c:pt idx="724">
                    <c:v>23-Feb</c:v>
                  </c:pt>
                  <c:pt idx="725">
                    <c:v>24-Feb</c:v>
                  </c:pt>
                  <c:pt idx="726">
                    <c:v>25-Feb</c:v>
                  </c:pt>
                  <c:pt idx="727">
                    <c:v>26-Feb</c:v>
                  </c:pt>
                  <c:pt idx="728">
                    <c:v>27-Feb</c:v>
                  </c:pt>
                  <c:pt idx="729">
                    <c:v>28-Feb</c:v>
                  </c:pt>
                  <c:pt idx="730">
                    <c:v>1-Mar</c:v>
                  </c:pt>
                  <c:pt idx="731">
                    <c:v>2-Mar</c:v>
                  </c:pt>
                  <c:pt idx="732">
                    <c:v>3-Mar</c:v>
                  </c:pt>
                  <c:pt idx="733">
                    <c:v>4-Mar</c:v>
                  </c:pt>
                  <c:pt idx="734">
                    <c:v>5-Mar</c:v>
                  </c:pt>
                  <c:pt idx="735">
                    <c:v>6-Mar</c:v>
                  </c:pt>
                  <c:pt idx="736">
                    <c:v>7-Mar</c:v>
                  </c:pt>
                  <c:pt idx="737">
                    <c:v>8-Mar</c:v>
                  </c:pt>
                  <c:pt idx="738">
                    <c:v>9-Mar</c:v>
                  </c:pt>
                  <c:pt idx="739">
                    <c:v>10-Mar</c:v>
                  </c:pt>
                  <c:pt idx="740">
                    <c:v>11-Mar</c:v>
                  </c:pt>
                  <c:pt idx="741">
                    <c:v>12-Mar</c:v>
                  </c:pt>
                  <c:pt idx="742">
                    <c:v>13-Mar</c:v>
                  </c:pt>
                  <c:pt idx="743">
                    <c:v>14-Mar</c:v>
                  </c:pt>
                  <c:pt idx="744">
                    <c:v>15-Mar</c:v>
                  </c:pt>
                  <c:pt idx="745">
                    <c:v>16-Mar</c:v>
                  </c:pt>
                  <c:pt idx="746">
                    <c:v>17-Mar</c:v>
                  </c:pt>
                  <c:pt idx="747">
                    <c:v>18-Mar</c:v>
                  </c:pt>
                  <c:pt idx="748">
                    <c:v>19-Mar</c:v>
                  </c:pt>
                  <c:pt idx="749">
                    <c:v>20-Mar</c:v>
                  </c:pt>
                  <c:pt idx="750">
                    <c:v>21-Mar</c:v>
                  </c:pt>
                  <c:pt idx="751">
                    <c:v>22-Mar</c:v>
                  </c:pt>
                  <c:pt idx="752">
                    <c:v>23-Mar</c:v>
                  </c:pt>
                  <c:pt idx="753">
                    <c:v>24-Mar</c:v>
                  </c:pt>
                  <c:pt idx="754">
                    <c:v>25-Mar</c:v>
                  </c:pt>
                  <c:pt idx="755">
                    <c:v>26-Mar</c:v>
                  </c:pt>
                </c:lvl>
                <c:lvl>
                  <c:pt idx="0">
                    <c:v>Mar</c:v>
                  </c:pt>
                  <c:pt idx="31">
                    <c:v>Apr</c:v>
                  </c:pt>
                  <c:pt idx="61">
                    <c:v>May</c:v>
                  </c:pt>
                  <c:pt idx="92">
                    <c:v>Jun</c:v>
                  </c:pt>
                  <c:pt idx="122">
                    <c:v>Jul</c:v>
                  </c:pt>
                  <c:pt idx="153">
                    <c:v>Aug</c:v>
                  </c:pt>
                  <c:pt idx="184">
                    <c:v>Sep</c:v>
                  </c:pt>
                  <c:pt idx="214">
                    <c:v>Oct</c:v>
                  </c:pt>
                  <c:pt idx="245">
                    <c:v>Nov</c:v>
                  </c:pt>
                  <c:pt idx="275">
                    <c:v>Dec</c:v>
                  </c:pt>
                  <c:pt idx="306">
                    <c:v>Jan</c:v>
                  </c:pt>
                  <c:pt idx="337">
                    <c:v>Feb</c:v>
                  </c:pt>
                  <c:pt idx="365">
                    <c:v>Mar</c:v>
                  </c:pt>
                  <c:pt idx="396">
                    <c:v>Apr</c:v>
                  </c:pt>
                  <c:pt idx="426">
                    <c:v>May</c:v>
                  </c:pt>
                  <c:pt idx="457">
                    <c:v>Jun</c:v>
                  </c:pt>
                  <c:pt idx="487">
                    <c:v>July</c:v>
                  </c:pt>
                  <c:pt idx="518">
                    <c:v>Aug</c:v>
                  </c:pt>
                  <c:pt idx="549">
                    <c:v>Sep</c:v>
                  </c:pt>
                  <c:pt idx="579">
                    <c:v>Occt</c:v>
                  </c:pt>
                  <c:pt idx="610">
                    <c:v>Nov</c:v>
                  </c:pt>
                  <c:pt idx="640">
                    <c:v>Dec</c:v>
                  </c:pt>
                  <c:pt idx="671">
                    <c:v>Jan</c:v>
                  </c:pt>
                  <c:pt idx="702">
                    <c:v>Feb</c:v>
                  </c:pt>
                  <c:pt idx="730">
                    <c:v>Mar</c:v>
                  </c:pt>
                </c:lvl>
                <c:lvl>
                  <c:pt idx="0">
                    <c:v>FY20</c:v>
                  </c:pt>
                  <c:pt idx="31">
                    <c:v>FY21</c:v>
                  </c:pt>
                  <c:pt idx="396">
                    <c:v>FY22</c:v>
                  </c:pt>
                </c:lvl>
              </c:multiLvlStrCache>
            </c:multiLvlStrRef>
          </c:cat>
          <c:val>
            <c:numRef>
              <c:f>charts!$G$2:$G$757</c:f>
              <c:numCache>
                <c:formatCode>0.0</c:formatCode>
                <c:ptCount val="756"/>
                <c:pt idx="0">
                  <c:v>1</c:v>
                </c:pt>
                <c:pt idx="1">
                  <c:v>0.8571428571428571</c:v>
                </c:pt>
                <c:pt idx="2">
                  <c:v>0.7142857142857143</c:v>
                </c:pt>
                <c:pt idx="3">
                  <c:v>0.7142857142857143</c:v>
                </c:pt>
                <c:pt idx="4">
                  <c:v>0.8571428571428571</c:v>
                </c:pt>
                <c:pt idx="5">
                  <c:v>1.1428571428571428</c:v>
                </c:pt>
                <c:pt idx="6">
                  <c:v>1.8571428571428572</c:v>
                </c:pt>
                <c:pt idx="7">
                  <c:v>2.2857142857142856</c:v>
                </c:pt>
                <c:pt idx="8">
                  <c:v>1.4285714285714286</c:v>
                </c:pt>
                <c:pt idx="9">
                  <c:v>-1.7142857142857142</c:v>
                </c:pt>
                <c:pt idx="10">
                  <c:v>-2.2857142857142856</c:v>
                </c:pt>
                <c:pt idx="11">
                  <c:v>-2.5714285714285716</c:v>
                </c:pt>
                <c:pt idx="12">
                  <c:v>-3.2857142857142856</c:v>
                </c:pt>
                <c:pt idx="13">
                  <c:v>-5.1428571428571432</c:v>
                </c:pt>
                <c:pt idx="14">
                  <c:v>-6.5714285714285712</c:v>
                </c:pt>
                <c:pt idx="15">
                  <c:v>-6.5714285714285712</c:v>
                </c:pt>
                <c:pt idx="16">
                  <c:v>-4.7142857142857144</c:v>
                </c:pt>
                <c:pt idx="17">
                  <c:v>-6</c:v>
                </c:pt>
                <c:pt idx="18">
                  <c:v>-8</c:v>
                </c:pt>
                <c:pt idx="19">
                  <c:v>-10.285714285714286</c:v>
                </c:pt>
                <c:pt idx="20">
                  <c:v>-12.714285714285714</c:v>
                </c:pt>
                <c:pt idx="21">
                  <c:v>-21.714285714285715</c:v>
                </c:pt>
                <c:pt idx="22">
                  <c:v>-28.285714285714285</c:v>
                </c:pt>
                <c:pt idx="23">
                  <c:v>-36.142857142857146</c:v>
                </c:pt>
                <c:pt idx="24">
                  <c:v>-45.142857142857146</c:v>
                </c:pt>
                <c:pt idx="25">
                  <c:v>-53.571428571428569</c:v>
                </c:pt>
                <c:pt idx="26">
                  <c:v>-61.428571428571431</c:v>
                </c:pt>
                <c:pt idx="27">
                  <c:v>-68.285714285714292</c:v>
                </c:pt>
                <c:pt idx="28">
                  <c:v>-68.428571428571431</c:v>
                </c:pt>
                <c:pt idx="29">
                  <c:v>-71.571428571428569</c:v>
                </c:pt>
                <c:pt idx="30">
                  <c:v>-72.857142857142861</c:v>
                </c:pt>
                <c:pt idx="31">
                  <c:v>-72.857142857142861</c:v>
                </c:pt>
                <c:pt idx="32">
                  <c:v>-73</c:v>
                </c:pt>
                <c:pt idx="33">
                  <c:v>-73</c:v>
                </c:pt>
                <c:pt idx="34">
                  <c:v>-73</c:v>
                </c:pt>
                <c:pt idx="35">
                  <c:v>-73</c:v>
                </c:pt>
                <c:pt idx="36">
                  <c:v>-72.857142857142861</c:v>
                </c:pt>
                <c:pt idx="37">
                  <c:v>-72</c:v>
                </c:pt>
                <c:pt idx="38">
                  <c:v>-71.285714285714292</c:v>
                </c:pt>
                <c:pt idx="39">
                  <c:v>-70.428571428571431</c:v>
                </c:pt>
                <c:pt idx="40">
                  <c:v>-69.857142857142861</c:v>
                </c:pt>
                <c:pt idx="41">
                  <c:v>-69.285714285714292</c:v>
                </c:pt>
                <c:pt idx="42">
                  <c:v>-68.714285714285708</c:v>
                </c:pt>
                <c:pt idx="43">
                  <c:v>-68.142857142857139</c:v>
                </c:pt>
                <c:pt idx="44">
                  <c:v>-68.428571428571431</c:v>
                </c:pt>
                <c:pt idx="45">
                  <c:v>-68.142857142857139</c:v>
                </c:pt>
                <c:pt idx="46">
                  <c:v>-67.714285714285708</c:v>
                </c:pt>
                <c:pt idx="47">
                  <c:v>-67.142857142857139</c:v>
                </c:pt>
                <c:pt idx="48">
                  <c:v>-66.857142857142861</c:v>
                </c:pt>
                <c:pt idx="49">
                  <c:v>-66.571428571428569</c:v>
                </c:pt>
                <c:pt idx="50">
                  <c:v>-66.285714285714292</c:v>
                </c:pt>
                <c:pt idx="51">
                  <c:v>-65.857142857142861</c:v>
                </c:pt>
                <c:pt idx="52">
                  <c:v>-65.857142857142861</c:v>
                </c:pt>
                <c:pt idx="53">
                  <c:v>-66</c:v>
                </c:pt>
                <c:pt idx="54">
                  <c:v>-66.142857142857139</c:v>
                </c:pt>
                <c:pt idx="55">
                  <c:v>-66</c:v>
                </c:pt>
                <c:pt idx="56">
                  <c:v>-66.142857142857139</c:v>
                </c:pt>
                <c:pt idx="57">
                  <c:v>-66.142857142857139</c:v>
                </c:pt>
                <c:pt idx="58">
                  <c:v>-66.142857142857139</c:v>
                </c:pt>
                <c:pt idx="59">
                  <c:v>-65.857142857142861</c:v>
                </c:pt>
                <c:pt idx="60">
                  <c:v>-65.571428571428569</c:v>
                </c:pt>
                <c:pt idx="61">
                  <c:v>-65.428571428571431</c:v>
                </c:pt>
                <c:pt idx="62">
                  <c:v>-65.142857142857139</c:v>
                </c:pt>
                <c:pt idx="63">
                  <c:v>-64.714285714285708</c:v>
                </c:pt>
                <c:pt idx="64">
                  <c:v>-63.857142857142854</c:v>
                </c:pt>
                <c:pt idx="65">
                  <c:v>-62.857142857142854</c:v>
                </c:pt>
                <c:pt idx="66">
                  <c:v>-61.714285714285715</c:v>
                </c:pt>
                <c:pt idx="67">
                  <c:v>-60.714285714285715</c:v>
                </c:pt>
                <c:pt idx="68">
                  <c:v>-59.428571428571431</c:v>
                </c:pt>
                <c:pt idx="69">
                  <c:v>-58.428571428571431</c:v>
                </c:pt>
                <c:pt idx="70">
                  <c:v>-57.714285714285715</c:v>
                </c:pt>
                <c:pt idx="71">
                  <c:v>-57</c:v>
                </c:pt>
                <c:pt idx="72">
                  <c:v>-56.428571428571431</c:v>
                </c:pt>
                <c:pt idx="73">
                  <c:v>-56</c:v>
                </c:pt>
                <c:pt idx="74">
                  <c:v>-55.571428571428569</c:v>
                </c:pt>
                <c:pt idx="75">
                  <c:v>-55</c:v>
                </c:pt>
                <c:pt idx="76">
                  <c:v>-54.285714285714285</c:v>
                </c:pt>
                <c:pt idx="77">
                  <c:v>-53.714285714285715</c:v>
                </c:pt>
                <c:pt idx="78">
                  <c:v>-53.142857142857146</c:v>
                </c:pt>
                <c:pt idx="79">
                  <c:v>-52.428571428571431</c:v>
                </c:pt>
                <c:pt idx="80">
                  <c:v>-51.857142857142854</c:v>
                </c:pt>
                <c:pt idx="81">
                  <c:v>-51.142857142857146</c:v>
                </c:pt>
                <c:pt idx="82">
                  <c:v>-50.571428571428569</c:v>
                </c:pt>
                <c:pt idx="83">
                  <c:v>-50</c:v>
                </c:pt>
                <c:pt idx="84">
                  <c:v>-49.428571428571431</c:v>
                </c:pt>
                <c:pt idx="85">
                  <c:v>-49.285714285714285</c:v>
                </c:pt>
                <c:pt idx="86">
                  <c:v>-48.714285714285715</c:v>
                </c:pt>
                <c:pt idx="87">
                  <c:v>-48.142857142857146</c:v>
                </c:pt>
                <c:pt idx="88">
                  <c:v>-47.714285714285715</c:v>
                </c:pt>
                <c:pt idx="89">
                  <c:v>-47.285714285714285</c:v>
                </c:pt>
                <c:pt idx="90">
                  <c:v>-46.714285714285715</c:v>
                </c:pt>
                <c:pt idx="91">
                  <c:v>-46.142857142857146</c:v>
                </c:pt>
                <c:pt idx="92">
                  <c:v>-44.714285714285715</c:v>
                </c:pt>
                <c:pt idx="93">
                  <c:v>-43.857142857142854</c:v>
                </c:pt>
                <c:pt idx="94">
                  <c:v>-43.142857142857146</c:v>
                </c:pt>
                <c:pt idx="95">
                  <c:v>-42.142857142857146</c:v>
                </c:pt>
                <c:pt idx="96">
                  <c:v>-41.285714285714285</c:v>
                </c:pt>
                <c:pt idx="97">
                  <c:v>-40.571428571428569</c:v>
                </c:pt>
                <c:pt idx="98">
                  <c:v>-39.857142857142854</c:v>
                </c:pt>
                <c:pt idx="99">
                  <c:v>-39.428571428571431</c:v>
                </c:pt>
                <c:pt idx="100">
                  <c:v>-39</c:v>
                </c:pt>
                <c:pt idx="101">
                  <c:v>-38.285714285714285</c:v>
                </c:pt>
                <c:pt idx="102">
                  <c:v>-37.857142857142854</c:v>
                </c:pt>
                <c:pt idx="103">
                  <c:v>-37.428571428571431</c:v>
                </c:pt>
                <c:pt idx="104">
                  <c:v>-37.142857142857146</c:v>
                </c:pt>
                <c:pt idx="105">
                  <c:v>-36.857142857142854</c:v>
                </c:pt>
                <c:pt idx="106">
                  <c:v>-36.714285714285715</c:v>
                </c:pt>
                <c:pt idx="107">
                  <c:v>-36.714285714285715</c:v>
                </c:pt>
                <c:pt idx="108">
                  <c:v>-36.714285714285715</c:v>
                </c:pt>
                <c:pt idx="109">
                  <c:v>-37</c:v>
                </c:pt>
                <c:pt idx="110">
                  <c:v>-37.285714285714285</c:v>
                </c:pt>
                <c:pt idx="111">
                  <c:v>-37.428571428571431</c:v>
                </c:pt>
                <c:pt idx="112">
                  <c:v>-38.571428571428569</c:v>
                </c:pt>
                <c:pt idx="113">
                  <c:v>-38.571428571428569</c:v>
                </c:pt>
                <c:pt idx="114">
                  <c:v>-38.428571428571431</c:v>
                </c:pt>
                <c:pt idx="115">
                  <c:v>-38.571428571428569</c:v>
                </c:pt>
                <c:pt idx="116">
                  <c:v>-38.571428571428569</c:v>
                </c:pt>
                <c:pt idx="117">
                  <c:v>-38.571428571428569</c:v>
                </c:pt>
                <c:pt idx="118">
                  <c:v>-38.714285714285715</c:v>
                </c:pt>
                <c:pt idx="119">
                  <c:v>-38</c:v>
                </c:pt>
                <c:pt idx="120">
                  <c:v>-38.285714285714285</c:v>
                </c:pt>
                <c:pt idx="121">
                  <c:v>-38.571428571428569</c:v>
                </c:pt>
                <c:pt idx="122">
                  <c:v>-38.857142857142854</c:v>
                </c:pt>
                <c:pt idx="123">
                  <c:v>-39</c:v>
                </c:pt>
                <c:pt idx="124">
                  <c:v>-39.142857142857146</c:v>
                </c:pt>
                <c:pt idx="125">
                  <c:v>-39.285714285714285</c:v>
                </c:pt>
                <c:pt idx="126">
                  <c:v>-40.142857142857146</c:v>
                </c:pt>
                <c:pt idx="127">
                  <c:v>-40.285714285714285</c:v>
                </c:pt>
                <c:pt idx="128">
                  <c:v>-40.428571428571431</c:v>
                </c:pt>
                <c:pt idx="129">
                  <c:v>-40.571428571428569</c:v>
                </c:pt>
                <c:pt idx="130">
                  <c:v>-40.714285714285715</c:v>
                </c:pt>
                <c:pt idx="131">
                  <c:v>-40.714285714285715</c:v>
                </c:pt>
                <c:pt idx="132">
                  <c:v>-41.142857142857146</c:v>
                </c:pt>
                <c:pt idx="133">
                  <c:v>-41.571428571428569</c:v>
                </c:pt>
                <c:pt idx="134">
                  <c:v>-41.571428571428569</c:v>
                </c:pt>
                <c:pt idx="135">
                  <c:v>-41.857142857142854</c:v>
                </c:pt>
                <c:pt idx="136">
                  <c:v>-42.142857142857146</c:v>
                </c:pt>
                <c:pt idx="137">
                  <c:v>-42.428571428571431</c:v>
                </c:pt>
                <c:pt idx="138">
                  <c:v>-42.714285714285715</c:v>
                </c:pt>
                <c:pt idx="139">
                  <c:v>-42.857142857142854</c:v>
                </c:pt>
                <c:pt idx="140">
                  <c:v>-42.857142857142854</c:v>
                </c:pt>
                <c:pt idx="141">
                  <c:v>-43.285714285714285</c:v>
                </c:pt>
                <c:pt idx="142">
                  <c:v>-43.428571428571431</c:v>
                </c:pt>
                <c:pt idx="143">
                  <c:v>-43.142857142857146</c:v>
                </c:pt>
                <c:pt idx="144">
                  <c:v>-43.285714285714285</c:v>
                </c:pt>
                <c:pt idx="145">
                  <c:v>-43</c:v>
                </c:pt>
                <c:pt idx="146">
                  <c:v>-43.142857142857146</c:v>
                </c:pt>
                <c:pt idx="147">
                  <c:v>-42.857142857142854</c:v>
                </c:pt>
                <c:pt idx="148">
                  <c:v>-42.285714285714285</c:v>
                </c:pt>
                <c:pt idx="149">
                  <c:v>-41.857142857142854</c:v>
                </c:pt>
                <c:pt idx="150">
                  <c:v>-42</c:v>
                </c:pt>
                <c:pt idx="151">
                  <c:v>-41.142857142857146</c:v>
                </c:pt>
                <c:pt idx="152">
                  <c:v>-40.857142857142854</c:v>
                </c:pt>
                <c:pt idx="153">
                  <c:v>-40.285714285714285</c:v>
                </c:pt>
                <c:pt idx="154">
                  <c:v>-39.285714285714285</c:v>
                </c:pt>
                <c:pt idx="155">
                  <c:v>-39.285714285714285</c:v>
                </c:pt>
                <c:pt idx="156">
                  <c:v>-39.285714285714285</c:v>
                </c:pt>
                <c:pt idx="157">
                  <c:v>-39.714285714285715</c:v>
                </c:pt>
                <c:pt idx="158">
                  <c:v>-40</c:v>
                </c:pt>
                <c:pt idx="159">
                  <c:v>-40</c:v>
                </c:pt>
                <c:pt idx="160">
                  <c:v>-40.285714285714285</c:v>
                </c:pt>
                <c:pt idx="161">
                  <c:v>-40.714285714285715</c:v>
                </c:pt>
                <c:pt idx="162">
                  <c:v>-40.285714285714285</c:v>
                </c:pt>
                <c:pt idx="163">
                  <c:v>-40</c:v>
                </c:pt>
                <c:pt idx="164">
                  <c:v>-39.428571428571431</c:v>
                </c:pt>
                <c:pt idx="165">
                  <c:v>-39.428571428571431</c:v>
                </c:pt>
                <c:pt idx="166">
                  <c:v>-39.142857142857146</c:v>
                </c:pt>
                <c:pt idx="167">
                  <c:v>-39.142857142857146</c:v>
                </c:pt>
                <c:pt idx="168">
                  <c:v>-39.142857142857146</c:v>
                </c:pt>
                <c:pt idx="169">
                  <c:v>-39</c:v>
                </c:pt>
                <c:pt idx="170">
                  <c:v>-38.714285714285715</c:v>
                </c:pt>
                <c:pt idx="171">
                  <c:v>-38</c:v>
                </c:pt>
                <c:pt idx="172">
                  <c:v>-37.714285714285715</c:v>
                </c:pt>
                <c:pt idx="173">
                  <c:v>-37.571428571428569</c:v>
                </c:pt>
                <c:pt idx="174">
                  <c:v>-37.142857142857146</c:v>
                </c:pt>
                <c:pt idx="175">
                  <c:v>-36.857142857142854</c:v>
                </c:pt>
                <c:pt idx="176">
                  <c:v>-36.571428571428569</c:v>
                </c:pt>
                <c:pt idx="177">
                  <c:v>-36.285714285714285</c:v>
                </c:pt>
                <c:pt idx="178">
                  <c:v>-36</c:v>
                </c:pt>
                <c:pt idx="179">
                  <c:v>-35.857142857142854</c:v>
                </c:pt>
                <c:pt idx="180">
                  <c:v>-35.714285714285715</c:v>
                </c:pt>
                <c:pt idx="181">
                  <c:v>-35.142857142857146</c:v>
                </c:pt>
                <c:pt idx="182">
                  <c:v>-34.714285714285715</c:v>
                </c:pt>
                <c:pt idx="183">
                  <c:v>-35</c:v>
                </c:pt>
                <c:pt idx="184">
                  <c:v>-34.857142857142854</c:v>
                </c:pt>
                <c:pt idx="185">
                  <c:v>-34.714285714285715</c:v>
                </c:pt>
                <c:pt idx="186">
                  <c:v>-34.285714285714285</c:v>
                </c:pt>
                <c:pt idx="187">
                  <c:v>-34</c:v>
                </c:pt>
                <c:pt idx="188">
                  <c:v>-33.285714285714285</c:v>
                </c:pt>
                <c:pt idx="189">
                  <c:v>-32.285714285714285</c:v>
                </c:pt>
                <c:pt idx="190">
                  <c:v>-32.142857142857146</c:v>
                </c:pt>
                <c:pt idx="191">
                  <c:v>-31.714285714285715</c:v>
                </c:pt>
                <c:pt idx="192">
                  <c:v>-31.428571428571427</c:v>
                </c:pt>
                <c:pt idx="193">
                  <c:v>-31</c:v>
                </c:pt>
                <c:pt idx="194">
                  <c:v>-31.428571428571427</c:v>
                </c:pt>
                <c:pt idx="195">
                  <c:v>-31.428571428571427</c:v>
                </c:pt>
                <c:pt idx="196">
                  <c:v>-31.142857142857142</c:v>
                </c:pt>
                <c:pt idx="197">
                  <c:v>-30.714285714285715</c:v>
                </c:pt>
                <c:pt idx="198">
                  <c:v>-30.857142857142858</c:v>
                </c:pt>
                <c:pt idx="199">
                  <c:v>-30.714285714285715</c:v>
                </c:pt>
                <c:pt idx="200">
                  <c:v>-31.285714285714285</c:v>
                </c:pt>
                <c:pt idx="201">
                  <c:v>-30.857142857142858</c:v>
                </c:pt>
                <c:pt idx="202">
                  <c:v>-30.714285714285715</c:v>
                </c:pt>
                <c:pt idx="203">
                  <c:v>-30.714285714285715</c:v>
                </c:pt>
                <c:pt idx="204">
                  <c:v>-30.714285714285715</c:v>
                </c:pt>
                <c:pt idx="205">
                  <c:v>-30.571428571428573</c:v>
                </c:pt>
                <c:pt idx="206">
                  <c:v>-30.571428571428573</c:v>
                </c:pt>
                <c:pt idx="207">
                  <c:v>-29.714285714285715</c:v>
                </c:pt>
                <c:pt idx="208">
                  <c:v>-29.428571428571427</c:v>
                </c:pt>
                <c:pt idx="209">
                  <c:v>-29</c:v>
                </c:pt>
                <c:pt idx="210">
                  <c:v>-28.142857142857142</c:v>
                </c:pt>
                <c:pt idx="211">
                  <c:v>-27.714285714285715</c:v>
                </c:pt>
                <c:pt idx="212">
                  <c:v>-27.285714285714285</c:v>
                </c:pt>
                <c:pt idx="213">
                  <c:v>-26.714285714285715</c:v>
                </c:pt>
                <c:pt idx="214">
                  <c:v>-26.142857142857142</c:v>
                </c:pt>
                <c:pt idx="215">
                  <c:v>-26</c:v>
                </c:pt>
                <c:pt idx="216">
                  <c:v>-25.571428571428573</c:v>
                </c:pt>
                <c:pt idx="217">
                  <c:v>-25.285714285714285</c:v>
                </c:pt>
                <c:pt idx="218">
                  <c:v>-24.714285714285715</c:v>
                </c:pt>
                <c:pt idx="219">
                  <c:v>-24.285714285714285</c:v>
                </c:pt>
                <c:pt idx="220">
                  <c:v>-24</c:v>
                </c:pt>
                <c:pt idx="221">
                  <c:v>-24</c:v>
                </c:pt>
                <c:pt idx="222">
                  <c:v>-23.428571428571427</c:v>
                </c:pt>
                <c:pt idx="223">
                  <c:v>-23.571428571428573</c:v>
                </c:pt>
                <c:pt idx="224">
                  <c:v>-23.571428571428573</c:v>
                </c:pt>
                <c:pt idx="225">
                  <c:v>-23.571428571428573</c:v>
                </c:pt>
                <c:pt idx="226">
                  <c:v>-23.714285714285715</c:v>
                </c:pt>
                <c:pt idx="227">
                  <c:v>-23.714285714285715</c:v>
                </c:pt>
                <c:pt idx="228">
                  <c:v>-23.285714285714285</c:v>
                </c:pt>
                <c:pt idx="229">
                  <c:v>-22.571428571428573</c:v>
                </c:pt>
                <c:pt idx="230">
                  <c:v>-21.857142857142858</c:v>
                </c:pt>
                <c:pt idx="231">
                  <c:v>-21.142857142857142</c:v>
                </c:pt>
                <c:pt idx="232">
                  <c:v>-20.571428571428573</c:v>
                </c:pt>
                <c:pt idx="233">
                  <c:v>-20</c:v>
                </c:pt>
                <c:pt idx="234">
                  <c:v>-19.428571428571427</c:v>
                </c:pt>
                <c:pt idx="235">
                  <c:v>-19</c:v>
                </c:pt>
                <c:pt idx="236">
                  <c:v>-18.571428571428573</c:v>
                </c:pt>
                <c:pt idx="237">
                  <c:v>-18</c:v>
                </c:pt>
                <c:pt idx="238">
                  <c:v>-17.571428571428573</c:v>
                </c:pt>
                <c:pt idx="239">
                  <c:v>-17.714285714285715</c:v>
                </c:pt>
                <c:pt idx="240">
                  <c:v>-17.428571428571427</c:v>
                </c:pt>
                <c:pt idx="241">
                  <c:v>-17.285714285714285</c:v>
                </c:pt>
                <c:pt idx="242">
                  <c:v>-17.428571428571427</c:v>
                </c:pt>
                <c:pt idx="243">
                  <c:v>-18.142857142857142</c:v>
                </c:pt>
                <c:pt idx="244">
                  <c:v>-18.857142857142858</c:v>
                </c:pt>
                <c:pt idx="245">
                  <c:v>-19</c:v>
                </c:pt>
                <c:pt idx="246">
                  <c:v>-18.714285714285715</c:v>
                </c:pt>
                <c:pt idx="247">
                  <c:v>-18.714285714285715</c:v>
                </c:pt>
                <c:pt idx="248">
                  <c:v>-19</c:v>
                </c:pt>
                <c:pt idx="249">
                  <c:v>-19.285714285714285</c:v>
                </c:pt>
                <c:pt idx="250">
                  <c:v>-19.142857142857142</c:v>
                </c:pt>
                <c:pt idx="251">
                  <c:v>-18.714285714285715</c:v>
                </c:pt>
                <c:pt idx="252">
                  <c:v>-18.571428571428573</c:v>
                </c:pt>
                <c:pt idx="253">
                  <c:v>-18.714285714285715</c:v>
                </c:pt>
                <c:pt idx="254">
                  <c:v>-18.714285714285715</c:v>
                </c:pt>
                <c:pt idx="255">
                  <c:v>-18</c:v>
                </c:pt>
                <c:pt idx="256">
                  <c:v>-16.714285714285715</c:v>
                </c:pt>
                <c:pt idx="257">
                  <c:v>-15</c:v>
                </c:pt>
                <c:pt idx="258">
                  <c:v>-15.714285714285714</c:v>
                </c:pt>
                <c:pt idx="259">
                  <c:v>-16.857142857142858</c:v>
                </c:pt>
                <c:pt idx="260">
                  <c:v>-17.142857142857142</c:v>
                </c:pt>
                <c:pt idx="261">
                  <c:v>-17</c:v>
                </c:pt>
                <c:pt idx="262">
                  <c:v>-17.142857142857142</c:v>
                </c:pt>
                <c:pt idx="263">
                  <c:v>-17.714285714285715</c:v>
                </c:pt>
                <c:pt idx="264">
                  <c:v>-19</c:v>
                </c:pt>
                <c:pt idx="265">
                  <c:v>-18.142857142857142</c:v>
                </c:pt>
                <c:pt idx="266">
                  <c:v>-16.857142857142858</c:v>
                </c:pt>
                <c:pt idx="267">
                  <c:v>-16.285714285714285</c:v>
                </c:pt>
                <c:pt idx="268">
                  <c:v>-16.285714285714285</c:v>
                </c:pt>
                <c:pt idx="269">
                  <c:v>-16.571428571428573</c:v>
                </c:pt>
                <c:pt idx="270">
                  <c:v>-17.571428571428573</c:v>
                </c:pt>
                <c:pt idx="271">
                  <c:v>-17.714285714285715</c:v>
                </c:pt>
                <c:pt idx="272">
                  <c:v>-17.714285714285715</c:v>
                </c:pt>
                <c:pt idx="273">
                  <c:v>-17.714285714285715</c:v>
                </c:pt>
                <c:pt idx="274">
                  <c:v>-18</c:v>
                </c:pt>
                <c:pt idx="275">
                  <c:v>-17.714285714285715</c:v>
                </c:pt>
                <c:pt idx="276">
                  <c:v>-17.571428571428573</c:v>
                </c:pt>
                <c:pt idx="277">
                  <c:v>-17</c:v>
                </c:pt>
                <c:pt idx="278">
                  <c:v>-17</c:v>
                </c:pt>
                <c:pt idx="279">
                  <c:v>-16.857142857142858</c:v>
                </c:pt>
                <c:pt idx="280">
                  <c:v>-16.571428571428573</c:v>
                </c:pt>
                <c:pt idx="281">
                  <c:v>-16</c:v>
                </c:pt>
                <c:pt idx="282">
                  <c:v>-17.428571428571427</c:v>
                </c:pt>
                <c:pt idx="283">
                  <c:v>-16.428571428571427</c:v>
                </c:pt>
                <c:pt idx="284">
                  <c:v>-14.857142857142858</c:v>
                </c:pt>
                <c:pt idx="285">
                  <c:v>-13.571428571428571</c:v>
                </c:pt>
                <c:pt idx="286">
                  <c:v>-12.857142857142858</c:v>
                </c:pt>
                <c:pt idx="287">
                  <c:v>-12</c:v>
                </c:pt>
                <c:pt idx="288">
                  <c:v>-11.571428571428571</c:v>
                </c:pt>
                <c:pt idx="289">
                  <c:v>-9.2857142857142865</c:v>
                </c:pt>
                <c:pt idx="290">
                  <c:v>-9.2857142857142865</c:v>
                </c:pt>
                <c:pt idx="291">
                  <c:v>-9.7142857142857135</c:v>
                </c:pt>
                <c:pt idx="292">
                  <c:v>-9.8571428571428577</c:v>
                </c:pt>
                <c:pt idx="293">
                  <c:v>-9.5714285714285712</c:v>
                </c:pt>
                <c:pt idx="294">
                  <c:v>-9.4285714285714288</c:v>
                </c:pt>
                <c:pt idx="295">
                  <c:v>-9.1428571428571423</c:v>
                </c:pt>
                <c:pt idx="296">
                  <c:v>-9.2857142857142865</c:v>
                </c:pt>
                <c:pt idx="297">
                  <c:v>-9</c:v>
                </c:pt>
                <c:pt idx="298">
                  <c:v>-8.1428571428571423</c:v>
                </c:pt>
                <c:pt idx="299">
                  <c:v>-8.1428571428571423</c:v>
                </c:pt>
                <c:pt idx="300">
                  <c:v>-8.4285714285714288</c:v>
                </c:pt>
                <c:pt idx="301">
                  <c:v>-8.2857142857142865</c:v>
                </c:pt>
                <c:pt idx="302">
                  <c:v>-8</c:v>
                </c:pt>
                <c:pt idx="303">
                  <c:v>-7.8571428571428568</c:v>
                </c:pt>
                <c:pt idx="304" formatCode="General">
                  <c:v>-7.8571428571428568</c:v>
                </c:pt>
                <c:pt idx="305" formatCode="General">
                  <c:v>-7.7142857142857144</c:v>
                </c:pt>
                <c:pt idx="306" formatCode="General">
                  <c:v>-7.8571428571428568</c:v>
                </c:pt>
                <c:pt idx="307" formatCode="General">
                  <c:v>-7.7142857142857144</c:v>
                </c:pt>
                <c:pt idx="308" formatCode="General">
                  <c:v>-7.8571428571428568</c:v>
                </c:pt>
                <c:pt idx="309" formatCode="General">
                  <c:v>-7.8571428571428568</c:v>
                </c:pt>
                <c:pt idx="310" formatCode="General">
                  <c:v>-8</c:v>
                </c:pt>
                <c:pt idx="311" formatCode="General">
                  <c:v>-8.1428571428571423</c:v>
                </c:pt>
                <c:pt idx="312" formatCode="General">
                  <c:v>-8.8571428571428577</c:v>
                </c:pt>
                <c:pt idx="313" formatCode="General">
                  <c:v>-8.5714285714285712</c:v>
                </c:pt>
                <c:pt idx="314" formatCode="General">
                  <c:v>-8.5714285714285712</c:v>
                </c:pt>
                <c:pt idx="315" formatCode="General">
                  <c:v>-8.7142857142857135</c:v>
                </c:pt>
                <c:pt idx="316" formatCode="General">
                  <c:v>-9</c:v>
                </c:pt>
                <c:pt idx="317" formatCode="General">
                  <c:v>-9</c:v>
                </c:pt>
                <c:pt idx="318" formatCode="General">
                  <c:v>-9.1428571428571423</c:v>
                </c:pt>
                <c:pt idx="319" formatCode="General">
                  <c:v>-11.285714285714286</c:v>
                </c:pt>
                <c:pt idx="320" formatCode="General">
                  <c:v>-13.285714285714286</c:v>
                </c:pt>
                <c:pt idx="321" formatCode="General">
                  <c:v>-14.714285714285714</c:v>
                </c:pt>
                <c:pt idx="322" formatCode="General">
                  <c:v>-15.857142857142858</c:v>
                </c:pt>
                <c:pt idx="323" formatCode="General">
                  <c:v>-16.714285714285715</c:v>
                </c:pt>
                <c:pt idx="324" formatCode="General">
                  <c:v>-17.857142857142858</c:v>
                </c:pt>
                <c:pt idx="325" formatCode="General">
                  <c:v>-18.857142857142858</c:v>
                </c:pt>
                <c:pt idx="326" formatCode="General">
                  <c:v>-17.714285714285715</c:v>
                </c:pt>
                <c:pt idx="327" formatCode="General">
                  <c:v>-16.571428571428573</c:v>
                </c:pt>
                <c:pt idx="328" formatCode="General">
                  <c:v>-15.714285714285714</c:v>
                </c:pt>
                <c:pt idx="329" formatCode="General">
                  <c:v>-15.142857142857142</c:v>
                </c:pt>
                <c:pt idx="330" formatCode="General">
                  <c:v>-14.714285714285714</c:v>
                </c:pt>
                <c:pt idx="331" formatCode="General">
                  <c:v>-15.142857142857142</c:v>
                </c:pt>
                <c:pt idx="332" formatCode="General">
                  <c:v>-14.571428571428571</c:v>
                </c:pt>
                <c:pt idx="333" formatCode="General">
                  <c:v>-14.285714285714286</c:v>
                </c:pt>
                <c:pt idx="334" formatCode="General">
                  <c:v>-14</c:v>
                </c:pt>
                <c:pt idx="335" formatCode="General">
                  <c:v>-13.428571428571429</c:v>
                </c:pt>
                <c:pt idx="336" formatCode="General">
                  <c:v>-12.857142857142858</c:v>
                </c:pt>
                <c:pt idx="337" formatCode="General">
                  <c:v>-12.428571428571429</c:v>
                </c:pt>
                <c:pt idx="338" formatCode="General">
                  <c:v>-10.857142857142858</c:v>
                </c:pt>
                <c:pt idx="339" formatCode="General">
                  <c:v>-10.571428571428571</c:v>
                </c:pt>
                <c:pt idx="340" formatCode="General">
                  <c:v>-10.428571428571429</c:v>
                </c:pt>
                <c:pt idx="341" formatCode="General">
                  <c:v>-10.142857142857142</c:v>
                </c:pt>
                <c:pt idx="342" formatCode="General">
                  <c:v>-10</c:v>
                </c:pt>
                <c:pt idx="343" formatCode="General">
                  <c:v>-9.8571428571428577</c:v>
                </c:pt>
                <c:pt idx="344" formatCode="General">
                  <c:v>-9.7142857142857135</c:v>
                </c:pt>
                <c:pt idx="345" formatCode="General">
                  <c:v>-9.5714285714285712</c:v>
                </c:pt>
                <c:pt idx="346" formatCode="General">
                  <c:v>-9.1428571428571423</c:v>
                </c:pt>
                <c:pt idx="347" formatCode="General">
                  <c:v>-8.5714285714285712</c:v>
                </c:pt>
                <c:pt idx="348" formatCode="General">
                  <c:v>-8</c:v>
                </c:pt>
                <c:pt idx="349" formatCode="General">
                  <c:v>-7.5714285714285712</c:v>
                </c:pt>
                <c:pt idx="350" formatCode="General">
                  <c:v>-6.8571428571428568</c:v>
                </c:pt>
                <c:pt idx="351" formatCode="General">
                  <c:v>-6.2857142857142856</c:v>
                </c:pt>
                <c:pt idx="352" formatCode="General">
                  <c:v>-5.8571428571428568</c:v>
                </c:pt>
                <c:pt idx="353" formatCode="General">
                  <c:v>-5.5714285714285712</c:v>
                </c:pt>
                <c:pt idx="354" formatCode="General">
                  <c:v>-5.1428571428571432</c:v>
                </c:pt>
                <c:pt idx="355" formatCode="General">
                  <c:v>-5</c:v>
                </c:pt>
                <c:pt idx="356" formatCode="General">
                  <c:v>-4.7142857142857144</c:v>
                </c:pt>
                <c:pt idx="357" formatCode="General">
                  <c:v>-5</c:v>
                </c:pt>
                <c:pt idx="358" formatCode="General">
                  <c:v>-5.1428571428571432</c:v>
                </c:pt>
                <c:pt idx="359" formatCode="General">
                  <c:v>-5.2857142857142856</c:v>
                </c:pt>
                <c:pt idx="360" formatCode="General">
                  <c:v>-5.2857142857142856</c:v>
                </c:pt>
                <c:pt idx="361" formatCode="General">
                  <c:v>-5.2857142857142856</c:v>
                </c:pt>
                <c:pt idx="362" formatCode="General">
                  <c:v>-5.2857142857142856</c:v>
                </c:pt>
                <c:pt idx="363" formatCode="General">
                  <c:v>-5.5714285714285712</c:v>
                </c:pt>
                <c:pt idx="364" formatCode="General">
                  <c:v>-5.7142857142857144</c:v>
                </c:pt>
                <c:pt idx="365" formatCode="General">
                  <c:v>-5.7142857142857144</c:v>
                </c:pt>
                <c:pt idx="366" formatCode="General">
                  <c:v>-5.7142857142857144</c:v>
                </c:pt>
                <c:pt idx="367" formatCode="General">
                  <c:v>-5.5714285714285712</c:v>
                </c:pt>
                <c:pt idx="368" formatCode="General">
                  <c:v>-5.5714285714285712</c:v>
                </c:pt>
                <c:pt idx="369" formatCode="General">
                  <c:v>-5.4285714285714288</c:v>
                </c:pt>
                <c:pt idx="370" formatCode="General">
                  <c:v>-5.1428571428571432</c:v>
                </c:pt>
                <c:pt idx="371" formatCode="General">
                  <c:v>-5.1428571428571432</c:v>
                </c:pt>
                <c:pt idx="372" formatCode="General">
                  <c:v>-5</c:v>
                </c:pt>
                <c:pt idx="373" formatCode="General">
                  <c:v>-4.8571428571428568</c:v>
                </c:pt>
                <c:pt idx="374" formatCode="General">
                  <c:v>-4.5714285714285712</c:v>
                </c:pt>
                <c:pt idx="375" formatCode="General">
                  <c:v>-5.1428571428571432</c:v>
                </c:pt>
                <c:pt idx="376" formatCode="General">
                  <c:v>-5.1428571428571432</c:v>
                </c:pt>
                <c:pt idx="377" formatCode="General">
                  <c:v>-5.4285714285714288</c:v>
                </c:pt>
                <c:pt idx="378" formatCode="General">
                  <c:v>-5.2857142857142856</c:v>
                </c:pt>
                <c:pt idx="379" formatCode="General">
                  <c:v>-5.1428571428571432</c:v>
                </c:pt>
                <c:pt idx="380" formatCode="General">
                  <c:v>-5.2857142857142856</c:v>
                </c:pt>
                <c:pt idx="381" formatCode="General">
                  <c:v>-5.7142857142857144</c:v>
                </c:pt>
                <c:pt idx="382" formatCode="General">
                  <c:v>-5.1428571428571432</c:v>
                </c:pt>
                <c:pt idx="383" formatCode="General">
                  <c:v>-5.1428571428571432</c:v>
                </c:pt>
                <c:pt idx="384" formatCode="General">
                  <c:v>-4.8571428571428568</c:v>
                </c:pt>
                <c:pt idx="385" formatCode="General">
                  <c:v>-5.1428571428571432</c:v>
                </c:pt>
                <c:pt idx="386" formatCode="General">
                  <c:v>-5.4285714285714288</c:v>
                </c:pt>
                <c:pt idx="387" formatCode="General">
                  <c:v>-5.4285714285714288</c:v>
                </c:pt>
                <c:pt idx="388" formatCode="General">
                  <c:v>-5.2857142857142856</c:v>
                </c:pt>
                <c:pt idx="389" formatCode="General">
                  <c:v>-5</c:v>
                </c:pt>
                <c:pt idx="390" formatCode="General">
                  <c:v>-5</c:v>
                </c:pt>
                <c:pt idx="391" formatCode="General">
                  <c:v>-4.7142857142857144</c:v>
                </c:pt>
                <c:pt idx="392" formatCode="General">
                  <c:v>-5.7142857142857144</c:v>
                </c:pt>
                <c:pt idx="393" formatCode="General">
                  <c:v>-9.5714285714285712</c:v>
                </c:pt>
                <c:pt idx="394" formatCode="General">
                  <c:v>-10.285714285714286</c:v>
                </c:pt>
                <c:pt idx="395" formatCode="General">
                  <c:v>-10.714285714285714</c:v>
                </c:pt>
                <c:pt idx="396" formatCode="General">
                  <c:v>-11.285714285714286</c:v>
                </c:pt>
                <c:pt idx="397" formatCode="General">
                  <c:v>-12.142857142857142</c:v>
                </c:pt>
                <c:pt idx="398" formatCode="General">
                  <c:v>-12.857142857142858</c:v>
                </c:pt>
                <c:pt idx="399" formatCode="General">
                  <c:v>-12.428571428571429</c:v>
                </c:pt>
                <c:pt idx="400" formatCode="General">
                  <c:v>-8.8571428571428577</c:v>
                </c:pt>
                <c:pt idx="401" formatCode="General">
                  <c:v>-8.8571428571428577</c:v>
                </c:pt>
                <c:pt idx="402" formatCode="General">
                  <c:v>-9.1428571428571423</c:v>
                </c:pt>
                <c:pt idx="403" formatCode="General">
                  <c:v>-9.5714285714285712</c:v>
                </c:pt>
                <c:pt idx="404" formatCode="General">
                  <c:v>-9.4285714285714288</c:v>
                </c:pt>
                <c:pt idx="405" formatCode="General">
                  <c:v>-11.571428571428571</c:v>
                </c:pt>
                <c:pt idx="406" formatCode="General">
                  <c:v>-13.285714285714286</c:v>
                </c:pt>
                <c:pt idx="407" formatCode="General">
                  <c:v>-13.857142857142858</c:v>
                </c:pt>
                <c:pt idx="408" formatCode="General">
                  <c:v>-14.714285714285714</c:v>
                </c:pt>
                <c:pt idx="409" formatCode="General">
                  <c:v>-16.285714285714285</c:v>
                </c:pt>
                <c:pt idx="410" formatCode="General">
                  <c:v>-17.857142857142858</c:v>
                </c:pt>
                <c:pt idx="411" formatCode="General">
                  <c:v>-19.428571428571427</c:v>
                </c:pt>
                <c:pt idx="412" formatCode="General">
                  <c:v>-20.714285714285715</c:v>
                </c:pt>
                <c:pt idx="413" formatCode="General">
                  <c:v>-22.714285714285715</c:v>
                </c:pt>
                <c:pt idx="414" formatCode="General">
                  <c:v>-24.285714285714285</c:v>
                </c:pt>
                <c:pt idx="415" formatCode="General">
                  <c:v>-25.857142857142858</c:v>
                </c:pt>
                <c:pt idx="416" formatCode="General">
                  <c:v>-27.428571428571427</c:v>
                </c:pt>
                <c:pt idx="417" formatCode="General">
                  <c:v>-28.857142857142858</c:v>
                </c:pt>
                <c:pt idx="418" formatCode="General">
                  <c:v>-30.428571428571427</c:v>
                </c:pt>
                <c:pt idx="419" formatCode="General">
                  <c:v>-32.142857142857146</c:v>
                </c:pt>
                <c:pt idx="420" formatCode="General">
                  <c:v>-34.428571428571431</c:v>
                </c:pt>
                <c:pt idx="421" formatCode="General">
                  <c:v>-36</c:v>
                </c:pt>
                <c:pt idx="422" formatCode="General">
                  <c:v>-36.857142857142854</c:v>
                </c:pt>
                <c:pt idx="423" formatCode="General">
                  <c:v>-37.857142857142854</c:v>
                </c:pt>
                <c:pt idx="424" formatCode="General">
                  <c:v>-39</c:v>
                </c:pt>
                <c:pt idx="425" formatCode="General">
                  <c:v>-39.714285714285715</c:v>
                </c:pt>
                <c:pt idx="426" formatCode="General">
                  <c:v>-40.571428571428569</c:v>
                </c:pt>
                <c:pt idx="427" formatCode="General">
                  <c:v>-41.142857142857146</c:v>
                </c:pt>
                <c:pt idx="428" formatCode="General">
                  <c:v>-42.285714285714285</c:v>
                </c:pt>
                <c:pt idx="429" formatCode="General">
                  <c:v>-43.428571428571431</c:v>
                </c:pt>
                <c:pt idx="430" formatCode="General">
                  <c:v>-44.285714285714285</c:v>
                </c:pt>
                <c:pt idx="431" formatCode="General">
                  <c:v>-45.285714285714285</c:v>
                </c:pt>
                <c:pt idx="432" formatCode="General">
                  <c:v>-46.571428571428569</c:v>
                </c:pt>
                <c:pt idx="433" formatCode="General">
                  <c:v>-46.571428571428569</c:v>
                </c:pt>
                <c:pt idx="434" formatCode="General">
                  <c:v>-45.571428571428569</c:v>
                </c:pt>
                <c:pt idx="435" formatCode="General">
                  <c:v>-47</c:v>
                </c:pt>
                <c:pt idx="436" formatCode="General">
                  <c:v>-48.142857142857146</c:v>
                </c:pt>
                <c:pt idx="437" formatCode="General">
                  <c:v>-49</c:v>
                </c:pt>
                <c:pt idx="438" formatCode="General">
                  <c:v>-49.428571428571431</c:v>
                </c:pt>
                <c:pt idx="439" formatCode="General">
                  <c:v>-50.285714285714285</c:v>
                </c:pt>
                <c:pt idx="440" formatCode="General">
                  <c:v>-50.857142857142854</c:v>
                </c:pt>
                <c:pt idx="441" formatCode="General">
                  <c:v>-52</c:v>
                </c:pt>
                <c:pt idx="442" formatCode="General">
                  <c:v>-52.142857142857146</c:v>
                </c:pt>
                <c:pt idx="443" formatCode="General">
                  <c:v>-52.571428571428569</c:v>
                </c:pt>
                <c:pt idx="444" formatCode="General">
                  <c:v>-52.857142857142854</c:v>
                </c:pt>
                <c:pt idx="445" formatCode="General">
                  <c:v>-53.285714285714285</c:v>
                </c:pt>
                <c:pt idx="446" formatCode="General">
                  <c:v>-53</c:v>
                </c:pt>
                <c:pt idx="447" formatCode="General">
                  <c:v>-52.714285714285715</c:v>
                </c:pt>
                <c:pt idx="448" formatCode="General">
                  <c:v>-51.142857142857146</c:v>
                </c:pt>
                <c:pt idx="449" formatCode="General">
                  <c:v>-50.571428571428569</c:v>
                </c:pt>
                <c:pt idx="450" formatCode="General">
                  <c:v>-50</c:v>
                </c:pt>
                <c:pt idx="451" formatCode="General">
                  <c:v>-49.857142857142854</c:v>
                </c:pt>
                <c:pt idx="452" formatCode="General">
                  <c:v>-49.428571428571431</c:v>
                </c:pt>
                <c:pt idx="453" formatCode="General">
                  <c:v>-49.142857142857146</c:v>
                </c:pt>
                <c:pt idx="454" formatCode="General">
                  <c:v>-48.714285714285715</c:v>
                </c:pt>
                <c:pt idx="455" formatCode="General">
                  <c:v>-49</c:v>
                </c:pt>
                <c:pt idx="456" formatCode="General">
                  <c:v>-48.285714285714285</c:v>
                </c:pt>
                <c:pt idx="457" formatCode="General">
                  <c:v>-47</c:v>
                </c:pt>
                <c:pt idx="458" formatCode="General">
                  <c:v>-45.142857142857146</c:v>
                </c:pt>
                <c:pt idx="459" formatCode="General">
                  <c:v>-43.714285714285715</c:v>
                </c:pt>
                <c:pt idx="460" formatCode="General">
                  <c:v>-42.428571428571431</c:v>
                </c:pt>
                <c:pt idx="461" formatCode="General">
                  <c:v>-41.428571428571431</c:v>
                </c:pt>
                <c:pt idx="462" formatCode="General">
                  <c:v>-40.571428571428569</c:v>
                </c:pt>
                <c:pt idx="463" formatCode="General">
                  <c:v>-39.142857142857146</c:v>
                </c:pt>
                <c:pt idx="464" formatCode="General">
                  <c:v>-38</c:v>
                </c:pt>
                <c:pt idx="465" formatCode="General">
                  <c:v>-37.142857142857146</c:v>
                </c:pt>
                <c:pt idx="466" formatCode="General">
                  <c:v>-36.142857142857146</c:v>
                </c:pt>
                <c:pt idx="467" formatCode="General">
                  <c:v>-34.857142857142854</c:v>
                </c:pt>
                <c:pt idx="468" formatCode="General">
                  <c:v>-34</c:v>
                </c:pt>
                <c:pt idx="469" formatCode="General">
                  <c:v>-33</c:v>
                </c:pt>
                <c:pt idx="470" formatCode="General">
                  <c:v>-32</c:v>
                </c:pt>
                <c:pt idx="471" formatCode="General">
                  <c:v>-31.285714285714285</c:v>
                </c:pt>
                <c:pt idx="472" formatCode="General">
                  <c:v>-30.428571428571427</c:v>
                </c:pt>
                <c:pt idx="473" formatCode="General">
                  <c:v>-29.714285714285715</c:v>
                </c:pt>
                <c:pt idx="474" formatCode="General">
                  <c:v>-29.142857142857142</c:v>
                </c:pt>
                <c:pt idx="475" formatCode="General">
                  <c:v>-28.428571428571427</c:v>
                </c:pt>
                <c:pt idx="476" formatCode="General">
                  <c:v>-27.857142857142858</c:v>
                </c:pt>
                <c:pt idx="477" formatCode="General">
                  <c:v>-27.142857142857142</c:v>
                </c:pt>
                <c:pt idx="478" formatCode="General">
                  <c:v>-26.428571428571427</c:v>
                </c:pt>
                <c:pt idx="479" formatCode="General">
                  <c:v>-25.571428571428573</c:v>
                </c:pt>
                <c:pt idx="480" formatCode="General">
                  <c:v>-24.714285714285715</c:v>
                </c:pt>
                <c:pt idx="481" formatCode="General">
                  <c:v>-23.857142857142858</c:v>
                </c:pt>
                <c:pt idx="482" formatCode="General">
                  <c:v>-23</c:v>
                </c:pt>
                <c:pt idx="483" formatCode="General">
                  <c:v>-22.285714285714285</c:v>
                </c:pt>
                <c:pt idx="484" formatCode="General">
                  <c:v>-21.714285714285715</c:v>
                </c:pt>
                <c:pt idx="485" formatCode="General">
                  <c:v>-21.285714285714285</c:v>
                </c:pt>
                <c:pt idx="486" formatCode="General">
                  <c:v>-21</c:v>
                </c:pt>
                <c:pt idx="487" formatCode="General">
                  <c:v>-20.285714285714285</c:v>
                </c:pt>
                <c:pt idx="488" formatCode="General">
                  <c:v>-19.571428571428573</c:v>
                </c:pt>
                <c:pt idx="489" formatCode="General">
                  <c:v>-18.571428571428573</c:v>
                </c:pt>
                <c:pt idx="490" formatCode="General">
                  <c:v>-17.571428571428573</c:v>
                </c:pt>
                <c:pt idx="491" formatCode="General">
                  <c:v>-16.571428571428573</c:v>
                </c:pt>
                <c:pt idx="492" formatCode="General">
                  <c:v>-15.571428571428571</c:v>
                </c:pt>
                <c:pt idx="493" formatCode="General">
                  <c:v>-14.571428571428571</c:v>
                </c:pt>
                <c:pt idx="494" formatCode="General">
                  <c:v>-14.142857142857142</c:v>
                </c:pt>
                <c:pt idx="495" formatCode="General">
                  <c:v>-13.571428571428571</c:v>
                </c:pt>
                <c:pt idx="496" formatCode="General">
                  <c:v>-13</c:v>
                </c:pt>
                <c:pt idx="497" formatCode="General">
                  <c:v>-12.285714285714286</c:v>
                </c:pt>
                <c:pt idx="498" formatCode="General">
                  <c:v>-12.142857142857142</c:v>
                </c:pt>
                <c:pt idx="499" formatCode="General">
                  <c:v>-12</c:v>
                </c:pt>
                <c:pt idx="500" formatCode="General">
                  <c:v>-11.857142857142858</c:v>
                </c:pt>
                <c:pt idx="501" formatCode="General">
                  <c:v>-11.428571428571429</c:v>
                </c:pt>
                <c:pt idx="502" formatCode="General">
                  <c:v>-11.285714285714286</c:v>
                </c:pt>
                <c:pt idx="503" formatCode="General">
                  <c:v>-11.142857142857142</c:v>
                </c:pt>
                <c:pt idx="504" formatCode="General">
                  <c:v>-11.142857142857142</c:v>
                </c:pt>
                <c:pt idx="505" formatCode="General">
                  <c:v>-11.428571428571429</c:v>
                </c:pt>
                <c:pt idx="506" formatCode="General">
                  <c:v>-11.142857142857142</c:v>
                </c:pt>
                <c:pt idx="507" formatCode="General">
                  <c:v>-12.428571428571429</c:v>
                </c:pt>
                <c:pt idx="508" formatCode="General">
                  <c:v>-13</c:v>
                </c:pt>
                <c:pt idx="509" formatCode="General">
                  <c:v>-13.142857142857142</c:v>
                </c:pt>
                <c:pt idx="510">
                  <c:v>-13.285714285714286</c:v>
                </c:pt>
                <c:pt idx="511">
                  <c:v>-13.285714285714286</c:v>
                </c:pt>
                <c:pt idx="512">
                  <c:v>-13</c:v>
                </c:pt>
                <c:pt idx="513">
                  <c:v>-13.285714285714286</c:v>
                </c:pt>
                <c:pt idx="514">
                  <c:v>-12.142857142857142</c:v>
                </c:pt>
                <c:pt idx="515">
                  <c:v>-11.857142857142858</c:v>
                </c:pt>
                <c:pt idx="516">
                  <c:v>-11.857142857142858</c:v>
                </c:pt>
                <c:pt idx="517">
                  <c:v>-11.285714285714286</c:v>
                </c:pt>
                <c:pt idx="518">
                  <c:v>-10.571428571428571</c:v>
                </c:pt>
                <c:pt idx="519">
                  <c:v>-10.285714285714286</c:v>
                </c:pt>
                <c:pt idx="520">
                  <c:v>-9.7142857142857135</c:v>
                </c:pt>
                <c:pt idx="521">
                  <c:v>-9</c:v>
                </c:pt>
                <c:pt idx="522">
                  <c:v>-8.1428571428571423</c:v>
                </c:pt>
                <c:pt idx="523">
                  <c:v>-7.2857142857142856</c:v>
                </c:pt>
                <c:pt idx="524">
                  <c:v>-6.7142857142857144</c:v>
                </c:pt>
                <c:pt idx="525">
                  <c:v>-6.7142857142857144</c:v>
                </c:pt>
                <c:pt idx="526">
                  <c:v>-6.2857142857142856</c:v>
                </c:pt>
                <c:pt idx="527">
                  <c:v>-5.7142857142857144</c:v>
                </c:pt>
                <c:pt idx="528">
                  <c:v>-5.1428571428571432</c:v>
                </c:pt>
                <c:pt idx="529">
                  <c:v>-4.8571428571428568</c:v>
                </c:pt>
                <c:pt idx="530">
                  <c:v>-4.7142857142857144</c:v>
                </c:pt>
                <c:pt idx="531">
                  <c:v>-4.4285714285714288</c:v>
                </c:pt>
                <c:pt idx="532">
                  <c:v>-4.1428571428571432</c:v>
                </c:pt>
                <c:pt idx="533">
                  <c:v>-4.1428571428571432</c:v>
                </c:pt>
                <c:pt idx="534">
                  <c:v>-4.2857142857142856</c:v>
                </c:pt>
                <c:pt idx="535" formatCode="General">
                  <c:v>-4.4285714285714288</c:v>
                </c:pt>
                <c:pt idx="536" formatCode="General">
                  <c:v>-4.1428571428571432</c:v>
                </c:pt>
                <c:pt idx="537" formatCode="General">
                  <c:v>-4.2857142857142856</c:v>
                </c:pt>
                <c:pt idx="538" formatCode="General">
                  <c:v>-3.5714285714285716</c:v>
                </c:pt>
                <c:pt idx="539" formatCode="General">
                  <c:v>-2.2857142857142856</c:v>
                </c:pt>
                <c:pt idx="540" formatCode="General">
                  <c:v>-2</c:v>
                </c:pt>
                <c:pt idx="541" formatCode="General">
                  <c:v>-1.4285714285714286</c:v>
                </c:pt>
                <c:pt idx="542" formatCode="General">
                  <c:v>-1.1428571428571428</c:v>
                </c:pt>
                <c:pt idx="543" formatCode="General">
                  <c:v>-1.2857142857142858</c:v>
                </c:pt>
                <c:pt idx="544">
                  <c:v>-1</c:v>
                </c:pt>
                <c:pt idx="545">
                  <c:v>-1.7142857142857142</c:v>
                </c:pt>
                <c:pt idx="546">
                  <c:v>-2.7142857142857144</c:v>
                </c:pt>
                <c:pt idx="547">
                  <c:v>-3.4285714285714284</c:v>
                </c:pt>
                <c:pt idx="548">
                  <c:v>-4.1428571428571432</c:v>
                </c:pt>
                <c:pt idx="549">
                  <c:v>-4.2857142857142856</c:v>
                </c:pt>
                <c:pt idx="550">
                  <c:v>-4.2857142857142856</c:v>
                </c:pt>
                <c:pt idx="551">
                  <c:v>-4.4285714285714288</c:v>
                </c:pt>
                <c:pt idx="552">
                  <c:v>-4.2857142857142856</c:v>
                </c:pt>
                <c:pt idx="553">
                  <c:v>-4</c:v>
                </c:pt>
                <c:pt idx="554">
                  <c:v>-3.4285714285714284</c:v>
                </c:pt>
                <c:pt idx="555">
                  <c:v>-3</c:v>
                </c:pt>
                <c:pt idx="556">
                  <c:v>-2.1428571428571428</c:v>
                </c:pt>
                <c:pt idx="557">
                  <c:v>-0.8571428571428571</c:v>
                </c:pt>
                <c:pt idx="558">
                  <c:v>-1.1428571428571428</c:v>
                </c:pt>
                <c:pt idx="559">
                  <c:v>-1.5714285714285714</c:v>
                </c:pt>
                <c:pt idx="560">
                  <c:v>-1.1428571428571428</c:v>
                </c:pt>
                <c:pt idx="561">
                  <c:v>-0.8571428571428571</c:v>
                </c:pt>
                <c:pt idx="562">
                  <c:v>-0.8571428571428571</c:v>
                </c:pt>
                <c:pt idx="563">
                  <c:v>-1.2857142857142858</c:v>
                </c:pt>
                <c:pt idx="564">
                  <c:v>-2.1428571428571428</c:v>
                </c:pt>
                <c:pt idx="565" formatCode="General">
                  <c:v>-1.5714285714285714</c:v>
                </c:pt>
                <c:pt idx="566" formatCode="General">
                  <c:v>-0.7142857142857143</c:v>
                </c:pt>
                <c:pt idx="567" formatCode="General">
                  <c:v>-1</c:v>
                </c:pt>
                <c:pt idx="568" formatCode="General">
                  <c:v>-1.1428571428571428</c:v>
                </c:pt>
                <c:pt idx="569" formatCode="General">
                  <c:v>-1.1428571428571428</c:v>
                </c:pt>
                <c:pt idx="570" formatCode="General">
                  <c:v>-1.4285714285714286</c:v>
                </c:pt>
                <c:pt idx="571" formatCode="General">
                  <c:v>-1.7142857142857142</c:v>
                </c:pt>
                <c:pt idx="572" formatCode="General">
                  <c:v>-1.4285714285714286</c:v>
                </c:pt>
                <c:pt idx="573" formatCode="General">
                  <c:v>-1.4285714285714286</c:v>
                </c:pt>
                <c:pt idx="574" formatCode="General">
                  <c:v>-1.1428571428571428</c:v>
                </c:pt>
                <c:pt idx="575" formatCode="General">
                  <c:v>-2</c:v>
                </c:pt>
                <c:pt idx="576" formatCode="General">
                  <c:v>-1.8571428571428572</c:v>
                </c:pt>
                <c:pt idx="577" formatCode="General">
                  <c:v>-2.1428571428571428</c:v>
                </c:pt>
                <c:pt idx="578" formatCode="General">
                  <c:v>-1.7142857142857142</c:v>
                </c:pt>
                <c:pt idx="579">
                  <c:v>-1</c:v>
                </c:pt>
                <c:pt idx="580">
                  <c:v>-1.4285714285714286</c:v>
                </c:pt>
                <c:pt idx="581">
                  <c:v>-1</c:v>
                </c:pt>
                <c:pt idx="582">
                  <c:v>0.8571428571428571</c:v>
                </c:pt>
                <c:pt idx="583">
                  <c:v>1.5714285714285714</c:v>
                </c:pt>
                <c:pt idx="584">
                  <c:v>2.4285714285714284</c:v>
                </c:pt>
                <c:pt idx="585">
                  <c:v>2.8571428571428572</c:v>
                </c:pt>
                <c:pt idx="586">
                  <c:v>3</c:v>
                </c:pt>
                <c:pt idx="587">
                  <c:v>4.1428571428571432</c:v>
                </c:pt>
                <c:pt idx="588">
                  <c:v>5</c:v>
                </c:pt>
                <c:pt idx="589">
                  <c:v>5.1428571428571432</c:v>
                </c:pt>
                <c:pt idx="590">
                  <c:v>6.1428571428571432</c:v>
                </c:pt>
                <c:pt idx="591">
                  <c:v>7.4285714285714288</c:v>
                </c:pt>
                <c:pt idx="592">
                  <c:v>8.4285714285714288</c:v>
                </c:pt>
                <c:pt idx="593">
                  <c:v>7.5714285714285712</c:v>
                </c:pt>
                <c:pt idx="594">
                  <c:v>7</c:v>
                </c:pt>
                <c:pt idx="595">
                  <c:v>6.5714285714285712</c:v>
                </c:pt>
                <c:pt idx="596">
                  <c:v>6.4285714285714288</c:v>
                </c:pt>
                <c:pt idx="597">
                  <c:v>5.2857142857142856</c:v>
                </c:pt>
                <c:pt idx="598">
                  <c:v>4.4285714285714288</c:v>
                </c:pt>
                <c:pt idx="599">
                  <c:v>3.8571428571428572</c:v>
                </c:pt>
                <c:pt idx="600">
                  <c:v>4.8571428571428568</c:v>
                </c:pt>
                <c:pt idx="601">
                  <c:v>5.7142857142857144</c:v>
                </c:pt>
                <c:pt idx="602">
                  <c:v>5.5714285714285712</c:v>
                </c:pt>
                <c:pt idx="603">
                  <c:v>5.8571428571428568</c:v>
                </c:pt>
                <c:pt idx="604">
                  <c:v>6.5714285714285712</c:v>
                </c:pt>
                <c:pt idx="605">
                  <c:v>6.8571428571428568</c:v>
                </c:pt>
                <c:pt idx="606">
                  <c:v>6.8571428571428568</c:v>
                </c:pt>
                <c:pt idx="607">
                  <c:v>6.7142857142857144</c:v>
                </c:pt>
                <c:pt idx="608" formatCode="_ * #,##0.0_ ;_ * \-#,##0.0_ ;_ * &quot;-&quot;??_ ;_ @_ ">
                  <c:v>7</c:v>
                </c:pt>
                <c:pt idx="609" formatCode="_ * #,##0.0_ ;_ * \-#,##0.0_ ;_ * &quot;-&quot;??_ ;_ @_ ">
                  <c:v>8</c:v>
                </c:pt>
                <c:pt idx="610" formatCode="_ * #,##0.0_ ;_ * \-#,##0.0_ ;_ * &quot;-&quot;??_ ;_ @_ ">
                  <c:v>8.5714285714285712</c:v>
                </c:pt>
                <c:pt idx="611" formatCode="_ * #,##0.0_ ;_ * \-#,##0.0_ ;_ * &quot;-&quot;??_ ;_ @_ ">
                  <c:v>10</c:v>
                </c:pt>
                <c:pt idx="612" formatCode="_ * #,##0.0_ ;_ * \-#,##0.0_ ;_ * &quot;-&quot;??_ ;_ @_ ">
                  <c:v>11.857142857142858</c:v>
                </c:pt>
                <c:pt idx="613" formatCode="_ * #,##0.0_ ;_ * \-#,##0.0_ ;_ * &quot;-&quot;??_ ;_ @_ ">
                  <c:v>11.142857142857142</c:v>
                </c:pt>
                <c:pt idx="614" formatCode="_ * #,##0.0_ ;_ * \-#,##0.0_ ;_ * &quot;-&quot;??_ ;_ @_ ">
                  <c:v>10</c:v>
                </c:pt>
                <c:pt idx="615" formatCode="_ * #,##0.0_ ;_ * \-#,##0.0_ ;_ * &quot;-&quot;??_ ;_ @_ ">
                  <c:v>9.8571428571428577</c:v>
                </c:pt>
                <c:pt idx="616">
                  <c:v>10.428571428571429</c:v>
                </c:pt>
                <c:pt idx="617">
                  <c:v>10.571428571428571</c:v>
                </c:pt>
                <c:pt idx="618">
                  <c:v>9.8571428571428577</c:v>
                </c:pt>
                <c:pt idx="619">
                  <c:v>8.4285714285714288</c:v>
                </c:pt>
                <c:pt idx="620">
                  <c:v>9.1428571428571423</c:v>
                </c:pt>
                <c:pt idx="621">
                  <c:v>10.714285714285714</c:v>
                </c:pt>
                <c:pt idx="622">
                  <c:v>11</c:v>
                </c:pt>
                <c:pt idx="623">
                  <c:v>10.857142857142858</c:v>
                </c:pt>
                <c:pt idx="624">
                  <c:v>10.857142857142858</c:v>
                </c:pt>
                <c:pt idx="625">
                  <c:v>10.714285714285714</c:v>
                </c:pt>
                <c:pt idx="626">
                  <c:v>11</c:v>
                </c:pt>
                <c:pt idx="627">
                  <c:v>11.428571428571429</c:v>
                </c:pt>
                <c:pt idx="628">
                  <c:v>11</c:v>
                </c:pt>
                <c:pt idx="629">
                  <c:v>11.285714285714286</c:v>
                </c:pt>
                <c:pt idx="630">
                  <c:v>11.428571428571429</c:v>
                </c:pt>
                <c:pt idx="631" formatCode="0.00">
                  <c:v>11.571428571428571</c:v>
                </c:pt>
                <c:pt idx="632" formatCode="0.00">
                  <c:v>11.571428571428571</c:v>
                </c:pt>
                <c:pt idx="633" formatCode="0.00">
                  <c:v>11.571428571428571</c:v>
                </c:pt>
                <c:pt idx="634" formatCode="0.00">
                  <c:v>11.857142857142858</c:v>
                </c:pt>
                <c:pt idx="635" formatCode="0.00">
                  <c:v>12.714285714285714</c:v>
                </c:pt>
                <c:pt idx="636" formatCode="0.00">
                  <c:v>12.714285714285714</c:v>
                </c:pt>
                <c:pt idx="637" formatCode="0.00">
                  <c:v>12.428571428571429</c:v>
                </c:pt>
                <c:pt idx="638" formatCode="0.00">
                  <c:v>12.428571428571429</c:v>
                </c:pt>
                <c:pt idx="639" formatCode="0.00">
                  <c:v>12.714285714285714</c:v>
                </c:pt>
                <c:pt idx="640" formatCode="0.00">
                  <c:v>12.571428571428571</c:v>
                </c:pt>
                <c:pt idx="641" formatCode="0.00">
                  <c:v>12.428571428571429</c:v>
                </c:pt>
                <c:pt idx="642" formatCode="0.00">
                  <c:v>12.428571428571429</c:v>
                </c:pt>
                <c:pt idx="643" formatCode="0.00">
                  <c:v>12.428571428571429</c:v>
                </c:pt>
                <c:pt idx="644" formatCode="0.00">
                  <c:v>12.285714285714286</c:v>
                </c:pt>
                <c:pt idx="645" formatCode="0.00">
                  <c:v>12.285714285714286</c:v>
                </c:pt>
                <c:pt idx="646" formatCode="0.00">
                  <c:v>12.571428571428571</c:v>
                </c:pt>
                <c:pt idx="647" formatCode="0.00">
                  <c:v>13.285714285714286</c:v>
                </c:pt>
                <c:pt idx="648" formatCode="0.00">
                  <c:v>13.714285714285714</c:v>
                </c:pt>
                <c:pt idx="649" formatCode="0.00">
                  <c:v>14.285714285714286</c:v>
                </c:pt>
                <c:pt idx="650" formatCode="0.00">
                  <c:v>14.714285714285714</c:v>
                </c:pt>
                <c:pt idx="651" formatCode="0.00">
                  <c:v>15.571428571428571</c:v>
                </c:pt>
                <c:pt idx="652" formatCode="0.00">
                  <c:v>16</c:v>
                </c:pt>
                <c:pt idx="653" formatCode="0.00">
                  <c:v>15.714285714285714</c:v>
                </c:pt>
                <c:pt idx="654" formatCode="0.00">
                  <c:v>15.428571428571429</c:v>
                </c:pt>
                <c:pt idx="655" formatCode="0.00">
                  <c:v>15.285714285714286</c:v>
                </c:pt>
                <c:pt idx="656" formatCode="0.00">
                  <c:v>14.714285714285714</c:v>
                </c:pt>
                <c:pt idx="657" formatCode="0.00">
                  <c:v>14.571428571428571</c:v>
                </c:pt>
                <c:pt idx="658" formatCode="0.00">
                  <c:v>13.857142857142858</c:v>
                </c:pt>
                <c:pt idx="659" formatCode="0.00">
                  <c:v>13.428571428571429</c:v>
                </c:pt>
                <c:pt idx="660" formatCode="0.00">
                  <c:v>13.285714285714286</c:v>
                </c:pt>
                <c:pt idx="661" formatCode="0.00">
                  <c:v>13.285714285714286</c:v>
                </c:pt>
                <c:pt idx="662" formatCode="0.00">
                  <c:v>13.571428571428571</c:v>
                </c:pt>
                <c:pt idx="663" formatCode="0.00">
                  <c:v>14.428571428571429</c:v>
                </c:pt>
                <c:pt idx="664" formatCode="0.00">
                  <c:v>14</c:v>
                </c:pt>
                <c:pt idx="665" formatCode="0.00">
                  <c:v>14.142857142857142</c:v>
                </c:pt>
                <c:pt idx="666" formatCode="0.00">
                  <c:v>14.428571428571429</c:v>
                </c:pt>
                <c:pt idx="667" formatCode="0.00">
                  <c:v>14.285714285714286</c:v>
                </c:pt>
                <c:pt idx="668" formatCode="0.00">
                  <c:v>14</c:v>
                </c:pt>
                <c:pt idx="669" formatCode="0.00">
                  <c:v>13.571428571428571</c:v>
                </c:pt>
                <c:pt idx="670" formatCode="0.00">
                  <c:v>13.285714285714286</c:v>
                </c:pt>
                <c:pt idx="671" formatCode="_ * #,##0.00_ ;_ * \-#,##0.00_ ;_ * &quot;-&quot;??_ ;_ @_ ">
                  <c:v>12.571428571428571</c:v>
                </c:pt>
                <c:pt idx="672" formatCode="_ * #,##0.00_ ;_ * \-#,##0.00_ ;_ * &quot;-&quot;??_ ;_ @_ ">
                  <c:v>12.142857142857142</c:v>
                </c:pt>
                <c:pt idx="673" formatCode="_ * #,##0.00_ ;_ * \-#,##0.00_ ;_ * &quot;-&quot;??_ ;_ @_ ">
                  <c:v>11.714285714285714</c:v>
                </c:pt>
                <c:pt idx="674" formatCode="_ * #,##0.00_ ;_ * \-#,##0.00_ ;_ * &quot;-&quot;??_ ;_ @_ ">
                  <c:v>11.285714285714286</c:v>
                </c:pt>
                <c:pt idx="675" formatCode="_ * #,##0.00_ ;_ * \-#,##0.00_ ;_ * &quot;-&quot;??_ ;_ @_ ">
                  <c:v>10.285714285714286</c:v>
                </c:pt>
                <c:pt idx="676" formatCode="_ * #,##0.00_ ;_ * \-#,##0.00_ ;_ * &quot;-&quot;??_ ;_ @_ ">
                  <c:v>9.4285714285714288</c:v>
                </c:pt>
                <c:pt idx="677" formatCode="_ * #,##0.00_ ;_ * \-#,##0.00_ ;_ * &quot;-&quot;??_ ;_ @_ ">
                  <c:v>8.1428571428571423</c:v>
                </c:pt>
                <c:pt idx="678" formatCode="_ * #,##0.00_ ;_ * \-#,##0.00_ ;_ * &quot;-&quot;??_ ;_ @_ ">
                  <c:v>6.7142857142857144</c:v>
                </c:pt>
                <c:pt idx="679" formatCode="_ * #,##0.00_ ;_ * \-#,##0.00_ ;_ * &quot;-&quot;??_ ;_ @_ ">
                  <c:v>3.7142857142857144</c:v>
                </c:pt>
                <c:pt idx="680" formatCode="_ * #,##0.00_ ;_ * \-#,##0.00_ ;_ * &quot;-&quot;??_ ;_ @_ ">
                  <c:v>2.8571428571428572</c:v>
                </c:pt>
                <c:pt idx="681" formatCode="_ * #,##0.00_ ;_ * \-#,##0.00_ ;_ * &quot;-&quot;??_ ;_ @_ ">
                  <c:v>2.1428571428571428</c:v>
                </c:pt>
                <c:pt idx="682" formatCode="_ * #,##0.00_ ;_ * \-#,##0.00_ ;_ * &quot;-&quot;??_ ;_ @_ ">
                  <c:v>2.1428571428571428</c:v>
                </c:pt>
                <c:pt idx="683" formatCode="_ * #,##0.00_ ;_ * \-#,##0.00_ ;_ * &quot;-&quot;??_ ;_ @_ ">
                  <c:v>2.5714285714285716</c:v>
                </c:pt>
                <c:pt idx="684" formatCode="_ * #,##0.00_ ;_ * \-#,##0.00_ ;_ * &quot;-&quot;??_ ;_ @_ ">
                  <c:v>1.1428571428571428</c:v>
                </c:pt>
                <c:pt idx="685" formatCode="_ * #,##0.00_ ;_ * \-#,##0.00_ ;_ * &quot;-&quot;??_ ;_ @_ ">
                  <c:v>0.42857142857142855</c:v>
                </c:pt>
                <c:pt idx="686" formatCode="_ * #,##0.00_ ;_ * \-#,##0.00_ ;_ * &quot;-&quot;??_ ;_ @_ ">
                  <c:v>0</c:v>
                </c:pt>
                <c:pt idx="687" formatCode="_ * #,##0.00_ ;_ * \-#,##0.00_ ;_ * &quot;-&quot;??_ ;_ @_ ">
                  <c:v>-0.2857142857142857</c:v>
                </c:pt>
                <c:pt idx="688" formatCode="_ * #,##0.00_ ;_ * \-#,##0.00_ ;_ * &quot;-&quot;??_ ;_ @_ ">
                  <c:v>-0.5714285714285714</c:v>
                </c:pt>
                <c:pt idx="689" formatCode="_ * #,##0.00_ ;_ * \-#,##0.00_ ;_ * &quot;-&quot;??_ ;_ @_ ">
                  <c:v>-1.1428571428571428</c:v>
                </c:pt>
                <c:pt idx="690" formatCode="_ * #,##0.00_ ;_ * \-#,##0.00_ ;_ * &quot;-&quot;??_ ;_ @_ ">
                  <c:v>-2.2857142857142856</c:v>
                </c:pt>
                <c:pt idx="691" formatCode="_ * #,##0.00_ ;_ * \-#,##0.00_ ;_ * &quot;-&quot;??_ ;_ @_ ">
                  <c:v>-1.7142857142857142</c:v>
                </c:pt>
                <c:pt idx="692" formatCode="_ * #,##0.00_ ;_ * \-#,##0.00_ ;_ * &quot;-&quot;??_ ;_ @_ ">
                  <c:v>-1</c:v>
                </c:pt>
                <c:pt idx="693" formatCode="_ * #,##0.00_ ;_ * \-#,##0.00_ ;_ * &quot;-&quot;??_ ;_ @_ ">
                  <c:v>-1.1428571428571428</c:v>
                </c:pt>
                <c:pt idx="694" formatCode="_ * #,##0.00_ ;_ * \-#,##0.00_ ;_ * &quot;-&quot;??_ ;_ @_ ">
                  <c:v>-1.4285714285714286</c:v>
                </c:pt>
                <c:pt idx="695" formatCode="_ * #,##0.00_ ;_ * \-#,##0.00_ ;_ * &quot;-&quot;??_ ;_ @_ ">
                  <c:v>-1.2857142857142858</c:v>
                </c:pt>
                <c:pt idx="696" formatCode="_ * #,##0.00_ ;_ * \-#,##0.00_ ;_ * &quot;-&quot;??_ ;_ @_ ">
                  <c:v>-2.2857142857142856</c:v>
                </c:pt>
                <c:pt idx="697" formatCode="_ * #,##0.00_ ;_ * \-#,##0.00_ ;_ * &quot;-&quot;??_ ;_ @_ ">
                  <c:v>-2.1428571428571428</c:v>
                </c:pt>
                <c:pt idx="698" formatCode="_ * #,##0.00_ ;_ * \-#,##0.00_ ;_ * &quot;-&quot;??_ ;_ @_ ">
                  <c:v>-2.1428571428571428</c:v>
                </c:pt>
                <c:pt idx="699" formatCode="_ * #,##0.00_ ;_ * \-#,##0.00_ ;_ * &quot;-&quot;??_ ;_ @_ ">
                  <c:v>-1.2857142857142858</c:v>
                </c:pt>
                <c:pt idx="700" formatCode="_ * #,##0.00_ ;_ * \-#,##0.00_ ;_ * &quot;-&quot;??_ ;_ @_ ">
                  <c:v>0.7142857142857143</c:v>
                </c:pt>
                <c:pt idx="701" formatCode="_ * #,##0.00_ ;_ * \-#,##0.00_ ;_ * &quot;-&quot;??_ ;_ @_ ">
                  <c:v>1.1428571428571428</c:v>
                </c:pt>
                <c:pt idx="702" formatCode="_ * #,##0.00_ ;_ * \-#,##0.00_ ;_ * &quot;-&quot;??_ ;_ @_ ">
                  <c:v>1.5714285714285714</c:v>
                </c:pt>
                <c:pt idx="703" formatCode="_ * #,##0.00_ ;_ * \-#,##0.00_ ;_ * &quot;-&quot;??_ ;_ @_ ">
                  <c:v>3.7142857142857144</c:v>
                </c:pt>
                <c:pt idx="704" formatCode="_ * #,##0.00_ ;_ * \-#,##0.00_ ;_ * &quot;-&quot;??_ ;_ @_ ">
                  <c:v>4.5714285714285712</c:v>
                </c:pt>
                <c:pt idx="705" formatCode="_ * #,##0.00_ ;_ * \-#,##0.00_ ;_ * &quot;-&quot;??_ ;_ @_ ">
                  <c:v>5.5714285714285712</c:v>
                </c:pt>
                <c:pt idx="706" formatCode="_ * #,##0.00_ ;_ * \-#,##0.00_ ;_ * &quot;-&quot;??_ ;_ @_ ">
                  <c:v>7</c:v>
                </c:pt>
                <c:pt idx="707" formatCode="_ * #,##0.00_ ;_ * \-#,##0.00_ ;_ * &quot;-&quot;??_ ;_ @_ ">
                  <c:v>8.5714285714285712</c:v>
                </c:pt>
                <c:pt idx="708" formatCode="_ * #,##0.00_ ;_ * \-#,##0.00_ ;_ * &quot;-&quot;??_ ;_ @_ ">
                  <c:v>9.5714285714285712</c:v>
                </c:pt>
                <c:pt idx="709" formatCode="_ * #,##0.00_ ;_ * \-#,##0.00_ ;_ * &quot;-&quot;??_ ;_ @_ ">
                  <c:v>10.571428571428571</c:v>
                </c:pt>
                <c:pt idx="710" formatCode="_ * #,##0.00_ ;_ * \-#,##0.00_ ;_ * &quot;-&quot;??_ ;_ @_ ">
                  <c:v>11.142857142857142</c:v>
                </c:pt>
                <c:pt idx="711" formatCode="_ * #,##0.00_ ;_ * \-#,##0.00_ ;_ * &quot;-&quot;??_ ;_ @_ ">
                  <c:v>12</c:v>
                </c:pt>
                <c:pt idx="712" formatCode="_ * #,##0.00_ ;_ * \-#,##0.00_ ;_ * &quot;-&quot;??_ ;_ @_ ">
                  <c:v>13</c:v>
                </c:pt>
                <c:pt idx="713" formatCode="_ * #,##0.00_ ;_ * \-#,##0.00_ ;_ * &quot;-&quot;??_ ;_ @_ ">
                  <c:v>13.142857142857142</c:v>
                </c:pt>
                <c:pt idx="714" formatCode="_ * #,##0.00_ ;_ * \-#,##0.00_ ;_ * &quot;-&quot;??_ ;_ @_ ">
                  <c:v>13.857142857142858</c:v>
                </c:pt>
                <c:pt idx="715" formatCode="_ * #,##0.00_ ;_ * \-#,##0.00_ ;_ * &quot;-&quot;??_ ;_ @_ ">
                  <c:v>14.428571428571429</c:v>
                </c:pt>
                <c:pt idx="716" formatCode="_ * #,##0.00_ ;_ * \-#,##0.00_ ;_ * &quot;-&quot;??_ ;_ @_ ">
                  <c:v>14.857142857142858</c:v>
                </c:pt>
                <c:pt idx="717" formatCode="_ * #,##0.00_ ;_ * \-#,##0.00_ ;_ * &quot;-&quot;??_ ;_ @_ ">
                  <c:v>15.142857142857142</c:v>
                </c:pt>
                <c:pt idx="718" formatCode="_ * #,##0.00_ ;_ * \-#,##0.00_ ;_ * &quot;-&quot;??_ ;_ @_ ">
                  <c:v>15.428571428571429</c:v>
                </c:pt>
                <c:pt idx="719" formatCode="_ * #,##0.00_ ;_ * \-#,##0.00_ ;_ * &quot;-&quot;??_ ;_ @_ ">
                  <c:v>15.714285714285714</c:v>
                </c:pt>
                <c:pt idx="720" formatCode="_ * #,##0.00_ ;_ * \-#,##0.00_ ;_ * &quot;-&quot;??_ ;_ @_ ">
                  <c:v>16.285714285714285</c:v>
                </c:pt>
                <c:pt idx="721" formatCode="_ * #,##0.00_ ;_ * \-#,##0.00_ ;_ * &quot;-&quot;??_ ;_ @_ ">
                  <c:v>16.428571428571427</c:v>
                </c:pt>
                <c:pt idx="722" formatCode="0.00">
                  <c:v>16.571428571428573</c:v>
                </c:pt>
                <c:pt idx="723" formatCode="0.00">
                  <c:v>16.571428571428573</c:v>
                </c:pt>
                <c:pt idx="724" formatCode="0.00">
                  <c:v>16.714285714285715</c:v>
                </c:pt>
                <c:pt idx="725" formatCode="0.00">
                  <c:v>16.714285714285715</c:v>
                </c:pt>
                <c:pt idx="726" formatCode="0.00">
                  <c:v>16.714285714285715</c:v>
                </c:pt>
                <c:pt idx="727" formatCode="0.00">
                  <c:v>16.714285714285715</c:v>
                </c:pt>
                <c:pt idx="728" formatCode="0.00">
                  <c:v>16.714285714285715</c:v>
                </c:pt>
                <c:pt idx="729" formatCode="0.00">
                  <c:v>17.285714285714285</c:v>
                </c:pt>
                <c:pt idx="730" formatCode="0.00">
                  <c:v>17</c:v>
                </c:pt>
                <c:pt idx="731" formatCode="0.00">
                  <c:v>17.285714285714285</c:v>
                </c:pt>
                <c:pt idx="732" formatCode="0.00">
                  <c:v>18</c:v>
                </c:pt>
                <c:pt idx="733" formatCode="0.00">
                  <c:v>18.714285714285715</c:v>
                </c:pt>
                <c:pt idx="734" formatCode="0.00">
                  <c:v>19.428571428571427</c:v>
                </c:pt>
                <c:pt idx="735" formatCode="0.00">
                  <c:v>20.142857142857142</c:v>
                </c:pt>
                <c:pt idx="736" formatCode="0.00">
                  <c:v>20.285714285714285</c:v>
                </c:pt>
                <c:pt idx="737">
                  <c:v>21.714285714285715</c:v>
                </c:pt>
                <c:pt idx="738">
                  <c:v>22.428571428571427</c:v>
                </c:pt>
                <c:pt idx="739">
                  <c:v>22.714285714285715</c:v>
                </c:pt>
                <c:pt idx="740">
                  <c:v>23.285714285714285</c:v>
                </c:pt>
                <c:pt idx="741">
                  <c:v>23.714285714285715</c:v>
                </c:pt>
                <c:pt idx="742">
                  <c:v>24.571428571428573</c:v>
                </c:pt>
                <c:pt idx="743">
                  <c:v>25.285714285714285</c:v>
                </c:pt>
                <c:pt idx="744">
                  <c:v>25.857142857142858</c:v>
                </c:pt>
                <c:pt idx="745">
                  <c:v>27</c:v>
                </c:pt>
                <c:pt idx="746">
                  <c:v>28.142857142857142</c:v>
                </c:pt>
                <c:pt idx="747">
                  <c:v>24.142857142857142</c:v>
                </c:pt>
                <c:pt idx="748">
                  <c:v>22.571428571428573</c:v>
                </c:pt>
                <c:pt idx="749">
                  <c:v>22.285714285714285</c:v>
                </c:pt>
                <c:pt idx="750">
                  <c:v>22.428571428571427</c:v>
                </c:pt>
                <c:pt idx="751">
                  <c:v>22</c:v>
                </c:pt>
                <c:pt idx="752">
                  <c:v>21.142857142857142</c:v>
                </c:pt>
                <c:pt idx="753">
                  <c:v>20.142857142857142</c:v>
                </c:pt>
                <c:pt idx="754">
                  <c:v>24</c:v>
                </c:pt>
                <c:pt idx="755">
                  <c:v>25.428571428571427</c:v>
                </c:pt>
              </c:numCache>
            </c:numRef>
          </c:val>
          <c:smooth val="1"/>
          <c:extLst>
            <c:ext xmlns:c16="http://schemas.microsoft.com/office/drawing/2014/chart" uri="{C3380CC4-5D6E-409C-BE32-E72D297353CC}">
              <c16:uniqueId val="{00000000-38AB-47C2-92F1-DE1F6FCA452E}"/>
            </c:ext>
          </c:extLst>
        </c:ser>
        <c:ser>
          <c:idx val="1"/>
          <c:order val="1"/>
          <c:tx>
            <c:strRef>
              <c:f>charts!$H$1</c:f>
              <c:strCache>
                <c:ptCount val="1"/>
                <c:pt idx="0">
                  <c:v>workplaces</c:v>
                </c:pt>
              </c:strCache>
            </c:strRef>
          </c:tx>
          <c:spPr>
            <a:ln w="28575" cap="rnd">
              <a:solidFill>
                <a:srgbClr val="FF0000"/>
              </a:solidFill>
              <a:round/>
            </a:ln>
            <a:effectLst/>
          </c:spPr>
          <c:marker>
            <c:symbol val="none"/>
          </c:marker>
          <c:cat>
            <c:multiLvlStrRef>
              <c:f>charts!$A$2:$C$757</c:f>
              <c:multiLvlStrCache>
                <c:ptCount val="756"/>
                <c:lvl>
                  <c:pt idx="0">
                    <c:v>1-Mar</c:v>
                  </c:pt>
                  <c:pt idx="1">
                    <c:v>2-Mar</c:v>
                  </c:pt>
                  <c:pt idx="2">
                    <c:v>3-Mar</c:v>
                  </c:pt>
                  <c:pt idx="3">
                    <c:v>4-Mar</c:v>
                  </c:pt>
                  <c:pt idx="4">
                    <c:v>5-Mar</c:v>
                  </c:pt>
                  <c:pt idx="5">
                    <c:v>6-Mar</c:v>
                  </c:pt>
                  <c:pt idx="6">
                    <c:v>7-Mar</c:v>
                  </c:pt>
                  <c:pt idx="7">
                    <c:v>8-Mar</c:v>
                  </c:pt>
                  <c:pt idx="8">
                    <c:v>9-Mar</c:v>
                  </c:pt>
                  <c:pt idx="9">
                    <c:v>10-Mar</c:v>
                  </c:pt>
                  <c:pt idx="10">
                    <c:v>11-Mar</c:v>
                  </c:pt>
                  <c:pt idx="11">
                    <c:v>12-Mar</c:v>
                  </c:pt>
                  <c:pt idx="12">
                    <c:v>13-Mar</c:v>
                  </c:pt>
                  <c:pt idx="13">
                    <c:v>14-Mar</c:v>
                  </c:pt>
                  <c:pt idx="14">
                    <c:v>15-Mar</c:v>
                  </c:pt>
                  <c:pt idx="15">
                    <c:v>16-Mar</c:v>
                  </c:pt>
                  <c:pt idx="16">
                    <c:v>17-Mar</c:v>
                  </c:pt>
                  <c:pt idx="17">
                    <c:v>18-Mar</c:v>
                  </c:pt>
                  <c:pt idx="18">
                    <c:v>19-Mar</c:v>
                  </c:pt>
                  <c:pt idx="19">
                    <c:v>20-Mar</c:v>
                  </c:pt>
                  <c:pt idx="20">
                    <c:v>21-Mar</c:v>
                  </c:pt>
                  <c:pt idx="21">
                    <c:v>22-Mar</c:v>
                  </c:pt>
                  <c:pt idx="22">
                    <c:v>23-Mar</c:v>
                  </c:pt>
                  <c:pt idx="23">
                    <c:v>24-Mar</c:v>
                  </c:pt>
                  <c:pt idx="24">
                    <c:v>25-Mar</c:v>
                  </c:pt>
                  <c:pt idx="25">
                    <c:v>26-Mar</c:v>
                  </c:pt>
                  <c:pt idx="26">
                    <c:v>27-Mar</c:v>
                  </c:pt>
                  <c:pt idx="27">
                    <c:v>28-Mar</c:v>
                  </c:pt>
                  <c:pt idx="28">
                    <c:v>29-Mar</c:v>
                  </c:pt>
                  <c:pt idx="29">
                    <c:v>30-Mar</c:v>
                  </c:pt>
                  <c:pt idx="30">
                    <c:v>31-Mar</c:v>
                  </c:pt>
                  <c:pt idx="31">
                    <c:v>1-Apr</c:v>
                  </c:pt>
                  <c:pt idx="32">
                    <c:v>2-Apr</c:v>
                  </c:pt>
                  <c:pt idx="33">
                    <c:v>3-Apr</c:v>
                  </c:pt>
                  <c:pt idx="34">
                    <c:v>4-Apr</c:v>
                  </c:pt>
                  <c:pt idx="35">
                    <c:v>5-Apr</c:v>
                  </c:pt>
                  <c:pt idx="36">
                    <c:v>6-Apr</c:v>
                  </c:pt>
                  <c:pt idx="37">
                    <c:v>7-Apr</c:v>
                  </c:pt>
                  <c:pt idx="38">
                    <c:v>8-Apr</c:v>
                  </c:pt>
                  <c:pt idx="39">
                    <c:v>9-Apr</c:v>
                  </c:pt>
                  <c:pt idx="40">
                    <c:v>10-Apr</c:v>
                  </c:pt>
                  <c:pt idx="41">
                    <c:v>11-Apr</c:v>
                  </c:pt>
                  <c:pt idx="42">
                    <c:v>12-Apr</c:v>
                  </c:pt>
                  <c:pt idx="43">
                    <c:v>13-Apr</c:v>
                  </c:pt>
                  <c:pt idx="44">
                    <c:v>14-Apr</c:v>
                  </c:pt>
                  <c:pt idx="45">
                    <c:v>15-Apr</c:v>
                  </c:pt>
                  <c:pt idx="46">
                    <c:v>16-Apr</c:v>
                  </c:pt>
                  <c:pt idx="47">
                    <c:v>17-Apr</c:v>
                  </c:pt>
                  <c:pt idx="48">
                    <c:v>18-Apr</c:v>
                  </c:pt>
                  <c:pt idx="49">
                    <c:v>19-Apr</c:v>
                  </c:pt>
                  <c:pt idx="50">
                    <c:v>20-Apr</c:v>
                  </c:pt>
                  <c:pt idx="51">
                    <c:v>21-Apr</c:v>
                  </c:pt>
                  <c:pt idx="52">
                    <c:v>22-Apr</c:v>
                  </c:pt>
                  <c:pt idx="53">
                    <c:v>23-Apr</c:v>
                  </c:pt>
                  <c:pt idx="54">
                    <c:v>24-Apr</c:v>
                  </c:pt>
                  <c:pt idx="55">
                    <c:v>25-Apr</c:v>
                  </c:pt>
                  <c:pt idx="56">
                    <c:v>26-Apr</c:v>
                  </c:pt>
                  <c:pt idx="57">
                    <c:v>27-Apr</c:v>
                  </c:pt>
                  <c:pt idx="58">
                    <c:v>28-Apr</c:v>
                  </c:pt>
                  <c:pt idx="59">
                    <c:v>29-Apr</c:v>
                  </c:pt>
                  <c:pt idx="60">
                    <c:v>30-Apr</c:v>
                  </c:pt>
                  <c:pt idx="61">
                    <c:v>1-May</c:v>
                  </c:pt>
                  <c:pt idx="62">
                    <c:v>2-May</c:v>
                  </c:pt>
                  <c:pt idx="63">
                    <c:v>3-May</c:v>
                  </c:pt>
                  <c:pt idx="64">
                    <c:v>4-May</c:v>
                  </c:pt>
                  <c:pt idx="65">
                    <c:v>5-May</c:v>
                  </c:pt>
                  <c:pt idx="66">
                    <c:v>6-May</c:v>
                  </c:pt>
                  <c:pt idx="67">
                    <c:v>7-May</c:v>
                  </c:pt>
                  <c:pt idx="68">
                    <c:v>8-May</c:v>
                  </c:pt>
                  <c:pt idx="69">
                    <c:v>9-May</c:v>
                  </c:pt>
                  <c:pt idx="70">
                    <c:v>10-May</c:v>
                  </c:pt>
                  <c:pt idx="71">
                    <c:v>11-May</c:v>
                  </c:pt>
                  <c:pt idx="72">
                    <c:v>12-May</c:v>
                  </c:pt>
                  <c:pt idx="73">
                    <c:v>13-May</c:v>
                  </c:pt>
                  <c:pt idx="74">
                    <c:v>14-May</c:v>
                  </c:pt>
                  <c:pt idx="75">
                    <c:v>15-May</c:v>
                  </c:pt>
                  <c:pt idx="76">
                    <c:v>16-May</c:v>
                  </c:pt>
                  <c:pt idx="77">
                    <c:v>17-May</c:v>
                  </c:pt>
                  <c:pt idx="78">
                    <c:v>18-May</c:v>
                  </c:pt>
                  <c:pt idx="79">
                    <c:v>19-May</c:v>
                  </c:pt>
                  <c:pt idx="80">
                    <c:v>20-May</c:v>
                  </c:pt>
                  <c:pt idx="81">
                    <c:v>21-May</c:v>
                  </c:pt>
                  <c:pt idx="82">
                    <c:v>22-May</c:v>
                  </c:pt>
                  <c:pt idx="83">
                    <c:v>23-May</c:v>
                  </c:pt>
                  <c:pt idx="84">
                    <c:v>24-May</c:v>
                  </c:pt>
                  <c:pt idx="85">
                    <c:v>25-May</c:v>
                  </c:pt>
                  <c:pt idx="86">
                    <c:v>26-May</c:v>
                  </c:pt>
                  <c:pt idx="87">
                    <c:v>27-May</c:v>
                  </c:pt>
                  <c:pt idx="88">
                    <c:v>28-May</c:v>
                  </c:pt>
                  <c:pt idx="89">
                    <c:v>29-May</c:v>
                  </c:pt>
                  <c:pt idx="90">
                    <c:v>30-May</c:v>
                  </c:pt>
                  <c:pt idx="91">
                    <c:v>31-May</c:v>
                  </c:pt>
                  <c:pt idx="92">
                    <c:v>1-Jun</c:v>
                  </c:pt>
                  <c:pt idx="93">
                    <c:v>2-Jun</c:v>
                  </c:pt>
                  <c:pt idx="94">
                    <c:v>3-Jun</c:v>
                  </c:pt>
                  <c:pt idx="95">
                    <c:v>4-Jun</c:v>
                  </c:pt>
                  <c:pt idx="96">
                    <c:v>5-Jun</c:v>
                  </c:pt>
                  <c:pt idx="97">
                    <c:v>6-Jun</c:v>
                  </c:pt>
                  <c:pt idx="98">
                    <c:v>7-Jun</c:v>
                  </c:pt>
                  <c:pt idx="99">
                    <c:v>8-Jun</c:v>
                  </c:pt>
                  <c:pt idx="100">
                    <c:v>9-Jun</c:v>
                  </c:pt>
                  <c:pt idx="101">
                    <c:v>10-Jun</c:v>
                  </c:pt>
                  <c:pt idx="102">
                    <c:v>11-Jun</c:v>
                  </c:pt>
                  <c:pt idx="103">
                    <c:v>12-Jun</c:v>
                  </c:pt>
                  <c:pt idx="104">
                    <c:v>13-Jun</c:v>
                  </c:pt>
                  <c:pt idx="105">
                    <c:v>14-Jun</c:v>
                  </c:pt>
                  <c:pt idx="106">
                    <c:v>15-Jun</c:v>
                  </c:pt>
                  <c:pt idx="107">
                    <c:v>16-Jun</c:v>
                  </c:pt>
                  <c:pt idx="108">
                    <c:v>17-Jun</c:v>
                  </c:pt>
                  <c:pt idx="109">
                    <c:v>18-Jun</c:v>
                  </c:pt>
                  <c:pt idx="110">
                    <c:v>19-Jun</c:v>
                  </c:pt>
                  <c:pt idx="111">
                    <c:v>20-Jun</c:v>
                  </c:pt>
                  <c:pt idx="112">
                    <c:v>21-Jun</c:v>
                  </c:pt>
                  <c:pt idx="113">
                    <c:v>22-Jun</c:v>
                  </c:pt>
                  <c:pt idx="114">
                    <c:v>23-Jun</c:v>
                  </c:pt>
                  <c:pt idx="115">
                    <c:v>24-Jun</c:v>
                  </c:pt>
                  <c:pt idx="116">
                    <c:v>25-Jun</c:v>
                  </c:pt>
                  <c:pt idx="117">
                    <c:v>26-Jun</c:v>
                  </c:pt>
                  <c:pt idx="118">
                    <c:v>27-Jun</c:v>
                  </c:pt>
                  <c:pt idx="119">
                    <c:v>28-Jun</c:v>
                  </c:pt>
                  <c:pt idx="120">
                    <c:v>29-Jun</c:v>
                  </c:pt>
                  <c:pt idx="121">
                    <c:v>30-Jun</c:v>
                  </c:pt>
                  <c:pt idx="122">
                    <c:v>1-Jul</c:v>
                  </c:pt>
                  <c:pt idx="123">
                    <c:v>2-Jul</c:v>
                  </c:pt>
                  <c:pt idx="124">
                    <c:v>3-Jul</c:v>
                  </c:pt>
                  <c:pt idx="125">
                    <c:v>4-Jul</c:v>
                  </c:pt>
                  <c:pt idx="126">
                    <c:v>5-Jul</c:v>
                  </c:pt>
                  <c:pt idx="127">
                    <c:v>6-Jul</c:v>
                  </c:pt>
                  <c:pt idx="128">
                    <c:v>7-Jul</c:v>
                  </c:pt>
                  <c:pt idx="129">
                    <c:v>8-Jul</c:v>
                  </c:pt>
                  <c:pt idx="130">
                    <c:v>9-Jul</c:v>
                  </c:pt>
                  <c:pt idx="131">
                    <c:v>10-Jul</c:v>
                  </c:pt>
                  <c:pt idx="132">
                    <c:v>11-Jul</c:v>
                  </c:pt>
                  <c:pt idx="133">
                    <c:v>12-Jul</c:v>
                  </c:pt>
                  <c:pt idx="134">
                    <c:v>13-Jul</c:v>
                  </c:pt>
                  <c:pt idx="135">
                    <c:v>14-Jul</c:v>
                  </c:pt>
                  <c:pt idx="136">
                    <c:v>15-Jul</c:v>
                  </c:pt>
                  <c:pt idx="137">
                    <c:v>16-Jul</c:v>
                  </c:pt>
                  <c:pt idx="138">
                    <c:v>17-Jul</c:v>
                  </c:pt>
                  <c:pt idx="139">
                    <c:v>18-Jul</c:v>
                  </c:pt>
                  <c:pt idx="140">
                    <c:v>19-Jul</c:v>
                  </c:pt>
                  <c:pt idx="141">
                    <c:v>20-Jul</c:v>
                  </c:pt>
                  <c:pt idx="142">
                    <c:v>21-Jul</c:v>
                  </c:pt>
                  <c:pt idx="143">
                    <c:v>22-Jul</c:v>
                  </c:pt>
                  <c:pt idx="144">
                    <c:v>23-Jul</c:v>
                  </c:pt>
                  <c:pt idx="145">
                    <c:v>24-Jul</c:v>
                  </c:pt>
                  <c:pt idx="146">
                    <c:v>25-Jul</c:v>
                  </c:pt>
                  <c:pt idx="147">
                    <c:v>26-Jul</c:v>
                  </c:pt>
                  <c:pt idx="148">
                    <c:v>27-Jul</c:v>
                  </c:pt>
                  <c:pt idx="149">
                    <c:v>28-Jul</c:v>
                  </c:pt>
                  <c:pt idx="150">
                    <c:v>29-Jul</c:v>
                  </c:pt>
                  <c:pt idx="151">
                    <c:v>30-Jul</c:v>
                  </c:pt>
                  <c:pt idx="152">
                    <c:v>31-Jul</c:v>
                  </c:pt>
                  <c:pt idx="153">
                    <c:v>1-Aug</c:v>
                  </c:pt>
                  <c:pt idx="154">
                    <c:v>2-Aug</c:v>
                  </c:pt>
                  <c:pt idx="155">
                    <c:v>3-Aug</c:v>
                  </c:pt>
                  <c:pt idx="156">
                    <c:v>4-Aug</c:v>
                  </c:pt>
                  <c:pt idx="157">
                    <c:v>5-Aug</c:v>
                  </c:pt>
                  <c:pt idx="158">
                    <c:v>6-Aug</c:v>
                  </c:pt>
                  <c:pt idx="159">
                    <c:v>7-Aug</c:v>
                  </c:pt>
                  <c:pt idx="160">
                    <c:v>8-Aug</c:v>
                  </c:pt>
                  <c:pt idx="161">
                    <c:v>9-Aug</c:v>
                  </c:pt>
                  <c:pt idx="162">
                    <c:v>10-Aug</c:v>
                  </c:pt>
                  <c:pt idx="163">
                    <c:v>11-Aug</c:v>
                  </c:pt>
                  <c:pt idx="164">
                    <c:v>12-Aug</c:v>
                  </c:pt>
                  <c:pt idx="165">
                    <c:v>13-Aug</c:v>
                  </c:pt>
                  <c:pt idx="166">
                    <c:v>14-Aug</c:v>
                  </c:pt>
                  <c:pt idx="167">
                    <c:v>15-Aug</c:v>
                  </c:pt>
                  <c:pt idx="168">
                    <c:v>16-Aug</c:v>
                  </c:pt>
                  <c:pt idx="169">
                    <c:v>17-Aug</c:v>
                  </c:pt>
                  <c:pt idx="170">
                    <c:v>18-Aug</c:v>
                  </c:pt>
                  <c:pt idx="171">
                    <c:v>19-Aug</c:v>
                  </c:pt>
                  <c:pt idx="172">
                    <c:v>20-Aug</c:v>
                  </c:pt>
                  <c:pt idx="173">
                    <c:v>21-Aug</c:v>
                  </c:pt>
                  <c:pt idx="174">
                    <c:v>22-Aug</c:v>
                  </c:pt>
                  <c:pt idx="175">
                    <c:v>23-Aug</c:v>
                  </c:pt>
                  <c:pt idx="176">
                    <c:v>24-Aug</c:v>
                  </c:pt>
                  <c:pt idx="177">
                    <c:v>25-Aug</c:v>
                  </c:pt>
                  <c:pt idx="178">
                    <c:v>26-Aug</c:v>
                  </c:pt>
                  <c:pt idx="179">
                    <c:v>27-Aug</c:v>
                  </c:pt>
                  <c:pt idx="180">
                    <c:v>28-Aug</c:v>
                  </c:pt>
                  <c:pt idx="181">
                    <c:v>29-Aug</c:v>
                  </c:pt>
                  <c:pt idx="182">
                    <c:v>30-Aug</c:v>
                  </c:pt>
                  <c:pt idx="183">
                    <c:v>31-Aug</c:v>
                  </c:pt>
                  <c:pt idx="184">
                    <c:v>1-Sep</c:v>
                  </c:pt>
                  <c:pt idx="185">
                    <c:v>2-Sep</c:v>
                  </c:pt>
                  <c:pt idx="186">
                    <c:v>3-Sep</c:v>
                  </c:pt>
                  <c:pt idx="187">
                    <c:v>4-Sep</c:v>
                  </c:pt>
                  <c:pt idx="188">
                    <c:v>5-Sep</c:v>
                  </c:pt>
                  <c:pt idx="189">
                    <c:v>6-Sep</c:v>
                  </c:pt>
                  <c:pt idx="190">
                    <c:v>7-Sep</c:v>
                  </c:pt>
                  <c:pt idx="191">
                    <c:v>8-Sep</c:v>
                  </c:pt>
                  <c:pt idx="192">
                    <c:v>9-Sep</c:v>
                  </c:pt>
                  <c:pt idx="193">
                    <c:v>10-Sep</c:v>
                  </c:pt>
                  <c:pt idx="194">
                    <c:v>11-Sep</c:v>
                  </c:pt>
                  <c:pt idx="195">
                    <c:v>12-Sep</c:v>
                  </c:pt>
                  <c:pt idx="196">
                    <c:v>13-Sep</c:v>
                  </c:pt>
                  <c:pt idx="197">
                    <c:v>14-Sep</c:v>
                  </c:pt>
                  <c:pt idx="198">
                    <c:v>15-Sep</c:v>
                  </c:pt>
                  <c:pt idx="199">
                    <c:v>16-Sep</c:v>
                  </c:pt>
                  <c:pt idx="200">
                    <c:v>17-Sep</c:v>
                  </c:pt>
                  <c:pt idx="201">
                    <c:v>18-Sep</c:v>
                  </c:pt>
                  <c:pt idx="202">
                    <c:v>19-Sep</c:v>
                  </c:pt>
                  <c:pt idx="203">
                    <c:v>20-Sep</c:v>
                  </c:pt>
                  <c:pt idx="204">
                    <c:v>21-Sep</c:v>
                  </c:pt>
                  <c:pt idx="205">
                    <c:v>22-Sep</c:v>
                  </c:pt>
                  <c:pt idx="206">
                    <c:v>23-Sep</c:v>
                  </c:pt>
                  <c:pt idx="207">
                    <c:v>24-Sep</c:v>
                  </c:pt>
                  <c:pt idx="208">
                    <c:v>25-Sep</c:v>
                  </c:pt>
                  <c:pt idx="209">
                    <c:v>26-Sep</c:v>
                  </c:pt>
                  <c:pt idx="210">
                    <c:v>27-Sep</c:v>
                  </c:pt>
                  <c:pt idx="211">
                    <c:v>28-Sep</c:v>
                  </c:pt>
                  <c:pt idx="212">
                    <c:v>29-Sep</c:v>
                  </c:pt>
                  <c:pt idx="213">
                    <c:v>30-Sep</c:v>
                  </c:pt>
                  <c:pt idx="214">
                    <c:v>1-Oct</c:v>
                  </c:pt>
                  <c:pt idx="215">
                    <c:v>2-Oct</c:v>
                  </c:pt>
                  <c:pt idx="216">
                    <c:v>3-Oct</c:v>
                  </c:pt>
                  <c:pt idx="217">
                    <c:v>4-Oct</c:v>
                  </c:pt>
                  <c:pt idx="218">
                    <c:v>5-Oct</c:v>
                  </c:pt>
                  <c:pt idx="219">
                    <c:v>6-Oct</c:v>
                  </c:pt>
                  <c:pt idx="220">
                    <c:v>7-Oct</c:v>
                  </c:pt>
                  <c:pt idx="221">
                    <c:v>8-Oct</c:v>
                  </c:pt>
                  <c:pt idx="222">
                    <c:v>9-Oct</c:v>
                  </c:pt>
                  <c:pt idx="223">
                    <c:v>10-Oct</c:v>
                  </c:pt>
                  <c:pt idx="224">
                    <c:v>11-Oct</c:v>
                  </c:pt>
                  <c:pt idx="225">
                    <c:v>12-Oct</c:v>
                  </c:pt>
                  <c:pt idx="226">
                    <c:v>13-Oct</c:v>
                  </c:pt>
                  <c:pt idx="227">
                    <c:v>14-Oct</c:v>
                  </c:pt>
                  <c:pt idx="228">
                    <c:v>15-Oct</c:v>
                  </c:pt>
                  <c:pt idx="229">
                    <c:v>16-Oct</c:v>
                  </c:pt>
                  <c:pt idx="230">
                    <c:v>17-Oct</c:v>
                  </c:pt>
                  <c:pt idx="231">
                    <c:v>18-Oct</c:v>
                  </c:pt>
                  <c:pt idx="232">
                    <c:v>19-Oct</c:v>
                  </c:pt>
                  <c:pt idx="233">
                    <c:v>20-Oct</c:v>
                  </c:pt>
                  <c:pt idx="234">
                    <c:v>21-Oct</c:v>
                  </c:pt>
                  <c:pt idx="235">
                    <c:v>22-Oct</c:v>
                  </c:pt>
                  <c:pt idx="236">
                    <c:v>23-Oct</c:v>
                  </c:pt>
                  <c:pt idx="237">
                    <c:v>24-Oct</c:v>
                  </c:pt>
                  <c:pt idx="238">
                    <c:v>25-Oct</c:v>
                  </c:pt>
                  <c:pt idx="239">
                    <c:v>26-Oct</c:v>
                  </c:pt>
                  <c:pt idx="240">
                    <c:v>27-Oct</c:v>
                  </c:pt>
                  <c:pt idx="241">
                    <c:v>28-Oct</c:v>
                  </c:pt>
                  <c:pt idx="242">
                    <c:v>29-Oct</c:v>
                  </c:pt>
                  <c:pt idx="243">
                    <c:v>30-Oct</c:v>
                  </c:pt>
                  <c:pt idx="244">
                    <c:v>31-Oct</c:v>
                  </c:pt>
                  <c:pt idx="245">
                    <c:v>1-Nov</c:v>
                  </c:pt>
                  <c:pt idx="246">
                    <c:v>2-Nov</c:v>
                  </c:pt>
                  <c:pt idx="247">
                    <c:v>3-Nov</c:v>
                  </c:pt>
                  <c:pt idx="248">
                    <c:v>4-Nov</c:v>
                  </c:pt>
                  <c:pt idx="249">
                    <c:v>5-Nov</c:v>
                  </c:pt>
                  <c:pt idx="250">
                    <c:v>6-Nov</c:v>
                  </c:pt>
                  <c:pt idx="251">
                    <c:v>7-Nov</c:v>
                  </c:pt>
                  <c:pt idx="252">
                    <c:v>8-Nov</c:v>
                  </c:pt>
                  <c:pt idx="253">
                    <c:v>9-Nov</c:v>
                  </c:pt>
                  <c:pt idx="254">
                    <c:v>10-Nov</c:v>
                  </c:pt>
                  <c:pt idx="255">
                    <c:v>11-Nov</c:v>
                  </c:pt>
                  <c:pt idx="256">
                    <c:v>12-Nov</c:v>
                  </c:pt>
                  <c:pt idx="257">
                    <c:v>13-Nov</c:v>
                  </c:pt>
                  <c:pt idx="258">
                    <c:v>14-Nov</c:v>
                  </c:pt>
                  <c:pt idx="259">
                    <c:v>15-Nov</c:v>
                  </c:pt>
                  <c:pt idx="260">
                    <c:v>16-Nov</c:v>
                  </c:pt>
                  <c:pt idx="261">
                    <c:v>17-Nov</c:v>
                  </c:pt>
                  <c:pt idx="262">
                    <c:v>18-Nov</c:v>
                  </c:pt>
                  <c:pt idx="263">
                    <c:v>19-Nov</c:v>
                  </c:pt>
                  <c:pt idx="264">
                    <c:v>20-Nov</c:v>
                  </c:pt>
                  <c:pt idx="265">
                    <c:v>21-Nov</c:v>
                  </c:pt>
                  <c:pt idx="266">
                    <c:v>22-Nov</c:v>
                  </c:pt>
                  <c:pt idx="267">
                    <c:v>23-Nov</c:v>
                  </c:pt>
                  <c:pt idx="268">
                    <c:v>24-Nov</c:v>
                  </c:pt>
                  <c:pt idx="269">
                    <c:v>25-Nov</c:v>
                  </c:pt>
                  <c:pt idx="270">
                    <c:v>26-Nov</c:v>
                  </c:pt>
                  <c:pt idx="271">
                    <c:v>27-Nov</c:v>
                  </c:pt>
                  <c:pt idx="272">
                    <c:v>28-Nov</c:v>
                  </c:pt>
                  <c:pt idx="273">
                    <c:v>29-Nov</c:v>
                  </c:pt>
                  <c:pt idx="274">
                    <c:v>30-Nov</c:v>
                  </c:pt>
                  <c:pt idx="275">
                    <c:v>1-Dec</c:v>
                  </c:pt>
                  <c:pt idx="276">
                    <c:v>2-Dec</c:v>
                  </c:pt>
                  <c:pt idx="277">
                    <c:v>3-Dec</c:v>
                  </c:pt>
                  <c:pt idx="278">
                    <c:v>4-Dec</c:v>
                  </c:pt>
                  <c:pt idx="279">
                    <c:v>5-Dec</c:v>
                  </c:pt>
                  <c:pt idx="280">
                    <c:v>6-Dec</c:v>
                  </c:pt>
                  <c:pt idx="281">
                    <c:v>7-Dec</c:v>
                  </c:pt>
                  <c:pt idx="282">
                    <c:v>8-Dec</c:v>
                  </c:pt>
                  <c:pt idx="283">
                    <c:v>9-Dec</c:v>
                  </c:pt>
                  <c:pt idx="284">
                    <c:v>10-Dec</c:v>
                  </c:pt>
                  <c:pt idx="285">
                    <c:v>11-Dec</c:v>
                  </c:pt>
                  <c:pt idx="286">
                    <c:v>12-Dec</c:v>
                  </c:pt>
                  <c:pt idx="287">
                    <c:v>13-Dec</c:v>
                  </c:pt>
                  <c:pt idx="288">
                    <c:v>14-Dec</c:v>
                  </c:pt>
                  <c:pt idx="289">
                    <c:v>15-Dec</c:v>
                  </c:pt>
                  <c:pt idx="290">
                    <c:v>16-Dec</c:v>
                  </c:pt>
                  <c:pt idx="291">
                    <c:v>17-Dec</c:v>
                  </c:pt>
                  <c:pt idx="292">
                    <c:v>18-Dec</c:v>
                  </c:pt>
                  <c:pt idx="293">
                    <c:v>19-Dec</c:v>
                  </c:pt>
                  <c:pt idx="294">
                    <c:v>20-Dec</c:v>
                  </c:pt>
                  <c:pt idx="295">
                    <c:v>21-Dec</c:v>
                  </c:pt>
                  <c:pt idx="296">
                    <c:v>22-Dec</c:v>
                  </c:pt>
                  <c:pt idx="297">
                    <c:v>23-Dec</c:v>
                  </c:pt>
                  <c:pt idx="298">
                    <c:v>24-Dec</c:v>
                  </c:pt>
                  <c:pt idx="299">
                    <c:v>25-Dec</c:v>
                  </c:pt>
                  <c:pt idx="300">
                    <c:v>26-Dec</c:v>
                  </c:pt>
                  <c:pt idx="301">
                    <c:v>27-Dec</c:v>
                  </c:pt>
                  <c:pt idx="302">
                    <c:v>28-Dec</c:v>
                  </c:pt>
                  <c:pt idx="303">
                    <c:v>29-Dec</c:v>
                  </c:pt>
                  <c:pt idx="304">
                    <c:v>30-Dec</c:v>
                  </c:pt>
                  <c:pt idx="305">
                    <c:v>31-Dec</c:v>
                  </c:pt>
                  <c:pt idx="306">
                    <c:v>1-Jan</c:v>
                  </c:pt>
                  <c:pt idx="307">
                    <c:v>2-Jan</c:v>
                  </c:pt>
                  <c:pt idx="308">
                    <c:v>3-Jan</c:v>
                  </c:pt>
                  <c:pt idx="309">
                    <c:v>4-Jan</c:v>
                  </c:pt>
                  <c:pt idx="310">
                    <c:v>5-Jan</c:v>
                  </c:pt>
                  <c:pt idx="311">
                    <c:v>6-Jan</c:v>
                  </c:pt>
                  <c:pt idx="312">
                    <c:v>7-Jan</c:v>
                  </c:pt>
                  <c:pt idx="313">
                    <c:v>8-Jan</c:v>
                  </c:pt>
                  <c:pt idx="314">
                    <c:v>9-Jan</c:v>
                  </c:pt>
                  <c:pt idx="315">
                    <c:v>10-Jan</c:v>
                  </c:pt>
                  <c:pt idx="316">
                    <c:v>11-Jan</c:v>
                  </c:pt>
                  <c:pt idx="317">
                    <c:v>12-Jan</c:v>
                  </c:pt>
                  <c:pt idx="318">
                    <c:v>13-Jan</c:v>
                  </c:pt>
                  <c:pt idx="319">
                    <c:v>14-Jan</c:v>
                  </c:pt>
                  <c:pt idx="320">
                    <c:v>15-Jan</c:v>
                  </c:pt>
                  <c:pt idx="321">
                    <c:v>16-Jan</c:v>
                  </c:pt>
                  <c:pt idx="322">
                    <c:v>17-Jan</c:v>
                  </c:pt>
                  <c:pt idx="323">
                    <c:v>18-Jan</c:v>
                  </c:pt>
                  <c:pt idx="324">
                    <c:v>19-Jan</c:v>
                  </c:pt>
                  <c:pt idx="325">
                    <c:v>20-Jan</c:v>
                  </c:pt>
                  <c:pt idx="326">
                    <c:v>21-Jan</c:v>
                  </c:pt>
                  <c:pt idx="327">
                    <c:v>22-Jan</c:v>
                  </c:pt>
                  <c:pt idx="328">
                    <c:v>23-Jan</c:v>
                  </c:pt>
                  <c:pt idx="329">
                    <c:v>24-Jan</c:v>
                  </c:pt>
                  <c:pt idx="330">
                    <c:v>25-Jan</c:v>
                  </c:pt>
                  <c:pt idx="331">
                    <c:v>26-Jan</c:v>
                  </c:pt>
                  <c:pt idx="332">
                    <c:v>27-Jan</c:v>
                  </c:pt>
                  <c:pt idx="333">
                    <c:v>28-Jan</c:v>
                  </c:pt>
                  <c:pt idx="334">
                    <c:v>29-Jan</c:v>
                  </c:pt>
                  <c:pt idx="335">
                    <c:v>30-Jan</c:v>
                  </c:pt>
                  <c:pt idx="336">
                    <c:v>31-Jan</c:v>
                  </c:pt>
                  <c:pt idx="337">
                    <c:v>1-Feb</c:v>
                  </c:pt>
                  <c:pt idx="338">
                    <c:v>2-Feb</c:v>
                  </c:pt>
                  <c:pt idx="339">
                    <c:v>3-Feb</c:v>
                  </c:pt>
                  <c:pt idx="340">
                    <c:v>4-Feb</c:v>
                  </c:pt>
                  <c:pt idx="341">
                    <c:v>5-Feb</c:v>
                  </c:pt>
                  <c:pt idx="342">
                    <c:v>6-Feb</c:v>
                  </c:pt>
                  <c:pt idx="343">
                    <c:v>7-Feb</c:v>
                  </c:pt>
                  <c:pt idx="344">
                    <c:v>8-Feb</c:v>
                  </c:pt>
                  <c:pt idx="345">
                    <c:v>9-Feb</c:v>
                  </c:pt>
                  <c:pt idx="346">
                    <c:v>10-Feb</c:v>
                  </c:pt>
                  <c:pt idx="347">
                    <c:v>11-Feb</c:v>
                  </c:pt>
                  <c:pt idx="348">
                    <c:v>12-Feb</c:v>
                  </c:pt>
                  <c:pt idx="349">
                    <c:v>13-Feb</c:v>
                  </c:pt>
                  <c:pt idx="350">
                    <c:v>14-Feb</c:v>
                  </c:pt>
                  <c:pt idx="351">
                    <c:v>15-Feb</c:v>
                  </c:pt>
                  <c:pt idx="352">
                    <c:v>16-Feb</c:v>
                  </c:pt>
                  <c:pt idx="353">
                    <c:v>17-Feb</c:v>
                  </c:pt>
                  <c:pt idx="354">
                    <c:v>18-Feb</c:v>
                  </c:pt>
                  <c:pt idx="355">
                    <c:v>19-Feb</c:v>
                  </c:pt>
                  <c:pt idx="356">
                    <c:v>20-Feb</c:v>
                  </c:pt>
                  <c:pt idx="357">
                    <c:v>21-Feb</c:v>
                  </c:pt>
                  <c:pt idx="358">
                    <c:v>22-Feb</c:v>
                  </c:pt>
                  <c:pt idx="359">
                    <c:v>23-Feb</c:v>
                  </c:pt>
                  <c:pt idx="360">
                    <c:v>24-Feb</c:v>
                  </c:pt>
                  <c:pt idx="361">
                    <c:v>25-Feb</c:v>
                  </c:pt>
                  <c:pt idx="362">
                    <c:v>26-Feb</c:v>
                  </c:pt>
                  <c:pt idx="363">
                    <c:v>27-Feb</c:v>
                  </c:pt>
                  <c:pt idx="364">
                    <c:v>28-Feb</c:v>
                  </c:pt>
                  <c:pt idx="365">
                    <c:v>1-Mar</c:v>
                  </c:pt>
                  <c:pt idx="366">
                    <c:v>2-Mar</c:v>
                  </c:pt>
                  <c:pt idx="367">
                    <c:v>3-Mar</c:v>
                  </c:pt>
                  <c:pt idx="368">
                    <c:v>4-Mar</c:v>
                  </c:pt>
                  <c:pt idx="369">
                    <c:v>5-Mar</c:v>
                  </c:pt>
                  <c:pt idx="370">
                    <c:v>6-Mar</c:v>
                  </c:pt>
                  <c:pt idx="371">
                    <c:v>7-Mar</c:v>
                  </c:pt>
                  <c:pt idx="372">
                    <c:v>8-Mar</c:v>
                  </c:pt>
                  <c:pt idx="373">
                    <c:v>9-Mar</c:v>
                  </c:pt>
                  <c:pt idx="374">
                    <c:v>10-Mar</c:v>
                  </c:pt>
                  <c:pt idx="375">
                    <c:v>11-Mar</c:v>
                  </c:pt>
                  <c:pt idx="376">
                    <c:v>12-Mar</c:v>
                  </c:pt>
                  <c:pt idx="377">
                    <c:v>13-Mar</c:v>
                  </c:pt>
                  <c:pt idx="378">
                    <c:v>14-Mar</c:v>
                  </c:pt>
                  <c:pt idx="379">
                    <c:v>15-Mar</c:v>
                  </c:pt>
                  <c:pt idx="380">
                    <c:v>16-Mar</c:v>
                  </c:pt>
                  <c:pt idx="381">
                    <c:v>17-Mar</c:v>
                  </c:pt>
                  <c:pt idx="382">
                    <c:v>18-Mar</c:v>
                  </c:pt>
                  <c:pt idx="383">
                    <c:v>19-Mar</c:v>
                  </c:pt>
                  <c:pt idx="384">
                    <c:v>20-Mar</c:v>
                  </c:pt>
                  <c:pt idx="385">
                    <c:v>21-Mar</c:v>
                  </c:pt>
                  <c:pt idx="386">
                    <c:v>22-Mar</c:v>
                  </c:pt>
                  <c:pt idx="387">
                    <c:v>23-Mar</c:v>
                  </c:pt>
                  <c:pt idx="388">
                    <c:v>24-Mar</c:v>
                  </c:pt>
                  <c:pt idx="389">
                    <c:v>25-Mar</c:v>
                  </c:pt>
                  <c:pt idx="390">
                    <c:v>26-Mar</c:v>
                  </c:pt>
                  <c:pt idx="391">
                    <c:v>27-Mar</c:v>
                  </c:pt>
                  <c:pt idx="392">
                    <c:v>28-Mar</c:v>
                  </c:pt>
                  <c:pt idx="393">
                    <c:v>29-Mar</c:v>
                  </c:pt>
                  <c:pt idx="394">
                    <c:v>30-Mar</c:v>
                  </c:pt>
                  <c:pt idx="395">
                    <c:v>31-Mar</c:v>
                  </c:pt>
                  <c:pt idx="396">
                    <c:v>1-Apr</c:v>
                  </c:pt>
                  <c:pt idx="397">
                    <c:v>2-Apr</c:v>
                  </c:pt>
                  <c:pt idx="398">
                    <c:v>3-Apr</c:v>
                  </c:pt>
                  <c:pt idx="399">
                    <c:v>4-Apr</c:v>
                  </c:pt>
                  <c:pt idx="400">
                    <c:v>5-Apr</c:v>
                  </c:pt>
                  <c:pt idx="401">
                    <c:v>6-Apr</c:v>
                  </c:pt>
                  <c:pt idx="402">
                    <c:v>7-Apr</c:v>
                  </c:pt>
                  <c:pt idx="403">
                    <c:v>8-Apr</c:v>
                  </c:pt>
                  <c:pt idx="404">
                    <c:v>9-Apr</c:v>
                  </c:pt>
                  <c:pt idx="405">
                    <c:v>10-Apr</c:v>
                  </c:pt>
                  <c:pt idx="406">
                    <c:v>11-Apr</c:v>
                  </c:pt>
                  <c:pt idx="407">
                    <c:v>12-Apr</c:v>
                  </c:pt>
                  <c:pt idx="408">
                    <c:v>13-Apr</c:v>
                  </c:pt>
                  <c:pt idx="409">
                    <c:v>14-Apr</c:v>
                  </c:pt>
                  <c:pt idx="410">
                    <c:v>15-Apr</c:v>
                  </c:pt>
                  <c:pt idx="411">
                    <c:v>16-Apr</c:v>
                  </c:pt>
                  <c:pt idx="412">
                    <c:v>17-Apr</c:v>
                  </c:pt>
                  <c:pt idx="413">
                    <c:v>18-Apr</c:v>
                  </c:pt>
                  <c:pt idx="414">
                    <c:v>19-Apr</c:v>
                  </c:pt>
                  <c:pt idx="415">
                    <c:v>20-Apr</c:v>
                  </c:pt>
                  <c:pt idx="416">
                    <c:v>21-Apr</c:v>
                  </c:pt>
                  <c:pt idx="417">
                    <c:v>22-Apr</c:v>
                  </c:pt>
                  <c:pt idx="418">
                    <c:v>23-Apr</c:v>
                  </c:pt>
                  <c:pt idx="419">
                    <c:v>24-Apr</c:v>
                  </c:pt>
                  <c:pt idx="420">
                    <c:v>25-Apr</c:v>
                  </c:pt>
                  <c:pt idx="421">
                    <c:v>26-Apr</c:v>
                  </c:pt>
                  <c:pt idx="422">
                    <c:v>27-Apr</c:v>
                  </c:pt>
                  <c:pt idx="423">
                    <c:v>28-Apr</c:v>
                  </c:pt>
                  <c:pt idx="424">
                    <c:v>29-Apr</c:v>
                  </c:pt>
                  <c:pt idx="425">
                    <c:v>30-Apr</c:v>
                  </c:pt>
                  <c:pt idx="426">
                    <c:v>1-May</c:v>
                  </c:pt>
                  <c:pt idx="427">
                    <c:v>2-May</c:v>
                  </c:pt>
                  <c:pt idx="428">
                    <c:v>3-May</c:v>
                  </c:pt>
                  <c:pt idx="429">
                    <c:v>4-May</c:v>
                  </c:pt>
                  <c:pt idx="430">
                    <c:v>5-May</c:v>
                  </c:pt>
                  <c:pt idx="431">
                    <c:v>6-May</c:v>
                  </c:pt>
                  <c:pt idx="432">
                    <c:v>7-May</c:v>
                  </c:pt>
                  <c:pt idx="433">
                    <c:v>8-May</c:v>
                  </c:pt>
                  <c:pt idx="434">
                    <c:v>9-May</c:v>
                  </c:pt>
                  <c:pt idx="435">
                    <c:v>10-May</c:v>
                  </c:pt>
                  <c:pt idx="436">
                    <c:v>11-May</c:v>
                  </c:pt>
                  <c:pt idx="437">
                    <c:v>12-May</c:v>
                  </c:pt>
                  <c:pt idx="438">
                    <c:v>13-May</c:v>
                  </c:pt>
                  <c:pt idx="439">
                    <c:v>14-May</c:v>
                  </c:pt>
                  <c:pt idx="440">
                    <c:v>15-May</c:v>
                  </c:pt>
                  <c:pt idx="441">
                    <c:v>16-May</c:v>
                  </c:pt>
                  <c:pt idx="442">
                    <c:v>17-May</c:v>
                  </c:pt>
                  <c:pt idx="443">
                    <c:v>18-May</c:v>
                  </c:pt>
                  <c:pt idx="444">
                    <c:v>19-May</c:v>
                  </c:pt>
                  <c:pt idx="445">
                    <c:v>20-May</c:v>
                  </c:pt>
                  <c:pt idx="446">
                    <c:v>21-May</c:v>
                  </c:pt>
                  <c:pt idx="447">
                    <c:v>22-May</c:v>
                  </c:pt>
                  <c:pt idx="448">
                    <c:v>23-May</c:v>
                  </c:pt>
                  <c:pt idx="449">
                    <c:v>24-May</c:v>
                  </c:pt>
                  <c:pt idx="450">
                    <c:v>25-May</c:v>
                  </c:pt>
                  <c:pt idx="451">
                    <c:v>26-May</c:v>
                  </c:pt>
                  <c:pt idx="452">
                    <c:v>27-May</c:v>
                  </c:pt>
                  <c:pt idx="453">
                    <c:v>28-May</c:v>
                  </c:pt>
                  <c:pt idx="454">
                    <c:v>29-May</c:v>
                  </c:pt>
                  <c:pt idx="455">
                    <c:v>30-May</c:v>
                  </c:pt>
                  <c:pt idx="456">
                    <c:v>31-May</c:v>
                  </c:pt>
                  <c:pt idx="457">
                    <c:v>1-Jun</c:v>
                  </c:pt>
                  <c:pt idx="458">
                    <c:v>2-Jun</c:v>
                  </c:pt>
                  <c:pt idx="459">
                    <c:v>3-Jun</c:v>
                  </c:pt>
                  <c:pt idx="460">
                    <c:v>4-Jun</c:v>
                  </c:pt>
                  <c:pt idx="461">
                    <c:v>5-Jun</c:v>
                  </c:pt>
                  <c:pt idx="462">
                    <c:v>6-Jun</c:v>
                  </c:pt>
                  <c:pt idx="463">
                    <c:v>7-Jun</c:v>
                  </c:pt>
                  <c:pt idx="464">
                    <c:v>8-Jun</c:v>
                  </c:pt>
                  <c:pt idx="465">
                    <c:v>9-Jun</c:v>
                  </c:pt>
                  <c:pt idx="466">
                    <c:v>10-Jun</c:v>
                  </c:pt>
                  <c:pt idx="467">
                    <c:v>11-Jun</c:v>
                  </c:pt>
                  <c:pt idx="468">
                    <c:v>12-Jun</c:v>
                  </c:pt>
                  <c:pt idx="469">
                    <c:v>13-Jun</c:v>
                  </c:pt>
                  <c:pt idx="470">
                    <c:v>14-Jun</c:v>
                  </c:pt>
                  <c:pt idx="471">
                    <c:v>15-Jun</c:v>
                  </c:pt>
                  <c:pt idx="472">
                    <c:v>16-Jun</c:v>
                  </c:pt>
                  <c:pt idx="473">
                    <c:v>17-Jun</c:v>
                  </c:pt>
                  <c:pt idx="474">
                    <c:v>18-Jun</c:v>
                  </c:pt>
                  <c:pt idx="475">
                    <c:v>19-Jun</c:v>
                  </c:pt>
                  <c:pt idx="476">
                    <c:v>20-Jun</c:v>
                  </c:pt>
                  <c:pt idx="477">
                    <c:v>21-Jun</c:v>
                  </c:pt>
                  <c:pt idx="478">
                    <c:v>22-Jun</c:v>
                  </c:pt>
                  <c:pt idx="479">
                    <c:v>23-Jun</c:v>
                  </c:pt>
                  <c:pt idx="480">
                    <c:v>24-Jun</c:v>
                  </c:pt>
                  <c:pt idx="481">
                    <c:v>25-Jun</c:v>
                  </c:pt>
                  <c:pt idx="482">
                    <c:v>26-Jun</c:v>
                  </c:pt>
                  <c:pt idx="483">
                    <c:v>27-Jun</c:v>
                  </c:pt>
                  <c:pt idx="484">
                    <c:v>28-Jun</c:v>
                  </c:pt>
                  <c:pt idx="485">
                    <c:v>29-Jun</c:v>
                  </c:pt>
                  <c:pt idx="486">
                    <c:v>30-Jun</c:v>
                  </c:pt>
                  <c:pt idx="487">
                    <c:v>1-Jul</c:v>
                  </c:pt>
                  <c:pt idx="488">
                    <c:v>2-Jul</c:v>
                  </c:pt>
                  <c:pt idx="489">
                    <c:v>3-Jul</c:v>
                  </c:pt>
                  <c:pt idx="490">
                    <c:v>4-Jul</c:v>
                  </c:pt>
                  <c:pt idx="491">
                    <c:v>5-Jul</c:v>
                  </c:pt>
                  <c:pt idx="492">
                    <c:v>6-Jul</c:v>
                  </c:pt>
                  <c:pt idx="493">
                    <c:v>7-Jul</c:v>
                  </c:pt>
                  <c:pt idx="494">
                    <c:v>8-Jul</c:v>
                  </c:pt>
                  <c:pt idx="495">
                    <c:v>9-Jul</c:v>
                  </c:pt>
                  <c:pt idx="496">
                    <c:v>10-Jul</c:v>
                  </c:pt>
                  <c:pt idx="497">
                    <c:v>11-Jul</c:v>
                  </c:pt>
                  <c:pt idx="498">
                    <c:v>12-Jul</c:v>
                  </c:pt>
                  <c:pt idx="499">
                    <c:v>13-Jul</c:v>
                  </c:pt>
                  <c:pt idx="500">
                    <c:v>14-Jul</c:v>
                  </c:pt>
                  <c:pt idx="501">
                    <c:v>15-Jul</c:v>
                  </c:pt>
                  <c:pt idx="502">
                    <c:v>16-Jul</c:v>
                  </c:pt>
                  <c:pt idx="503">
                    <c:v>17-Jul</c:v>
                  </c:pt>
                  <c:pt idx="504">
                    <c:v>18-Jul</c:v>
                  </c:pt>
                  <c:pt idx="505">
                    <c:v>19-Jul</c:v>
                  </c:pt>
                  <c:pt idx="506">
                    <c:v>20-Jul</c:v>
                  </c:pt>
                  <c:pt idx="507">
                    <c:v>21-Jul</c:v>
                  </c:pt>
                  <c:pt idx="508">
                    <c:v>22-Jul</c:v>
                  </c:pt>
                  <c:pt idx="509">
                    <c:v>23-Jul</c:v>
                  </c:pt>
                  <c:pt idx="510">
                    <c:v>24-Jul</c:v>
                  </c:pt>
                  <c:pt idx="511">
                    <c:v>25-Jul</c:v>
                  </c:pt>
                  <c:pt idx="512">
                    <c:v>26-Jul</c:v>
                  </c:pt>
                  <c:pt idx="513">
                    <c:v>27-Jul</c:v>
                  </c:pt>
                  <c:pt idx="514">
                    <c:v>28-Jul</c:v>
                  </c:pt>
                  <c:pt idx="515">
                    <c:v>29-Jul</c:v>
                  </c:pt>
                  <c:pt idx="516">
                    <c:v>30-Jul</c:v>
                  </c:pt>
                  <c:pt idx="517">
                    <c:v>31-Jul</c:v>
                  </c:pt>
                  <c:pt idx="518">
                    <c:v>1-Aug</c:v>
                  </c:pt>
                  <c:pt idx="519">
                    <c:v>2-Aug</c:v>
                  </c:pt>
                  <c:pt idx="520">
                    <c:v>3-Aug</c:v>
                  </c:pt>
                  <c:pt idx="521">
                    <c:v>4-Aug</c:v>
                  </c:pt>
                  <c:pt idx="522">
                    <c:v>5-Aug</c:v>
                  </c:pt>
                  <c:pt idx="523">
                    <c:v>6-Aug</c:v>
                  </c:pt>
                  <c:pt idx="524">
                    <c:v>7-Aug</c:v>
                  </c:pt>
                  <c:pt idx="525">
                    <c:v>8-Aug</c:v>
                  </c:pt>
                  <c:pt idx="526">
                    <c:v>9-Aug</c:v>
                  </c:pt>
                  <c:pt idx="527">
                    <c:v>10-Aug</c:v>
                  </c:pt>
                  <c:pt idx="528">
                    <c:v>11-Aug</c:v>
                  </c:pt>
                  <c:pt idx="529">
                    <c:v>12-Aug</c:v>
                  </c:pt>
                  <c:pt idx="530">
                    <c:v>13-Aug</c:v>
                  </c:pt>
                  <c:pt idx="531">
                    <c:v>14-Aug</c:v>
                  </c:pt>
                  <c:pt idx="532">
                    <c:v>15-Aug</c:v>
                  </c:pt>
                  <c:pt idx="533">
                    <c:v>16-Aug</c:v>
                  </c:pt>
                  <c:pt idx="534">
                    <c:v>17-Aug</c:v>
                  </c:pt>
                  <c:pt idx="535">
                    <c:v>18-Aug</c:v>
                  </c:pt>
                  <c:pt idx="536">
                    <c:v>19-Aug</c:v>
                  </c:pt>
                  <c:pt idx="537">
                    <c:v>20-Aug</c:v>
                  </c:pt>
                  <c:pt idx="538">
                    <c:v>21-Aug</c:v>
                  </c:pt>
                  <c:pt idx="539">
                    <c:v>22-Aug</c:v>
                  </c:pt>
                  <c:pt idx="540">
                    <c:v>23-Aug</c:v>
                  </c:pt>
                  <c:pt idx="541">
                    <c:v>24-Aug</c:v>
                  </c:pt>
                  <c:pt idx="542">
                    <c:v>25-Aug</c:v>
                  </c:pt>
                  <c:pt idx="543">
                    <c:v>26-Aug</c:v>
                  </c:pt>
                  <c:pt idx="544">
                    <c:v>27-Aug</c:v>
                  </c:pt>
                  <c:pt idx="545">
                    <c:v>28-Aug</c:v>
                  </c:pt>
                  <c:pt idx="546">
                    <c:v>29-Aug</c:v>
                  </c:pt>
                  <c:pt idx="547">
                    <c:v>30-Aug</c:v>
                  </c:pt>
                  <c:pt idx="548">
                    <c:v>31-Aug</c:v>
                  </c:pt>
                  <c:pt idx="549">
                    <c:v>1-Sep</c:v>
                  </c:pt>
                  <c:pt idx="550">
                    <c:v>2-Sep</c:v>
                  </c:pt>
                  <c:pt idx="551">
                    <c:v>3-Sep</c:v>
                  </c:pt>
                  <c:pt idx="552">
                    <c:v>4-Sep</c:v>
                  </c:pt>
                  <c:pt idx="553">
                    <c:v>5-Sep</c:v>
                  </c:pt>
                  <c:pt idx="554">
                    <c:v>6-Sep</c:v>
                  </c:pt>
                  <c:pt idx="555">
                    <c:v>7-Sep</c:v>
                  </c:pt>
                  <c:pt idx="556">
                    <c:v>8-Sep</c:v>
                  </c:pt>
                  <c:pt idx="557">
                    <c:v>9-Sep</c:v>
                  </c:pt>
                  <c:pt idx="558">
                    <c:v>10-Sep</c:v>
                  </c:pt>
                  <c:pt idx="559">
                    <c:v>11-Sep</c:v>
                  </c:pt>
                  <c:pt idx="560">
                    <c:v>12-Sep</c:v>
                  </c:pt>
                  <c:pt idx="561">
                    <c:v>13-Sep</c:v>
                  </c:pt>
                  <c:pt idx="562">
                    <c:v>14-Sep</c:v>
                  </c:pt>
                  <c:pt idx="563">
                    <c:v>15-Sep</c:v>
                  </c:pt>
                  <c:pt idx="564">
                    <c:v>16-Sep</c:v>
                  </c:pt>
                  <c:pt idx="565">
                    <c:v>17-Sep</c:v>
                  </c:pt>
                  <c:pt idx="566">
                    <c:v>18-Sep</c:v>
                  </c:pt>
                  <c:pt idx="567">
                    <c:v>19-Sep</c:v>
                  </c:pt>
                  <c:pt idx="568">
                    <c:v>20-Sep</c:v>
                  </c:pt>
                  <c:pt idx="569">
                    <c:v>21-Sep</c:v>
                  </c:pt>
                  <c:pt idx="570">
                    <c:v>22-Sep</c:v>
                  </c:pt>
                  <c:pt idx="571">
                    <c:v>23-Sep</c:v>
                  </c:pt>
                  <c:pt idx="572">
                    <c:v>24-Sep</c:v>
                  </c:pt>
                  <c:pt idx="573">
                    <c:v>25-Sep</c:v>
                  </c:pt>
                  <c:pt idx="574">
                    <c:v>26-Sep</c:v>
                  </c:pt>
                  <c:pt idx="575">
                    <c:v>27-Sep</c:v>
                  </c:pt>
                  <c:pt idx="576">
                    <c:v>28-Sep</c:v>
                  </c:pt>
                  <c:pt idx="577">
                    <c:v>29-Sep</c:v>
                  </c:pt>
                  <c:pt idx="578">
                    <c:v>30-Sep</c:v>
                  </c:pt>
                  <c:pt idx="579">
                    <c:v>1-Oct</c:v>
                  </c:pt>
                  <c:pt idx="580">
                    <c:v>2-Oct</c:v>
                  </c:pt>
                  <c:pt idx="581">
                    <c:v>3-Oct</c:v>
                  </c:pt>
                  <c:pt idx="582">
                    <c:v>4-Oct</c:v>
                  </c:pt>
                  <c:pt idx="583">
                    <c:v>5-Oct</c:v>
                  </c:pt>
                  <c:pt idx="584">
                    <c:v>6-Oct</c:v>
                  </c:pt>
                  <c:pt idx="585">
                    <c:v>7-Oct</c:v>
                  </c:pt>
                  <c:pt idx="586">
                    <c:v>8-Oct</c:v>
                  </c:pt>
                  <c:pt idx="587">
                    <c:v>9-Oct</c:v>
                  </c:pt>
                  <c:pt idx="588">
                    <c:v>10-Oct</c:v>
                  </c:pt>
                  <c:pt idx="589">
                    <c:v>11-Oct</c:v>
                  </c:pt>
                  <c:pt idx="590">
                    <c:v>12-Oct</c:v>
                  </c:pt>
                  <c:pt idx="591">
                    <c:v>13-Oct</c:v>
                  </c:pt>
                  <c:pt idx="592">
                    <c:v>14-Oct</c:v>
                  </c:pt>
                  <c:pt idx="593">
                    <c:v>15-Oct</c:v>
                  </c:pt>
                  <c:pt idx="594">
                    <c:v>16-Oct</c:v>
                  </c:pt>
                  <c:pt idx="595">
                    <c:v>17-Oct</c:v>
                  </c:pt>
                  <c:pt idx="596">
                    <c:v>18-Oct</c:v>
                  </c:pt>
                  <c:pt idx="597">
                    <c:v>19-Oct</c:v>
                  </c:pt>
                  <c:pt idx="598">
                    <c:v>20-Oct</c:v>
                  </c:pt>
                  <c:pt idx="599">
                    <c:v>21-Oct</c:v>
                  </c:pt>
                  <c:pt idx="600">
                    <c:v>22-Oct</c:v>
                  </c:pt>
                  <c:pt idx="601">
                    <c:v>23-Oct</c:v>
                  </c:pt>
                  <c:pt idx="602">
                    <c:v>24-Oct</c:v>
                  </c:pt>
                  <c:pt idx="603">
                    <c:v>25-Oct</c:v>
                  </c:pt>
                  <c:pt idx="604">
                    <c:v>26-Oct</c:v>
                  </c:pt>
                  <c:pt idx="605">
                    <c:v>27-Oct</c:v>
                  </c:pt>
                  <c:pt idx="606">
                    <c:v>28-Oct</c:v>
                  </c:pt>
                  <c:pt idx="607">
                    <c:v>29-Oct</c:v>
                  </c:pt>
                  <c:pt idx="608">
                    <c:v>30-Oct</c:v>
                  </c:pt>
                  <c:pt idx="609">
                    <c:v>31-Oct</c:v>
                  </c:pt>
                  <c:pt idx="610">
                    <c:v>1-Nov</c:v>
                  </c:pt>
                  <c:pt idx="611">
                    <c:v>2-Nov</c:v>
                  </c:pt>
                  <c:pt idx="612">
                    <c:v>3-Nov</c:v>
                  </c:pt>
                  <c:pt idx="613">
                    <c:v>4-Nov</c:v>
                  </c:pt>
                  <c:pt idx="614">
                    <c:v>5-Nov</c:v>
                  </c:pt>
                  <c:pt idx="615">
                    <c:v>6-Nov</c:v>
                  </c:pt>
                  <c:pt idx="616">
                    <c:v>7-Nov</c:v>
                  </c:pt>
                  <c:pt idx="617">
                    <c:v>8-Nov</c:v>
                  </c:pt>
                  <c:pt idx="618">
                    <c:v>9-Nov</c:v>
                  </c:pt>
                  <c:pt idx="619">
                    <c:v>10-Nov</c:v>
                  </c:pt>
                  <c:pt idx="620">
                    <c:v>11-Nov</c:v>
                  </c:pt>
                  <c:pt idx="621">
                    <c:v>12-Nov</c:v>
                  </c:pt>
                  <c:pt idx="622">
                    <c:v>13-Nov</c:v>
                  </c:pt>
                  <c:pt idx="623">
                    <c:v>14-Nov</c:v>
                  </c:pt>
                  <c:pt idx="624">
                    <c:v>15-Nov</c:v>
                  </c:pt>
                  <c:pt idx="625">
                    <c:v>16-Nov</c:v>
                  </c:pt>
                  <c:pt idx="626">
                    <c:v>17-Nov</c:v>
                  </c:pt>
                  <c:pt idx="627">
                    <c:v>18-Nov</c:v>
                  </c:pt>
                  <c:pt idx="628">
                    <c:v>19-Nov</c:v>
                  </c:pt>
                  <c:pt idx="629">
                    <c:v>20-Nov</c:v>
                  </c:pt>
                  <c:pt idx="630">
                    <c:v>21-Nov</c:v>
                  </c:pt>
                  <c:pt idx="631">
                    <c:v>22-Nov</c:v>
                  </c:pt>
                  <c:pt idx="632">
                    <c:v>23-Nov</c:v>
                  </c:pt>
                  <c:pt idx="633">
                    <c:v>24-Nov</c:v>
                  </c:pt>
                  <c:pt idx="634">
                    <c:v>25-Nov</c:v>
                  </c:pt>
                  <c:pt idx="635">
                    <c:v>26-Nov</c:v>
                  </c:pt>
                  <c:pt idx="636">
                    <c:v>27-Nov</c:v>
                  </c:pt>
                  <c:pt idx="637">
                    <c:v>28-Nov</c:v>
                  </c:pt>
                  <c:pt idx="638">
                    <c:v>29-Nov</c:v>
                  </c:pt>
                  <c:pt idx="639">
                    <c:v>30-Nov</c:v>
                  </c:pt>
                  <c:pt idx="640">
                    <c:v>1-Dec</c:v>
                  </c:pt>
                  <c:pt idx="641">
                    <c:v>2-Dec</c:v>
                  </c:pt>
                  <c:pt idx="642">
                    <c:v>3-Dec</c:v>
                  </c:pt>
                  <c:pt idx="643">
                    <c:v>4-Dec</c:v>
                  </c:pt>
                  <c:pt idx="644">
                    <c:v>5-Dec</c:v>
                  </c:pt>
                  <c:pt idx="645">
                    <c:v>6-Dec</c:v>
                  </c:pt>
                  <c:pt idx="646">
                    <c:v>7-Dec</c:v>
                  </c:pt>
                  <c:pt idx="647">
                    <c:v>8-Dec</c:v>
                  </c:pt>
                  <c:pt idx="648">
                    <c:v>9-Dec</c:v>
                  </c:pt>
                  <c:pt idx="649">
                    <c:v>10-Dec</c:v>
                  </c:pt>
                  <c:pt idx="650">
                    <c:v>11-Dec</c:v>
                  </c:pt>
                  <c:pt idx="651">
                    <c:v>12-Dec</c:v>
                  </c:pt>
                  <c:pt idx="652">
                    <c:v>13-Dec</c:v>
                  </c:pt>
                  <c:pt idx="653">
                    <c:v>14-Dec</c:v>
                  </c:pt>
                  <c:pt idx="654">
                    <c:v>15-Dec</c:v>
                  </c:pt>
                  <c:pt idx="655">
                    <c:v>16-Dec</c:v>
                  </c:pt>
                  <c:pt idx="656">
                    <c:v>17-Dec</c:v>
                  </c:pt>
                  <c:pt idx="657">
                    <c:v>18-Dec</c:v>
                  </c:pt>
                  <c:pt idx="658">
                    <c:v>19-Dec</c:v>
                  </c:pt>
                  <c:pt idx="659">
                    <c:v>20-Dec</c:v>
                  </c:pt>
                  <c:pt idx="660">
                    <c:v>21-Dec</c:v>
                  </c:pt>
                  <c:pt idx="661">
                    <c:v>22-Dec</c:v>
                  </c:pt>
                  <c:pt idx="662">
                    <c:v>23-Dec</c:v>
                  </c:pt>
                  <c:pt idx="663">
                    <c:v>24-Dec</c:v>
                  </c:pt>
                  <c:pt idx="664">
                    <c:v>25-Dec</c:v>
                  </c:pt>
                  <c:pt idx="665">
                    <c:v>26-Dec</c:v>
                  </c:pt>
                  <c:pt idx="666">
                    <c:v>27-Dec</c:v>
                  </c:pt>
                  <c:pt idx="667">
                    <c:v>28-Dec</c:v>
                  </c:pt>
                  <c:pt idx="668">
                    <c:v>29-Dec</c:v>
                  </c:pt>
                  <c:pt idx="669">
                    <c:v>30-Dec</c:v>
                  </c:pt>
                  <c:pt idx="670">
                    <c:v>31-Dec</c:v>
                  </c:pt>
                  <c:pt idx="671">
                    <c:v>1-Jan</c:v>
                  </c:pt>
                  <c:pt idx="672">
                    <c:v>2-Jan</c:v>
                  </c:pt>
                  <c:pt idx="673">
                    <c:v>3-Jan</c:v>
                  </c:pt>
                  <c:pt idx="674">
                    <c:v>4-Jan</c:v>
                  </c:pt>
                  <c:pt idx="675">
                    <c:v>5-Jan</c:v>
                  </c:pt>
                  <c:pt idx="676">
                    <c:v>6-Jan</c:v>
                  </c:pt>
                  <c:pt idx="677">
                    <c:v>7-Jan</c:v>
                  </c:pt>
                  <c:pt idx="678">
                    <c:v>8-Jan</c:v>
                  </c:pt>
                  <c:pt idx="679">
                    <c:v>9-Jan</c:v>
                  </c:pt>
                  <c:pt idx="680">
                    <c:v>10-Jan</c:v>
                  </c:pt>
                  <c:pt idx="681">
                    <c:v>11-Jan</c:v>
                  </c:pt>
                  <c:pt idx="682">
                    <c:v>12-Jan</c:v>
                  </c:pt>
                  <c:pt idx="683">
                    <c:v>13-Jan</c:v>
                  </c:pt>
                  <c:pt idx="684">
                    <c:v>14-Jan</c:v>
                  </c:pt>
                  <c:pt idx="685">
                    <c:v>15-Jan</c:v>
                  </c:pt>
                  <c:pt idx="686">
                    <c:v>16-Jan</c:v>
                  </c:pt>
                  <c:pt idx="687">
                    <c:v>17-Jan</c:v>
                  </c:pt>
                  <c:pt idx="688">
                    <c:v>18-Jan</c:v>
                  </c:pt>
                  <c:pt idx="689">
                    <c:v>19-Jan</c:v>
                  </c:pt>
                  <c:pt idx="690">
                    <c:v>20-Jan</c:v>
                  </c:pt>
                  <c:pt idx="691">
                    <c:v>21-Jan</c:v>
                  </c:pt>
                  <c:pt idx="692">
                    <c:v>22-Jan</c:v>
                  </c:pt>
                  <c:pt idx="693">
                    <c:v>23-Jan</c:v>
                  </c:pt>
                  <c:pt idx="694">
                    <c:v>24-Jan</c:v>
                  </c:pt>
                  <c:pt idx="695">
                    <c:v>25-Jan</c:v>
                  </c:pt>
                  <c:pt idx="696">
                    <c:v>26-Jan</c:v>
                  </c:pt>
                  <c:pt idx="697">
                    <c:v>27-Jan</c:v>
                  </c:pt>
                  <c:pt idx="698">
                    <c:v>28-Jan</c:v>
                  </c:pt>
                  <c:pt idx="699">
                    <c:v>29-Jan</c:v>
                  </c:pt>
                  <c:pt idx="700">
                    <c:v>30-Jan</c:v>
                  </c:pt>
                  <c:pt idx="701">
                    <c:v>31-Jan</c:v>
                  </c:pt>
                  <c:pt idx="702">
                    <c:v>1-Feb</c:v>
                  </c:pt>
                  <c:pt idx="703">
                    <c:v>2-Feb</c:v>
                  </c:pt>
                  <c:pt idx="704">
                    <c:v>3-Feb</c:v>
                  </c:pt>
                  <c:pt idx="705">
                    <c:v>4-Feb</c:v>
                  </c:pt>
                  <c:pt idx="706">
                    <c:v>5-Feb</c:v>
                  </c:pt>
                  <c:pt idx="707">
                    <c:v>6-Feb</c:v>
                  </c:pt>
                  <c:pt idx="708">
                    <c:v>7-Feb</c:v>
                  </c:pt>
                  <c:pt idx="709">
                    <c:v>8-Feb</c:v>
                  </c:pt>
                  <c:pt idx="710">
                    <c:v>9-Feb</c:v>
                  </c:pt>
                  <c:pt idx="711">
                    <c:v>10-Feb</c:v>
                  </c:pt>
                  <c:pt idx="712">
                    <c:v>11-Feb</c:v>
                  </c:pt>
                  <c:pt idx="713">
                    <c:v>12-Feb</c:v>
                  </c:pt>
                  <c:pt idx="714">
                    <c:v>13-Feb</c:v>
                  </c:pt>
                  <c:pt idx="715">
                    <c:v>14-Feb</c:v>
                  </c:pt>
                  <c:pt idx="716">
                    <c:v>15-Feb</c:v>
                  </c:pt>
                  <c:pt idx="717">
                    <c:v>16-Feb</c:v>
                  </c:pt>
                  <c:pt idx="718">
                    <c:v>17-Feb</c:v>
                  </c:pt>
                  <c:pt idx="719">
                    <c:v>18-Feb</c:v>
                  </c:pt>
                  <c:pt idx="720">
                    <c:v>19-Feb</c:v>
                  </c:pt>
                  <c:pt idx="721">
                    <c:v>20-Feb</c:v>
                  </c:pt>
                  <c:pt idx="722">
                    <c:v>21-Feb</c:v>
                  </c:pt>
                  <c:pt idx="723">
                    <c:v>22-Feb</c:v>
                  </c:pt>
                  <c:pt idx="724">
                    <c:v>23-Feb</c:v>
                  </c:pt>
                  <c:pt idx="725">
                    <c:v>24-Feb</c:v>
                  </c:pt>
                  <c:pt idx="726">
                    <c:v>25-Feb</c:v>
                  </c:pt>
                  <c:pt idx="727">
                    <c:v>26-Feb</c:v>
                  </c:pt>
                  <c:pt idx="728">
                    <c:v>27-Feb</c:v>
                  </c:pt>
                  <c:pt idx="729">
                    <c:v>28-Feb</c:v>
                  </c:pt>
                  <c:pt idx="730">
                    <c:v>1-Mar</c:v>
                  </c:pt>
                  <c:pt idx="731">
                    <c:v>2-Mar</c:v>
                  </c:pt>
                  <c:pt idx="732">
                    <c:v>3-Mar</c:v>
                  </c:pt>
                  <c:pt idx="733">
                    <c:v>4-Mar</c:v>
                  </c:pt>
                  <c:pt idx="734">
                    <c:v>5-Mar</c:v>
                  </c:pt>
                  <c:pt idx="735">
                    <c:v>6-Mar</c:v>
                  </c:pt>
                  <c:pt idx="736">
                    <c:v>7-Mar</c:v>
                  </c:pt>
                  <c:pt idx="737">
                    <c:v>8-Mar</c:v>
                  </c:pt>
                  <c:pt idx="738">
                    <c:v>9-Mar</c:v>
                  </c:pt>
                  <c:pt idx="739">
                    <c:v>10-Mar</c:v>
                  </c:pt>
                  <c:pt idx="740">
                    <c:v>11-Mar</c:v>
                  </c:pt>
                  <c:pt idx="741">
                    <c:v>12-Mar</c:v>
                  </c:pt>
                  <c:pt idx="742">
                    <c:v>13-Mar</c:v>
                  </c:pt>
                  <c:pt idx="743">
                    <c:v>14-Mar</c:v>
                  </c:pt>
                  <c:pt idx="744">
                    <c:v>15-Mar</c:v>
                  </c:pt>
                  <c:pt idx="745">
                    <c:v>16-Mar</c:v>
                  </c:pt>
                  <c:pt idx="746">
                    <c:v>17-Mar</c:v>
                  </c:pt>
                  <c:pt idx="747">
                    <c:v>18-Mar</c:v>
                  </c:pt>
                  <c:pt idx="748">
                    <c:v>19-Mar</c:v>
                  </c:pt>
                  <c:pt idx="749">
                    <c:v>20-Mar</c:v>
                  </c:pt>
                  <c:pt idx="750">
                    <c:v>21-Mar</c:v>
                  </c:pt>
                  <c:pt idx="751">
                    <c:v>22-Mar</c:v>
                  </c:pt>
                  <c:pt idx="752">
                    <c:v>23-Mar</c:v>
                  </c:pt>
                  <c:pt idx="753">
                    <c:v>24-Mar</c:v>
                  </c:pt>
                  <c:pt idx="754">
                    <c:v>25-Mar</c:v>
                  </c:pt>
                  <c:pt idx="755">
                    <c:v>26-Mar</c:v>
                  </c:pt>
                </c:lvl>
                <c:lvl>
                  <c:pt idx="0">
                    <c:v>Mar</c:v>
                  </c:pt>
                  <c:pt idx="31">
                    <c:v>Apr</c:v>
                  </c:pt>
                  <c:pt idx="61">
                    <c:v>May</c:v>
                  </c:pt>
                  <c:pt idx="92">
                    <c:v>Jun</c:v>
                  </c:pt>
                  <c:pt idx="122">
                    <c:v>Jul</c:v>
                  </c:pt>
                  <c:pt idx="153">
                    <c:v>Aug</c:v>
                  </c:pt>
                  <c:pt idx="184">
                    <c:v>Sep</c:v>
                  </c:pt>
                  <c:pt idx="214">
                    <c:v>Oct</c:v>
                  </c:pt>
                  <c:pt idx="245">
                    <c:v>Nov</c:v>
                  </c:pt>
                  <c:pt idx="275">
                    <c:v>Dec</c:v>
                  </c:pt>
                  <c:pt idx="306">
                    <c:v>Jan</c:v>
                  </c:pt>
                  <c:pt idx="337">
                    <c:v>Feb</c:v>
                  </c:pt>
                  <c:pt idx="365">
                    <c:v>Mar</c:v>
                  </c:pt>
                  <c:pt idx="396">
                    <c:v>Apr</c:v>
                  </c:pt>
                  <c:pt idx="426">
                    <c:v>May</c:v>
                  </c:pt>
                  <c:pt idx="457">
                    <c:v>Jun</c:v>
                  </c:pt>
                  <c:pt idx="487">
                    <c:v>July</c:v>
                  </c:pt>
                  <c:pt idx="518">
                    <c:v>Aug</c:v>
                  </c:pt>
                  <c:pt idx="549">
                    <c:v>Sep</c:v>
                  </c:pt>
                  <c:pt idx="579">
                    <c:v>Occt</c:v>
                  </c:pt>
                  <c:pt idx="610">
                    <c:v>Nov</c:v>
                  </c:pt>
                  <c:pt idx="640">
                    <c:v>Dec</c:v>
                  </c:pt>
                  <c:pt idx="671">
                    <c:v>Jan</c:v>
                  </c:pt>
                  <c:pt idx="702">
                    <c:v>Feb</c:v>
                  </c:pt>
                  <c:pt idx="730">
                    <c:v>Mar</c:v>
                  </c:pt>
                </c:lvl>
                <c:lvl>
                  <c:pt idx="0">
                    <c:v>FY20</c:v>
                  </c:pt>
                  <c:pt idx="31">
                    <c:v>FY21</c:v>
                  </c:pt>
                  <c:pt idx="396">
                    <c:v>FY22</c:v>
                  </c:pt>
                </c:lvl>
              </c:multiLvlStrCache>
            </c:multiLvlStrRef>
          </c:cat>
          <c:val>
            <c:numRef>
              <c:f>charts!$H$2:$H$757</c:f>
              <c:numCache>
                <c:formatCode>0.0</c:formatCode>
                <c:ptCount val="756"/>
                <c:pt idx="0">
                  <c:v>4</c:v>
                </c:pt>
                <c:pt idx="1">
                  <c:v>4.1428571428571432</c:v>
                </c:pt>
                <c:pt idx="2">
                  <c:v>4.5714285714285712</c:v>
                </c:pt>
                <c:pt idx="3">
                  <c:v>5.1428571428571432</c:v>
                </c:pt>
                <c:pt idx="4">
                  <c:v>5.2857142857142856</c:v>
                </c:pt>
                <c:pt idx="5">
                  <c:v>5.2857142857142856</c:v>
                </c:pt>
                <c:pt idx="6">
                  <c:v>5.1428571428571432</c:v>
                </c:pt>
                <c:pt idx="7">
                  <c:v>5.5714285714285712</c:v>
                </c:pt>
                <c:pt idx="8">
                  <c:v>3.1428571428571428</c:v>
                </c:pt>
                <c:pt idx="9">
                  <c:v>-3.7142857142857144</c:v>
                </c:pt>
                <c:pt idx="10">
                  <c:v>-5.4285714285714288</c:v>
                </c:pt>
                <c:pt idx="11">
                  <c:v>-6.1428571428571432</c:v>
                </c:pt>
                <c:pt idx="12">
                  <c:v>-6.8571428571428568</c:v>
                </c:pt>
                <c:pt idx="13">
                  <c:v>-8.7142857142857135</c:v>
                </c:pt>
                <c:pt idx="14">
                  <c:v>-9.2857142857142865</c:v>
                </c:pt>
                <c:pt idx="15">
                  <c:v>-8.1428571428571423</c:v>
                </c:pt>
                <c:pt idx="16">
                  <c:v>-3</c:v>
                </c:pt>
                <c:pt idx="17">
                  <c:v>-3.4285714285714284</c:v>
                </c:pt>
                <c:pt idx="18">
                  <c:v>-5</c:v>
                </c:pt>
                <c:pt idx="19">
                  <c:v>-7.1428571428571432</c:v>
                </c:pt>
                <c:pt idx="20">
                  <c:v>-8.8571428571428577</c:v>
                </c:pt>
                <c:pt idx="21">
                  <c:v>-16.142857142857142</c:v>
                </c:pt>
                <c:pt idx="22">
                  <c:v>-22.714285714285715</c:v>
                </c:pt>
                <c:pt idx="23">
                  <c:v>-30.857142857142858</c:v>
                </c:pt>
                <c:pt idx="24">
                  <c:v>-40</c:v>
                </c:pt>
                <c:pt idx="25">
                  <c:v>-48.428571428571431</c:v>
                </c:pt>
                <c:pt idx="26">
                  <c:v>-56.285714285714285</c:v>
                </c:pt>
                <c:pt idx="27">
                  <c:v>-63.142857142857146</c:v>
                </c:pt>
                <c:pt idx="28">
                  <c:v>-62.857142857142854</c:v>
                </c:pt>
                <c:pt idx="29">
                  <c:v>-65.428571428571431</c:v>
                </c:pt>
                <c:pt idx="30">
                  <c:v>-65.857142857142861</c:v>
                </c:pt>
                <c:pt idx="31">
                  <c:v>-65.285714285714292</c:v>
                </c:pt>
                <c:pt idx="32">
                  <c:v>-65.142857142857139</c:v>
                </c:pt>
                <c:pt idx="33">
                  <c:v>-64.714285714285708</c:v>
                </c:pt>
                <c:pt idx="34">
                  <c:v>-64</c:v>
                </c:pt>
                <c:pt idx="35">
                  <c:v>-63.428571428571431</c:v>
                </c:pt>
                <c:pt idx="36">
                  <c:v>-63.428571428571431</c:v>
                </c:pt>
                <c:pt idx="37">
                  <c:v>-63.285714285714285</c:v>
                </c:pt>
                <c:pt idx="38">
                  <c:v>-63.142857142857146</c:v>
                </c:pt>
                <c:pt idx="39">
                  <c:v>-63</c:v>
                </c:pt>
                <c:pt idx="40">
                  <c:v>-63.285714285714285</c:v>
                </c:pt>
                <c:pt idx="41">
                  <c:v>-63.714285714285715</c:v>
                </c:pt>
                <c:pt idx="42">
                  <c:v>-63.857142857142854</c:v>
                </c:pt>
                <c:pt idx="43">
                  <c:v>-63.571428571428569</c:v>
                </c:pt>
                <c:pt idx="44">
                  <c:v>-63.857142857142854</c:v>
                </c:pt>
                <c:pt idx="45">
                  <c:v>-63.428571428571431</c:v>
                </c:pt>
                <c:pt idx="46">
                  <c:v>-63</c:v>
                </c:pt>
                <c:pt idx="47">
                  <c:v>-62.428571428571431</c:v>
                </c:pt>
                <c:pt idx="48">
                  <c:v>-61.857142857142854</c:v>
                </c:pt>
                <c:pt idx="49">
                  <c:v>-61.571428571428569</c:v>
                </c:pt>
                <c:pt idx="50">
                  <c:v>-61.142857142857146</c:v>
                </c:pt>
                <c:pt idx="51">
                  <c:v>-60.428571428571431</c:v>
                </c:pt>
                <c:pt idx="52">
                  <c:v>-60.285714285714285</c:v>
                </c:pt>
                <c:pt idx="53">
                  <c:v>-60.142857142857146</c:v>
                </c:pt>
                <c:pt idx="54">
                  <c:v>-59.857142857142854</c:v>
                </c:pt>
                <c:pt idx="55">
                  <c:v>-59.714285714285715</c:v>
                </c:pt>
                <c:pt idx="56">
                  <c:v>-59.571428571428569</c:v>
                </c:pt>
                <c:pt idx="57">
                  <c:v>-59.428571428571431</c:v>
                </c:pt>
                <c:pt idx="58">
                  <c:v>-59.285714285714285</c:v>
                </c:pt>
                <c:pt idx="59">
                  <c:v>-59</c:v>
                </c:pt>
                <c:pt idx="60">
                  <c:v>-58.571428571428569</c:v>
                </c:pt>
                <c:pt idx="61">
                  <c:v>-58.714285714285715</c:v>
                </c:pt>
                <c:pt idx="62">
                  <c:v>-58</c:v>
                </c:pt>
                <c:pt idx="63">
                  <c:v>-57.428571428571431</c:v>
                </c:pt>
                <c:pt idx="64">
                  <c:v>-56.571428571428569</c:v>
                </c:pt>
                <c:pt idx="65">
                  <c:v>-55.571428571428569</c:v>
                </c:pt>
                <c:pt idx="66">
                  <c:v>-54.571428571428569</c:v>
                </c:pt>
                <c:pt idx="67">
                  <c:v>-53.857142857142854</c:v>
                </c:pt>
                <c:pt idx="68">
                  <c:v>-52.142857142857146</c:v>
                </c:pt>
                <c:pt idx="69">
                  <c:v>-51.428571428571431</c:v>
                </c:pt>
                <c:pt idx="70">
                  <c:v>-50.714285714285715</c:v>
                </c:pt>
                <c:pt idx="71">
                  <c:v>-49.857142857142854</c:v>
                </c:pt>
                <c:pt idx="72">
                  <c:v>-49.285714285714285</c:v>
                </c:pt>
                <c:pt idx="73">
                  <c:v>-48.571428571428569</c:v>
                </c:pt>
                <c:pt idx="74">
                  <c:v>-47.571428571428569</c:v>
                </c:pt>
                <c:pt idx="75">
                  <c:v>-47</c:v>
                </c:pt>
                <c:pt idx="76">
                  <c:v>-45.857142857142854</c:v>
                </c:pt>
                <c:pt idx="77">
                  <c:v>-45.142857142857146</c:v>
                </c:pt>
                <c:pt idx="78">
                  <c:v>-44.428571428571431</c:v>
                </c:pt>
                <c:pt idx="79">
                  <c:v>-43.571428571428569</c:v>
                </c:pt>
                <c:pt idx="80">
                  <c:v>-42.857142857142854</c:v>
                </c:pt>
                <c:pt idx="81">
                  <c:v>-42.142857142857146</c:v>
                </c:pt>
                <c:pt idx="82">
                  <c:v>-41.285714285714285</c:v>
                </c:pt>
                <c:pt idx="83">
                  <c:v>-40.714285714285715</c:v>
                </c:pt>
                <c:pt idx="84">
                  <c:v>-40.285714285714285</c:v>
                </c:pt>
                <c:pt idx="85">
                  <c:v>-41.142857142857146</c:v>
                </c:pt>
                <c:pt idx="86">
                  <c:v>-40.571428571428569</c:v>
                </c:pt>
                <c:pt idx="87">
                  <c:v>-39.857142857142854</c:v>
                </c:pt>
                <c:pt idx="88">
                  <c:v>-39.285714285714285</c:v>
                </c:pt>
                <c:pt idx="89">
                  <c:v>-38.714285714285715</c:v>
                </c:pt>
                <c:pt idx="90">
                  <c:v>-37.571428571428569</c:v>
                </c:pt>
                <c:pt idx="91">
                  <c:v>-36.428571428571431</c:v>
                </c:pt>
                <c:pt idx="92">
                  <c:v>-34.142857142857146</c:v>
                </c:pt>
                <c:pt idx="93">
                  <c:v>-33.428571428571431</c:v>
                </c:pt>
                <c:pt idx="94">
                  <c:v>-32.857142857142854</c:v>
                </c:pt>
                <c:pt idx="95">
                  <c:v>-32.142857142857146</c:v>
                </c:pt>
                <c:pt idx="96">
                  <c:v>-31.571428571428573</c:v>
                </c:pt>
                <c:pt idx="97">
                  <c:v>-31.142857142857142</c:v>
                </c:pt>
                <c:pt idx="98">
                  <c:v>-30.857142857142858</c:v>
                </c:pt>
                <c:pt idx="99">
                  <c:v>-30.428571428571427</c:v>
                </c:pt>
                <c:pt idx="100">
                  <c:v>-30</c:v>
                </c:pt>
                <c:pt idx="101">
                  <c:v>-29.571428571428573</c:v>
                </c:pt>
                <c:pt idx="102">
                  <c:v>-29.285714285714285</c:v>
                </c:pt>
                <c:pt idx="103">
                  <c:v>-29.142857142857142</c:v>
                </c:pt>
                <c:pt idx="104">
                  <c:v>-29.571428571428573</c:v>
                </c:pt>
                <c:pt idx="105">
                  <c:v>-29.571428571428573</c:v>
                </c:pt>
                <c:pt idx="106">
                  <c:v>-29.714285714285715</c:v>
                </c:pt>
                <c:pt idx="107">
                  <c:v>-29.714285714285715</c:v>
                </c:pt>
                <c:pt idx="108">
                  <c:v>-29.857142857142858</c:v>
                </c:pt>
                <c:pt idx="109">
                  <c:v>-30</c:v>
                </c:pt>
                <c:pt idx="110">
                  <c:v>-30.142857142857142</c:v>
                </c:pt>
                <c:pt idx="111">
                  <c:v>-29.571428571428573</c:v>
                </c:pt>
                <c:pt idx="112">
                  <c:v>-30.142857142857142</c:v>
                </c:pt>
                <c:pt idx="113">
                  <c:v>-30.285714285714285</c:v>
                </c:pt>
                <c:pt idx="114">
                  <c:v>-30.571428571428573</c:v>
                </c:pt>
                <c:pt idx="115">
                  <c:v>-30.571428571428573</c:v>
                </c:pt>
                <c:pt idx="116">
                  <c:v>-30.571428571428573</c:v>
                </c:pt>
                <c:pt idx="117">
                  <c:v>-30.428571428571427</c:v>
                </c:pt>
                <c:pt idx="118">
                  <c:v>-31</c:v>
                </c:pt>
                <c:pt idx="119">
                  <c:v>-30.714285714285715</c:v>
                </c:pt>
                <c:pt idx="120">
                  <c:v>-30.571428571428573</c:v>
                </c:pt>
                <c:pt idx="121">
                  <c:v>-30.428571428571427</c:v>
                </c:pt>
                <c:pt idx="122">
                  <c:v>-30.428571428571427</c:v>
                </c:pt>
                <c:pt idx="123">
                  <c:v>-30.428571428571427</c:v>
                </c:pt>
                <c:pt idx="124">
                  <c:v>-30.428571428571427</c:v>
                </c:pt>
                <c:pt idx="125">
                  <c:v>-30</c:v>
                </c:pt>
                <c:pt idx="126">
                  <c:v>-30.571428571428573</c:v>
                </c:pt>
                <c:pt idx="127">
                  <c:v>-30.571428571428573</c:v>
                </c:pt>
                <c:pt idx="128">
                  <c:v>-30.571428571428573</c:v>
                </c:pt>
                <c:pt idx="129">
                  <c:v>-30.428571428571427</c:v>
                </c:pt>
                <c:pt idx="130">
                  <c:v>-30.285714285714285</c:v>
                </c:pt>
                <c:pt idx="131">
                  <c:v>-30.285714285714285</c:v>
                </c:pt>
                <c:pt idx="132">
                  <c:v>-31.142857142857142</c:v>
                </c:pt>
                <c:pt idx="133">
                  <c:v>-31.428571428571427</c:v>
                </c:pt>
                <c:pt idx="134">
                  <c:v>-31.428571428571427</c:v>
                </c:pt>
                <c:pt idx="135">
                  <c:v>-31.571428571428573</c:v>
                </c:pt>
                <c:pt idx="136">
                  <c:v>-31.857142857142858</c:v>
                </c:pt>
                <c:pt idx="137">
                  <c:v>-32.142857142857146</c:v>
                </c:pt>
                <c:pt idx="138">
                  <c:v>-32.285714285714285</c:v>
                </c:pt>
                <c:pt idx="139">
                  <c:v>-32</c:v>
                </c:pt>
                <c:pt idx="140">
                  <c:v>-32.142857142857146</c:v>
                </c:pt>
                <c:pt idx="141">
                  <c:v>-32.571428571428569</c:v>
                </c:pt>
                <c:pt idx="142">
                  <c:v>-32.714285714285715</c:v>
                </c:pt>
                <c:pt idx="143">
                  <c:v>-32.571428571428569</c:v>
                </c:pt>
                <c:pt idx="144">
                  <c:v>-32.714285714285715</c:v>
                </c:pt>
                <c:pt idx="145">
                  <c:v>-32.428571428571431</c:v>
                </c:pt>
                <c:pt idx="146">
                  <c:v>-32.857142857142854</c:v>
                </c:pt>
                <c:pt idx="147">
                  <c:v>-32.714285714285715</c:v>
                </c:pt>
                <c:pt idx="148">
                  <c:v>-32.285714285714285</c:v>
                </c:pt>
                <c:pt idx="149">
                  <c:v>-32</c:v>
                </c:pt>
                <c:pt idx="150">
                  <c:v>-32.285714285714285</c:v>
                </c:pt>
                <c:pt idx="151">
                  <c:v>-31.857142857142858</c:v>
                </c:pt>
                <c:pt idx="152">
                  <c:v>-32.142857142857146</c:v>
                </c:pt>
                <c:pt idx="153">
                  <c:v>-32.571428571428569</c:v>
                </c:pt>
                <c:pt idx="154">
                  <c:v>-32.142857142857146</c:v>
                </c:pt>
                <c:pt idx="155">
                  <c:v>-34.142857142857146</c:v>
                </c:pt>
                <c:pt idx="156">
                  <c:v>-34.285714285714285</c:v>
                </c:pt>
                <c:pt idx="157">
                  <c:v>-34.142857142857146</c:v>
                </c:pt>
                <c:pt idx="158">
                  <c:v>-34</c:v>
                </c:pt>
                <c:pt idx="159">
                  <c:v>-33.285714285714285</c:v>
                </c:pt>
                <c:pt idx="160">
                  <c:v>-32.285714285714285</c:v>
                </c:pt>
                <c:pt idx="161">
                  <c:v>-31.714285714285715</c:v>
                </c:pt>
                <c:pt idx="162">
                  <c:v>-29.285714285714285</c:v>
                </c:pt>
                <c:pt idx="163">
                  <c:v>-29</c:v>
                </c:pt>
                <c:pt idx="164">
                  <c:v>-29.285714285714285</c:v>
                </c:pt>
                <c:pt idx="165">
                  <c:v>-29.285714285714285</c:v>
                </c:pt>
                <c:pt idx="166">
                  <c:v>-29.285714285714285</c:v>
                </c:pt>
                <c:pt idx="167">
                  <c:v>-31.142857142857142</c:v>
                </c:pt>
                <c:pt idx="168">
                  <c:v>-31.142857142857142</c:v>
                </c:pt>
                <c:pt idx="169">
                  <c:v>-30.857142857142858</c:v>
                </c:pt>
                <c:pt idx="170">
                  <c:v>-30.142857142857142</c:v>
                </c:pt>
                <c:pt idx="171">
                  <c:v>-29</c:v>
                </c:pt>
                <c:pt idx="172">
                  <c:v>-28.857142857142858</c:v>
                </c:pt>
                <c:pt idx="173">
                  <c:v>-29</c:v>
                </c:pt>
                <c:pt idx="174">
                  <c:v>-27.857142857142858</c:v>
                </c:pt>
                <c:pt idx="175">
                  <c:v>-27.714285714285715</c:v>
                </c:pt>
                <c:pt idx="176">
                  <c:v>-27.714285714285715</c:v>
                </c:pt>
                <c:pt idx="177">
                  <c:v>-27.714285714285715</c:v>
                </c:pt>
                <c:pt idx="178">
                  <c:v>-27.428571428571427</c:v>
                </c:pt>
                <c:pt idx="179">
                  <c:v>-27.142857142857142</c:v>
                </c:pt>
                <c:pt idx="180">
                  <c:v>-26.714285714285715</c:v>
                </c:pt>
                <c:pt idx="181">
                  <c:v>-25</c:v>
                </c:pt>
                <c:pt idx="182">
                  <c:v>-24.714285714285715</c:v>
                </c:pt>
                <c:pt idx="183">
                  <c:v>-25.142857142857142</c:v>
                </c:pt>
                <c:pt idx="184">
                  <c:v>-25.571428571428573</c:v>
                </c:pt>
                <c:pt idx="185">
                  <c:v>-25.714285714285715</c:v>
                </c:pt>
                <c:pt idx="186">
                  <c:v>-25.571428571428573</c:v>
                </c:pt>
                <c:pt idx="187">
                  <c:v>-25.571428571428573</c:v>
                </c:pt>
                <c:pt idx="188">
                  <c:v>-25</c:v>
                </c:pt>
                <c:pt idx="189">
                  <c:v>-24.857142857142858</c:v>
                </c:pt>
                <c:pt idx="190">
                  <c:v>-24.714285714285715</c:v>
                </c:pt>
                <c:pt idx="191">
                  <c:v>-24.285714285714285</c:v>
                </c:pt>
                <c:pt idx="192">
                  <c:v>-24.142857142857142</c:v>
                </c:pt>
                <c:pt idx="193">
                  <c:v>-24.142857142857142</c:v>
                </c:pt>
                <c:pt idx="194">
                  <c:v>-24.571428571428573</c:v>
                </c:pt>
                <c:pt idx="195">
                  <c:v>-25.285714285714285</c:v>
                </c:pt>
                <c:pt idx="196">
                  <c:v>-25</c:v>
                </c:pt>
                <c:pt idx="197">
                  <c:v>-24.428571428571427</c:v>
                </c:pt>
                <c:pt idx="198">
                  <c:v>-24.285714285714285</c:v>
                </c:pt>
                <c:pt idx="199">
                  <c:v>-24.142857142857142</c:v>
                </c:pt>
                <c:pt idx="200">
                  <c:v>-24.428571428571427</c:v>
                </c:pt>
                <c:pt idx="201">
                  <c:v>-23.857142857142858</c:v>
                </c:pt>
                <c:pt idx="202">
                  <c:v>-23</c:v>
                </c:pt>
                <c:pt idx="203">
                  <c:v>-22.571428571428573</c:v>
                </c:pt>
                <c:pt idx="204">
                  <c:v>-22.714285714285715</c:v>
                </c:pt>
                <c:pt idx="205">
                  <c:v>-22.714285714285715</c:v>
                </c:pt>
                <c:pt idx="206">
                  <c:v>-23</c:v>
                </c:pt>
                <c:pt idx="207">
                  <c:v>-22.571428571428573</c:v>
                </c:pt>
                <c:pt idx="208">
                  <c:v>-22.714285714285715</c:v>
                </c:pt>
                <c:pt idx="209">
                  <c:v>-23</c:v>
                </c:pt>
                <c:pt idx="210">
                  <c:v>-23.142857142857142</c:v>
                </c:pt>
                <c:pt idx="211">
                  <c:v>-23</c:v>
                </c:pt>
                <c:pt idx="212">
                  <c:v>-23</c:v>
                </c:pt>
                <c:pt idx="213">
                  <c:v>-23</c:v>
                </c:pt>
                <c:pt idx="214">
                  <c:v>-23.285714285714285</c:v>
                </c:pt>
                <c:pt idx="215">
                  <c:v>-26.142857142857142</c:v>
                </c:pt>
                <c:pt idx="216">
                  <c:v>-26.428571428571427</c:v>
                </c:pt>
                <c:pt idx="217">
                  <c:v>-27.285714285714285</c:v>
                </c:pt>
                <c:pt idx="218">
                  <c:v>-27.714285714285715</c:v>
                </c:pt>
                <c:pt idx="219">
                  <c:v>-28</c:v>
                </c:pt>
                <c:pt idx="220">
                  <c:v>-27.857142857142858</c:v>
                </c:pt>
                <c:pt idx="221">
                  <c:v>-27.428571428571427</c:v>
                </c:pt>
                <c:pt idx="222">
                  <c:v>-24.142857142857142</c:v>
                </c:pt>
                <c:pt idx="223">
                  <c:v>-24</c:v>
                </c:pt>
                <c:pt idx="224">
                  <c:v>-23.142857142857142</c:v>
                </c:pt>
                <c:pt idx="225">
                  <c:v>-22.571428571428573</c:v>
                </c:pt>
                <c:pt idx="226">
                  <c:v>-22.142857142857142</c:v>
                </c:pt>
                <c:pt idx="227">
                  <c:v>-21.857142857142858</c:v>
                </c:pt>
                <c:pt idx="228">
                  <c:v>-21.714285714285715</c:v>
                </c:pt>
                <c:pt idx="229">
                  <c:v>-21.571428571428573</c:v>
                </c:pt>
                <c:pt idx="230">
                  <c:v>-20.857142857142858</c:v>
                </c:pt>
                <c:pt idx="231">
                  <c:v>-20.428571428571427</c:v>
                </c:pt>
                <c:pt idx="232">
                  <c:v>-20.285714285714285</c:v>
                </c:pt>
                <c:pt idx="233">
                  <c:v>-20.142857142857142</c:v>
                </c:pt>
                <c:pt idx="234">
                  <c:v>-20</c:v>
                </c:pt>
                <c:pt idx="235">
                  <c:v>-20</c:v>
                </c:pt>
                <c:pt idx="236">
                  <c:v>-20.571428571428573</c:v>
                </c:pt>
                <c:pt idx="237">
                  <c:v>-21.857142857142858</c:v>
                </c:pt>
                <c:pt idx="238">
                  <c:v>-22.714285714285715</c:v>
                </c:pt>
                <c:pt idx="239">
                  <c:v>-24.571428571428573</c:v>
                </c:pt>
                <c:pt idx="240">
                  <c:v>-25</c:v>
                </c:pt>
                <c:pt idx="241">
                  <c:v>-25.285714285714285</c:v>
                </c:pt>
                <c:pt idx="242">
                  <c:v>-25.571428571428573</c:v>
                </c:pt>
                <c:pt idx="243">
                  <c:v>-26.285714285714285</c:v>
                </c:pt>
                <c:pt idx="244">
                  <c:v>-25.285714285714285</c:v>
                </c:pt>
                <c:pt idx="245">
                  <c:v>-24.571428571428573</c:v>
                </c:pt>
                <c:pt idx="246">
                  <c:v>-22.714285714285715</c:v>
                </c:pt>
                <c:pt idx="247">
                  <c:v>-22.428571428571427</c:v>
                </c:pt>
                <c:pt idx="248">
                  <c:v>-22.285714285714285</c:v>
                </c:pt>
                <c:pt idx="249">
                  <c:v>-21.857142857142858</c:v>
                </c:pt>
                <c:pt idx="250">
                  <c:v>-20.571428571428573</c:v>
                </c:pt>
                <c:pt idx="251">
                  <c:v>-20</c:v>
                </c:pt>
                <c:pt idx="252">
                  <c:v>-19.571428571428573</c:v>
                </c:pt>
                <c:pt idx="253">
                  <c:v>-19.571428571428573</c:v>
                </c:pt>
                <c:pt idx="254">
                  <c:v>-19.428571428571427</c:v>
                </c:pt>
                <c:pt idx="255">
                  <c:v>-19.142857142857142</c:v>
                </c:pt>
                <c:pt idx="256">
                  <c:v>-19.142857142857142</c:v>
                </c:pt>
                <c:pt idx="257">
                  <c:v>-20</c:v>
                </c:pt>
                <c:pt idx="258">
                  <c:v>-24.428571428571427</c:v>
                </c:pt>
                <c:pt idx="259">
                  <c:v>-27.571428571428573</c:v>
                </c:pt>
                <c:pt idx="260">
                  <c:v>-31</c:v>
                </c:pt>
                <c:pt idx="261">
                  <c:v>-32.285714285714285</c:v>
                </c:pt>
                <c:pt idx="262">
                  <c:v>-33.285714285714285</c:v>
                </c:pt>
                <c:pt idx="263">
                  <c:v>-33.857142857142854</c:v>
                </c:pt>
                <c:pt idx="264">
                  <c:v>-33.857142857142854</c:v>
                </c:pt>
                <c:pt idx="265">
                  <c:v>-30.285714285714285</c:v>
                </c:pt>
                <c:pt idx="266">
                  <c:v>-28.142857142857142</c:v>
                </c:pt>
                <c:pt idx="267">
                  <c:v>-25</c:v>
                </c:pt>
                <c:pt idx="268">
                  <c:v>-24</c:v>
                </c:pt>
                <c:pt idx="269">
                  <c:v>-23.857142857142858</c:v>
                </c:pt>
                <c:pt idx="270">
                  <c:v>-24.285714285714285</c:v>
                </c:pt>
                <c:pt idx="271">
                  <c:v>-23.857142857142858</c:v>
                </c:pt>
                <c:pt idx="272">
                  <c:v>-23.571428571428573</c:v>
                </c:pt>
                <c:pt idx="273">
                  <c:v>-23.142857142857142</c:v>
                </c:pt>
                <c:pt idx="274">
                  <c:v>-24.285714285714285</c:v>
                </c:pt>
                <c:pt idx="275">
                  <c:v>-24.285714285714285</c:v>
                </c:pt>
                <c:pt idx="276">
                  <c:v>-23.428571428571427</c:v>
                </c:pt>
                <c:pt idx="277">
                  <c:v>-22.285714285714285</c:v>
                </c:pt>
                <c:pt idx="278">
                  <c:v>-21.714285714285715</c:v>
                </c:pt>
                <c:pt idx="279">
                  <c:v>-21</c:v>
                </c:pt>
                <c:pt idx="280">
                  <c:v>-21</c:v>
                </c:pt>
                <c:pt idx="281">
                  <c:v>-19.714285714285715</c:v>
                </c:pt>
                <c:pt idx="282">
                  <c:v>-19.857142857142858</c:v>
                </c:pt>
                <c:pt idx="283">
                  <c:v>-19.857142857142858</c:v>
                </c:pt>
                <c:pt idx="284">
                  <c:v>-19.857142857142858</c:v>
                </c:pt>
                <c:pt idx="285">
                  <c:v>-19.857142857142858</c:v>
                </c:pt>
                <c:pt idx="286">
                  <c:v>-20.428571428571427</c:v>
                </c:pt>
                <c:pt idx="287">
                  <c:v>-19.857142857142858</c:v>
                </c:pt>
                <c:pt idx="288">
                  <c:v>-19.285714285714285</c:v>
                </c:pt>
                <c:pt idx="289">
                  <c:v>-18.142857142857142</c:v>
                </c:pt>
                <c:pt idx="290">
                  <c:v>-17.571428571428573</c:v>
                </c:pt>
                <c:pt idx="291">
                  <c:v>-17</c:v>
                </c:pt>
                <c:pt idx="292">
                  <c:v>-16.428571428571427</c:v>
                </c:pt>
                <c:pt idx="293">
                  <c:v>-15.285714285714286</c:v>
                </c:pt>
                <c:pt idx="294">
                  <c:v>-15</c:v>
                </c:pt>
                <c:pt idx="295">
                  <c:v>-14.571428571428571</c:v>
                </c:pt>
                <c:pt idx="296">
                  <c:v>-14.571428571428571</c:v>
                </c:pt>
                <c:pt idx="297">
                  <c:v>-14.285714285714286</c:v>
                </c:pt>
                <c:pt idx="298">
                  <c:v>-14.285714285714286</c:v>
                </c:pt>
                <c:pt idx="299">
                  <c:v>-16.857142857142858</c:v>
                </c:pt>
                <c:pt idx="300">
                  <c:v>-17.714285714285715</c:v>
                </c:pt>
                <c:pt idx="301">
                  <c:v>-17.714285714285715</c:v>
                </c:pt>
                <c:pt idx="302">
                  <c:v>-17.857142857142858</c:v>
                </c:pt>
                <c:pt idx="303">
                  <c:v>-17.857142857142858</c:v>
                </c:pt>
                <c:pt idx="304" formatCode="General">
                  <c:v>-18</c:v>
                </c:pt>
                <c:pt idx="305" formatCode="General">
                  <c:v>-17.857142857142858</c:v>
                </c:pt>
                <c:pt idx="306" formatCode="General">
                  <c:v>-16.857142857142858</c:v>
                </c:pt>
                <c:pt idx="307" formatCode="General">
                  <c:v>-16</c:v>
                </c:pt>
                <c:pt idx="308" formatCode="General">
                  <c:v>-16</c:v>
                </c:pt>
                <c:pt idx="309" formatCode="General">
                  <c:v>-15.571428571428571</c:v>
                </c:pt>
                <c:pt idx="310" formatCode="General">
                  <c:v>-15.285714285714286</c:v>
                </c:pt>
                <c:pt idx="311" formatCode="General">
                  <c:v>-14.857142857142858</c:v>
                </c:pt>
                <c:pt idx="312" formatCode="General">
                  <c:v>-14.428571428571429</c:v>
                </c:pt>
                <c:pt idx="313" formatCode="General">
                  <c:v>-12.285714285714286</c:v>
                </c:pt>
                <c:pt idx="314" formatCode="General">
                  <c:v>-12.571428571428571</c:v>
                </c:pt>
                <c:pt idx="315" formatCode="General">
                  <c:v>-12.142857142857142</c:v>
                </c:pt>
                <c:pt idx="316" formatCode="General">
                  <c:v>-12.142857142857142</c:v>
                </c:pt>
                <c:pt idx="317" formatCode="General">
                  <c:v>-12.142857142857142</c:v>
                </c:pt>
                <c:pt idx="318" formatCode="General">
                  <c:v>-13</c:v>
                </c:pt>
                <c:pt idx="319" formatCode="General">
                  <c:v>-16.714285714285715</c:v>
                </c:pt>
                <c:pt idx="320" formatCode="General">
                  <c:v>-19.285714285714285</c:v>
                </c:pt>
                <c:pt idx="321" formatCode="General">
                  <c:v>-20.571428571428573</c:v>
                </c:pt>
                <c:pt idx="322" formatCode="General">
                  <c:v>-22.285714285714285</c:v>
                </c:pt>
                <c:pt idx="323" formatCode="General">
                  <c:v>-23.142857142857142</c:v>
                </c:pt>
                <c:pt idx="324" formatCode="General">
                  <c:v>-23.714285714285715</c:v>
                </c:pt>
                <c:pt idx="325" formatCode="General">
                  <c:v>-23.714285714285715</c:v>
                </c:pt>
                <c:pt idx="326" formatCode="General">
                  <c:v>-20.571428571428573</c:v>
                </c:pt>
                <c:pt idx="327" formatCode="General">
                  <c:v>-18.571428571428573</c:v>
                </c:pt>
                <c:pt idx="328" formatCode="General">
                  <c:v>-17.571428571428573</c:v>
                </c:pt>
                <c:pt idx="329" formatCode="General">
                  <c:v>-16.571428571428573</c:v>
                </c:pt>
                <c:pt idx="330" formatCode="General">
                  <c:v>-16.428571428571427</c:v>
                </c:pt>
                <c:pt idx="331" formatCode="General">
                  <c:v>-20.285714285714285</c:v>
                </c:pt>
                <c:pt idx="332" formatCode="General">
                  <c:v>-19.857142857142858</c:v>
                </c:pt>
                <c:pt idx="333" formatCode="General">
                  <c:v>-19.857142857142858</c:v>
                </c:pt>
                <c:pt idx="334" formatCode="General">
                  <c:v>-19.571428571428573</c:v>
                </c:pt>
                <c:pt idx="335" formatCode="General">
                  <c:v>-18.857142857142858</c:v>
                </c:pt>
                <c:pt idx="336" formatCode="General">
                  <c:v>-18.857142857142858</c:v>
                </c:pt>
                <c:pt idx="337" formatCode="General">
                  <c:v>-18.571428571428573</c:v>
                </c:pt>
                <c:pt idx="338" formatCode="General">
                  <c:v>-14.285714285714286</c:v>
                </c:pt>
                <c:pt idx="339" formatCode="General">
                  <c:v>-14.285714285714286</c:v>
                </c:pt>
                <c:pt idx="340" formatCode="General">
                  <c:v>-14.285714285714286</c:v>
                </c:pt>
                <c:pt idx="341" formatCode="General">
                  <c:v>-14.428571428571429</c:v>
                </c:pt>
                <c:pt idx="342" formatCode="General">
                  <c:v>-14.571428571428571</c:v>
                </c:pt>
                <c:pt idx="343" formatCode="General">
                  <c:v>-15.142857142857142</c:v>
                </c:pt>
                <c:pt idx="344" formatCode="General">
                  <c:v>-15.142857142857142</c:v>
                </c:pt>
                <c:pt idx="345" formatCode="General">
                  <c:v>-15.142857142857142</c:v>
                </c:pt>
                <c:pt idx="346" formatCode="General">
                  <c:v>-15</c:v>
                </c:pt>
                <c:pt idx="347" formatCode="General">
                  <c:v>-14.714285714285714</c:v>
                </c:pt>
                <c:pt idx="348" formatCode="General">
                  <c:v>-14.571428571428571</c:v>
                </c:pt>
                <c:pt idx="349" formatCode="General">
                  <c:v>-15.428571428571429</c:v>
                </c:pt>
                <c:pt idx="350" formatCode="General">
                  <c:v>-15.428571428571429</c:v>
                </c:pt>
                <c:pt idx="351" formatCode="General">
                  <c:v>-15.571428571428571</c:v>
                </c:pt>
                <c:pt idx="352" formatCode="General">
                  <c:v>-16.285714285714285</c:v>
                </c:pt>
                <c:pt idx="353" formatCode="General">
                  <c:v>-16.428571428571427</c:v>
                </c:pt>
                <c:pt idx="354" formatCode="General">
                  <c:v>-16.428571428571427</c:v>
                </c:pt>
                <c:pt idx="355" formatCode="General">
                  <c:v>-16.571428571428573</c:v>
                </c:pt>
                <c:pt idx="356" formatCode="General">
                  <c:v>-15.428571428571429</c:v>
                </c:pt>
                <c:pt idx="357" formatCode="General">
                  <c:v>-15.428571428571429</c:v>
                </c:pt>
                <c:pt idx="358" formatCode="General">
                  <c:v>-15</c:v>
                </c:pt>
                <c:pt idx="359" formatCode="General">
                  <c:v>-14</c:v>
                </c:pt>
                <c:pt idx="360" formatCode="General">
                  <c:v>-13.571428571428571</c:v>
                </c:pt>
                <c:pt idx="361" formatCode="General">
                  <c:v>-13.428571428571429</c:v>
                </c:pt>
                <c:pt idx="362" formatCode="General">
                  <c:v>-13.285714285714286</c:v>
                </c:pt>
                <c:pt idx="363" formatCode="General">
                  <c:v>-14</c:v>
                </c:pt>
                <c:pt idx="364" formatCode="General">
                  <c:v>-13.428571428571429</c:v>
                </c:pt>
                <c:pt idx="365" formatCode="General">
                  <c:v>-13.142857142857142</c:v>
                </c:pt>
                <c:pt idx="366" formatCode="General">
                  <c:v>-13</c:v>
                </c:pt>
                <c:pt idx="367" formatCode="General">
                  <c:v>-12.857142857142858</c:v>
                </c:pt>
                <c:pt idx="368" formatCode="General">
                  <c:v>-12.571428571428571</c:v>
                </c:pt>
                <c:pt idx="369" formatCode="General">
                  <c:v>-12.285714285714286</c:v>
                </c:pt>
                <c:pt idx="370" formatCode="General">
                  <c:v>-11.285714285714286</c:v>
                </c:pt>
                <c:pt idx="371" formatCode="General">
                  <c:v>-11.428571428571429</c:v>
                </c:pt>
                <c:pt idx="372" formatCode="General">
                  <c:v>-11.428571428571429</c:v>
                </c:pt>
                <c:pt idx="373" formatCode="General">
                  <c:v>-11.285714285714286</c:v>
                </c:pt>
                <c:pt idx="374" formatCode="General">
                  <c:v>-11.285714285714286</c:v>
                </c:pt>
                <c:pt idx="375" formatCode="General">
                  <c:v>-13.714285714285714</c:v>
                </c:pt>
                <c:pt idx="376" formatCode="General">
                  <c:v>-13.857142857142858</c:v>
                </c:pt>
                <c:pt idx="377" formatCode="General">
                  <c:v>-14.857142857142858</c:v>
                </c:pt>
                <c:pt idx="378" formatCode="General">
                  <c:v>-14.857142857142858</c:v>
                </c:pt>
                <c:pt idx="379" formatCode="General">
                  <c:v>-15</c:v>
                </c:pt>
                <c:pt idx="380" formatCode="General">
                  <c:v>-15.142857142857142</c:v>
                </c:pt>
                <c:pt idx="381" formatCode="General">
                  <c:v>-14.857142857142858</c:v>
                </c:pt>
                <c:pt idx="382" formatCode="General">
                  <c:v>-12.285714285714286</c:v>
                </c:pt>
                <c:pt idx="383" formatCode="General">
                  <c:v>-11.714285714285714</c:v>
                </c:pt>
                <c:pt idx="384" formatCode="General">
                  <c:v>-10.428571428571429</c:v>
                </c:pt>
                <c:pt idx="385" formatCode="General">
                  <c:v>-10.285714285714286</c:v>
                </c:pt>
                <c:pt idx="386" formatCode="General">
                  <c:v>-9.8571428571428577</c:v>
                </c:pt>
                <c:pt idx="387" formatCode="General">
                  <c:v>-9.5714285714285712</c:v>
                </c:pt>
                <c:pt idx="388" formatCode="General">
                  <c:v>-9.7142857142857135</c:v>
                </c:pt>
                <c:pt idx="389" formatCode="General">
                  <c:v>-9.7142857142857135</c:v>
                </c:pt>
                <c:pt idx="390" formatCode="General">
                  <c:v>-10.142857142857142</c:v>
                </c:pt>
                <c:pt idx="391" formatCode="General">
                  <c:v>-11</c:v>
                </c:pt>
                <c:pt idx="392" formatCode="General">
                  <c:v>-11.714285714285714</c:v>
                </c:pt>
                <c:pt idx="393" formatCode="General">
                  <c:v>-18</c:v>
                </c:pt>
                <c:pt idx="394" formatCode="General">
                  <c:v>-19.428571428571427</c:v>
                </c:pt>
                <c:pt idx="395" formatCode="General">
                  <c:v>-20</c:v>
                </c:pt>
                <c:pt idx="396" formatCode="General">
                  <c:v>-20.714285714285715</c:v>
                </c:pt>
                <c:pt idx="397" formatCode="General">
                  <c:v>-23</c:v>
                </c:pt>
                <c:pt idx="398" formatCode="General">
                  <c:v>-22.857142857142858</c:v>
                </c:pt>
                <c:pt idx="399" formatCode="General">
                  <c:v>-22.571428571428573</c:v>
                </c:pt>
                <c:pt idx="400" formatCode="General">
                  <c:v>-17.142857142857142</c:v>
                </c:pt>
                <c:pt idx="401" formatCode="General">
                  <c:v>-17.285714285714285</c:v>
                </c:pt>
                <c:pt idx="402" formatCode="General">
                  <c:v>-17.571428571428573</c:v>
                </c:pt>
                <c:pt idx="403" formatCode="General">
                  <c:v>-17.714285714285715</c:v>
                </c:pt>
                <c:pt idx="404" formatCode="General">
                  <c:v>-16</c:v>
                </c:pt>
                <c:pt idx="405" formatCode="General">
                  <c:v>-18.142857142857142</c:v>
                </c:pt>
                <c:pt idx="406" formatCode="General">
                  <c:v>-19</c:v>
                </c:pt>
                <c:pt idx="407" formatCode="General">
                  <c:v>-19.428571428571427</c:v>
                </c:pt>
                <c:pt idx="408" formatCode="General">
                  <c:v>-20.857142857142858</c:v>
                </c:pt>
                <c:pt idx="409" formatCode="General">
                  <c:v>-23.857142857142858</c:v>
                </c:pt>
                <c:pt idx="410" formatCode="General">
                  <c:v>-25.142857142857142</c:v>
                </c:pt>
                <c:pt idx="411" formatCode="General">
                  <c:v>-26.285714285714285</c:v>
                </c:pt>
                <c:pt idx="412" formatCode="General">
                  <c:v>-26.714285714285715</c:v>
                </c:pt>
                <c:pt idx="413" formatCode="General">
                  <c:v>-28.714285714285715</c:v>
                </c:pt>
                <c:pt idx="414" formatCode="General">
                  <c:v>-29.857142857142858</c:v>
                </c:pt>
                <c:pt idx="415" formatCode="General">
                  <c:v>-29.857142857142858</c:v>
                </c:pt>
                <c:pt idx="416" formatCode="General">
                  <c:v>-30.142857142857142</c:v>
                </c:pt>
                <c:pt idx="417" formatCode="General">
                  <c:v>-31.285714285714285</c:v>
                </c:pt>
                <c:pt idx="418" formatCode="General">
                  <c:v>-32.857142857142854</c:v>
                </c:pt>
                <c:pt idx="419" formatCode="General">
                  <c:v>-35.285714285714285</c:v>
                </c:pt>
                <c:pt idx="420" formatCode="General">
                  <c:v>-37</c:v>
                </c:pt>
                <c:pt idx="421" formatCode="General">
                  <c:v>-38.428571428571431</c:v>
                </c:pt>
                <c:pt idx="422" formatCode="General">
                  <c:v>-39.285714285714285</c:v>
                </c:pt>
                <c:pt idx="423" formatCode="General">
                  <c:v>-39.428571428571431</c:v>
                </c:pt>
                <c:pt idx="424" formatCode="General">
                  <c:v>-40.571428571428569</c:v>
                </c:pt>
                <c:pt idx="425" formatCode="General">
                  <c:v>-41.428571428571431</c:v>
                </c:pt>
                <c:pt idx="426" formatCode="General">
                  <c:v>-43</c:v>
                </c:pt>
                <c:pt idx="427" formatCode="General">
                  <c:v>-43.428571428571431</c:v>
                </c:pt>
                <c:pt idx="428" formatCode="General">
                  <c:v>-44.428571428571431</c:v>
                </c:pt>
                <c:pt idx="429" formatCode="General">
                  <c:v>-45.428571428571431</c:v>
                </c:pt>
                <c:pt idx="430" formatCode="General">
                  <c:v>-46.285714285714285</c:v>
                </c:pt>
                <c:pt idx="431" formatCode="General">
                  <c:v>-47</c:v>
                </c:pt>
                <c:pt idx="432" formatCode="General">
                  <c:v>-47.714285714285715</c:v>
                </c:pt>
                <c:pt idx="433" formatCode="General">
                  <c:v>-46.714285714285715</c:v>
                </c:pt>
                <c:pt idx="434" formatCode="General">
                  <c:v>-45.714285714285715</c:v>
                </c:pt>
                <c:pt idx="435" formatCode="General">
                  <c:v>-46.428571428571431</c:v>
                </c:pt>
                <c:pt idx="436" formatCode="General">
                  <c:v>-47</c:v>
                </c:pt>
                <c:pt idx="437" formatCode="General">
                  <c:v>-47.571428571428569</c:v>
                </c:pt>
                <c:pt idx="438" formatCode="General">
                  <c:v>-48.285714285714285</c:v>
                </c:pt>
                <c:pt idx="439" formatCode="General">
                  <c:v>-50</c:v>
                </c:pt>
                <c:pt idx="440" formatCode="General">
                  <c:v>-50.428571428571431</c:v>
                </c:pt>
                <c:pt idx="441" formatCode="General">
                  <c:v>-51.142857142857146</c:v>
                </c:pt>
                <c:pt idx="442" formatCode="General">
                  <c:v>-51.142857142857146</c:v>
                </c:pt>
                <c:pt idx="443" formatCode="General">
                  <c:v>-51.428571428571431</c:v>
                </c:pt>
                <c:pt idx="444" formatCode="General">
                  <c:v>-51.285714285714285</c:v>
                </c:pt>
                <c:pt idx="445" formatCode="General">
                  <c:v>-50.857142857142854</c:v>
                </c:pt>
                <c:pt idx="446" formatCode="General">
                  <c:v>-49.285714285714285</c:v>
                </c:pt>
                <c:pt idx="447" formatCode="General">
                  <c:v>-48.714285714285715</c:v>
                </c:pt>
                <c:pt idx="448" formatCode="General">
                  <c:v>-47.571428571428569</c:v>
                </c:pt>
                <c:pt idx="449" formatCode="General">
                  <c:v>-47</c:v>
                </c:pt>
                <c:pt idx="450" formatCode="General">
                  <c:v>-46.285714285714285</c:v>
                </c:pt>
                <c:pt idx="451" formatCode="General">
                  <c:v>-46.428571428571431</c:v>
                </c:pt>
                <c:pt idx="452" formatCode="General">
                  <c:v>-46</c:v>
                </c:pt>
                <c:pt idx="453" formatCode="General">
                  <c:v>-45.428571428571431</c:v>
                </c:pt>
                <c:pt idx="454" formatCode="General">
                  <c:v>-44.571428571428569</c:v>
                </c:pt>
                <c:pt idx="455" formatCode="General">
                  <c:v>-44.285714285714285</c:v>
                </c:pt>
                <c:pt idx="456" formatCode="General">
                  <c:v>-43.428571428571431</c:v>
                </c:pt>
                <c:pt idx="457" formatCode="General">
                  <c:v>-42.428571428571431</c:v>
                </c:pt>
                <c:pt idx="458" formatCode="General">
                  <c:v>-40.571428571428569</c:v>
                </c:pt>
                <c:pt idx="459" formatCode="General">
                  <c:v>-39.428571428571431</c:v>
                </c:pt>
                <c:pt idx="460" formatCode="General">
                  <c:v>-38.428571428571431</c:v>
                </c:pt>
                <c:pt idx="461" formatCode="General">
                  <c:v>-37.571428571428569</c:v>
                </c:pt>
                <c:pt idx="462" formatCode="General">
                  <c:v>-37.142857142857146</c:v>
                </c:pt>
                <c:pt idx="463" formatCode="General">
                  <c:v>-36.142857142857146</c:v>
                </c:pt>
                <c:pt idx="464" formatCode="General">
                  <c:v>-35.142857142857146</c:v>
                </c:pt>
                <c:pt idx="465" formatCode="General">
                  <c:v>-34.428571428571431</c:v>
                </c:pt>
                <c:pt idx="466" formatCode="General">
                  <c:v>-33.571428571428569</c:v>
                </c:pt>
                <c:pt idx="467" formatCode="General">
                  <c:v>-32.714285714285715</c:v>
                </c:pt>
                <c:pt idx="468" formatCode="General">
                  <c:v>-32.571428571428569</c:v>
                </c:pt>
                <c:pt idx="469" formatCode="General">
                  <c:v>-32.142857142857146</c:v>
                </c:pt>
                <c:pt idx="470" formatCode="General">
                  <c:v>-31.714285714285715</c:v>
                </c:pt>
                <c:pt idx="471" formatCode="General">
                  <c:v>-31.285714285714285</c:v>
                </c:pt>
                <c:pt idx="472" formatCode="General">
                  <c:v>-30.857142857142858</c:v>
                </c:pt>
                <c:pt idx="473" formatCode="General">
                  <c:v>-30.428571428571427</c:v>
                </c:pt>
                <c:pt idx="474" formatCode="General">
                  <c:v>-30</c:v>
                </c:pt>
                <c:pt idx="475" formatCode="General">
                  <c:v>-29</c:v>
                </c:pt>
                <c:pt idx="476" formatCode="General">
                  <c:v>-28.857142857142858</c:v>
                </c:pt>
                <c:pt idx="477" formatCode="General">
                  <c:v>-28.714285714285715</c:v>
                </c:pt>
                <c:pt idx="478" formatCode="General">
                  <c:v>-28.571428571428573</c:v>
                </c:pt>
                <c:pt idx="479" formatCode="General">
                  <c:v>-28.142857142857142</c:v>
                </c:pt>
                <c:pt idx="480" formatCode="General">
                  <c:v>-28</c:v>
                </c:pt>
                <c:pt idx="481" formatCode="General">
                  <c:v>-27.714285714285715</c:v>
                </c:pt>
                <c:pt idx="482" formatCode="General">
                  <c:v>-27.714285714285715</c:v>
                </c:pt>
                <c:pt idx="483" formatCode="General">
                  <c:v>-27</c:v>
                </c:pt>
                <c:pt idx="484" formatCode="General">
                  <c:v>-26.428571428571427</c:v>
                </c:pt>
                <c:pt idx="485" formatCode="General">
                  <c:v>-26</c:v>
                </c:pt>
                <c:pt idx="486" formatCode="General">
                  <c:v>-25.714285714285715</c:v>
                </c:pt>
                <c:pt idx="487" formatCode="General">
                  <c:v>-25.285714285714285</c:v>
                </c:pt>
                <c:pt idx="488" formatCode="General">
                  <c:v>-24.857142857142858</c:v>
                </c:pt>
                <c:pt idx="489" formatCode="General">
                  <c:v>-24</c:v>
                </c:pt>
                <c:pt idx="490" formatCode="General">
                  <c:v>-23.857142857142858</c:v>
                </c:pt>
                <c:pt idx="491" formatCode="General">
                  <c:v>-23.428571428571427</c:v>
                </c:pt>
                <c:pt idx="492" formatCode="General">
                  <c:v>-22.857142857142858</c:v>
                </c:pt>
                <c:pt idx="493" formatCode="General">
                  <c:v>-22.428571428571427</c:v>
                </c:pt>
                <c:pt idx="494" formatCode="General">
                  <c:v>-21.857142857142858</c:v>
                </c:pt>
                <c:pt idx="495" formatCode="General">
                  <c:v>-21.571428571428573</c:v>
                </c:pt>
                <c:pt idx="496" formatCode="General">
                  <c:v>-21.857142857142858</c:v>
                </c:pt>
                <c:pt idx="497" formatCode="General">
                  <c:v>-21.428571428571427</c:v>
                </c:pt>
                <c:pt idx="498" formatCode="General">
                  <c:v>-21.571428571428573</c:v>
                </c:pt>
                <c:pt idx="499" formatCode="General">
                  <c:v>-21.714285714285715</c:v>
                </c:pt>
                <c:pt idx="500" formatCode="General">
                  <c:v>-21.571428571428573</c:v>
                </c:pt>
                <c:pt idx="501" formatCode="General">
                  <c:v>-21.428571428571427</c:v>
                </c:pt>
                <c:pt idx="502" formatCode="General">
                  <c:v>-21.285714285714285</c:v>
                </c:pt>
                <c:pt idx="503" formatCode="General">
                  <c:v>-20.285714285714285</c:v>
                </c:pt>
                <c:pt idx="504" formatCode="General">
                  <c:v>-20</c:v>
                </c:pt>
                <c:pt idx="505" formatCode="General">
                  <c:v>-19.857142857142858</c:v>
                </c:pt>
                <c:pt idx="506" formatCode="General">
                  <c:v>-19.571428571428573</c:v>
                </c:pt>
                <c:pt idx="507" formatCode="General">
                  <c:v>-21.714285714285715</c:v>
                </c:pt>
                <c:pt idx="508" formatCode="General">
                  <c:v>-21.857142857142858</c:v>
                </c:pt>
                <c:pt idx="509" formatCode="General">
                  <c:v>-21.714285714285715</c:v>
                </c:pt>
                <c:pt idx="510">
                  <c:v>-22.142857142857142</c:v>
                </c:pt>
                <c:pt idx="511">
                  <c:v>-22</c:v>
                </c:pt>
                <c:pt idx="512">
                  <c:v>-21.285714285714285</c:v>
                </c:pt>
                <c:pt idx="513">
                  <c:v>-20.857142857142858</c:v>
                </c:pt>
                <c:pt idx="514">
                  <c:v>-18.142857142857142</c:v>
                </c:pt>
                <c:pt idx="515">
                  <c:v>-17.428571428571427</c:v>
                </c:pt>
                <c:pt idx="516">
                  <c:v>-16.857142857142858</c:v>
                </c:pt>
                <c:pt idx="517">
                  <c:v>-15.714285714285714</c:v>
                </c:pt>
                <c:pt idx="518">
                  <c:v>-15.428571428571429</c:v>
                </c:pt>
                <c:pt idx="519">
                  <c:v>-15.285714285714286</c:v>
                </c:pt>
                <c:pt idx="520">
                  <c:v>-15.142857142857142</c:v>
                </c:pt>
                <c:pt idx="521">
                  <c:v>-14.857142857142858</c:v>
                </c:pt>
                <c:pt idx="522">
                  <c:v>-14.571428571428571</c:v>
                </c:pt>
                <c:pt idx="523">
                  <c:v>-14.428571428571429</c:v>
                </c:pt>
                <c:pt idx="524">
                  <c:v>-14.142857142857142</c:v>
                </c:pt>
                <c:pt idx="525">
                  <c:v>-14</c:v>
                </c:pt>
                <c:pt idx="526">
                  <c:v>-13.714285714285714</c:v>
                </c:pt>
                <c:pt idx="527">
                  <c:v>-13.285714285714286</c:v>
                </c:pt>
                <c:pt idx="528">
                  <c:v>-13</c:v>
                </c:pt>
                <c:pt idx="529">
                  <c:v>-12.857142857142858</c:v>
                </c:pt>
                <c:pt idx="530">
                  <c:v>-12.714285714285714</c:v>
                </c:pt>
                <c:pt idx="531">
                  <c:v>-13.285714285714286</c:v>
                </c:pt>
                <c:pt idx="532">
                  <c:v>-13</c:v>
                </c:pt>
                <c:pt idx="533">
                  <c:v>-13.285714285714286</c:v>
                </c:pt>
                <c:pt idx="534">
                  <c:v>-13.285714285714286</c:v>
                </c:pt>
                <c:pt idx="535" formatCode="General">
                  <c:v>-13</c:v>
                </c:pt>
                <c:pt idx="536" formatCode="General">
                  <c:v>-13.142857142857142</c:v>
                </c:pt>
                <c:pt idx="537" formatCode="General">
                  <c:v>-14.714285714285714</c:v>
                </c:pt>
                <c:pt idx="538" formatCode="General">
                  <c:v>-14.428571428571429</c:v>
                </c:pt>
                <c:pt idx="539" formatCode="General">
                  <c:v>-16.285714285714285</c:v>
                </c:pt>
                <c:pt idx="540" formatCode="General">
                  <c:v>-16.571428571428573</c:v>
                </c:pt>
                <c:pt idx="541" formatCode="General">
                  <c:v>-16.571428571428573</c:v>
                </c:pt>
                <c:pt idx="542" formatCode="General">
                  <c:v>-16.714285714285715</c:v>
                </c:pt>
                <c:pt idx="543" formatCode="General">
                  <c:v>-16.428571428571427</c:v>
                </c:pt>
                <c:pt idx="544">
                  <c:v>-14.571428571428571</c:v>
                </c:pt>
                <c:pt idx="545">
                  <c:v>-14.142857142857142</c:v>
                </c:pt>
                <c:pt idx="546">
                  <c:v>-11.714285714285714</c:v>
                </c:pt>
                <c:pt idx="547">
                  <c:v>-12.857142857142858</c:v>
                </c:pt>
                <c:pt idx="548">
                  <c:v>-13</c:v>
                </c:pt>
                <c:pt idx="549">
                  <c:v>-13</c:v>
                </c:pt>
                <c:pt idx="550">
                  <c:v>-12.714285714285714</c:v>
                </c:pt>
                <c:pt idx="551">
                  <c:v>-12.428571428571429</c:v>
                </c:pt>
                <c:pt idx="552">
                  <c:v>-11.571428571428571</c:v>
                </c:pt>
                <c:pt idx="553">
                  <c:v>-11.428571428571429</c:v>
                </c:pt>
                <c:pt idx="554">
                  <c:v>-9.1428571428571423</c:v>
                </c:pt>
                <c:pt idx="555">
                  <c:v>-8.5714285714285712</c:v>
                </c:pt>
                <c:pt idx="556">
                  <c:v>-8.1428571428571423</c:v>
                </c:pt>
                <c:pt idx="557">
                  <c:v>-8.1428571428571423</c:v>
                </c:pt>
                <c:pt idx="558">
                  <c:v>-10.857142857142858</c:v>
                </c:pt>
                <c:pt idx="559">
                  <c:v>-12.571428571428571</c:v>
                </c:pt>
                <c:pt idx="560">
                  <c:v>-12.714285714285714</c:v>
                </c:pt>
                <c:pt idx="561">
                  <c:v>-13</c:v>
                </c:pt>
                <c:pt idx="562">
                  <c:v>-13.142857142857142</c:v>
                </c:pt>
                <c:pt idx="563">
                  <c:v>-13.285714285714286</c:v>
                </c:pt>
                <c:pt idx="564">
                  <c:v>-13.571428571428571</c:v>
                </c:pt>
                <c:pt idx="565" formatCode="General">
                  <c:v>-11.285714285714286</c:v>
                </c:pt>
                <c:pt idx="566" formatCode="General">
                  <c:v>-9.7142857142857135</c:v>
                </c:pt>
                <c:pt idx="567" formatCode="General">
                  <c:v>-9.8571428571428577</c:v>
                </c:pt>
                <c:pt idx="568" formatCode="General">
                  <c:v>-9.5714285714285712</c:v>
                </c:pt>
                <c:pt idx="569" formatCode="General">
                  <c:v>-9.2857142857142865</c:v>
                </c:pt>
                <c:pt idx="570" formatCode="General">
                  <c:v>-8.7142857142857135</c:v>
                </c:pt>
                <c:pt idx="571" formatCode="General">
                  <c:v>-7.8571428571428568</c:v>
                </c:pt>
                <c:pt idx="572" formatCode="General">
                  <c:v>-7</c:v>
                </c:pt>
                <c:pt idx="573" formatCode="General">
                  <c:v>-7</c:v>
                </c:pt>
                <c:pt idx="574" formatCode="General">
                  <c:v>-6.2857142857142856</c:v>
                </c:pt>
                <c:pt idx="575" formatCode="General">
                  <c:v>-6.5714285714285712</c:v>
                </c:pt>
                <c:pt idx="576" formatCode="General">
                  <c:v>-6.2857142857142856</c:v>
                </c:pt>
                <c:pt idx="577" formatCode="General">
                  <c:v>-6.2857142857142856</c:v>
                </c:pt>
                <c:pt idx="578" formatCode="General">
                  <c:v>-6.1428571428571432</c:v>
                </c:pt>
                <c:pt idx="579">
                  <c:v>-6</c:v>
                </c:pt>
                <c:pt idx="580">
                  <c:v>-9.2857142857142865</c:v>
                </c:pt>
                <c:pt idx="581">
                  <c:v>-9.1428571428571423</c:v>
                </c:pt>
                <c:pt idx="582">
                  <c:v>-8.1428571428571423</c:v>
                </c:pt>
                <c:pt idx="583">
                  <c:v>-7.8571428571428568</c:v>
                </c:pt>
                <c:pt idx="584">
                  <c:v>-8.2857142857142865</c:v>
                </c:pt>
                <c:pt idx="585">
                  <c:v>-8.4285714285714288</c:v>
                </c:pt>
                <c:pt idx="586">
                  <c:v>-8.2857142857142865</c:v>
                </c:pt>
                <c:pt idx="587">
                  <c:v>-5.2857142857142856</c:v>
                </c:pt>
                <c:pt idx="588">
                  <c:v>-4.8571428571428568</c:v>
                </c:pt>
                <c:pt idx="589">
                  <c:v>-5.1428571428571432</c:v>
                </c:pt>
                <c:pt idx="590">
                  <c:v>-5.5714285714285712</c:v>
                </c:pt>
                <c:pt idx="591">
                  <c:v>-6</c:v>
                </c:pt>
                <c:pt idx="592">
                  <c:v>-8.1428571428571423</c:v>
                </c:pt>
                <c:pt idx="593">
                  <c:v>-13.857142857142858</c:v>
                </c:pt>
                <c:pt idx="594">
                  <c:v>-14.714285714285714</c:v>
                </c:pt>
                <c:pt idx="595">
                  <c:v>-15.285714285714286</c:v>
                </c:pt>
                <c:pt idx="596">
                  <c:v>-15.571428571428571</c:v>
                </c:pt>
                <c:pt idx="597">
                  <c:v>-17.142857142857142</c:v>
                </c:pt>
                <c:pt idx="598">
                  <c:v>-16.857142857142858</c:v>
                </c:pt>
                <c:pt idx="599">
                  <c:v>-14.428571428571429</c:v>
                </c:pt>
                <c:pt idx="600">
                  <c:v>-8.5714285714285712</c:v>
                </c:pt>
                <c:pt idx="601">
                  <c:v>-7</c:v>
                </c:pt>
                <c:pt idx="602">
                  <c:v>-6.5714285714285712</c:v>
                </c:pt>
                <c:pt idx="603">
                  <c:v>-5.7142857142857144</c:v>
                </c:pt>
                <c:pt idx="604">
                  <c:v>-3.4285714285714284</c:v>
                </c:pt>
                <c:pt idx="605">
                  <c:v>-2.2857142857142856</c:v>
                </c:pt>
                <c:pt idx="606">
                  <c:v>-2</c:v>
                </c:pt>
                <c:pt idx="607">
                  <c:v>-1.7142857142857142</c:v>
                </c:pt>
                <c:pt idx="608" formatCode="_ * #,##0.0_ ;_ * \-#,##0.0_ ;_ * &quot;-&quot;??_ ;_ @_ ">
                  <c:v>-0.8571428571428571</c:v>
                </c:pt>
                <c:pt idx="609" formatCode="_ * #,##0.0_ ;_ * \-#,##0.0_ ;_ * &quot;-&quot;??_ ;_ @_ ">
                  <c:v>0.7142857142857143</c:v>
                </c:pt>
                <c:pt idx="610" formatCode="_ * #,##0.0_ ;_ * \-#,##0.0_ ;_ * &quot;-&quot;??_ ;_ @_ ">
                  <c:v>0</c:v>
                </c:pt>
                <c:pt idx="611" formatCode="_ * #,##0.0_ ;_ * \-#,##0.0_ ;_ * &quot;-&quot;??_ ;_ @_ ">
                  <c:v>-0.5714285714285714</c:v>
                </c:pt>
                <c:pt idx="612" formatCode="_ * #,##0.0_ ;_ * \-#,##0.0_ ;_ * &quot;-&quot;??_ ;_ @_ ">
                  <c:v>-2.4285714285714284</c:v>
                </c:pt>
                <c:pt idx="613" formatCode="_ * #,##0.0_ ;_ * \-#,##0.0_ ;_ * &quot;-&quot;??_ ;_ @_ ">
                  <c:v>-9</c:v>
                </c:pt>
                <c:pt idx="614" formatCode="_ * #,##0.0_ ;_ * \-#,##0.0_ ;_ * &quot;-&quot;??_ ;_ @_ ">
                  <c:v>-15.285714285714286</c:v>
                </c:pt>
                <c:pt idx="615" formatCode="_ * #,##0.0_ ;_ * \-#,##0.0_ ;_ * &quot;-&quot;??_ ;_ @_ ">
                  <c:v>-20.571428571428573</c:v>
                </c:pt>
                <c:pt idx="616">
                  <c:v>-24</c:v>
                </c:pt>
                <c:pt idx="617">
                  <c:v>-24.857142857142858</c:v>
                </c:pt>
                <c:pt idx="618">
                  <c:v>-25.142857142857142</c:v>
                </c:pt>
                <c:pt idx="619">
                  <c:v>-24.857142857142858</c:v>
                </c:pt>
                <c:pt idx="620">
                  <c:v>-19.571428571428573</c:v>
                </c:pt>
                <c:pt idx="621">
                  <c:v>-14.142857142857142</c:v>
                </c:pt>
                <c:pt idx="622">
                  <c:v>-10.714285714285714</c:v>
                </c:pt>
                <c:pt idx="623">
                  <c:v>-9.4285714285714288</c:v>
                </c:pt>
                <c:pt idx="624">
                  <c:v>-8.5714285714285712</c:v>
                </c:pt>
                <c:pt idx="625">
                  <c:v>-8</c:v>
                </c:pt>
                <c:pt idx="626">
                  <c:v>-6.7142857142857144</c:v>
                </c:pt>
                <c:pt idx="627">
                  <c:v>-5.8571428571428568</c:v>
                </c:pt>
                <c:pt idx="628">
                  <c:v>-7.5714285714285712</c:v>
                </c:pt>
                <c:pt idx="629">
                  <c:v>-6.7142857142857144</c:v>
                </c:pt>
                <c:pt idx="630">
                  <c:v>-6.8571428571428568</c:v>
                </c:pt>
                <c:pt idx="631" formatCode="0.00">
                  <c:v>-6.5714285714285712</c:v>
                </c:pt>
                <c:pt idx="632" formatCode="0.00">
                  <c:v>-6.2857142857142856</c:v>
                </c:pt>
                <c:pt idx="633" formatCode="0.00">
                  <c:v>-6.1428571428571432</c:v>
                </c:pt>
                <c:pt idx="634" formatCode="0.00">
                  <c:v>-5.8571428571428568</c:v>
                </c:pt>
                <c:pt idx="635" formatCode="0.00">
                  <c:v>-3.5714285714285716</c:v>
                </c:pt>
                <c:pt idx="636" formatCode="0.00">
                  <c:v>-3.5714285714285716</c:v>
                </c:pt>
                <c:pt idx="637" formatCode="0.00">
                  <c:v>-3.1428571428571428</c:v>
                </c:pt>
                <c:pt idx="638" formatCode="0.00">
                  <c:v>-3</c:v>
                </c:pt>
                <c:pt idx="639" formatCode="0.00">
                  <c:v>-3</c:v>
                </c:pt>
                <c:pt idx="640" formatCode="0.00">
                  <c:v>-3</c:v>
                </c:pt>
                <c:pt idx="641" formatCode="0.00">
                  <c:v>-2.8571428571428572</c:v>
                </c:pt>
                <c:pt idx="642" formatCode="0.00">
                  <c:v>-2.4285714285714284</c:v>
                </c:pt>
                <c:pt idx="643" formatCode="0.00">
                  <c:v>-1.4285714285714286</c:v>
                </c:pt>
                <c:pt idx="644" formatCode="0.00">
                  <c:v>-1.2857142857142858</c:v>
                </c:pt>
                <c:pt idx="645" formatCode="0.00">
                  <c:v>-0.8571428571428571</c:v>
                </c:pt>
                <c:pt idx="646" formatCode="0.00">
                  <c:v>-0.2857142857142857</c:v>
                </c:pt>
                <c:pt idx="647" formatCode="0.00">
                  <c:v>0.42857142857142855</c:v>
                </c:pt>
                <c:pt idx="648" formatCode="0.00">
                  <c:v>1.1428571428571428</c:v>
                </c:pt>
                <c:pt idx="649" formatCode="0.00">
                  <c:v>1.7142857142857142</c:v>
                </c:pt>
                <c:pt idx="650" formatCode="0.00">
                  <c:v>1.2857142857142858</c:v>
                </c:pt>
                <c:pt idx="651" formatCode="0.00">
                  <c:v>2</c:v>
                </c:pt>
                <c:pt idx="652" formatCode="0.00">
                  <c:v>2.5714285714285716</c:v>
                </c:pt>
                <c:pt idx="653" formatCode="0.00">
                  <c:v>3</c:v>
                </c:pt>
                <c:pt idx="654" formatCode="0.00">
                  <c:v>3.5714285714285716</c:v>
                </c:pt>
                <c:pt idx="655" formatCode="0.00">
                  <c:v>3.8571428571428572</c:v>
                </c:pt>
                <c:pt idx="656" formatCode="0.00">
                  <c:v>4.1428571428571432</c:v>
                </c:pt>
                <c:pt idx="657" formatCode="0.00">
                  <c:v>5.5714285714285712</c:v>
                </c:pt>
                <c:pt idx="658" formatCode="0.00">
                  <c:v>6</c:v>
                </c:pt>
                <c:pt idx="659" formatCode="0.00">
                  <c:v>6.5714285714285712</c:v>
                </c:pt>
                <c:pt idx="660" formatCode="0.00">
                  <c:v>7</c:v>
                </c:pt>
                <c:pt idx="661" formatCode="0.00">
                  <c:v>7.2857142857142856</c:v>
                </c:pt>
                <c:pt idx="662" formatCode="0.00">
                  <c:v>7.5714285714285712</c:v>
                </c:pt>
                <c:pt idx="663" formatCode="0.00">
                  <c:v>7.1428571428571432</c:v>
                </c:pt>
                <c:pt idx="664" formatCode="0.00">
                  <c:v>3.2857142857142856</c:v>
                </c:pt>
                <c:pt idx="665" formatCode="0.00">
                  <c:v>3.1428571428571428</c:v>
                </c:pt>
                <c:pt idx="666" formatCode="0.00">
                  <c:v>2.4285714285714284</c:v>
                </c:pt>
                <c:pt idx="667" formatCode="0.00">
                  <c:v>1.7142857142857142</c:v>
                </c:pt>
                <c:pt idx="668" formatCode="0.00">
                  <c:v>0.8571428571428571</c:v>
                </c:pt>
                <c:pt idx="669" formatCode="0.00">
                  <c:v>0.14285714285714285</c:v>
                </c:pt>
                <c:pt idx="670" formatCode="0.00">
                  <c:v>-0.2857142857142857</c:v>
                </c:pt>
                <c:pt idx="671" formatCode="_ * #,##0.00_ ;_ * \-#,##0.00_ ;_ * &quot;-&quot;??_ ;_ @_ ">
                  <c:v>0.42857142857142855</c:v>
                </c:pt>
                <c:pt idx="672" formatCode="_ * #,##0.00_ ;_ * \-#,##0.00_ ;_ * &quot;-&quot;??_ ;_ @_ ">
                  <c:v>0.2857142857142857</c:v>
                </c:pt>
                <c:pt idx="673" formatCode="_ * #,##0.00_ ;_ * \-#,##0.00_ ;_ * &quot;-&quot;??_ ;_ @_ ">
                  <c:v>1</c:v>
                </c:pt>
                <c:pt idx="674" formatCode="_ * #,##0.00_ ;_ * \-#,##0.00_ ;_ * &quot;-&quot;??_ ;_ @_ ">
                  <c:v>1.5714285714285714</c:v>
                </c:pt>
                <c:pt idx="675" formatCode="_ * #,##0.00_ ;_ * \-#,##0.00_ ;_ * &quot;-&quot;??_ ;_ @_ ">
                  <c:v>2</c:v>
                </c:pt>
                <c:pt idx="676" formatCode="_ * #,##0.00_ ;_ * \-#,##0.00_ ;_ * &quot;-&quot;??_ ;_ @_ ">
                  <c:v>2.4285714285714284</c:v>
                </c:pt>
                <c:pt idx="677" formatCode="_ * #,##0.00_ ;_ * \-#,##0.00_ ;_ * &quot;-&quot;??_ ;_ @_ ">
                  <c:v>3</c:v>
                </c:pt>
                <c:pt idx="678" formatCode="_ * #,##0.00_ ;_ * \-#,##0.00_ ;_ * &quot;-&quot;??_ ;_ @_ ">
                  <c:v>3.7142857142857144</c:v>
                </c:pt>
                <c:pt idx="679" formatCode="_ * #,##0.00_ ;_ * \-#,##0.00_ ;_ * &quot;-&quot;??_ ;_ @_ ">
                  <c:v>3</c:v>
                </c:pt>
                <c:pt idx="680" formatCode="_ * #,##0.00_ ;_ * \-#,##0.00_ ;_ * &quot;-&quot;??_ ;_ @_ ">
                  <c:v>2.2857142857142856</c:v>
                </c:pt>
                <c:pt idx="681" formatCode="_ * #,##0.00_ ;_ * \-#,##0.00_ ;_ * &quot;-&quot;??_ ;_ @_ ">
                  <c:v>1.4285714285714286</c:v>
                </c:pt>
                <c:pt idx="682" formatCode="_ * #,##0.00_ ;_ * \-#,##0.00_ ;_ * &quot;-&quot;??_ ;_ @_ ">
                  <c:v>0.5714285714285714</c:v>
                </c:pt>
                <c:pt idx="683" formatCode="_ * #,##0.00_ ;_ * \-#,##0.00_ ;_ * &quot;-&quot;??_ ;_ @_ ">
                  <c:v>-0.7142857142857143</c:v>
                </c:pt>
                <c:pt idx="684" formatCode="_ * #,##0.00_ ;_ * \-#,##0.00_ ;_ * &quot;-&quot;??_ ;_ @_ ">
                  <c:v>-4.5714285714285712</c:v>
                </c:pt>
                <c:pt idx="685" formatCode="_ * #,##0.00_ ;_ * \-#,##0.00_ ;_ * &quot;-&quot;??_ ;_ @_ ">
                  <c:v>-6.1428571428571432</c:v>
                </c:pt>
                <c:pt idx="686" formatCode="_ * #,##0.00_ ;_ * \-#,##0.00_ ;_ * &quot;-&quot;??_ ;_ @_ ">
                  <c:v>-7</c:v>
                </c:pt>
                <c:pt idx="687" formatCode="_ * #,##0.00_ ;_ * \-#,##0.00_ ;_ * &quot;-&quot;??_ ;_ @_ ">
                  <c:v>-7.7142857142857144</c:v>
                </c:pt>
                <c:pt idx="688" formatCode="_ * #,##0.00_ ;_ * \-#,##0.00_ ;_ * &quot;-&quot;??_ ;_ @_ ">
                  <c:v>-8.1428571428571423</c:v>
                </c:pt>
                <c:pt idx="689" formatCode="_ * #,##0.00_ ;_ * \-#,##0.00_ ;_ * &quot;-&quot;??_ ;_ @_ ">
                  <c:v>-8.1428571428571423</c:v>
                </c:pt>
                <c:pt idx="690" formatCode="_ * #,##0.00_ ;_ * \-#,##0.00_ ;_ * &quot;-&quot;??_ ;_ @_ ">
                  <c:v>-7.7142857142857144</c:v>
                </c:pt>
                <c:pt idx="691" formatCode="_ * #,##0.00_ ;_ * \-#,##0.00_ ;_ * &quot;-&quot;??_ ;_ @_ ">
                  <c:v>-4.4285714285714288</c:v>
                </c:pt>
                <c:pt idx="692" formatCode="_ * #,##0.00_ ;_ * \-#,##0.00_ ;_ * &quot;-&quot;??_ ;_ @_ ">
                  <c:v>-2.2857142857142856</c:v>
                </c:pt>
                <c:pt idx="693" formatCode="_ * #,##0.00_ ;_ * \-#,##0.00_ ;_ * &quot;-&quot;??_ ;_ @_ ">
                  <c:v>-1.7142857142857142</c:v>
                </c:pt>
                <c:pt idx="694" formatCode="_ * #,##0.00_ ;_ * \-#,##0.00_ ;_ * &quot;-&quot;??_ ;_ @_ ">
                  <c:v>-1.1428571428571428</c:v>
                </c:pt>
                <c:pt idx="695" formatCode="_ * #,##0.00_ ;_ * \-#,##0.00_ ;_ * &quot;-&quot;??_ ;_ @_ ">
                  <c:v>-0.7142857142857143</c:v>
                </c:pt>
                <c:pt idx="696" formatCode="_ * #,##0.00_ ;_ * \-#,##0.00_ ;_ * &quot;-&quot;??_ ;_ @_ ">
                  <c:v>-5.5714285714285712</c:v>
                </c:pt>
                <c:pt idx="697" formatCode="_ * #,##0.00_ ;_ * \-#,##0.00_ ;_ * &quot;-&quot;??_ ;_ @_ ">
                  <c:v>-5.1428571428571432</c:v>
                </c:pt>
                <c:pt idx="698" formatCode="_ * #,##0.00_ ;_ * \-#,##0.00_ ;_ * &quot;-&quot;??_ ;_ @_ ">
                  <c:v>-4.5714285714285712</c:v>
                </c:pt>
                <c:pt idx="699" formatCode="_ * #,##0.00_ ;_ * \-#,##0.00_ ;_ * &quot;-&quot;??_ ;_ @_ ">
                  <c:v>-2.5714285714285716</c:v>
                </c:pt>
                <c:pt idx="700" formatCode="_ * #,##0.00_ ;_ * \-#,##0.00_ ;_ * &quot;-&quot;??_ ;_ @_ ">
                  <c:v>-0.42857142857142855</c:v>
                </c:pt>
                <c:pt idx="701" formatCode="_ * #,##0.00_ ;_ * \-#,##0.00_ ;_ * &quot;-&quot;??_ ;_ @_ ">
                  <c:v>0.2857142857142857</c:v>
                </c:pt>
                <c:pt idx="702" formatCode="_ * #,##0.00_ ;_ * \-#,##0.00_ ;_ * &quot;-&quot;??_ ;_ @_ ">
                  <c:v>1</c:v>
                </c:pt>
                <c:pt idx="703" formatCode="_ * #,##0.00_ ;_ * \-#,##0.00_ ;_ * &quot;-&quot;??_ ;_ @_ ">
                  <c:v>6.8571428571428568</c:v>
                </c:pt>
                <c:pt idx="704" formatCode="_ * #,##0.00_ ;_ * \-#,##0.00_ ;_ * &quot;-&quot;??_ ;_ @_ ">
                  <c:v>7.2857142857142856</c:v>
                </c:pt>
                <c:pt idx="705" formatCode="_ * #,##0.00_ ;_ * \-#,##0.00_ ;_ * &quot;-&quot;??_ ;_ @_ ">
                  <c:v>7.2857142857142856</c:v>
                </c:pt>
                <c:pt idx="706" formatCode="_ * #,##0.00_ ;_ * \-#,##0.00_ ;_ * &quot;-&quot;??_ ;_ @_ ">
                  <c:v>6.4285714285714288</c:v>
                </c:pt>
                <c:pt idx="707" formatCode="_ * #,##0.00_ ;_ * \-#,##0.00_ ;_ * &quot;-&quot;??_ ;_ @_ ">
                  <c:v>5.5714285714285712</c:v>
                </c:pt>
                <c:pt idx="708" formatCode="_ * #,##0.00_ ;_ * \-#,##0.00_ ;_ * &quot;-&quot;??_ ;_ @_ ">
                  <c:v>5.2857142857142856</c:v>
                </c:pt>
                <c:pt idx="709" formatCode="_ * #,##0.00_ ;_ * \-#,##0.00_ ;_ * &quot;-&quot;??_ ;_ @_ ">
                  <c:v>5.4285714285714288</c:v>
                </c:pt>
                <c:pt idx="710" formatCode="_ * #,##0.00_ ;_ * \-#,##0.00_ ;_ * &quot;-&quot;??_ ;_ @_ ">
                  <c:v>5.4285714285714288</c:v>
                </c:pt>
                <c:pt idx="711" formatCode="_ * #,##0.00_ ;_ * \-#,##0.00_ ;_ * &quot;-&quot;??_ ;_ @_ ">
                  <c:v>5.1428571428571432</c:v>
                </c:pt>
                <c:pt idx="712" formatCode="_ * #,##0.00_ ;_ * \-#,##0.00_ ;_ * &quot;-&quot;??_ ;_ @_ ">
                  <c:v>5.4285714285714288</c:v>
                </c:pt>
                <c:pt idx="713" formatCode="_ * #,##0.00_ ;_ * \-#,##0.00_ ;_ * &quot;-&quot;??_ ;_ @_ ">
                  <c:v>5.2857142857142856</c:v>
                </c:pt>
                <c:pt idx="714" formatCode="_ * #,##0.00_ ;_ * \-#,##0.00_ ;_ * &quot;-&quot;??_ ;_ @_ ">
                  <c:v>6</c:v>
                </c:pt>
                <c:pt idx="715" formatCode="_ * #,##0.00_ ;_ * \-#,##0.00_ ;_ * &quot;-&quot;??_ ;_ @_ ">
                  <c:v>6.2857142857142856</c:v>
                </c:pt>
                <c:pt idx="716" formatCode="_ * #,##0.00_ ;_ * \-#,##0.00_ ;_ * &quot;-&quot;??_ ;_ @_ ">
                  <c:v>6.4285714285714288</c:v>
                </c:pt>
                <c:pt idx="717" formatCode="_ * #,##0.00_ ;_ * \-#,##0.00_ ;_ * &quot;-&quot;??_ ;_ @_ ">
                  <c:v>6.2857142857142856</c:v>
                </c:pt>
                <c:pt idx="718" formatCode="_ * #,##0.00_ ;_ * \-#,##0.00_ ;_ * &quot;-&quot;??_ ;_ @_ ">
                  <c:v>7</c:v>
                </c:pt>
                <c:pt idx="719" formatCode="_ * #,##0.00_ ;_ * \-#,##0.00_ ;_ * &quot;-&quot;??_ ;_ @_ ">
                  <c:v>7.2857142857142856</c:v>
                </c:pt>
                <c:pt idx="720" formatCode="_ * #,##0.00_ ;_ * \-#,##0.00_ ;_ * &quot;-&quot;??_ ;_ @_ ">
                  <c:v>7.8571428571428568</c:v>
                </c:pt>
                <c:pt idx="721" formatCode="_ * #,##0.00_ ;_ * \-#,##0.00_ ;_ * &quot;-&quot;??_ ;_ @_ ">
                  <c:v>7.8571428571428568</c:v>
                </c:pt>
                <c:pt idx="722" formatCode="0.00">
                  <c:v>8.5714285714285712</c:v>
                </c:pt>
                <c:pt idx="723" formatCode="0.00">
                  <c:v>9.1428571428571423</c:v>
                </c:pt>
                <c:pt idx="724" formatCode="0.00">
                  <c:v>10.285714285714286</c:v>
                </c:pt>
                <c:pt idx="725" formatCode="0.00">
                  <c:v>11.142857142857142</c:v>
                </c:pt>
                <c:pt idx="726" formatCode="0.00">
                  <c:v>12.142857142857142</c:v>
                </c:pt>
                <c:pt idx="727" formatCode="0.00">
                  <c:v>13.142857142857142</c:v>
                </c:pt>
                <c:pt idx="728" formatCode="0.00">
                  <c:v>14.428571428571429</c:v>
                </c:pt>
                <c:pt idx="729" formatCode="0.00">
                  <c:v>14.857142857142858</c:v>
                </c:pt>
                <c:pt idx="730" formatCode="0.00">
                  <c:v>11.571428571428571</c:v>
                </c:pt>
                <c:pt idx="731" formatCode="0.00">
                  <c:v>11.571428571428571</c:v>
                </c:pt>
                <c:pt idx="732" formatCode="0.00">
                  <c:v>11.857142857142858</c:v>
                </c:pt>
                <c:pt idx="733" formatCode="0.00">
                  <c:v>12.142857142857142</c:v>
                </c:pt>
                <c:pt idx="734" formatCode="0.00">
                  <c:v>13.428571428571429</c:v>
                </c:pt>
                <c:pt idx="735" formatCode="0.00">
                  <c:v>14.142857142857142</c:v>
                </c:pt>
                <c:pt idx="736" formatCode="0.00">
                  <c:v>14.857142857142858</c:v>
                </c:pt>
                <c:pt idx="737">
                  <c:v>19.428571428571427</c:v>
                </c:pt>
                <c:pt idx="738">
                  <c:v>20.714285714285715</c:v>
                </c:pt>
                <c:pt idx="739">
                  <c:v>21.714285714285715</c:v>
                </c:pt>
                <c:pt idx="740">
                  <c:v>22.857142857142858</c:v>
                </c:pt>
                <c:pt idx="741">
                  <c:v>22.571428571428573</c:v>
                </c:pt>
                <c:pt idx="742">
                  <c:v>24</c:v>
                </c:pt>
                <c:pt idx="743">
                  <c:v>24.857142857142858</c:v>
                </c:pt>
                <c:pt idx="744">
                  <c:v>25.285714285714285</c:v>
                </c:pt>
                <c:pt idx="745">
                  <c:v>25.428571428571427</c:v>
                </c:pt>
                <c:pt idx="746">
                  <c:v>24.142857142857142</c:v>
                </c:pt>
                <c:pt idx="747">
                  <c:v>15.428571428571429</c:v>
                </c:pt>
                <c:pt idx="748">
                  <c:v>12.857142857142858</c:v>
                </c:pt>
                <c:pt idx="749">
                  <c:v>12</c:v>
                </c:pt>
                <c:pt idx="750">
                  <c:v>11.571428571428571</c:v>
                </c:pt>
                <c:pt idx="751">
                  <c:v>11</c:v>
                </c:pt>
                <c:pt idx="752">
                  <c:v>10.857142857142858</c:v>
                </c:pt>
                <c:pt idx="753">
                  <c:v>12.142857142857142</c:v>
                </c:pt>
                <c:pt idx="754">
                  <c:v>20.571428571428573</c:v>
                </c:pt>
                <c:pt idx="755">
                  <c:v>23.714285714285715</c:v>
                </c:pt>
              </c:numCache>
            </c:numRef>
          </c:val>
          <c:smooth val="1"/>
          <c:extLst>
            <c:ext xmlns:c16="http://schemas.microsoft.com/office/drawing/2014/chart" uri="{C3380CC4-5D6E-409C-BE32-E72D297353CC}">
              <c16:uniqueId val="{00000001-38AB-47C2-92F1-DE1F6FCA452E}"/>
            </c:ext>
          </c:extLst>
        </c:ser>
        <c:dLbls>
          <c:showLegendKey val="0"/>
          <c:showVal val="0"/>
          <c:showCatName val="0"/>
          <c:showSerName val="0"/>
          <c:showPercent val="0"/>
          <c:showBubbleSize val="0"/>
        </c:dLbls>
        <c:smooth val="0"/>
        <c:axId val="-550487232"/>
        <c:axId val="-550487776"/>
      </c:lineChart>
      <c:catAx>
        <c:axId val="-550487232"/>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50487776"/>
        <c:crosses val="autoZero"/>
        <c:auto val="1"/>
        <c:lblAlgn val="ctr"/>
        <c:lblOffset val="100"/>
        <c:noMultiLvlLbl val="0"/>
      </c:catAx>
      <c:valAx>
        <c:axId val="-55048777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5048723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337818698534512"/>
          <c:y val="6.6149927033462216E-3"/>
          <c:w val="0.39966468528507576"/>
          <c:h val="0.9933850072966538"/>
        </c:manualLayout>
      </c:layout>
      <c:pieChart>
        <c:varyColors val="1"/>
        <c:ser>
          <c:idx val="0"/>
          <c:order val="0"/>
          <c:dLbls>
            <c:spPr>
              <a:noFill/>
              <a:ln>
                <a:noFill/>
              </a:ln>
              <a:effectLst/>
            </c:spPr>
            <c:txPr>
              <a:bodyPr wrap="square" lIns="38100" tIns="19050" rIns="38100" bIns="19050" anchor="ctr">
                <a:spAutoFit/>
              </a:bodyPr>
              <a:lstStyle/>
              <a:p>
                <a:pPr>
                  <a:defRPr>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D$37:$G$37</c:f>
              <c:strCache>
                <c:ptCount val="4"/>
                <c:pt idx="0">
                  <c:v>Under development</c:v>
                </c:pt>
                <c:pt idx="1">
                  <c:v>Under implementation</c:v>
                </c:pt>
                <c:pt idx="2">
                  <c:v>Completed</c:v>
                </c:pt>
                <c:pt idx="3">
                  <c:v>Under conceptualization</c:v>
                </c:pt>
              </c:strCache>
            </c:strRef>
          </c:cat>
          <c:val>
            <c:numRef>
              <c:f>Sheet1!$D$38:$G$38</c:f>
              <c:numCache>
                <c:formatCode>0%</c:formatCode>
                <c:ptCount val="4"/>
                <c:pt idx="0">
                  <c:v>0.27574024226110366</c:v>
                </c:pt>
                <c:pt idx="1">
                  <c:v>0.53230148048452219</c:v>
                </c:pt>
                <c:pt idx="2">
                  <c:v>2.1870794078061914E-2</c:v>
                </c:pt>
                <c:pt idx="3">
                  <c:v>0.17008748317631225</c:v>
                </c:pt>
              </c:numCache>
            </c:numRef>
          </c:val>
          <c:extLst>
            <c:ext xmlns:c16="http://schemas.microsoft.com/office/drawing/2014/chart" uri="{C3380CC4-5D6E-409C-BE32-E72D297353CC}">
              <c16:uniqueId val="{00000000-CACC-4D33-88B8-6FEDD929696F}"/>
            </c:ext>
          </c:extLst>
        </c:ser>
        <c:dLbls>
          <c:showLegendKey val="0"/>
          <c:showVal val="0"/>
          <c:showCatName val="0"/>
          <c:showSerName val="0"/>
          <c:showPercent val="0"/>
          <c:showBubbleSize val="0"/>
          <c:showLeaderLines val="1"/>
        </c:dLbls>
        <c:firstSliceAng val="0"/>
      </c:pieChart>
    </c:plotArea>
    <c:legend>
      <c:legendPos val="r"/>
      <c:overlay val="0"/>
    </c:legend>
    <c:plotVisOnly val="1"/>
    <c:dispBlanksAs val="gap"/>
    <c:showDLblsOverMax val="0"/>
  </c:chart>
  <c:txPr>
    <a:bodyPr/>
    <a:lstStyle/>
    <a:p>
      <a:pPr>
        <a:defRPr lang="en-US" sz="1400" b="0" i="0" u="none" strike="noStrike" kern="1200" baseline="0">
          <a:solidFill>
            <a:schemeClr val="tx1"/>
          </a:solidFill>
          <a:latin typeface="+mn-lt"/>
          <a:ea typeface="+mn-ea"/>
          <a:cs typeface="+mn-cs"/>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MGSY!$C$1</c:f>
              <c:strCache>
                <c:ptCount val="1"/>
                <c:pt idx="0">
                  <c:v>Target ('000 km)</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MGSY!$B$2:$B$7</c:f>
              <c:strCache>
                <c:ptCount val="6"/>
                <c:pt idx="0">
                  <c:v>FY17</c:v>
                </c:pt>
                <c:pt idx="1">
                  <c:v>FY18</c:v>
                </c:pt>
                <c:pt idx="2">
                  <c:v>FY19</c:v>
                </c:pt>
                <c:pt idx="3">
                  <c:v>FY20</c:v>
                </c:pt>
                <c:pt idx="4">
                  <c:v>FY21</c:v>
                </c:pt>
                <c:pt idx="5">
                  <c:v>FY22 YTD</c:v>
                </c:pt>
              </c:strCache>
            </c:strRef>
          </c:cat>
          <c:val>
            <c:numRef>
              <c:f>PMGSY!$C$2:$C$7</c:f>
              <c:numCache>
                <c:formatCode>General</c:formatCode>
                <c:ptCount val="6"/>
                <c:pt idx="0">
                  <c:v>49</c:v>
                </c:pt>
                <c:pt idx="1">
                  <c:v>51</c:v>
                </c:pt>
                <c:pt idx="2">
                  <c:v>58</c:v>
                </c:pt>
                <c:pt idx="3">
                  <c:v>50</c:v>
                </c:pt>
                <c:pt idx="4">
                  <c:v>46</c:v>
                </c:pt>
                <c:pt idx="5">
                  <c:v>50</c:v>
                </c:pt>
              </c:numCache>
            </c:numRef>
          </c:val>
          <c:extLst>
            <c:ext xmlns:c16="http://schemas.microsoft.com/office/drawing/2014/chart" uri="{C3380CC4-5D6E-409C-BE32-E72D297353CC}">
              <c16:uniqueId val="{00000000-CEB6-44CC-AE24-C6BF344391B9}"/>
            </c:ext>
          </c:extLst>
        </c:ser>
        <c:ser>
          <c:idx val="1"/>
          <c:order val="1"/>
          <c:tx>
            <c:strRef>
              <c:f>PMGSY!$D$1</c:f>
              <c:strCache>
                <c:ptCount val="1"/>
                <c:pt idx="0">
                  <c:v>Execution ('000 km)</c:v>
                </c:pt>
              </c:strCache>
            </c:strRef>
          </c:tx>
          <c:spPr>
            <a:solidFill>
              <a:schemeClr val="tx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MGSY!$B$2:$B$7</c:f>
              <c:strCache>
                <c:ptCount val="6"/>
                <c:pt idx="0">
                  <c:v>FY17</c:v>
                </c:pt>
                <c:pt idx="1">
                  <c:v>FY18</c:v>
                </c:pt>
                <c:pt idx="2">
                  <c:v>FY19</c:v>
                </c:pt>
                <c:pt idx="3">
                  <c:v>FY20</c:v>
                </c:pt>
                <c:pt idx="4">
                  <c:v>FY21</c:v>
                </c:pt>
                <c:pt idx="5">
                  <c:v>FY22 YTD</c:v>
                </c:pt>
              </c:strCache>
            </c:strRef>
          </c:cat>
          <c:val>
            <c:numRef>
              <c:f>PMGSY!$D$2:$D$7</c:f>
              <c:numCache>
                <c:formatCode>General</c:formatCode>
                <c:ptCount val="6"/>
                <c:pt idx="0">
                  <c:v>47</c:v>
                </c:pt>
                <c:pt idx="1">
                  <c:v>49</c:v>
                </c:pt>
                <c:pt idx="2">
                  <c:v>49</c:v>
                </c:pt>
                <c:pt idx="3">
                  <c:v>27</c:v>
                </c:pt>
                <c:pt idx="4">
                  <c:v>37</c:v>
                </c:pt>
                <c:pt idx="5">
                  <c:v>40.863999999999997</c:v>
                </c:pt>
              </c:numCache>
            </c:numRef>
          </c:val>
          <c:extLst>
            <c:ext xmlns:c16="http://schemas.microsoft.com/office/drawing/2014/chart" uri="{C3380CC4-5D6E-409C-BE32-E72D297353CC}">
              <c16:uniqueId val="{00000001-CEB6-44CC-AE24-C6BF344391B9}"/>
            </c:ext>
          </c:extLst>
        </c:ser>
        <c:dLbls>
          <c:showLegendKey val="0"/>
          <c:showVal val="0"/>
          <c:showCatName val="0"/>
          <c:showSerName val="0"/>
          <c:showPercent val="0"/>
          <c:showBubbleSize val="0"/>
        </c:dLbls>
        <c:gapWidth val="75"/>
        <c:axId val="1252413392"/>
        <c:axId val="1252421920"/>
      </c:barChart>
      <c:lineChart>
        <c:grouping val="standard"/>
        <c:varyColors val="0"/>
        <c:ser>
          <c:idx val="2"/>
          <c:order val="2"/>
          <c:tx>
            <c:strRef>
              <c:f>PMGSY!$E$1</c:f>
              <c:strCache>
                <c:ptCount val="1"/>
                <c:pt idx="0">
                  <c:v>% achievement</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MGSY!$B$2:$B$7</c:f>
              <c:strCache>
                <c:ptCount val="6"/>
                <c:pt idx="0">
                  <c:v>FY17</c:v>
                </c:pt>
                <c:pt idx="1">
                  <c:v>FY18</c:v>
                </c:pt>
                <c:pt idx="2">
                  <c:v>FY19</c:v>
                </c:pt>
                <c:pt idx="3">
                  <c:v>FY20</c:v>
                </c:pt>
                <c:pt idx="4">
                  <c:v>FY21</c:v>
                </c:pt>
                <c:pt idx="5">
                  <c:v>FY22 YTD</c:v>
                </c:pt>
              </c:strCache>
            </c:strRef>
          </c:cat>
          <c:val>
            <c:numRef>
              <c:f>PMGSY!$E$2:$E$7</c:f>
              <c:numCache>
                <c:formatCode>0%</c:formatCode>
                <c:ptCount val="6"/>
                <c:pt idx="0">
                  <c:v>0.95918367346938771</c:v>
                </c:pt>
                <c:pt idx="1">
                  <c:v>0.96078431372549022</c:v>
                </c:pt>
                <c:pt idx="2">
                  <c:v>0.84482758620689657</c:v>
                </c:pt>
                <c:pt idx="3">
                  <c:v>0.54</c:v>
                </c:pt>
                <c:pt idx="4">
                  <c:v>0.80434782608695654</c:v>
                </c:pt>
                <c:pt idx="5">
                  <c:v>0.8172799999999999</c:v>
                </c:pt>
              </c:numCache>
            </c:numRef>
          </c:val>
          <c:smooth val="1"/>
          <c:extLst>
            <c:ext xmlns:c16="http://schemas.microsoft.com/office/drawing/2014/chart" uri="{C3380CC4-5D6E-409C-BE32-E72D297353CC}">
              <c16:uniqueId val="{00000002-CEB6-44CC-AE24-C6BF344391B9}"/>
            </c:ext>
          </c:extLst>
        </c:ser>
        <c:dLbls>
          <c:showLegendKey val="0"/>
          <c:showVal val="0"/>
          <c:showCatName val="0"/>
          <c:showSerName val="0"/>
          <c:showPercent val="0"/>
          <c:showBubbleSize val="0"/>
        </c:dLbls>
        <c:marker val="1"/>
        <c:smooth val="0"/>
        <c:axId val="1252417656"/>
        <c:axId val="1252417000"/>
      </c:lineChart>
      <c:catAx>
        <c:axId val="1252413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52421920"/>
        <c:crosses val="autoZero"/>
        <c:auto val="1"/>
        <c:lblAlgn val="ctr"/>
        <c:lblOffset val="100"/>
        <c:noMultiLvlLbl val="0"/>
      </c:catAx>
      <c:valAx>
        <c:axId val="125242192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52413392"/>
        <c:crosses val="autoZero"/>
        <c:crossBetween val="between"/>
      </c:valAx>
      <c:valAx>
        <c:axId val="1252417000"/>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52417656"/>
        <c:crosses val="max"/>
        <c:crossBetween val="between"/>
      </c:valAx>
      <c:catAx>
        <c:axId val="1252417656"/>
        <c:scaling>
          <c:orientation val="minMax"/>
        </c:scaling>
        <c:delete val="1"/>
        <c:axPos val="b"/>
        <c:numFmt formatCode="General" sourceLinked="1"/>
        <c:majorTickMark val="out"/>
        <c:minorTickMark val="none"/>
        <c:tickLblPos val="nextTo"/>
        <c:crossAx val="125241700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74_75_Roads'!$C$4</c:f>
              <c:strCache>
                <c:ptCount val="1"/>
                <c:pt idx="0">
                  <c:v>NHAI length executed (km)</c:v>
                </c:pt>
              </c:strCache>
            </c:strRef>
          </c:tx>
          <c:spPr>
            <a:solidFill>
              <a:schemeClr val="accent4"/>
            </a:solidFill>
            <a:ln>
              <a:noFill/>
            </a:ln>
            <a:effectLst/>
          </c:spPr>
          <c:invertIfNegative val="0"/>
          <c:dLbls>
            <c:dLbl>
              <c:idx val="7"/>
              <c:tx>
                <c:rich>
                  <a:bodyPr/>
                  <a:lstStyle/>
                  <a:p>
                    <a:r>
                      <a:rPr lang="en-US"/>
                      <a:t>3,979</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07C-4ADA-8C66-70841916922D}"/>
                </c:ext>
              </c:extLst>
            </c:dLbl>
            <c:dLbl>
              <c:idx val="10"/>
              <c:tx>
                <c:rich>
                  <a:bodyPr/>
                  <a:lstStyle/>
                  <a:p>
                    <a:r>
                      <a:rPr lang="en-US"/>
                      <a:t>4,000 - 50000</a:t>
                    </a:r>
                    <a:endParaRPr lang="en-US" dirty="0"/>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707C-4ADA-8C66-70841916922D}"/>
                </c:ext>
              </c:extLst>
            </c:dLbl>
            <c:spPr>
              <a:noFill/>
              <a:ln>
                <a:noFill/>
              </a:ln>
              <a:effectLst/>
            </c:spPr>
            <c:txPr>
              <a:bodyPr rot="-5400000" spcFirstLastPara="1" vertOverflow="ellipsis"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74_75_Roads'!$B$5:$B$15</c:f>
              <c:strCache>
                <c:ptCount val="11"/>
                <c:pt idx="0">
                  <c:v>FY13</c:v>
                </c:pt>
                <c:pt idx="1">
                  <c:v>FY14</c:v>
                </c:pt>
                <c:pt idx="2">
                  <c:v>FY15</c:v>
                </c:pt>
                <c:pt idx="3">
                  <c:v>FY16</c:v>
                </c:pt>
                <c:pt idx="4">
                  <c:v>FY17</c:v>
                </c:pt>
                <c:pt idx="5">
                  <c:v>FY18</c:v>
                </c:pt>
                <c:pt idx="6">
                  <c:v>FY19</c:v>
                </c:pt>
                <c:pt idx="7">
                  <c:v>FY20 </c:v>
                </c:pt>
                <c:pt idx="8">
                  <c:v>FY21</c:v>
                </c:pt>
                <c:pt idx="9">
                  <c:v>FY22E</c:v>
                </c:pt>
                <c:pt idx="10">
                  <c:v>FY23P</c:v>
                </c:pt>
              </c:strCache>
            </c:strRef>
          </c:cat>
          <c:val>
            <c:numRef>
              <c:f>'74_75_Roads'!$C$5:$C$15</c:f>
              <c:numCache>
                <c:formatCode>_ * #,##0_ ;_ * \-#,##0_ ;_ * "-"??_ ;_ @_ </c:formatCode>
                <c:ptCount val="11"/>
                <c:pt idx="0">
                  <c:v>2481</c:v>
                </c:pt>
                <c:pt idx="1">
                  <c:v>1628</c:v>
                </c:pt>
                <c:pt idx="2">
                  <c:v>1576</c:v>
                </c:pt>
                <c:pt idx="3">
                  <c:v>2208</c:v>
                </c:pt>
                <c:pt idx="4">
                  <c:v>2625</c:v>
                </c:pt>
                <c:pt idx="5">
                  <c:v>3070</c:v>
                </c:pt>
                <c:pt idx="6">
                  <c:v>3380</c:v>
                </c:pt>
                <c:pt idx="7">
                  <c:v>3979</c:v>
                </c:pt>
                <c:pt idx="8">
                  <c:v>4175</c:v>
                </c:pt>
                <c:pt idx="9">
                  <c:v>4598</c:v>
                </c:pt>
                <c:pt idx="10">
                  <c:v>4750</c:v>
                </c:pt>
              </c:numCache>
            </c:numRef>
          </c:val>
          <c:extLst>
            <c:ext xmlns:c16="http://schemas.microsoft.com/office/drawing/2014/chart" uri="{C3380CC4-5D6E-409C-BE32-E72D297353CC}">
              <c16:uniqueId val="{00000002-707C-4ADA-8C66-70841916922D}"/>
            </c:ext>
          </c:extLst>
        </c:ser>
        <c:ser>
          <c:idx val="1"/>
          <c:order val="1"/>
          <c:tx>
            <c:strRef>
              <c:f>'74_75_Roads'!$D$4</c:f>
              <c:strCache>
                <c:ptCount val="1"/>
                <c:pt idx="0">
                  <c:v>NHAI length awarded (km)</c:v>
                </c:pt>
              </c:strCache>
            </c:strRef>
          </c:tx>
          <c:spPr>
            <a:solidFill>
              <a:schemeClr val="tx1"/>
            </a:solidFill>
            <a:ln>
              <a:noFill/>
            </a:ln>
            <a:effectLst/>
          </c:spPr>
          <c:invertIfNegative val="0"/>
          <c:dLbls>
            <c:dLbl>
              <c:idx val="7"/>
              <c:tx>
                <c:rich>
                  <a:bodyPr/>
                  <a:lstStyle/>
                  <a:p>
                    <a:r>
                      <a:rPr lang="en-US"/>
                      <a:t>3,211</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07C-4ADA-8C66-70841916922D}"/>
                </c:ext>
              </c:extLst>
            </c:dLbl>
            <c:dLbl>
              <c:idx val="10"/>
              <c:tx>
                <c:rich>
                  <a:bodyPr/>
                  <a:lstStyle/>
                  <a:p>
                    <a:r>
                      <a:rPr lang="en-US" dirty="0"/>
                      <a:t>4,000 - 5,000</a:t>
                    </a:r>
                  </a:p>
                </c:rich>
              </c:tx>
              <c:dLblPos val="inBase"/>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707C-4ADA-8C66-70841916922D}"/>
                </c:ext>
              </c:extLst>
            </c:dLbl>
            <c:spPr>
              <a:noFill/>
              <a:ln>
                <a:noFill/>
              </a:ln>
              <a:effectLst/>
            </c:spPr>
            <c:txPr>
              <a:bodyPr rot="-5400000" spcFirstLastPara="1" vertOverflow="ellipsis"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74_75_Roads'!$B$5:$B$15</c:f>
              <c:strCache>
                <c:ptCount val="11"/>
                <c:pt idx="0">
                  <c:v>FY13</c:v>
                </c:pt>
                <c:pt idx="1">
                  <c:v>FY14</c:v>
                </c:pt>
                <c:pt idx="2">
                  <c:v>FY15</c:v>
                </c:pt>
                <c:pt idx="3">
                  <c:v>FY16</c:v>
                </c:pt>
                <c:pt idx="4">
                  <c:v>FY17</c:v>
                </c:pt>
                <c:pt idx="5">
                  <c:v>FY18</c:v>
                </c:pt>
                <c:pt idx="6">
                  <c:v>FY19</c:v>
                </c:pt>
                <c:pt idx="7">
                  <c:v>FY20 </c:v>
                </c:pt>
                <c:pt idx="8">
                  <c:v>FY21</c:v>
                </c:pt>
                <c:pt idx="9">
                  <c:v>FY22E</c:v>
                </c:pt>
                <c:pt idx="10">
                  <c:v>FY23P</c:v>
                </c:pt>
              </c:strCache>
            </c:strRef>
          </c:cat>
          <c:val>
            <c:numRef>
              <c:f>'74_75_Roads'!$D$5:$D$15</c:f>
              <c:numCache>
                <c:formatCode>_ * #,##0_ ;_ * \-#,##0_ ;_ * "-"??_ ;_ @_ </c:formatCode>
                <c:ptCount val="11"/>
                <c:pt idx="0">
                  <c:v>1115</c:v>
                </c:pt>
                <c:pt idx="1">
                  <c:v>1726</c:v>
                </c:pt>
                <c:pt idx="2">
                  <c:v>3067</c:v>
                </c:pt>
                <c:pt idx="3">
                  <c:v>4344</c:v>
                </c:pt>
                <c:pt idx="4">
                  <c:v>4336</c:v>
                </c:pt>
                <c:pt idx="5">
                  <c:v>7397</c:v>
                </c:pt>
                <c:pt idx="6">
                  <c:v>2222</c:v>
                </c:pt>
                <c:pt idx="7">
                  <c:v>3211</c:v>
                </c:pt>
                <c:pt idx="8">
                  <c:v>4818</c:v>
                </c:pt>
                <c:pt idx="9">
                  <c:v>4801</c:v>
                </c:pt>
                <c:pt idx="10">
                  <c:v>4750</c:v>
                </c:pt>
              </c:numCache>
            </c:numRef>
          </c:val>
          <c:extLst>
            <c:ext xmlns:c16="http://schemas.microsoft.com/office/drawing/2014/chart" uri="{C3380CC4-5D6E-409C-BE32-E72D297353CC}">
              <c16:uniqueId val="{00000005-707C-4ADA-8C66-70841916922D}"/>
            </c:ext>
          </c:extLst>
        </c:ser>
        <c:dLbls>
          <c:showLegendKey val="0"/>
          <c:showVal val="0"/>
          <c:showCatName val="0"/>
          <c:showSerName val="0"/>
          <c:showPercent val="0"/>
          <c:showBubbleSize val="0"/>
        </c:dLbls>
        <c:gapWidth val="219"/>
        <c:axId val="-1861170528"/>
        <c:axId val="-1861167808"/>
      </c:barChart>
      <c:lineChart>
        <c:grouping val="standard"/>
        <c:varyColors val="0"/>
        <c:ser>
          <c:idx val="3"/>
          <c:order val="3"/>
          <c:tx>
            <c:strRef>
              <c:f>'74_75_Roads'!#REF!</c:f>
              <c:strCache>
                <c:ptCount val="1"/>
                <c:pt idx="0">
                  <c:v>#REF!</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val>
            <c:numRef>
              <c:f>'74_75_Roads'!#REF!</c:f>
              <c:numCache>
                <c:formatCode>General</c:formatCode>
                <c:ptCount val="1"/>
                <c:pt idx="0">
                  <c:v>1</c:v>
                </c:pt>
              </c:numCache>
            </c:numRef>
          </c:val>
          <c:smooth val="0"/>
          <c:extLst>
            <c:ext xmlns:c16="http://schemas.microsoft.com/office/drawing/2014/chart" uri="{C3380CC4-5D6E-409C-BE32-E72D297353CC}">
              <c16:uniqueId val="{00000006-707C-4ADA-8C66-70841916922D}"/>
            </c:ext>
          </c:extLst>
        </c:ser>
        <c:dLbls>
          <c:showLegendKey val="0"/>
          <c:showVal val="0"/>
          <c:showCatName val="0"/>
          <c:showSerName val="0"/>
          <c:showPercent val="0"/>
          <c:showBubbleSize val="0"/>
        </c:dLbls>
        <c:marker val="1"/>
        <c:smooth val="0"/>
        <c:axId val="-1861170528"/>
        <c:axId val="-1861167808"/>
      </c:lineChart>
      <c:lineChart>
        <c:grouping val="standard"/>
        <c:varyColors val="0"/>
        <c:ser>
          <c:idx val="2"/>
          <c:order val="2"/>
          <c:tx>
            <c:strRef>
              <c:f>'74_75_Roads'!$E$4</c:f>
              <c:strCache>
                <c:ptCount val="1"/>
                <c:pt idx="0">
                  <c:v>Annual Tipper sales (units)</c:v>
                </c:pt>
              </c:strCache>
            </c:strRef>
          </c:tx>
          <c:spPr>
            <a:ln w="28575" cap="rnd">
              <a:solidFill>
                <a:srgbClr val="FF0000"/>
              </a:solidFill>
              <a:round/>
            </a:ln>
            <a:effectLst/>
          </c:spPr>
          <c:marker>
            <c:symbol val="square"/>
            <c:size val="5"/>
            <c:spPr>
              <a:solidFill>
                <a:schemeClr val="accent4"/>
              </a:solidFill>
              <a:ln w="9525">
                <a:solidFill>
                  <a:srgbClr val="FF0000"/>
                </a:solidFill>
              </a:ln>
              <a:effectLst/>
            </c:spPr>
          </c:marker>
          <c:cat>
            <c:strRef>
              <c:f>'74_75_Roads'!$B$5:$B$15</c:f>
              <c:strCache>
                <c:ptCount val="11"/>
                <c:pt idx="0">
                  <c:v>FY13</c:v>
                </c:pt>
                <c:pt idx="1">
                  <c:v>FY14</c:v>
                </c:pt>
                <c:pt idx="2">
                  <c:v>FY15</c:v>
                </c:pt>
                <c:pt idx="3">
                  <c:v>FY16</c:v>
                </c:pt>
                <c:pt idx="4">
                  <c:v>FY17</c:v>
                </c:pt>
                <c:pt idx="5">
                  <c:v>FY18</c:v>
                </c:pt>
                <c:pt idx="6">
                  <c:v>FY19</c:v>
                </c:pt>
                <c:pt idx="7">
                  <c:v>FY20 </c:v>
                </c:pt>
                <c:pt idx="8">
                  <c:v>FY21</c:v>
                </c:pt>
                <c:pt idx="9">
                  <c:v>FY22E</c:v>
                </c:pt>
                <c:pt idx="10">
                  <c:v>FY23P</c:v>
                </c:pt>
              </c:strCache>
            </c:strRef>
          </c:cat>
          <c:val>
            <c:numRef>
              <c:f>'74_75_Roads'!$E$5:$E$15</c:f>
              <c:numCache>
                <c:formatCode>_ * #,##0_ ;_ * \-#,##0_ ;_ * "-"??_ ;_ @_ </c:formatCode>
                <c:ptCount val="11"/>
                <c:pt idx="0">
                  <c:v>46401</c:v>
                </c:pt>
                <c:pt idx="1">
                  <c:v>35982</c:v>
                </c:pt>
                <c:pt idx="2">
                  <c:v>37013</c:v>
                </c:pt>
                <c:pt idx="3">
                  <c:v>44594</c:v>
                </c:pt>
                <c:pt idx="4">
                  <c:v>55492</c:v>
                </c:pt>
                <c:pt idx="5">
                  <c:v>60258.861489309864</c:v>
                </c:pt>
                <c:pt idx="6">
                  <c:v>88857.151862549159</c:v>
                </c:pt>
                <c:pt idx="7">
                  <c:v>46341</c:v>
                </c:pt>
                <c:pt idx="8">
                  <c:v>46854.706214030317</c:v>
                </c:pt>
                <c:pt idx="9">
                  <c:v>54826</c:v>
                </c:pt>
                <c:pt idx="10">
                  <c:v>73225</c:v>
                </c:pt>
              </c:numCache>
            </c:numRef>
          </c:val>
          <c:smooth val="1"/>
          <c:extLst>
            <c:ext xmlns:c16="http://schemas.microsoft.com/office/drawing/2014/chart" uri="{C3380CC4-5D6E-409C-BE32-E72D297353CC}">
              <c16:uniqueId val="{00000007-707C-4ADA-8C66-70841916922D}"/>
            </c:ext>
          </c:extLst>
        </c:ser>
        <c:dLbls>
          <c:showLegendKey val="0"/>
          <c:showVal val="0"/>
          <c:showCatName val="0"/>
          <c:showSerName val="0"/>
          <c:showPercent val="0"/>
          <c:showBubbleSize val="0"/>
        </c:dLbls>
        <c:marker val="1"/>
        <c:smooth val="0"/>
        <c:axId val="-1861165632"/>
        <c:axId val="-1861167264"/>
      </c:lineChart>
      <c:catAx>
        <c:axId val="-186117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61167808"/>
        <c:crosses val="autoZero"/>
        <c:auto val="1"/>
        <c:lblAlgn val="ctr"/>
        <c:lblOffset val="100"/>
        <c:noMultiLvlLbl val="0"/>
      </c:catAx>
      <c:valAx>
        <c:axId val="-1861167808"/>
        <c:scaling>
          <c:orientation val="minMax"/>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61170528"/>
        <c:crosses val="autoZero"/>
        <c:crossBetween val="between"/>
      </c:valAx>
      <c:valAx>
        <c:axId val="-1861167264"/>
        <c:scaling>
          <c:orientation val="minMax"/>
        </c:scaling>
        <c:delete val="0"/>
        <c:axPos val="r"/>
        <c:numFmt formatCode="_ * #,##0_ ;_ * \-#,##0_ ;_ * &quot;-&quot;??_ ;_ @_ "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61165632"/>
        <c:crosses val="max"/>
        <c:crossBetween val="between"/>
      </c:valAx>
      <c:catAx>
        <c:axId val="-1861165632"/>
        <c:scaling>
          <c:orientation val="minMax"/>
        </c:scaling>
        <c:delete val="1"/>
        <c:axPos val="b"/>
        <c:numFmt formatCode="General" sourceLinked="1"/>
        <c:majorTickMark val="out"/>
        <c:minorTickMark val="none"/>
        <c:tickLblPos val="nextTo"/>
        <c:crossAx val="-1861167264"/>
        <c:crosses val="autoZero"/>
        <c:auto val="1"/>
        <c:lblAlgn val="ctr"/>
        <c:lblOffset val="100"/>
        <c:noMultiLvlLbl val="0"/>
      </c:catAx>
      <c:spPr>
        <a:noFill/>
        <a:ln>
          <a:noFill/>
        </a:ln>
        <a:effectLst/>
      </c:spPr>
    </c:plotArea>
    <c:legend>
      <c:legendPos val="t"/>
      <c:legendEntry>
        <c:idx val="2"/>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66245137947172"/>
          <c:y val="5.5304737347578167E-2"/>
          <c:w val="0.60487623872326046"/>
          <c:h val="0.84310252707596267"/>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3DE-4804-96C4-B1814CFA814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3DE-4804-96C4-B1814CFA81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3DE-4804-96C4-B1814CFA814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3!$B$16:$B$18</c:f>
              <c:strCache>
                <c:ptCount val="3"/>
                <c:pt idx="0">
                  <c:v>BOT</c:v>
                </c:pt>
                <c:pt idx="1">
                  <c:v>EPC</c:v>
                </c:pt>
                <c:pt idx="2">
                  <c:v>HAM</c:v>
                </c:pt>
              </c:strCache>
            </c:strRef>
          </c:cat>
          <c:val>
            <c:numRef>
              <c:f>Sheet3!$C$16:$C$18</c:f>
              <c:numCache>
                <c:formatCode>0%</c:formatCode>
                <c:ptCount val="3"/>
                <c:pt idx="0">
                  <c:v>4.5353243739564411E-2</c:v>
                </c:pt>
                <c:pt idx="1">
                  <c:v>0.30331218548462974</c:v>
                </c:pt>
                <c:pt idx="2">
                  <c:v>0.65133457077580581</c:v>
                </c:pt>
              </c:numCache>
            </c:numRef>
          </c:val>
          <c:extLst>
            <c:ext xmlns:c16="http://schemas.microsoft.com/office/drawing/2014/chart" uri="{C3380CC4-5D6E-409C-BE32-E72D297353CC}">
              <c16:uniqueId val="{00000006-F3DE-4804-96C4-B1814CFA814C}"/>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E$23:$E$53</c:f>
              <c:strCache>
                <c:ptCount val="31"/>
                <c:pt idx="0">
                  <c:v>Andhra Pradesh</c:v>
                </c:pt>
                <c:pt idx="1">
                  <c:v>Assam</c:v>
                </c:pt>
                <c:pt idx="2">
                  <c:v>Bihar</c:v>
                </c:pt>
                <c:pt idx="3">
                  <c:v>Chattisgarh</c:v>
                </c:pt>
                <c:pt idx="4">
                  <c:v>Chandigarh</c:v>
                </c:pt>
                <c:pt idx="5">
                  <c:v>Delhi</c:v>
                </c:pt>
                <c:pt idx="6">
                  <c:v>Gujarat</c:v>
                </c:pt>
                <c:pt idx="7">
                  <c:v>Himachal Pradesh</c:v>
                </c:pt>
                <c:pt idx="8">
                  <c:v>Haryana</c:v>
                </c:pt>
                <c:pt idx="9">
                  <c:v>Jharkhand</c:v>
                </c:pt>
                <c:pt idx="10">
                  <c:v>Jammu &amp; Kashmir</c:v>
                </c:pt>
                <c:pt idx="11">
                  <c:v>Karnataka</c:v>
                </c:pt>
                <c:pt idx="12">
                  <c:v>Kerala</c:v>
                </c:pt>
                <c:pt idx="13">
                  <c:v>Maharashtra</c:v>
                </c:pt>
                <c:pt idx="14">
                  <c:v>Madhya Pradesh</c:v>
                </c:pt>
                <c:pt idx="15">
                  <c:v>Odisha</c:v>
                </c:pt>
                <c:pt idx="16">
                  <c:v>Punjab</c:v>
                </c:pt>
                <c:pt idx="17">
                  <c:v>Punjab &amp; Haryana</c:v>
                </c:pt>
                <c:pt idx="18">
                  <c:v>Punjab &amp; Jammu Kashmir</c:v>
                </c:pt>
                <c:pt idx="19">
                  <c:v>Rajasthan</c:v>
                </c:pt>
                <c:pt idx="20">
                  <c:v>Tamil Nadu</c:v>
                </c:pt>
                <c:pt idx="21">
                  <c:v>Telangana</c:v>
                </c:pt>
                <c:pt idx="22">
                  <c:v>Uttarakhand</c:v>
                </c:pt>
                <c:pt idx="23">
                  <c:v>Uttar Pradesh</c:v>
                </c:pt>
                <c:pt idx="24">
                  <c:v>West Bengal</c:v>
                </c:pt>
                <c:pt idx="25">
                  <c:v>Delhi &amp; Uttar Pradesh</c:v>
                </c:pt>
                <c:pt idx="26">
                  <c:v>Haryana &amp; Himachal Pradesh</c:v>
                </c:pt>
                <c:pt idx="27">
                  <c:v>Haryana &amp; Rajasthan</c:v>
                </c:pt>
                <c:pt idx="28">
                  <c:v>Uttar Pradesh &amp; Uttarakhand</c:v>
                </c:pt>
                <c:pt idx="29">
                  <c:v>Maharashtra &amp; Karnataka</c:v>
                </c:pt>
                <c:pt idx="30">
                  <c:v>Haryana &amp; Uttar Pradesh</c:v>
                </c:pt>
              </c:strCache>
            </c:strRef>
          </c:cat>
          <c:val>
            <c:numRef>
              <c:f>Sheet3!$F$23:$F$53</c:f>
              <c:numCache>
                <c:formatCode>_(* #,##0.00_);_(* \(#,##0.00\);_(* "-"??_);_(@_)</c:formatCode>
                <c:ptCount val="31"/>
                <c:pt idx="0">
                  <c:v>76.515500000000003</c:v>
                </c:pt>
                <c:pt idx="1">
                  <c:v>7.1201999999999996</c:v>
                </c:pt>
                <c:pt idx="2">
                  <c:v>117.07989999999999</c:v>
                </c:pt>
                <c:pt idx="3">
                  <c:v>29.424600000000002</c:v>
                </c:pt>
                <c:pt idx="4">
                  <c:v>9.91</c:v>
                </c:pt>
                <c:pt idx="5">
                  <c:v>12.6433</c:v>
                </c:pt>
                <c:pt idx="6">
                  <c:v>19.581199999999999</c:v>
                </c:pt>
                <c:pt idx="7">
                  <c:v>45.783900000000003</c:v>
                </c:pt>
                <c:pt idx="8">
                  <c:v>15.456</c:v>
                </c:pt>
                <c:pt idx="9">
                  <c:v>30.2883</c:v>
                </c:pt>
                <c:pt idx="10">
                  <c:v>83.852900000000005</c:v>
                </c:pt>
                <c:pt idx="11">
                  <c:v>67.594499999999996</c:v>
                </c:pt>
                <c:pt idx="12">
                  <c:v>102.2556</c:v>
                </c:pt>
                <c:pt idx="13">
                  <c:v>192.00829999999999</c:v>
                </c:pt>
                <c:pt idx="14">
                  <c:v>50.4176</c:v>
                </c:pt>
                <c:pt idx="15">
                  <c:v>44.744700000000002</c:v>
                </c:pt>
                <c:pt idx="16">
                  <c:v>129.471255249</c:v>
                </c:pt>
                <c:pt idx="17">
                  <c:v>2.014549191</c:v>
                </c:pt>
                <c:pt idx="18">
                  <c:v>35.808399999999999</c:v>
                </c:pt>
                <c:pt idx="19">
                  <c:v>26.904848882</c:v>
                </c:pt>
                <c:pt idx="20">
                  <c:v>57.157200000000003</c:v>
                </c:pt>
                <c:pt idx="21">
                  <c:v>46.6083</c:v>
                </c:pt>
                <c:pt idx="22">
                  <c:v>37.155500000000004</c:v>
                </c:pt>
                <c:pt idx="23">
                  <c:v>247.89699999999999</c:v>
                </c:pt>
                <c:pt idx="24">
                  <c:v>9.9878999999999998</c:v>
                </c:pt>
                <c:pt idx="25">
                  <c:v>38.880600000000001</c:v>
                </c:pt>
                <c:pt idx="26">
                  <c:v>7.3167</c:v>
                </c:pt>
                <c:pt idx="27">
                  <c:v>2.7698</c:v>
                </c:pt>
                <c:pt idx="28">
                  <c:v>24.286000000000001</c:v>
                </c:pt>
                <c:pt idx="29">
                  <c:v>29.382400000000001</c:v>
                </c:pt>
                <c:pt idx="30">
                  <c:v>3.1539000000000001</c:v>
                </c:pt>
              </c:numCache>
            </c:numRef>
          </c:val>
          <c:extLst>
            <c:ext xmlns:c16="http://schemas.microsoft.com/office/drawing/2014/chart" uri="{C3380CC4-5D6E-409C-BE32-E72D297353CC}">
              <c16:uniqueId val="{00000000-4445-452A-AC14-56BA9E5F0B6A}"/>
            </c:ext>
          </c:extLst>
        </c:ser>
        <c:dLbls>
          <c:dLblPos val="outEnd"/>
          <c:showLegendKey val="0"/>
          <c:showVal val="1"/>
          <c:showCatName val="0"/>
          <c:showSerName val="0"/>
          <c:showPercent val="0"/>
          <c:showBubbleSize val="0"/>
        </c:dLbls>
        <c:gapWidth val="182"/>
        <c:axId val="72725848"/>
        <c:axId val="72726176"/>
      </c:barChart>
      <c:catAx>
        <c:axId val="72725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2726176"/>
        <c:crosses val="autoZero"/>
        <c:auto val="1"/>
        <c:lblAlgn val="ctr"/>
        <c:lblOffset val="100"/>
        <c:noMultiLvlLbl val="0"/>
      </c:catAx>
      <c:valAx>
        <c:axId val="72726176"/>
        <c:scaling>
          <c:orientation val="minMax"/>
        </c:scaling>
        <c:delete val="0"/>
        <c:axPos val="b"/>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2725848"/>
        <c:crosses val="autoZero"/>
        <c:crossBetween val="between"/>
      </c:valAx>
      <c:spPr>
        <a:noFill/>
        <a:ln>
          <a:noFill/>
        </a:ln>
        <a:effectLst/>
      </c:spPr>
    </c:plotArea>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PV!$B$25</c:f>
              <c:strCache>
                <c:ptCount val="1"/>
                <c:pt idx="0">
                  <c:v>Retail</c:v>
                </c:pt>
              </c:strCache>
            </c:strRef>
          </c:tx>
          <c:spPr>
            <a:ln w="19050" cap="rnd" cmpd="sng" algn="ctr">
              <a:solidFill>
                <a:schemeClr val="accent2"/>
              </a:solidFill>
              <a:prstDash val="solid"/>
              <a:round/>
            </a:ln>
            <a:effectLst/>
          </c:spPr>
          <c:marker>
            <c:spPr>
              <a:solidFill>
                <a:schemeClr val="accent2"/>
              </a:solidFill>
              <a:ln w="6350" cap="flat" cmpd="sng" algn="ctr">
                <a:solidFill>
                  <a:schemeClr val="accent2"/>
                </a:solidFill>
                <a:prstDash val="solid"/>
                <a:round/>
              </a:ln>
              <a:effectLst/>
            </c:spPr>
          </c:marker>
          <c:dLbls>
            <c:dLbl>
              <c:idx val="21"/>
              <c:layout>
                <c:manualLayout>
                  <c:x val="-1.2962963908060943E-2"/>
                  <c:y val="6.9278870322207586E-2"/>
                </c:manualLayout>
              </c:layout>
              <c:tx>
                <c:rich>
                  <a:bodyPr/>
                  <a:lstStyle/>
                  <a:p>
                    <a:fld id="{A4CF5454-7DE4-4C8B-BA3C-C1A277B2B252}" type="VALUE">
                      <a:rPr lang="en-US">
                        <a:solidFill>
                          <a:schemeClr val="accent2"/>
                        </a:solidFill>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094-4F78-B820-C8EFBE16B06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PV!$AA$23:$AX$24</c:f>
              <c:multiLvlStrCache>
                <c:ptCount val="24"/>
                <c:lvl>
                  <c:pt idx="0">
                    <c:v>Apr</c:v>
                  </c:pt>
                  <c:pt idx="1">
                    <c:v>May</c:v>
                  </c:pt>
                  <c:pt idx="2">
                    <c:v>Jun </c:v>
                  </c:pt>
                  <c:pt idx="3">
                    <c:v>Jul</c:v>
                  </c:pt>
                  <c:pt idx="4">
                    <c:v>Aug</c:v>
                  </c:pt>
                  <c:pt idx="5">
                    <c:v>Sep</c:v>
                  </c:pt>
                  <c:pt idx="6">
                    <c:v>Oct</c:v>
                  </c:pt>
                  <c:pt idx="7">
                    <c:v>Nov</c:v>
                  </c:pt>
                  <c:pt idx="8">
                    <c:v>Dec</c:v>
                  </c:pt>
                  <c:pt idx="9">
                    <c:v>Jan</c:v>
                  </c:pt>
                  <c:pt idx="10">
                    <c:v>Feb</c:v>
                  </c:pt>
                  <c:pt idx="11">
                    <c:v>Mar</c:v>
                  </c:pt>
                  <c:pt idx="12">
                    <c:v>Apr</c:v>
                  </c:pt>
                  <c:pt idx="13">
                    <c:v>May</c:v>
                  </c:pt>
                  <c:pt idx="14">
                    <c:v>June</c:v>
                  </c:pt>
                  <c:pt idx="15">
                    <c:v>July </c:v>
                  </c:pt>
                  <c:pt idx="16">
                    <c:v>Aug</c:v>
                  </c:pt>
                  <c:pt idx="17">
                    <c:v>Sep</c:v>
                  </c:pt>
                  <c:pt idx="18">
                    <c:v>Oct</c:v>
                  </c:pt>
                  <c:pt idx="19">
                    <c:v>Nov</c:v>
                  </c:pt>
                  <c:pt idx="20">
                    <c:v>Dec</c:v>
                  </c:pt>
                  <c:pt idx="21">
                    <c:v>Jan</c:v>
                  </c:pt>
                  <c:pt idx="22">
                    <c:v>Feb </c:v>
                  </c:pt>
                  <c:pt idx="23">
                    <c:v>Mar</c:v>
                  </c:pt>
                </c:lvl>
                <c:lvl>
                  <c:pt idx="0">
                    <c:v>FY21</c:v>
                  </c:pt>
                  <c:pt idx="12">
                    <c:v>FY22</c:v>
                  </c:pt>
                </c:lvl>
              </c:multiLvlStrCache>
            </c:multiLvlStrRef>
          </c:cat>
          <c:val>
            <c:numRef>
              <c:f>PV!$AA$25:$AX$25</c:f>
              <c:numCache>
                <c:formatCode>0%</c:formatCode>
                <c:ptCount val="24"/>
                <c:pt idx="0">
                  <c:v>-0.91</c:v>
                </c:pt>
                <c:pt idx="1">
                  <c:v>-0.86</c:v>
                </c:pt>
                <c:pt idx="2">
                  <c:v>-0.37</c:v>
                </c:pt>
                <c:pt idx="3">
                  <c:v>-0.23</c:v>
                </c:pt>
                <c:pt idx="4">
                  <c:v>-0.04</c:v>
                </c:pt>
                <c:pt idx="5">
                  <c:v>0.1</c:v>
                </c:pt>
                <c:pt idx="6">
                  <c:v>-0.06</c:v>
                </c:pt>
                <c:pt idx="7">
                  <c:v>7.0000000000000007E-2</c:v>
                </c:pt>
                <c:pt idx="8">
                  <c:v>0.24</c:v>
                </c:pt>
                <c:pt idx="9">
                  <c:v>-1.9286333429644587E-2</c:v>
                </c:pt>
                <c:pt idx="10">
                  <c:v>0.12601372981432735</c:v>
                </c:pt>
                <c:pt idx="11">
                  <c:v>0.33838150289017332</c:v>
                </c:pt>
                <c:pt idx="12">
                  <c:v>9.1300000000000008</c:v>
                </c:pt>
                <c:pt idx="13">
                  <c:v>1.7091765747533518</c:v>
                </c:pt>
                <c:pt idx="14">
                  <c:v>0.43397886632360461</c:v>
                </c:pt>
                <c:pt idx="15">
                  <c:v>0.63</c:v>
                </c:pt>
                <c:pt idx="16">
                  <c:v>0.39</c:v>
                </c:pt>
                <c:pt idx="17">
                  <c:v>0.22</c:v>
                </c:pt>
                <c:pt idx="18">
                  <c:v>-0.10857875222425162</c:v>
                </c:pt>
                <c:pt idx="19">
                  <c:v>-0.19043532901360116</c:v>
                </c:pt>
                <c:pt idx="20">
                  <c:v>-8.4077901758142226E-2</c:v>
                </c:pt>
                <c:pt idx="21">
                  <c:v>-9.3894787052332895E-2</c:v>
                </c:pt>
                <c:pt idx="22">
                  <c:v>-5.5600306411744849E-2</c:v>
                </c:pt>
                <c:pt idx="23">
                  <c:v>-0.12899486152757711</c:v>
                </c:pt>
              </c:numCache>
            </c:numRef>
          </c:val>
          <c:smooth val="0"/>
          <c:extLst>
            <c:ext xmlns:c16="http://schemas.microsoft.com/office/drawing/2014/chart" uri="{C3380CC4-5D6E-409C-BE32-E72D297353CC}">
              <c16:uniqueId val="{00000000-F094-4F78-B820-C8EFBE16B063}"/>
            </c:ext>
          </c:extLst>
        </c:ser>
        <c:ser>
          <c:idx val="1"/>
          <c:order val="1"/>
          <c:tx>
            <c:strRef>
              <c:f>PV!$B$26</c:f>
              <c:strCache>
                <c:ptCount val="1"/>
                <c:pt idx="0">
                  <c:v>Off-take</c:v>
                </c:pt>
              </c:strCache>
            </c:strRef>
          </c:tx>
          <c:spPr>
            <a:ln w="19050" cap="rnd" cmpd="sng" algn="ctr">
              <a:solidFill>
                <a:schemeClr val="accent4"/>
              </a:solidFill>
              <a:prstDash val="solid"/>
              <a:round/>
            </a:ln>
            <a:effectLst/>
          </c:spPr>
          <c:marker>
            <c:spPr>
              <a:solidFill>
                <a:schemeClr val="accent4"/>
              </a:solidFill>
              <a:ln w="6350" cap="flat" cmpd="sng" algn="ctr">
                <a:solidFill>
                  <a:schemeClr val="accent4"/>
                </a:solidFill>
                <a:prstDash val="solid"/>
                <a:round/>
              </a:ln>
              <a:effectLst/>
            </c:spPr>
          </c:marker>
          <c:dLbls>
            <c:dLbl>
              <c:idx val="21"/>
              <c:layout>
                <c:manualLayout>
                  <c:x val="-1.2962963908060943E-2"/>
                  <c:y val="-6.92788703222075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094-4F78-B820-C8EFBE16B063}"/>
                </c:ext>
              </c:extLst>
            </c:dLbl>
            <c:dLbl>
              <c:idx val="22"/>
              <c:layout>
                <c:manualLayout>
                  <c:x val="-1.481481589492693E-2"/>
                  <c:y val="-7.46080141931466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094-4F78-B820-C8EFBE16B063}"/>
                </c:ext>
              </c:extLst>
            </c:dLbl>
            <c:dLbl>
              <c:idx val="2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094-4F78-B820-C8EFBE16B063}"/>
                </c:ext>
              </c:extLst>
            </c:dLbl>
            <c:spPr>
              <a:noFill/>
              <a:ln>
                <a:noFill/>
              </a:ln>
              <a:effectLst/>
            </c:spPr>
            <c:txPr>
              <a:bodyPr wrap="square" lIns="38100" tIns="19050" rIns="38100" bIns="19050" anchor="ctr">
                <a:spAutoFit/>
              </a:bodyPr>
              <a:lstStyle/>
              <a:p>
                <a:pPr>
                  <a:defRPr>
                    <a:solidFill>
                      <a:schemeClr val="accent5"/>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PV!$AA$23:$AX$24</c:f>
              <c:multiLvlStrCache>
                <c:ptCount val="24"/>
                <c:lvl>
                  <c:pt idx="0">
                    <c:v>Apr</c:v>
                  </c:pt>
                  <c:pt idx="1">
                    <c:v>May</c:v>
                  </c:pt>
                  <c:pt idx="2">
                    <c:v>Jun </c:v>
                  </c:pt>
                  <c:pt idx="3">
                    <c:v>Jul</c:v>
                  </c:pt>
                  <c:pt idx="4">
                    <c:v>Aug</c:v>
                  </c:pt>
                  <c:pt idx="5">
                    <c:v>Sep</c:v>
                  </c:pt>
                  <c:pt idx="6">
                    <c:v>Oct</c:v>
                  </c:pt>
                  <c:pt idx="7">
                    <c:v>Nov</c:v>
                  </c:pt>
                  <c:pt idx="8">
                    <c:v>Dec</c:v>
                  </c:pt>
                  <c:pt idx="9">
                    <c:v>Jan</c:v>
                  </c:pt>
                  <c:pt idx="10">
                    <c:v>Feb</c:v>
                  </c:pt>
                  <c:pt idx="11">
                    <c:v>Mar</c:v>
                  </c:pt>
                  <c:pt idx="12">
                    <c:v>Apr</c:v>
                  </c:pt>
                  <c:pt idx="13">
                    <c:v>May</c:v>
                  </c:pt>
                  <c:pt idx="14">
                    <c:v>June</c:v>
                  </c:pt>
                  <c:pt idx="15">
                    <c:v>July </c:v>
                  </c:pt>
                  <c:pt idx="16">
                    <c:v>Aug</c:v>
                  </c:pt>
                  <c:pt idx="17">
                    <c:v>Sep</c:v>
                  </c:pt>
                  <c:pt idx="18">
                    <c:v>Oct</c:v>
                  </c:pt>
                  <c:pt idx="19">
                    <c:v>Nov</c:v>
                  </c:pt>
                  <c:pt idx="20">
                    <c:v>Dec</c:v>
                  </c:pt>
                  <c:pt idx="21">
                    <c:v>Jan</c:v>
                  </c:pt>
                  <c:pt idx="22">
                    <c:v>Feb </c:v>
                  </c:pt>
                  <c:pt idx="23">
                    <c:v>Mar</c:v>
                  </c:pt>
                </c:lvl>
                <c:lvl>
                  <c:pt idx="0">
                    <c:v>FY21</c:v>
                  </c:pt>
                  <c:pt idx="12">
                    <c:v>FY22</c:v>
                  </c:pt>
                </c:lvl>
              </c:multiLvlStrCache>
            </c:multiLvlStrRef>
          </c:cat>
          <c:val>
            <c:numRef>
              <c:f>PV!$AA$26:$AX$26</c:f>
              <c:numCache>
                <c:formatCode>0%</c:formatCode>
                <c:ptCount val="24"/>
                <c:pt idx="0">
                  <c:v>-1</c:v>
                </c:pt>
                <c:pt idx="1">
                  <c:v>-0.85219999999999996</c:v>
                </c:pt>
                <c:pt idx="2">
                  <c:v>-0.49590000000000001</c:v>
                </c:pt>
                <c:pt idx="3">
                  <c:v>-0.04</c:v>
                </c:pt>
                <c:pt idx="4">
                  <c:v>0.14000000000000001</c:v>
                </c:pt>
                <c:pt idx="5">
                  <c:v>0.31</c:v>
                </c:pt>
                <c:pt idx="6">
                  <c:v>0.17</c:v>
                </c:pt>
                <c:pt idx="7">
                  <c:v>0.09</c:v>
                </c:pt>
                <c:pt idx="8">
                  <c:v>0.17</c:v>
                </c:pt>
                <c:pt idx="9">
                  <c:v>0.15537047892384881</c:v>
                </c:pt>
                <c:pt idx="10">
                  <c:v>0.22858187948281627</c:v>
                </c:pt>
                <c:pt idx="11">
                  <c:v>1.28</c:v>
                </c:pt>
                <c:pt idx="13">
                  <c:v>1.8128508365578506</c:v>
                </c:pt>
                <c:pt idx="14">
                  <c:v>1.1839999999999999</c:v>
                </c:pt>
                <c:pt idx="15">
                  <c:v>0.43</c:v>
                </c:pt>
                <c:pt idx="16">
                  <c:v>0.11</c:v>
                </c:pt>
                <c:pt idx="17">
                  <c:v>-0.36</c:v>
                </c:pt>
                <c:pt idx="18">
                  <c:v>-0.22230976632714206</c:v>
                </c:pt>
                <c:pt idx="19">
                  <c:v>-0.13588700156942268</c:v>
                </c:pt>
                <c:pt idx="20">
                  <c:v>-8.4899168429287464E-2</c:v>
                </c:pt>
                <c:pt idx="21">
                  <c:v>-1.2361677487508715E-2</c:v>
                </c:pt>
                <c:pt idx="22">
                  <c:v>-4.0863715488036023E-2</c:v>
                </c:pt>
                <c:pt idx="23">
                  <c:v>3.0000000000000001E-3</c:v>
                </c:pt>
              </c:numCache>
            </c:numRef>
          </c:val>
          <c:smooth val="0"/>
          <c:extLst>
            <c:ext xmlns:c16="http://schemas.microsoft.com/office/drawing/2014/chart" uri="{C3380CC4-5D6E-409C-BE32-E72D297353CC}">
              <c16:uniqueId val="{00000001-F094-4F78-B820-C8EFBE16B063}"/>
            </c:ext>
          </c:extLst>
        </c:ser>
        <c:dLbls>
          <c:showLegendKey val="0"/>
          <c:showVal val="0"/>
          <c:showCatName val="0"/>
          <c:showSerName val="0"/>
          <c:showPercent val="0"/>
          <c:showBubbleSize val="0"/>
        </c:dLbls>
        <c:marker val="1"/>
        <c:smooth val="0"/>
        <c:axId val="321311264"/>
        <c:axId val="321303816"/>
      </c:lineChart>
      <c:catAx>
        <c:axId val="321311264"/>
        <c:scaling>
          <c:orientation val="minMax"/>
        </c:scaling>
        <c:delete val="0"/>
        <c:axPos val="b"/>
        <c:numFmt formatCode="General" sourceLinked="0"/>
        <c:majorTickMark val="out"/>
        <c:minorTickMark val="none"/>
        <c:tickLblPos val="low"/>
        <c:spPr>
          <a:noFill/>
          <a:ln w="6350" cap="flat" cmpd="sng" algn="ctr">
            <a:solidFill>
              <a:schemeClr val="bg1">
                <a:lumMod val="85000"/>
              </a:schemeClr>
            </a:solidFill>
            <a:prstDash val="solid"/>
            <a:round/>
          </a:ln>
          <a:effectLst/>
        </c:spPr>
        <c:txPr>
          <a:bodyPr rot="-60000000" spcFirstLastPara="1" vertOverflow="ellipsis" vert="horz" wrap="square" anchor="ctr" anchorCtr="1"/>
          <a:lstStyle/>
          <a:p>
            <a:pPr algn="ctr">
              <a:defRPr lang="en-IN"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1303816"/>
        <c:crosses val="autoZero"/>
        <c:auto val="1"/>
        <c:lblAlgn val="ctr"/>
        <c:lblOffset val="100"/>
        <c:noMultiLvlLbl val="0"/>
      </c:catAx>
      <c:valAx>
        <c:axId val="321303816"/>
        <c:scaling>
          <c:orientation val="minMax"/>
        </c:scaling>
        <c:delete val="0"/>
        <c:axPos val="l"/>
        <c:numFmt formatCode="0%" sourceLinked="1"/>
        <c:majorTickMark val="out"/>
        <c:minorTickMark val="none"/>
        <c:tickLblPos val="nextTo"/>
        <c:spPr>
          <a:noFill/>
          <a:ln w="6350" cap="flat" cmpd="sng" algn="ctr">
            <a:solidFill>
              <a:schemeClr val="bg1">
                <a:lumMod val="85000"/>
              </a:schemeClr>
            </a:solidFill>
            <a:prstDash val="solid"/>
            <a:round/>
          </a:ln>
          <a:effectLst/>
        </c:spPr>
        <c:txPr>
          <a:bodyPr rot="-60000000" spcFirstLastPara="1" vertOverflow="ellipsis" vert="horz" wrap="square" anchor="ctr" anchorCtr="1"/>
          <a:lstStyle/>
          <a:p>
            <a:pPr algn="ctr">
              <a:defRPr lang="en-I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1311264"/>
        <c:crosses val="autoZero"/>
        <c:crossBetween val="midCat"/>
      </c:valAx>
      <c:spPr>
        <a:noFill/>
        <a:ln>
          <a:noFill/>
        </a:ln>
        <a:effectLst/>
      </c:spPr>
    </c:plotArea>
    <c:legend>
      <c:legendPos val="b"/>
      <c:layout>
        <c:manualLayout>
          <c:xMode val="edge"/>
          <c:yMode val="edge"/>
          <c:x val="0.29074148826591689"/>
          <c:y val="0.85313507379224141"/>
          <c:w val="0.35973110153302745"/>
          <c:h val="7.7239149386214359E-2"/>
        </c:manualLayout>
      </c:layout>
      <c:overlay val="0"/>
      <c:spPr>
        <a:noFill/>
        <a:ln>
          <a:noFill/>
        </a:ln>
        <a:effectLst/>
      </c:spPr>
      <c:txPr>
        <a:bodyPr rot="0" spcFirstLastPara="1" vertOverflow="ellipsis" vert="horz" wrap="square" anchor="ctr" anchorCtr="1"/>
        <a:lstStyle/>
        <a:p>
          <a:pPr algn="ctr">
            <a:defRPr lang="en-I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6350" cap="flat" cmpd="sng" algn="ctr">
      <a:noFill/>
      <a:prstDash val="solid"/>
      <a:miter lim="800000"/>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1524742499077E-2"/>
          <c:y val="8.3245115193934086E-2"/>
          <c:w val="0.92816692636670195"/>
          <c:h val="0.79104476523767864"/>
        </c:manualLayout>
      </c:layout>
      <c:barChart>
        <c:barDir val="col"/>
        <c:grouping val="clustered"/>
        <c:varyColors val="0"/>
        <c:ser>
          <c:idx val="0"/>
          <c:order val="0"/>
          <c:tx>
            <c:strRef>
              <c:f>Sheet1!$C$11</c:f>
              <c:strCache>
                <c:ptCount val="1"/>
                <c:pt idx="0">
                  <c:v>Retail</c:v>
                </c:pt>
              </c:strCache>
            </c:strRef>
          </c:tx>
          <c:spPr>
            <a:solidFill>
              <a:schemeClr val="accent6"/>
            </a:solidFill>
            <a:ln>
              <a:noFill/>
            </a:ln>
            <a:effectLst/>
          </c:spPr>
          <c:invertIfNegative val="0"/>
          <c:cat>
            <c:strRef>
              <c:f>Sheet1!$B$12:$B$17</c:f>
              <c:strCache>
                <c:ptCount val="6"/>
                <c:pt idx="0">
                  <c:v>MSIL</c:v>
                </c:pt>
                <c:pt idx="1">
                  <c:v>Hyundai</c:v>
                </c:pt>
                <c:pt idx="2">
                  <c:v>Tata Motors</c:v>
                </c:pt>
                <c:pt idx="3">
                  <c:v>Mahindra</c:v>
                </c:pt>
                <c:pt idx="4">
                  <c:v>Kia</c:v>
                </c:pt>
                <c:pt idx="5">
                  <c:v>Industry</c:v>
                </c:pt>
              </c:strCache>
            </c:strRef>
          </c:cat>
          <c:val>
            <c:numRef>
              <c:f>Sheet1!$C$12:$C$17</c:f>
              <c:numCache>
                <c:formatCode>0</c:formatCode>
                <c:ptCount val="6"/>
                <c:pt idx="0">
                  <c:v>327.45676666666668</c:v>
                </c:pt>
                <c:pt idx="1">
                  <c:v>108.96263333333333</c:v>
                </c:pt>
                <c:pt idx="2">
                  <c:v>98.950766666666667</c:v>
                </c:pt>
                <c:pt idx="3">
                  <c:v>56.160866666666671</c:v>
                </c:pt>
                <c:pt idx="4">
                  <c:v>39.203100000000006</c:v>
                </c:pt>
                <c:pt idx="5">
                  <c:v>828.26900000000001</c:v>
                </c:pt>
              </c:numCache>
            </c:numRef>
          </c:val>
          <c:extLst>
            <c:ext xmlns:c16="http://schemas.microsoft.com/office/drawing/2014/chart" uri="{C3380CC4-5D6E-409C-BE32-E72D297353CC}">
              <c16:uniqueId val="{00000000-C745-4391-91F1-CCDA2ACD4A1C}"/>
            </c:ext>
          </c:extLst>
        </c:ser>
        <c:ser>
          <c:idx val="1"/>
          <c:order val="1"/>
          <c:tx>
            <c:strRef>
              <c:f>Sheet1!$D$11</c:f>
              <c:strCache>
                <c:ptCount val="1"/>
                <c:pt idx="0">
                  <c:v>Offtake</c:v>
                </c:pt>
              </c:strCache>
            </c:strRef>
          </c:tx>
          <c:spPr>
            <a:solidFill>
              <a:schemeClr val="accent5"/>
            </a:solidFill>
            <a:ln>
              <a:noFill/>
            </a:ln>
            <a:effectLst/>
          </c:spPr>
          <c:invertIfNegative val="0"/>
          <c:cat>
            <c:strRef>
              <c:f>Sheet1!$B$12:$B$17</c:f>
              <c:strCache>
                <c:ptCount val="6"/>
                <c:pt idx="0">
                  <c:v>MSIL</c:v>
                </c:pt>
                <c:pt idx="1">
                  <c:v>Hyundai</c:v>
                </c:pt>
                <c:pt idx="2">
                  <c:v>Tata Motors</c:v>
                </c:pt>
                <c:pt idx="3">
                  <c:v>Mahindra</c:v>
                </c:pt>
                <c:pt idx="4">
                  <c:v>Kia</c:v>
                </c:pt>
                <c:pt idx="5">
                  <c:v>Industry</c:v>
                </c:pt>
              </c:strCache>
            </c:strRef>
          </c:cat>
          <c:val>
            <c:numRef>
              <c:f>Sheet1!$D$12:$D$17</c:f>
              <c:numCache>
                <c:formatCode>0</c:formatCode>
                <c:ptCount val="6"/>
                <c:pt idx="0">
                  <c:v>392.80155999999999</c:v>
                </c:pt>
                <c:pt idx="1">
                  <c:v>132.12200000000001</c:v>
                </c:pt>
                <c:pt idx="2">
                  <c:v>120.74</c:v>
                </c:pt>
                <c:pt idx="3">
                  <c:v>75.290000000000006</c:v>
                </c:pt>
                <c:pt idx="4">
                  <c:v>55.561</c:v>
                </c:pt>
                <c:pt idx="5">
                  <c:v>919</c:v>
                </c:pt>
              </c:numCache>
            </c:numRef>
          </c:val>
          <c:extLst>
            <c:ext xmlns:c16="http://schemas.microsoft.com/office/drawing/2014/chart" uri="{C3380CC4-5D6E-409C-BE32-E72D297353CC}">
              <c16:uniqueId val="{00000001-C745-4391-91F1-CCDA2ACD4A1C}"/>
            </c:ext>
          </c:extLst>
        </c:ser>
        <c:dLbls>
          <c:showLegendKey val="0"/>
          <c:showVal val="0"/>
          <c:showCatName val="0"/>
          <c:showSerName val="0"/>
          <c:showPercent val="0"/>
          <c:showBubbleSize val="0"/>
        </c:dLbls>
        <c:gapWidth val="219"/>
        <c:overlap val="-27"/>
        <c:axId val="1129319568"/>
        <c:axId val="1126671512"/>
      </c:barChart>
      <c:catAx>
        <c:axId val="1129319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26671512"/>
        <c:crosses val="autoZero"/>
        <c:auto val="1"/>
        <c:lblAlgn val="ctr"/>
        <c:lblOffset val="100"/>
        <c:noMultiLvlLbl val="0"/>
      </c:catAx>
      <c:valAx>
        <c:axId val="1126671512"/>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Thousand Unit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29319568"/>
        <c:crosses val="autoZero"/>
        <c:crossBetween val="between"/>
        <c:majorUnit val="200"/>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244719883828113E-2"/>
          <c:y val="0.33240042063711228"/>
          <c:w val="0.89003135572835468"/>
          <c:h val="0.49587179245263535"/>
        </c:manualLayout>
      </c:layout>
      <c:barChart>
        <c:barDir val="col"/>
        <c:grouping val="clustered"/>
        <c:varyColors val="0"/>
        <c:ser>
          <c:idx val="0"/>
          <c:order val="0"/>
          <c:tx>
            <c:strRef>
              <c:f>Sheet1!$C$4</c:f>
              <c:strCache>
                <c:ptCount val="1"/>
                <c:pt idx="0">
                  <c:v>Market Sha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3:$J$3</c:f>
              <c:strCache>
                <c:ptCount val="7"/>
                <c:pt idx="0">
                  <c:v>FY19</c:v>
                </c:pt>
                <c:pt idx="1">
                  <c:v>FY20</c:v>
                </c:pt>
                <c:pt idx="2">
                  <c:v>FY21</c:v>
                </c:pt>
                <c:pt idx="3">
                  <c:v>Q1 FY22</c:v>
                </c:pt>
                <c:pt idx="4">
                  <c:v>Q2 FY22</c:v>
                </c:pt>
                <c:pt idx="5">
                  <c:v>Q3 FY22</c:v>
                </c:pt>
                <c:pt idx="6">
                  <c:v>Q4 FY22</c:v>
                </c:pt>
              </c:strCache>
            </c:strRef>
          </c:cat>
          <c:val>
            <c:numRef>
              <c:f>Sheet1!$D$4:$J$4</c:f>
              <c:numCache>
                <c:formatCode>0%</c:formatCode>
                <c:ptCount val="7"/>
                <c:pt idx="0">
                  <c:v>0.03</c:v>
                </c:pt>
                <c:pt idx="1">
                  <c:v>0.16</c:v>
                </c:pt>
                <c:pt idx="2">
                  <c:v>0.17</c:v>
                </c:pt>
                <c:pt idx="3">
                  <c:v>0.1</c:v>
                </c:pt>
                <c:pt idx="4">
                  <c:v>0.08</c:v>
                </c:pt>
                <c:pt idx="5">
                  <c:v>0.11</c:v>
                </c:pt>
                <c:pt idx="6">
                  <c:v>0.13300000000000001</c:v>
                </c:pt>
              </c:numCache>
            </c:numRef>
          </c:val>
          <c:extLst>
            <c:ext xmlns:c16="http://schemas.microsoft.com/office/drawing/2014/chart" uri="{C3380CC4-5D6E-409C-BE32-E72D297353CC}">
              <c16:uniqueId val="{00000000-52F0-43B9-9B89-44728C81B6F3}"/>
            </c:ext>
          </c:extLst>
        </c:ser>
        <c:dLbls>
          <c:showLegendKey val="0"/>
          <c:showVal val="1"/>
          <c:showCatName val="0"/>
          <c:showSerName val="0"/>
          <c:showPercent val="0"/>
          <c:showBubbleSize val="0"/>
        </c:dLbls>
        <c:gapWidth val="219"/>
        <c:overlap val="-27"/>
        <c:axId val="1006336104"/>
        <c:axId val="1006336432"/>
      </c:barChart>
      <c:lineChart>
        <c:grouping val="standard"/>
        <c:varyColors val="0"/>
        <c:ser>
          <c:idx val="1"/>
          <c:order val="1"/>
          <c:tx>
            <c:strRef>
              <c:f>Sheet1!$C$5</c:f>
              <c:strCache>
                <c:ptCount val="1"/>
                <c:pt idx="0">
                  <c:v>Number of share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3:$J$3</c:f>
              <c:strCache>
                <c:ptCount val="7"/>
                <c:pt idx="0">
                  <c:v>FY19</c:v>
                </c:pt>
                <c:pt idx="1">
                  <c:v>FY20</c:v>
                </c:pt>
                <c:pt idx="2">
                  <c:v>FY21</c:v>
                </c:pt>
                <c:pt idx="3">
                  <c:v>Q1 FY22</c:v>
                </c:pt>
                <c:pt idx="4">
                  <c:v>Q2 FY22</c:v>
                </c:pt>
                <c:pt idx="5">
                  <c:v>Q3 FY22</c:v>
                </c:pt>
                <c:pt idx="6">
                  <c:v>Q4 FY22</c:v>
                </c:pt>
              </c:strCache>
            </c:strRef>
          </c:cat>
          <c:val>
            <c:numRef>
              <c:f>Sheet1!$D$5:$J$5</c:f>
              <c:numCache>
                <c:formatCode>General</c:formatCode>
                <c:ptCount val="7"/>
                <c:pt idx="0">
                  <c:v>1</c:v>
                </c:pt>
                <c:pt idx="1">
                  <c:v>5</c:v>
                </c:pt>
                <c:pt idx="2">
                  <c:v>7</c:v>
                </c:pt>
                <c:pt idx="3">
                  <c:v>7</c:v>
                </c:pt>
                <c:pt idx="4">
                  <c:v>9</c:v>
                </c:pt>
                <c:pt idx="5">
                  <c:v>10</c:v>
                </c:pt>
                <c:pt idx="6">
                  <c:v>12</c:v>
                </c:pt>
              </c:numCache>
            </c:numRef>
          </c:val>
          <c:smooth val="0"/>
          <c:extLst>
            <c:ext xmlns:c16="http://schemas.microsoft.com/office/drawing/2014/chart" uri="{C3380CC4-5D6E-409C-BE32-E72D297353CC}">
              <c16:uniqueId val="{00000001-52F0-43B9-9B89-44728C81B6F3}"/>
            </c:ext>
          </c:extLst>
        </c:ser>
        <c:dLbls>
          <c:showLegendKey val="0"/>
          <c:showVal val="1"/>
          <c:showCatName val="0"/>
          <c:showSerName val="0"/>
          <c:showPercent val="0"/>
          <c:showBubbleSize val="0"/>
        </c:dLbls>
        <c:marker val="1"/>
        <c:smooth val="0"/>
        <c:axId val="1054460728"/>
        <c:axId val="1054460072"/>
      </c:lineChart>
      <c:catAx>
        <c:axId val="1006336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06336432"/>
        <c:crosses val="autoZero"/>
        <c:auto val="1"/>
        <c:lblAlgn val="ctr"/>
        <c:lblOffset val="100"/>
        <c:noMultiLvlLbl val="0"/>
      </c:catAx>
      <c:valAx>
        <c:axId val="100633643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06336104"/>
        <c:crosses val="autoZero"/>
        <c:crossBetween val="between"/>
        <c:majorUnit val="0.1"/>
      </c:valAx>
      <c:valAx>
        <c:axId val="1054460072"/>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4460728"/>
        <c:crosses val="max"/>
        <c:crossBetween val="between"/>
      </c:valAx>
      <c:catAx>
        <c:axId val="1054460728"/>
        <c:scaling>
          <c:orientation val="minMax"/>
        </c:scaling>
        <c:delete val="1"/>
        <c:axPos val="b"/>
        <c:numFmt formatCode="General" sourceLinked="1"/>
        <c:majorTickMark val="out"/>
        <c:minorTickMark val="none"/>
        <c:tickLblPos val="nextTo"/>
        <c:crossAx val="1054460072"/>
        <c:crosses val="autoZero"/>
        <c:auto val="1"/>
        <c:lblAlgn val="ctr"/>
        <c:lblOffset val="100"/>
        <c:noMultiLvlLbl val="0"/>
      </c:catAx>
      <c:spPr>
        <a:noFill/>
        <a:ln>
          <a:noFill/>
        </a:ln>
        <a:effectLst/>
      </c:spPr>
    </c:plotArea>
    <c:legend>
      <c:legendPos val="b"/>
      <c:layout>
        <c:manualLayout>
          <c:xMode val="edge"/>
          <c:yMode val="edge"/>
          <c:x val="0.29987766401171334"/>
          <c:y val="0.91570604651470289"/>
          <c:w val="0.40024473536723532"/>
          <c:h val="8.4294079608397035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2!$C$3</c:f>
              <c:strCache>
                <c:ptCount val="1"/>
                <c:pt idx="0">
                  <c:v>Lower compact</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D$1:$K$2</c:f>
              <c:multiLvlStrCache>
                <c:ptCount val="8"/>
                <c:lvl>
                  <c:pt idx="0">
                    <c:v>Q1</c:v>
                  </c:pt>
                  <c:pt idx="1">
                    <c:v>Q2</c:v>
                  </c:pt>
                  <c:pt idx="2">
                    <c:v>Q3</c:v>
                  </c:pt>
                  <c:pt idx="3">
                    <c:v>Q4</c:v>
                  </c:pt>
                  <c:pt idx="4">
                    <c:v>Q1</c:v>
                  </c:pt>
                  <c:pt idx="5">
                    <c:v>Q2</c:v>
                  </c:pt>
                  <c:pt idx="6">
                    <c:v>Q3</c:v>
                  </c:pt>
                  <c:pt idx="7">
                    <c:v>Q4</c:v>
                  </c:pt>
                </c:lvl>
                <c:lvl>
                  <c:pt idx="0">
                    <c:v>FY21</c:v>
                  </c:pt>
                  <c:pt idx="4">
                    <c:v>FY22</c:v>
                  </c:pt>
                </c:lvl>
              </c:multiLvlStrCache>
            </c:multiLvlStrRef>
          </c:cat>
          <c:val>
            <c:numRef>
              <c:f>Sheet2!$D$3:$K$3</c:f>
              <c:numCache>
                <c:formatCode>0%</c:formatCode>
                <c:ptCount val="8"/>
                <c:pt idx="0">
                  <c:v>0.37292048344775286</c:v>
                </c:pt>
                <c:pt idx="1">
                  <c:v>0.41393083305963685</c:v>
                </c:pt>
                <c:pt idx="2">
                  <c:v>0.40860068689400392</c:v>
                </c:pt>
                <c:pt idx="3">
                  <c:v>0.38008935598621757</c:v>
                </c:pt>
                <c:pt idx="4">
                  <c:v>0.36031450996563147</c:v>
                </c:pt>
                <c:pt idx="5">
                  <c:v>0.3047487663962557</c:v>
                </c:pt>
                <c:pt idx="6">
                  <c:v>0.336020123807522</c:v>
                </c:pt>
                <c:pt idx="7">
                  <c:v>0.37786906219096422</c:v>
                </c:pt>
              </c:numCache>
            </c:numRef>
          </c:val>
          <c:extLst>
            <c:ext xmlns:c16="http://schemas.microsoft.com/office/drawing/2014/chart" uri="{C3380CC4-5D6E-409C-BE32-E72D297353CC}">
              <c16:uniqueId val="{00000000-AADD-41BB-929E-F58953B198BB}"/>
            </c:ext>
          </c:extLst>
        </c:ser>
        <c:ser>
          <c:idx val="1"/>
          <c:order val="1"/>
          <c:tx>
            <c:strRef>
              <c:f>Sheet2!$C$4</c:f>
              <c:strCache>
                <c:ptCount val="1"/>
                <c:pt idx="0">
                  <c:v>Premium compact</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D$1:$K$2</c:f>
              <c:multiLvlStrCache>
                <c:ptCount val="8"/>
                <c:lvl>
                  <c:pt idx="0">
                    <c:v>Q1</c:v>
                  </c:pt>
                  <c:pt idx="1">
                    <c:v>Q2</c:v>
                  </c:pt>
                  <c:pt idx="2">
                    <c:v>Q3</c:v>
                  </c:pt>
                  <c:pt idx="3">
                    <c:v>Q4</c:v>
                  </c:pt>
                  <c:pt idx="4">
                    <c:v>Q1</c:v>
                  </c:pt>
                  <c:pt idx="5">
                    <c:v>Q2</c:v>
                  </c:pt>
                  <c:pt idx="6">
                    <c:v>Q3</c:v>
                  </c:pt>
                  <c:pt idx="7">
                    <c:v>Q4</c:v>
                  </c:pt>
                </c:lvl>
                <c:lvl>
                  <c:pt idx="0">
                    <c:v>FY21</c:v>
                  </c:pt>
                  <c:pt idx="4">
                    <c:v>FY22</c:v>
                  </c:pt>
                </c:lvl>
              </c:multiLvlStrCache>
            </c:multiLvlStrRef>
          </c:cat>
          <c:val>
            <c:numRef>
              <c:f>Sheet2!$D$4:$K$4</c:f>
              <c:numCache>
                <c:formatCode>0%</c:formatCode>
                <c:ptCount val="8"/>
                <c:pt idx="0">
                  <c:v>9.9897324394515916E-2</c:v>
                </c:pt>
                <c:pt idx="1">
                  <c:v>0.14816930998634684</c:v>
                </c:pt>
                <c:pt idx="2">
                  <c:v>0.13899085303775668</c:v>
                </c:pt>
                <c:pt idx="3">
                  <c:v>0.14406693216482647</c:v>
                </c:pt>
                <c:pt idx="4">
                  <c:v>0.13191807982736678</c:v>
                </c:pt>
                <c:pt idx="5">
                  <c:v>0.12781377852962</c:v>
                </c:pt>
                <c:pt idx="6">
                  <c:v>0.10934523042708849</c:v>
                </c:pt>
                <c:pt idx="7">
                  <c:v>8.9488115737571136E-2</c:v>
                </c:pt>
              </c:numCache>
            </c:numRef>
          </c:val>
          <c:extLst>
            <c:ext xmlns:c16="http://schemas.microsoft.com/office/drawing/2014/chart" uri="{C3380CC4-5D6E-409C-BE32-E72D297353CC}">
              <c16:uniqueId val="{00000001-AADD-41BB-929E-F58953B198BB}"/>
            </c:ext>
          </c:extLst>
        </c:ser>
        <c:ser>
          <c:idx val="2"/>
          <c:order val="2"/>
          <c:tx>
            <c:strRef>
              <c:f>Sheet2!$C$5</c:f>
              <c:strCache>
                <c:ptCount val="1"/>
                <c:pt idx="0">
                  <c:v>Large car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D$1:$K$2</c:f>
              <c:multiLvlStrCache>
                <c:ptCount val="8"/>
                <c:lvl>
                  <c:pt idx="0">
                    <c:v>Q1</c:v>
                  </c:pt>
                  <c:pt idx="1">
                    <c:v>Q2</c:v>
                  </c:pt>
                  <c:pt idx="2">
                    <c:v>Q3</c:v>
                  </c:pt>
                  <c:pt idx="3">
                    <c:v>Q4</c:v>
                  </c:pt>
                  <c:pt idx="4">
                    <c:v>Q1</c:v>
                  </c:pt>
                  <c:pt idx="5">
                    <c:v>Q2</c:v>
                  </c:pt>
                  <c:pt idx="6">
                    <c:v>Q3</c:v>
                  </c:pt>
                  <c:pt idx="7">
                    <c:v>Q4</c:v>
                  </c:pt>
                </c:lvl>
                <c:lvl>
                  <c:pt idx="0">
                    <c:v>FY21</c:v>
                  </c:pt>
                  <c:pt idx="4">
                    <c:v>FY22</c:v>
                  </c:pt>
                </c:lvl>
              </c:multiLvlStrCache>
            </c:multiLvlStrRef>
          </c:cat>
          <c:val>
            <c:numRef>
              <c:f>Sheet2!$D$5:$K$5</c:f>
              <c:numCache>
                <c:formatCode>0%</c:formatCode>
                <c:ptCount val="8"/>
                <c:pt idx="0">
                  <c:v>3.0527537865823788E-2</c:v>
                </c:pt>
                <c:pt idx="1">
                  <c:v>2.9950083194675542E-2</c:v>
                </c:pt>
                <c:pt idx="2">
                  <c:v>2.8605209189935303E-2</c:v>
                </c:pt>
                <c:pt idx="3">
                  <c:v>2.5807151270600893E-2</c:v>
                </c:pt>
                <c:pt idx="4">
                  <c:v>2.8868319104837174E-2</c:v>
                </c:pt>
                <c:pt idx="5">
                  <c:v>3.1810222291881726E-2</c:v>
                </c:pt>
                <c:pt idx="6">
                  <c:v>2.7404449205692707E-2</c:v>
                </c:pt>
                <c:pt idx="7">
                  <c:v>2.8012904296591357E-2</c:v>
                </c:pt>
              </c:numCache>
            </c:numRef>
          </c:val>
          <c:extLst>
            <c:ext xmlns:c16="http://schemas.microsoft.com/office/drawing/2014/chart" uri="{C3380CC4-5D6E-409C-BE32-E72D297353CC}">
              <c16:uniqueId val="{00000002-AADD-41BB-929E-F58953B198BB}"/>
            </c:ext>
          </c:extLst>
        </c:ser>
        <c:ser>
          <c:idx val="3"/>
          <c:order val="3"/>
          <c:tx>
            <c:strRef>
              <c:f>Sheet2!$C$6</c:f>
              <c:strCache>
                <c:ptCount val="1"/>
                <c:pt idx="0">
                  <c:v>Compact UV</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D$1:$K$2</c:f>
              <c:multiLvlStrCache>
                <c:ptCount val="8"/>
                <c:lvl>
                  <c:pt idx="0">
                    <c:v>Q1</c:v>
                  </c:pt>
                  <c:pt idx="1">
                    <c:v>Q2</c:v>
                  </c:pt>
                  <c:pt idx="2">
                    <c:v>Q3</c:v>
                  </c:pt>
                  <c:pt idx="3">
                    <c:v>Q4</c:v>
                  </c:pt>
                  <c:pt idx="4">
                    <c:v>Q1</c:v>
                  </c:pt>
                  <c:pt idx="5">
                    <c:v>Q2</c:v>
                  </c:pt>
                  <c:pt idx="6">
                    <c:v>Q3</c:v>
                  </c:pt>
                  <c:pt idx="7">
                    <c:v>Q4</c:v>
                  </c:pt>
                </c:lvl>
                <c:lvl>
                  <c:pt idx="0">
                    <c:v>FY21</c:v>
                  </c:pt>
                  <c:pt idx="4">
                    <c:v>FY22</c:v>
                  </c:pt>
                </c:lvl>
              </c:multiLvlStrCache>
            </c:multiLvlStrRef>
          </c:cat>
          <c:val>
            <c:numRef>
              <c:f>Sheet2!$D$6:$K$6</c:f>
              <c:numCache>
                <c:formatCode>0%</c:formatCode>
                <c:ptCount val="8"/>
                <c:pt idx="0">
                  <c:v>0.15544281371423971</c:v>
                </c:pt>
                <c:pt idx="1">
                  <c:v>0.14369742652946557</c:v>
                </c:pt>
                <c:pt idx="2">
                  <c:v>0.180312488398961</c:v>
                </c:pt>
                <c:pt idx="3">
                  <c:v>0.19192317232004519</c:v>
                </c:pt>
                <c:pt idx="4">
                  <c:v>0.20533680997477782</c:v>
                </c:pt>
                <c:pt idx="5">
                  <c:v>0.20795208266901588</c:v>
                </c:pt>
                <c:pt idx="6">
                  <c:v>0.19985354641426023</c:v>
                </c:pt>
                <c:pt idx="7">
                  <c:v>0.1917007254344654</c:v>
                </c:pt>
              </c:numCache>
            </c:numRef>
          </c:val>
          <c:extLst>
            <c:ext xmlns:c16="http://schemas.microsoft.com/office/drawing/2014/chart" uri="{C3380CC4-5D6E-409C-BE32-E72D297353CC}">
              <c16:uniqueId val="{00000003-AADD-41BB-929E-F58953B198BB}"/>
            </c:ext>
          </c:extLst>
        </c:ser>
        <c:ser>
          <c:idx val="4"/>
          <c:order val="4"/>
          <c:tx>
            <c:strRef>
              <c:f>Sheet2!$C$7</c:f>
              <c:strCache>
                <c:ptCount val="1"/>
                <c:pt idx="0">
                  <c:v>Other SUVs</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D$1:$K$2</c:f>
              <c:multiLvlStrCache>
                <c:ptCount val="8"/>
                <c:lvl>
                  <c:pt idx="0">
                    <c:v>Q1</c:v>
                  </c:pt>
                  <c:pt idx="1">
                    <c:v>Q2</c:v>
                  </c:pt>
                  <c:pt idx="2">
                    <c:v>Q3</c:v>
                  </c:pt>
                  <c:pt idx="3">
                    <c:v>Q4</c:v>
                  </c:pt>
                  <c:pt idx="4">
                    <c:v>Q1</c:v>
                  </c:pt>
                  <c:pt idx="5">
                    <c:v>Q2</c:v>
                  </c:pt>
                  <c:pt idx="6">
                    <c:v>Q3</c:v>
                  </c:pt>
                  <c:pt idx="7">
                    <c:v>Q4</c:v>
                  </c:pt>
                </c:lvl>
                <c:lvl>
                  <c:pt idx="0">
                    <c:v>FY21</c:v>
                  </c:pt>
                  <c:pt idx="4">
                    <c:v>FY22</c:v>
                  </c:pt>
                </c:lvl>
              </c:multiLvlStrCache>
            </c:multiLvlStrRef>
          </c:cat>
          <c:val>
            <c:numRef>
              <c:f>Sheet2!$D$7:$K$7</c:f>
              <c:numCache>
                <c:formatCode>0%</c:formatCode>
                <c:ptCount val="8"/>
                <c:pt idx="0">
                  <c:v>0.23420775368592003</c:v>
                </c:pt>
                <c:pt idx="1">
                  <c:v>0.16301542019418425</c:v>
                </c:pt>
                <c:pt idx="2">
                  <c:v>0.15047658474411343</c:v>
                </c:pt>
                <c:pt idx="3">
                  <c:v>0.16203047036982554</c:v>
                </c:pt>
                <c:pt idx="4">
                  <c:v>0.18270505234339998</c:v>
                </c:pt>
                <c:pt idx="5">
                  <c:v>0.20947348224853671</c:v>
                </c:pt>
                <c:pt idx="6">
                  <c:v>0.20325452412755021</c:v>
                </c:pt>
                <c:pt idx="7">
                  <c:v>0.20451339183834361</c:v>
                </c:pt>
              </c:numCache>
            </c:numRef>
          </c:val>
          <c:extLst>
            <c:ext xmlns:c16="http://schemas.microsoft.com/office/drawing/2014/chart" uri="{C3380CC4-5D6E-409C-BE32-E72D297353CC}">
              <c16:uniqueId val="{00000004-AADD-41BB-929E-F58953B198BB}"/>
            </c:ext>
          </c:extLst>
        </c:ser>
        <c:ser>
          <c:idx val="5"/>
          <c:order val="5"/>
          <c:tx>
            <c:strRef>
              <c:f>Sheet2!$C$8</c:f>
              <c:strCache>
                <c:ptCount val="1"/>
                <c:pt idx="0">
                  <c:v>Vans and MPVs</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D$1:$K$2</c:f>
              <c:multiLvlStrCache>
                <c:ptCount val="8"/>
                <c:lvl>
                  <c:pt idx="0">
                    <c:v>Q1</c:v>
                  </c:pt>
                  <c:pt idx="1">
                    <c:v>Q2</c:v>
                  </c:pt>
                  <c:pt idx="2">
                    <c:v>Q3</c:v>
                  </c:pt>
                  <c:pt idx="3">
                    <c:v>Q4</c:v>
                  </c:pt>
                  <c:pt idx="4">
                    <c:v>Q1</c:v>
                  </c:pt>
                  <c:pt idx="5">
                    <c:v>Q2</c:v>
                  </c:pt>
                  <c:pt idx="6">
                    <c:v>Q3</c:v>
                  </c:pt>
                  <c:pt idx="7">
                    <c:v>Q4</c:v>
                  </c:pt>
                </c:lvl>
                <c:lvl>
                  <c:pt idx="0">
                    <c:v>FY21</c:v>
                  </c:pt>
                  <c:pt idx="4">
                    <c:v>FY22</c:v>
                  </c:pt>
                </c:lvl>
              </c:multiLvlStrCache>
            </c:multiLvlStrRef>
          </c:cat>
          <c:val>
            <c:numRef>
              <c:f>Sheet2!$D$8:$K$8</c:f>
              <c:numCache>
                <c:formatCode>0%</c:formatCode>
                <c:ptCount val="8"/>
                <c:pt idx="0">
                  <c:v>0.1070040868917477</c:v>
                </c:pt>
                <c:pt idx="1">
                  <c:v>0.10123692703569093</c:v>
                </c:pt>
                <c:pt idx="2">
                  <c:v>9.30141777352297E-2</c:v>
                </c:pt>
                <c:pt idx="3">
                  <c:v>9.6082917888484332E-2</c:v>
                </c:pt>
                <c:pt idx="4">
                  <c:v>9.0857228783986776E-2</c:v>
                </c:pt>
                <c:pt idx="5">
                  <c:v>0.11820166786469002</c:v>
                </c:pt>
                <c:pt idx="6">
                  <c:v>0.12412212601788632</c:v>
                </c:pt>
                <c:pt idx="7">
                  <c:v>0.10806311072384391</c:v>
                </c:pt>
              </c:numCache>
            </c:numRef>
          </c:val>
          <c:extLst>
            <c:ext xmlns:c16="http://schemas.microsoft.com/office/drawing/2014/chart" uri="{C3380CC4-5D6E-409C-BE32-E72D297353CC}">
              <c16:uniqueId val="{00000005-AADD-41BB-929E-F58953B198BB}"/>
            </c:ext>
          </c:extLst>
        </c:ser>
        <c:dLbls>
          <c:dLblPos val="ctr"/>
          <c:showLegendKey val="0"/>
          <c:showVal val="1"/>
          <c:showCatName val="0"/>
          <c:showSerName val="0"/>
          <c:showPercent val="0"/>
          <c:showBubbleSize val="0"/>
        </c:dLbls>
        <c:gapWidth val="150"/>
        <c:overlap val="100"/>
        <c:axId val="1005749168"/>
        <c:axId val="1005748512"/>
      </c:barChart>
      <c:catAx>
        <c:axId val="100574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05748512"/>
        <c:crosses val="autoZero"/>
        <c:auto val="1"/>
        <c:lblAlgn val="ctr"/>
        <c:lblOffset val="100"/>
        <c:noMultiLvlLbl val="0"/>
      </c:catAx>
      <c:valAx>
        <c:axId val="1005748512"/>
        <c:scaling>
          <c:orientation val="minMax"/>
        </c:scaling>
        <c:delete val="1"/>
        <c:axPos val="l"/>
        <c:numFmt formatCode="0%" sourceLinked="1"/>
        <c:majorTickMark val="none"/>
        <c:minorTickMark val="none"/>
        <c:tickLblPos val="nextTo"/>
        <c:crossAx val="10057491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Arial" panose="020B0604020202020204" pitchFamily="34" charset="0"/>
          <a:cs typeface="Arial" panose="020B0604020202020204" pitchFamily="34" charset="0"/>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uel Prices'!$C$3</c:f>
              <c:strCache>
                <c:ptCount val="1"/>
                <c:pt idx="0">
                  <c:v>Diesel</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cat>
            <c:numRef>
              <c:f>'Fuel Prices'!$B$4:$B$28</c:f>
              <c:numCache>
                <c:formatCode>mmm\-yy</c:formatCode>
                <c:ptCount val="25"/>
                <c:pt idx="0">
                  <c:v>44673</c:v>
                </c:pt>
                <c:pt idx="1">
                  <c:v>44621</c:v>
                </c:pt>
                <c:pt idx="2">
                  <c:v>44593</c:v>
                </c:pt>
                <c:pt idx="3">
                  <c:v>44562</c:v>
                </c:pt>
                <c:pt idx="4">
                  <c:v>44531</c:v>
                </c:pt>
                <c:pt idx="5">
                  <c:v>44501</c:v>
                </c:pt>
                <c:pt idx="6">
                  <c:v>44470</c:v>
                </c:pt>
                <c:pt idx="7">
                  <c:v>44440</c:v>
                </c:pt>
                <c:pt idx="8">
                  <c:v>44409</c:v>
                </c:pt>
                <c:pt idx="9">
                  <c:v>44378</c:v>
                </c:pt>
                <c:pt idx="10">
                  <c:v>44348</c:v>
                </c:pt>
                <c:pt idx="11">
                  <c:v>44317</c:v>
                </c:pt>
                <c:pt idx="12">
                  <c:v>44287</c:v>
                </c:pt>
                <c:pt idx="13">
                  <c:v>44256</c:v>
                </c:pt>
                <c:pt idx="14">
                  <c:v>44228</c:v>
                </c:pt>
                <c:pt idx="15">
                  <c:v>44197</c:v>
                </c:pt>
                <c:pt idx="16">
                  <c:v>44166</c:v>
                </c:pt>
                <c:pt idx="17">
                  <c:v>44136</c:v>
                </c:pt>
                <c:pt idx="18">
                  <c:v>44105</c:v>
                </c:pt>
                <c:pt idx="19">
                  <c:v>44075</c:v>
                </c:pt>
                <c:pt idx="20">
                  <c:v>44044</c:v>
                </c:pt>
                <c:pt idx="21">
                  <c:v>44013</c:v>
                </c:pt>
                <c:pt idx="22">
                  <c:v>43983</c:v>
                </c:pt>
                <c:pt idx="23">
                  <c:v>43952</c:v>
                </c:pt>
                <c:pt idx="24">
                  <c:v>43922</c:v>
                </c:pt>
              </c:numCache>
            </c:numRef>
          </c:cat>
          <c:val>
            <c:numRef>
              <c:f>'Fuel Prices'!$C$4:$C$28</c:f>
              <c:numCache>
                <c:formatCode>0.00</c:formatCode>
                <c:ptCount val="25"/>
                <c:pt idx="0">
                  <c:v>98.542500000000004</c:v>
                </c:pt>
                <c:pt idx="1">
                  <c:v>92.887499999999989</c:v>
                </c:pt>
                <c:pt idx="2">
                  <c:v>90.517499999999998</c:v>
                </c:pt>
                <c:pt idx="3">
                  <c:v>90.517499999999998</c:v>
                </c:pt>
                <c:pt idx="4" formatCode="0.0">
                  <c:v>90.4375</c:v>
                </c:pt>
                <c:pt idx="5" formatCode="0.0">
                  <c:v>91.125</c:v>
                </c:pt>
                <c:pt idx="6" formatCode="0.0">
                  <c:v>99.28125</c:v>
                </c:pt>
                <c:pt idx="7" formatCode="0.0">
                  <c:v>92.522142857142853</c:v>
                </c:pt>
                <c:pt idx="8" formatCode="0.0">
                  <c:v>93.68249999999999</c:v>
                </c:pt>
                <c:pt idx="9" formatCode="0.0">
                  <c:v>93.505403225806404</c:v>
                </c:pt>
                <c:pt idx="10" formatCode="0.0">
                  <c:v>90.992500000000007</c:v>
                </c:pt>
                <c:pt idx="11" formatCode="0.0">
                  <c:v>85.8</c:v>
                </c:pt>
                <c:pt idx="12" formatCode="0.0">
                  <c:v>83.33</c:v>
                </c:pt>
                <c:pt idx="13" formatCode="0.0">
                  <c:v>85.11008064516129</c:v>
                </c:pt>
                <c:pt idx="14" formatCode="0.0">
                  <c:v>84.99</c:v>
                </c:pt>
                <c:pt idx="15" formatCode="0.0">
                  <c:v>77.674999999999997</c:v>
                </c:pt>
                <c:pt idx="16" formatCode="0.0">
                  <c:v>74.325000000000003</c:v>
                </c:pt>
                <c:pt idx="17" formatCode="0.0">
                  <c:v>74.744833333333332</c:v>
                </c:pt>
                <c:pt idx="18" formatCode="0.0">
                  <c:v>77.45</c:v>
                </c:pt>
                <c:pt idx="19" formatCode="0.0">
                  <c:v>77.45</c:v>
                </c:pt>
                <c:pt idx="20" formatCode="0.0">
                  <c:v>78.44</c:v>
                </c:pt>
                <c:pt idx="21" formatCode="0.0">
                  <c:v>78.804571428571421</c:v>
                </c:pt>
                <c:pt idx="22" formatCode="0.0">
                  <c:v>75.012500000000003</c:v>
                </c:pt>
                <c:pt idx="23" formatCode="0.0">
                  <c:v>67.047499999999999</c:v>
                </c:pt>
                <c:pt idx="24" formatCode="0.0">
                  <c:v>64.87</c:v>
                </c:pt>
              </c:numCache>
            </c:numRef>
          </c:val>
          <c:smooth val="0"/>
          <c:extLst>
            <c:ext xmlns:c16="http://schemas.microsoft.com/office/drawing/2014/chart" uri="{C3380CC4-5D6E-409C-BE32-E72D297353CC}">
              <c16:uniqueId val="{00000000-7803-4925-98A1-3F1B6B6647E0}"/>
            </c:ext>
          </c:extLst>
        </c:ser>
        <c:ser>
          <c:idx val="1"/>
          <c:order val="1"/>
          <c:tx>
            <c:strRef>
              <c:f>'Fuel Prices'!$D$3</c:f>
              <c:strCache>
                <c:ptCount val="1"/>
                <c:pt idx="0">
                  <c:v>Petrol</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cat>
            <c:numRef>
              <c:f>'Fuel Prices'!$B$4:$B$28</c:f>
              <c:numCache>
                <c:formatCode>mmm\-yy</c:formatCode>
                <c:ptCount val="25"/>
                <c:pt idx="0">
                  <c:v>44673</c:v>
                </c:pt>
                <c:pt idx="1">
                  <c:v>44621</c:v>
                </c:pt>
                <c:pt idx="2">
                  <c:v>44593</c:v>
                </c:pt>
                <c:pt idx="3">
                  <c:v>44562</c:v>
                </c:pt>
                <c:pt idx="4">
                  <c:v>44531</c:v>
                </c:pt>
                <c:pt idx="5">
                  <c:v>44501</c:v>
                </c:pt>
                <c:pt idx="6">
                  <c:v>44470</c:v>
                </c:pt>
                <c:pt idx="7">
                  <c:v>44440</c:v>
                </c:pt>
                <c:pt idx="8">
                  <c:v>44409</c:v>
                </c:pt>
                <c:pt idx="9">
                  <c:v>44378</c:v>
                </c:pt>
                <c:pt idx="10">
                  <c:v>44348</c:v>
                </c:pt>
                <c:pt idx="11">
                  <c:v>44317</c:v>
                </c:pt>
                <c:pt idx="12">
                  <c:v>44287</c:v>
                </c:pt>
                <c:pt idx="13">
                  <c:v>44256</c:v>
                </c:pt>
                <c:pt idx="14">
                  <c:v>44228</c:v>
                </c:pt>
                <c:pt idx="15">
                  <c:v>44197</c:v>
                </c:pt>
                <c:pt idx="16">
                  <c:v>44166</c:v>
                </c:pt>
                <c:pt idx="17">
                  <c:v>44136</c:v>
                </c:pt>
                <c:pt idx="18">
                  <c:v>44105</c:v>
                </c:pt>
                <c:pt idx="19">
                  <c:v>44075</c:v>
                </c:pt>
                <c:pt idx="20">
                  <c:v>44044</c:v>
                </c:pt>
                <c:pt idx="21">
                  <c:v>44013</c:v>
                </c:pt>
                <c:pt idx="22">
                  <c:v>43983</c:v>
                </c:pt>
                <c:pt idx="23">
                  <c:v>43952</c:v>
                </c:pt>
                <c:pt idx="24">
                  <c:v>43922</c:v>
                </c:pt>
              </c:numCache>
            </c:numRef>
          </c:cat>
          <c:val>
            <c:numRef>
              <c:f>'Fuel Prices'!$D$4:$D$28</c:f>
              <c:numCache>
                <c:formatCode>0.00</c:formatCode>
                <c:ptCount val="25"/>
                <c:pt idx="0">
                  <c:v>110.95249999999999</c:v>
                </c:pt>
                <c:pt idx="1">
                  <c:v>105.60249999999999</c:v>
                </c:pt>
                <c:pt idx="2">
                  <c:v>102.86999999999999</c:v>
                </c:pt>
                <c:pt idx="3">
                  <c:v>102.86999999999999</c:v>
                </c:pt>
                <c:pt idx="4" formatCode="0.0">
                  <c:v>102.95</c:v>
                </c:pt>
                <c:pt idx="5" formatCode="0.0">
                  <c:v>104.75</c:v>
                </c:pt>
                <c:pt idx="6" formatCode="0.0">
                  <c:v>107.75</c:v>
                </c:pt>
                <c:pt idx="7" formatCode="0.0">
                  <c:v>100.92714285714285</c:v>
                </c:pt>
                <c:pt idx="8" formatCode="0.0">
                  <c:v>103.03403225806449</c:v>
                </c:pt>
                <c:pt idx="9" formatCode="0.0">
                  <c:v>97.93</c:v>
                </c:pt>
                <c:pt idx="10" formatCode="0.0">
                  <c:v>97.93</c:v>
                </c:pt>
                <c:pt idx="11" formatCode="0.0">
                  <c:v>102.81258064516126</c:v>
                </c:pt>
                <c:pt idx="12" formatCode="0.0">
                  <c:v>98.353666666666669</c:v>
                </c:pt>
                <c:pt idx="13" formatCode="0.0">
                  <c:v>93.197580645161281</c:v>
                </c:pt>
                <c:pt idx="14" formatCode="0.0">
                  <c:v>91.264196428571438</c:v>
                </c:pt>
                <c:pt idx="15" formatCode="0.0">
                  <c:v>87.572903225806499</c:v>
                </c:pt>
                <c:pt idx="16" formatCode="0.0">
                  <c:v>83.899999999999991</c:v>
                </c:pt>
                <c:pt idx="17" formatCode="0.0">
                  <c:v>84.161583333333326</c:v>
                </c:pt>
                <c:pt idx="18" formatCode="0.0">
                  <c:v>84.9</c:v>
                </c:pt>
                <c:pt idx="19" formatCode="0.0">
                  <c:v>83.34</c:v>
                </c:pt>
                <c:pt idx="20" formatCode="0.0">
                  <c:v>83.4</c:v>
                </c:pt>
                <c:pt idx="21" formatCode="0.0">
                  <c:v>83.334999999999994</c:v>
                </c:pt>
                <c:pt idx="22" formatCode="0.0">
                  <c:v>80.662499999999994</c:v>
                </c:pt>
                <c:pt idx="23" formatCode="0.0">
                  <c:v>73.9375</c:v>
                </c:pt>
                <c:pt idx="24" formatCode="0.0">
                  <c:v>72.78</c:v>
                </c:pt>
              </c:numCache>
            </c:numRef>
          </c:val>
          <c:smooth val="0"/>
          <c:extLst>
            <c:ext xmlns:c16="http://schemas.microsoft.com/office/drawing/2014/chart" uri="{C3380CC4-5D6E-409C-BE32-E72D297353CC}">
              <c16:uniqueId val="{00000001-7803-4925-98A1-3F1B6B6647E0}"/>
            </c:ext>
          </c:extLst>
        </c:ser>
        <c:dLbls>
          <c:showLegendKey val="0"/>
          <c:showVal val="0"/>
          <c:showCatName val="0"/>
          <c:showSerName val="0"/>
          <c:showPercent val="0"/>
          <c:showBubbleSize val="0"/>
        </c:dLbls>
        <c:marker val="1"/>
        <c:smooth val="0"/>
        <c:axId val="149348736"/>
        <c:axId val="149350272"/>
      </c:lineChart>
      <c:dateAx>
        <c:axId val="149348736"/>
        <c:scaling>
          <c:orientation val="minMax"/>
        </c:scaling>
        <c:delete val="0"/>
        <c:axPos val="b"/>
        <c:numFmt formatCode="mmm\-yy" sourceLinked="1"/>
        <c:majorTickMark val="out"/>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49350272"/>
        <c:crosses val="autoZero"/>
        <c:auto val="1"/>
        <c:lblOffset val="100"/>
        <c:baseTimeUnit val="months"/>
      </c:dateAx>
      <c:valAx>
        <c:axId val="149350272"/>
        <c:scaling>
          <c:orientation val="minMax"/>
          <c:min val="4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Rs. per litr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49348736"/>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iesel consumption (2)'!$C$1</c:f>
              <c:strCache>
                <c:ptCount val="1"/>
                <c:pt idx="0">
                  <c:v>Diesel Consumption (Million tonnes)</c:v>
                </c:pt>
              </c:strCache>
            </c:strRef>
          </c:tx>
          <c:spPr>
            <a:solidFill>
              <a:schemeClr val="bg1">
                <a:lumMod val="85000"/>
              </a:schemeClr>
            </a:solidFill>
            <a:ln>
              <a:noFill/>
            </a:ln>
            <a:effectLst/>
          </c:spPr>
          <c:invertIfNegative val="0"/>
          <c:cat>
            <c:numRef>
              <c:f>'Diesel consumption (2)'!$B$72:$B$96</c:f>
              <c:numCache>
                <c:formatCode>mmm\-yy</c:formatCode>
                <c:ptCount val="25"/>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pt idx="14">
                  <c:v>44287</c:v>
                </c:pt>
                <c:pt idx="15">
                  <c:v>44317</c:v>
                </c:pt>
                <c:pt idx="16">
                  <c:v>44348</c:v>
                </c:pt>
                <c:pt idx="17">
                  <c:v>44378</c:v>
                </c:pt>
                <c:pt idx="18">
                  <c:v>44409</c:v>
                </c:pt>
                <c:pt idx="19">
                  <c:v>44440</c:v>
                </c:pt>
                <c:pt idx="20">
                  <c:v>44470</c:v>
                </c:pt>
                <c:pt idx="21">
                  <c:v>44501</c:v>
                </c:pt>
                <c:pt idx="22">
                  <c:v>44531</c:v>
                </c:pt>
                <c:pt idx="23">
                  <c:v>44562</c:v>
                </c:pt>
                <c:pt idx="24">
                  <c:v>44593</c:v>
                </c:pt>
              </c:numCache>
            </c:numRef>
          </c:cat>
          <c:val>
            <c:numRef>
              <c:f>'Diesel consumption (2)'!$C$72:$C$96</c:f>
              <c:numCache>
                <c:formatCode>0</c:formatCode>
                <c:ptCount val="25"/>
                <c:pt idx="0">
                  <c:v>7159.8612081769897</c:v>
                </c:pt>
                <c:pt idx="1">
                  <c:v>5651.1738890946435</c:v>
                </c:pt>
                <c:pt idx="2">
                  <c:v>3249.67387478103</c:v>
                </c:pt>
                <c:pt idx="3">
                  <c:v>5495.0853512648328</c:v>
                </c:pt>
                <c:pt idx="4">
                  <c:v>6299.9109637141737</c:v>
                </c:pt>
                <c:pt idx="5">
                  <c:v>5510.6045164381021</c:v>
                </c:pt>
                <c:pt idx="6">
                  <c:v>4850.5315165298598</c:v>
                </c:pt>
                <c:pt idx="7">
                  <c:v>5489.932799637143</c:v>
                </c:pt>
                <c:pt idx="8">
                  <c:v>6994.229966205522</c:v>
                </c:pt>
                <c:pt idx="9" formatCode="General">
                  <c:v>7042</c:v>
                </c:pt>
                <c:pt idx="10" formatCode="General">
                  <c:v>7183</c:v>
                </c:pt>
                <c:pt idx="11" formatCode="General">
                  <c:v>6804</c:v>
                </c:pt>
                <c:pt idx="12" formatCode="General">
                  <c:v>6550</c:v>
                </c:pt>
                <c:pt idx="13" formatCode="General">
                  <c:v>7224</c:v>
                </c:pt>
                <c:pt idx="14" formatCode="General">
                  <c:v>6683</c:v>
                </c:pt>
                <c:pt idx="15" formatCode="General">
                  <c:v>5535</c:v>
                </c:pt>
                <c:pt idx="16" formatCode="General">
                  <c:v>6203</c:v>
                </c:pt>
                <c:pt idx="17" formatCode="General">
                  <c:v>6141</c:v>
                </c:pt>
                <c:pt idx="18" formatCode="General">
                  <c:v>5606</c:v>
                </c:pt>
                <c:pt idx="19" formatCode="General">
                  <c:v>5512</c:v>
                </c:pt>
                <c:pt idx="20" formatCode="General">
                  <c:v>6612</c:v>
                </c:pt>
                <c:pt idx="21" formatCode="General">
                  <c:v>6507</c:v>
                </c:pt>
                <c:pt idx="22" formatCode="General">
                  <c:v>7305</c:v>
                </c:pt>
                <c:pt idx="23" formatCode="General">
                  <c:v>6369</c:v>
                </c:pt>
                <c:pt idx="24" formatCode="General">
                  <c:v>6511</c:v>
                </c:pt>
              </c:numCache>
            </c:numRef>
          </c:val>
          <c:extLst>
            <c:ext xmlns:c16="http://schemas.microsoft.com/office/drawing/2014/chart" uri="{C3380CC4-5D6E-409C-BE32-E72D297353CC}">
              <c16:uniqueId val="{00000000-D738-4424-AED1-1E57C8D43606}"/>
            </c:ext>
          </c:extLst>
        </c:ser>
        <c:dLbls>
          <c:showLegendKey val="0"/>
          <c:showVal val="0"/>
          <c:showCatName val="0"/>
          <c:showSerName val="0"/>
          <c:showPercent val="0"/>
          <c:showBubbleSize val="0"/>
        </c:dLbls>
        <c:gapWidth val="219"/>
        <c:overlap val="-27"/>
        <c:axId val="1401203952"/>
        <c:axId val="1401186000"/>
      </c:barChart>
      <c:lineChart>
        <c:grouping val="standard"/>
        <c:varyColors val="0"/>
        <c:ser>
          <c:idx val="2"/>
          <c:order val="1"/>
          <c:tx>
            <c:strRef>
              <c:f>'Diesel consumption (2)'!$E$1</c:f>
              <c:strCache>
                <c:ptCount val="1"/>
                <c:pt idx="0">
                  <c:v>Diesel y-o-y growth (%)</c:v>
                </c:pt>
              </c:strCache>
            </c:strRef>
          </c:tx>
          <c:spPr>
            <a:ln w="28575" cap="rnd">
              <a:solidFill>
                <a:schemeClr val="accent2"/>
              </a:solidFill>
              <a:round/>
            </a:ln>
            <a:effectLst/>
          </c:spPr>
          <c:marker>
            <c:symbol val="square"/>
            <c:size val="5"/>
            <c:spPr>
              <a:solidFill>
                <a:schemeClr val="accent2"/>
              </a:solidFill>
              <a:ln>
                <a:solidFill>
                  <a:schemeClr val="accent2"/>
                </a:solidFill>
              </a:ln>
            </c:spPr>
          </c:marker>
          <c:cat>
            <c:numRef>
              <c:f>'Diesel consumption (2)'!$B$72:$B$96</c:f>
              <c:numCache>
                <c:formatCode>mmm\-yy</c:formatCode>
                <c:ptCount val="25"/>
                <c:pt idx="0">
                  <c:v>43862</c:v>
                </c:pt>
                <c:pt idx="1">
                  <c:v>43891</c:v>
                </c:pt>
                <c:pt idx="2">
                  <c:v>43922</c:v>
                </c:pt>
                <c:pt idx="3">
                  <c:v>43952</c:v>
                </c:pt>
                <c:pt idx="4">
                  <c:v>43983</c:v>
                </c:pt>
                <c:pt idx="5">
                  <c:v>44013</c:v>
                </c:pt>
                <c:pt idx="6">
                  <c:v>44044</c:v>
                </c:pt>
                <c:pt idx="7">
                  <c:v>44075</c:v>
                </c:pt>
                <c:pt idx="8">
                  <c:v>44105</c:v>
                </c:pt>
                <c:pt idx="9">
                  <c:v>44136</c:v>
                </c:pt>
                <c:pt idx="10">
                  <c:v>44166</c:v>
                </c:pt>
                <c:pt idx="11">
                  <c:v>44197</c:v>
                </c:pt>
                <c:pt idx="12">
                  <c:v>44228</c:v>
                </c:pt>
                <c:pt idx="13">
                  <c:v>44256</c:v>
                </c:pt>
                <c:pt idx="14">
                  <c:v>44287</c:v>
                </c:pt>
                <c:pt idx="15">
                  <c:v>44317</c:v>
                </c:pt>
                <c:pt idx="16">
                  <c:v>44348</c:v>
                </c:pt>
                <c:pt idx="17">
                  <c:v>44378</c:v>
                </c:pt>
                <c:pt idx="18">
                  <c:v>44409</c:v>
                </c:pt>
                <c:pt idx="19">
                  <c:v>44440</c:v>
                </c:pt>
                <c:pt idx="20">
                  <c:v>44470</c:v>
                </c:pt>
                <c:pt idx="21">
                  <c:v>44501</c:v>
                </c:pt>
                <c:pt idx="22">
                  <c:v>44531</c:v>
                </c:pt>
                <c:pt idx="23">
                  <c:v>44562</c:v>
                </c:pt>
                <c:pt idx="24">
                  <c:v>44593</c:v>
                </c:pt>
              </c:numCache>
            </c:numRef>
          </c:cat>
          <c:val>
            <c:numRef>
              <c:f>'Diesel consumption (2)'!$E$72:$E$96</c:f>
              <c:numCache>
                <c:formatCode>0.0%</c:formatCode>
                <c:ptCount val="25"/>
                <c:pt idx="0">
                  <c:v>6.2400798419521397E-2</c:v>
                </c:pt>
                <c:pt idx="1">
                  <c:v>-0.24156533885099785</c:v>
                </c:pt>
                <c:pt idx="2">
                  <c:v>-0.55613383427390861</c:v>
                </c:pt>
                <c:pt idx="3">
                  <c:v>-0.29422679741069924</c:v>
                </c:pt>
                <c:pt idx="4">
                  <c:v>-0.15427405737867905</c:v>
                </c:pt>
                <c:pt idx="5">
                  <c:v>-0.19401225726488047</c:v>
                </c:pt>
                <c:pt idx="6">
                  <c:v>-0.20684644946330644</c:v>
                </c:pt>
                <c:pt idx="7">
                  <c:v>-5.8492059743244229E-2</c:v>
                </c:pt>
                <c:pt idx="8">
                  <c:v>7.4877818688415809E-2</c:v>
                </c:pt>
                <c:pt idx="9">
                  <c:v>-6.7531779661016977E-2</c:v>
                </c:pt>
                <c:pt idx="10">
                  <c:v>-2.095507051213652E-2</c:v>
                </c:pt>
                <c:pt idx="11">
                  <c:v>-1.9878997407087318E-2</c:v>
                </c:pt>
                <c:pt idx="12">
                  <c:v>-8.5177797508210307E-2</c:v>
                </c:pt>
                <c:pt idx="13">
                  <c:v>0.27831847714693736</c:v>
                </c:pt>
                <c:pt idx="15">
                  <c:v>7.2636995030441742E-3</c:v>
                </c:pt>
                <c:pt idx="16">
                  <c:v>-1.5382910055769861E-2</c:v>
                </c:pt>
                <c:pt idx="17">
                  <c:v>0.11439679288931592</c:v>
                </c:pt>
                <c:pt idx="18">
                  <c:v>0.15574962885935717</c:v>
                </c:pt>
                <c:pt idx="19">
                  <c:v>4.0195756793808268E-3</c:v>
                </c:pt>
                <c:pt idx="20">
                  <c:v>-5.4649327810547765E-2</c:v>
                </c:pt>
                <c:pt idx="21">
                  <c:v>-7.5972735018460691E-2</c:v>
                </c:pt>
                <c:pt idx="22">
                  <c:v>1.6984546846721349E-2</c:v>
                </c:pt>
                <c:pt idx="23">
                  <c:v>-6.3932980599647249E-2</c:v>
                </c:pt>
                <c:pt idx="24">
                  <c:v>-5.9541984732824904E-3</c:v>
                </c:pt>
              </c:numCache>
            </c:numRef>
          </c:val>
          <c:smooth val="1"/>
          <c:extLst>
            <c:ext xmlns:c16="http://schemas.microsoft.com/office/drawing/2014/chart" uri="{C3380CC4-5D6E-409C-BE32-E72D297353CC}">
              <c16:uniqueId val="{00000001-D738-4424-AED1-1E57C8D43606}"/>
            </c:ext>
          </c:extLst>
        </c:ser>
        <c:dLbls>
          <c:showLegendKey val="0"/>
          <c:showVal val="0"/>
          <c:showCatName val="0"/>
          <c:showSerName val="0"/>
          <c:showPercent val="0"/>
          <c:showBubbleSize val="0"/>
        </c:dLbls>
        <c:marker val="1"/>
        <c:smooth val="0"/>
        <c:axId val="1401205584"/>
        <c:axId val="1401210480"/>
      </c:lineChart>
      <c:dateAx>
        <c:axId val="1401203952"/>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1186000"/>
        <c:crosses val="autoZero"/>
        <c:auto val="1"/>
        <c:lblOffset val="100"/>
        <c:baseTimeUnit val="months"/>
        <c:majorUnit val="1"/>
        <c:majorTimeUnit val="months"/>
      </c:dateAx>
      <c:valAx>
        <c:axId val="140118600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1203952"/>
        <c:crosses val="autoZero"/>
        <c:crossBetween val="between"/>
        <c:dispUnits>
          <c:builtInUnit val="thousands"/>
        </c:dispUnits>
      </c:valAx>
      <c:valAx>
        <c:axId val="1401210480"/>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1205584"/>
        <c:crosses val="max"/>
        <c:crossBetween val="between"/>
      </c:valAx>
      <c:dateAx>
        <c:axId val="1401205584"/>
        <c:scaling>
          <c:orientation val="minMax"/>
        </c:scaling>
        <c:delete val="1"/>
        <c:axPos val="b"/>
        <c:numFmt formatCode="mmm\-yy" sourceLinked="1"/>
        <c:majorTickMark val="out"/>
        <c:minorTickMark val="none"/>
        <c:tickLblPos val="nextTo"/>
        <c:crossAx val="1401210480"/>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94012622834001E-2"/>
          <c:y val="0.24471173786810452"/>
          <c:w val="0.95811974754331997"/>
          <c:h val="0.5730836683572994"/>
        </c:manualLayout>
      </c:layout>
      <c:barChart>
        <c:barDir val="col"/>
        <c:grouping val="clustered"/>
        <c:varyColors val="0"/>
        <c:ser>
          <c:idx val="0"/>
          <c:order val="0"/>
          <c:tx>
            <c:strRef>
              <c:f>Sheet1!$F$21</c:f>
              <c:strCache>
                <c:ptCount val="1"/>
                <c:pt idx="0">
                  <c:v>Petrol</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0:$I$20</c:f>
              <c:strCache>
                <c:ptCount val="3"/>
                <c:pt idx="0">
                  <c:v>FY20</c:v>
                </c:pt>
                <c:pt idx="1">
                  <c:v>FY21</c:v>
                </c:pt>
                <c:pt idx="2">
                  <c:v>FY22 </c:v>
                </c:pt>
              </c:strCache>
            </c:strRef>
          </c:cat>
          <c:val>
            <c:numRef>
              <c:f>Sheet1!$G$21:$I$21</c:f>
              <c:numCache>
                <c:formatCode>0.0%</c:formatCode>
                <c:ptCount val="3"/>
                <c:pt idx="0">
                  <c:v>0.5903865776438344</c:v>
                </c:pt>
                <c:pt idx="1">
                  <c:v>0.72001111691229869</c:v>
                </c:pt>
                <c:pt idx="2">
                  <c:v>0.68077547867444743</c:v>
                </c:pt>
              </c:numCache>
            </c:numRef>
          </c:val>
          <c:extLst>
            <c:ext xmlns:c16="http://schemas.microsoft.com/office/drawing/2014/chart" uri="{C3380CC4-5D6E-409C-BE32-E72D297353CC}">
              <c16:uniqueId val="{00000000-B41C-429C-9B61-3DC19E59BFB5}"/>
            </c:ext>
          </c:extLst>
        </c:ser>
        <c:ser>
          <c:idx val="1"/>
          <c:order val="1"/>
          <c:tx>
            <c:strRef>
              <c:f>Sheet1!$F$22</c:f>
              <c:strCache>
                <c:ptCount val="1"/>
                <c:pt idx="0">
                  <c:v>Diesel</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0:$I$20</c:f>
              <c:strCache>
                <c:ptCount val="3"/>
                <c:pt idx="0">
                  <c:v>FY20</c:v>
                </c:pt>
                <c:pt idx="1">
                  <c:v>FY21</c:v>
                </c:pt>
                <c:pt idx="2">
                  <c:v>FY22 </c:v>
                </c:pt>
              </c:strCache>
            </c:strRef>
          </c:cat>
          <c:val>
            <c:numRef>
              <c:f>Sheet1!$G$22:$I$22</c:f>
              <c:numCache>
                <c:formatCode>0.0%</c:formatCode>
                <c:ptCount val="3"/>
                <c:pt idx="0">
                  <c:v>0.30348121602807815</c:v>
                </c:pt>
                <c:pt idx="1">
                  <c:v>0.16213527376029135</c:v>
                </c:pt>
                <c:pt idx="2">
                  <c:v>0.18224813823660249</c:v>
                </c:pt>
              </c:numCache>
            </c:numRef>
          </c:val>
          <c:extLst>
            <c:ext xmlns:c16="http://schemas.microsoft.com/office/drawing/2014/chart" uri="{C3380CC4-5D6E-409C-BE32-E72D297353CC}">
              <c16:uniqueId val="{00000001-B41C-429C-9B61-3DC19E59BFB5}"/>
            </c:ext>
          </c:extLst>
        </c:ser>
        <c:ser>
          <c:idx val="2"/>
          <c:order val="2"/>
          <c:tx>
            <c:strRef>
              <c:f>Sheet1!$F$23</c:f>
              <c:strCache>
                <c:ptCount val="1"/>
                <c:pt idx="0">
                  <c:v>Petrol/CNG</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0:$I$20</c:f>
              <c:strCache>
                <c:ptCount val="3"/>
                <c:pt idx="0">
                  <c:v>FY20</c:v>
                </c:pt>
                <c:pt idx="1">
                  <c:v>FY21</c:v>
                </c:pt>
                <c:pt idx="2">
                  <c:v>FY22 </c:v>
                </c:pt>
              </c:strCache>
            </c:strRef>
          </c:cat>
          <c:val>
            <c:numRef>
              <c:f>Sheet1!$G$23:$I$23</c:f>
              <c:numCache>
                <c:formatCode>0.0%</c:formatCode>
                <c:ptCount val="3"/>
                <c:pt idx="0">
                  <c:v>6.5985216507217032E-2</c:v>
                </c:pt>
                <c:pt idx="1">
                  <c:v>7.1285302311693596E-2</c:v>
                </c:pt>
                <c:pt idx="2">
                  <c:v>8.6830522306955871E-2</c:v>
                </c:pt>
              </c:numCache>
            </c:numRef>
          </c:val>
          <c:extLst>
            <c:ext xmlns:c16="http://schemas.microsoft.com/office/drawing/2014/chart" uri="{C3380CC4-5D6E-409C-BE32-E72D297353CC}">
              <c16:uniqueId val="{00000002-B41C-429C-9B61-3DC19E59BFB5}"/>
            </c:ext>
          </c:extLst>
        </c:ser>
        <c:ser>
          <c:idx val="3"/>
          <c:order val="3"/>
          <c:tx>
            <c:strRef>
              <c:f>Sheet1!$F$24</c:f>
              <c:strCache>
                <c:ptCount val="1"/>
                <c:pt idx="0">
                  <c:v>Petrol/Hybrid</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0:$I$20</c:f>
              <c:strCache>
                <c:ptCount val="3"/>
                <c:pt idx="0">
                  <c:v>FY20</c:v>
                </c:pt>
                <c:pt idx="1">
                  <c:v>FY21</c:v>
                </c:pt>
                <c:pt idx="2">
                  <c:v>FY22 </c:v>
                </c:pt>
              </c:strCache>
            </c:strRef>
          </c:cat>
          <c:val>
            <c:numRef>
              <c:f>Sheet1!$G$24:$I$24</c:f>
              <c:numCache>
                <c:formatCode>0.0%</c:formatCode>
                <c:ptCount val="3"/>
                <c:pt idx="0">
                  <c:v>2.8110829531270611E-2</c:v>
                </c:pt>
                <c:pt idx="1">
                  <c:v>4.2539480642824069E-2</c:v>
                </c:pt>
                <c:pt idx="2">
                  <c:v>4.2588611950415099E-2</c:v>
                </c:pt>
              </c:numCache>
            </c:numRef>
          </c:val>
          <c:extLst>
            <c:ext xmlns:c16="http://schemas.microsoft.com/office/drawing/2014/chart" uri="{C3380CC4-5D6E-409C-BE32-E72D297353CC}">
              <c16:uniqueId val="{00000003-B41C-429C-9B61-3DC19E59BFB5}"/>
            </c:ext>
          </c:extLst>
        </c:ser>
        <c:ser>
          <c:idx val="4"/>
          <c:order val="4"/>
          <c:tx>
            <c:strRef>
              <c:f>Sheet1!$F$25</c:f>
              <c:strCache>
                <c:ptCount val="1"/>
                <c:pt idx="0">
                  <c:v>Electric</c:v>
                </c:pt>
              </c:strCache>
            </c:strRef>
          </c:tx>
          <c:spPr>
            <a:solidFill>
              <a:schemeClr val="accent5">
                <a:lumMod val="60000"/>
              </a:schemeClr>
            </a:solidFill>
            <a:ln>
              <a:noFill/>
            </a:ln>
            <a:effectLst/>
          </c:spPr>
          <c:invertIfNegative val="0"/>
          <c:dLbls>
            <c:dLbl>
              <c:idx val="0"/>
              <c:layout>
                <c:manualLayout>
                  <c:x val="9.1375090790506049E-3"/>
                  <c:y val="-5.273192914157498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12-4639-A554-EBDED98A6D3B}"/>
                </c:ext>
              </c:extLst>
            </c:dLbl>
            <c:dLbl>
              <c:idx val="1"/>
              <c:layout>
                <c:manualLayout>
                  <c:x val="9.1375090790506049E-3"/>
                  <c:y val="-5.273192914157498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12-4639-A554-EBDED98A6D3B}"/>
                </c:ext>
              </c:extLst>
            </c:dLbl>
            <c:dLbl>
              <c:idx val="2"/>
              <c:layout>
                <c:manualLayout>
                  <c:x val="9.1375090790504383E-3"/>
                  <c:y val="-9.667408663892065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12-4639-A554-EBDED98A6D3B}"/>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0:$I$20</c:f>
              <c:strCache>
                <c:ptCount val="3"/>
                <c:pt idx="0">
                  <c:v>FY20</c:v>
                </c:pt>
                <c:pt idx="1">
                  <c:v>FY21</c:v>
                </c:pt>
                <c:pt idx="2">
                  <c:v>FY22 </c:v>
                </c:pt>
              </c:strCache>
            </c:strRef>
          </c:cat>
          <c:val>
            <c:numRef>
              <c:f>Sheet1!$G$25:$I$25</c:f>
              <c:numCache>
                <c:formatCode>0.0%</c:formatCode>
                <c:ptCount val="3"/>
                <c:pt idx="0">
                  <c:v>8.3298151163179498E-4</c:v>
                </c:pt>
                <c:pt idx="1">
                  <c:v>2.1116229089366309E-3</c:v>
                </c:pt>
                <c:pt idx="2">
                  <c:v>6.5795433997302803E-3</c:v>
                </c:pt>
              </c:numCache>
            </c:numRef>
          </c:val>
          <c:extLst>
            <c:ext xmlns:c16="http://schemas.microsoft.com/office/drawing/2014/chart" uri="{C3380CC4-5D6E-409C-BE32-E72D297353CC}">
              <c16:uniqueId val="{00000004-B41C-429C-9B61-3DC19E59BFB5}"/>
            </c:ext>
          </c:extLst>
        </c:ser>
        <c:dLbls>
          <c:dLblPos val="outEnd"/>
          <c:showLegendKey val="0"/>
          <c:showVal val="1"/>
          <c:showCatName val="0"/>
          <c:showSerName val="0"/>
          <c:showPercent val="0"/>
          <c:showBubbleSize val="0"/>
        </c:dLbls>
        <c:gapWidth val="219"/>
        <c:overlap val="-27"/>
        <c:axId val="886323551"/>
        <c:axId val="886323135"/>
      </c:barChart>
      <c:catAx>
        <c:axId val="8863235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86323135"/>
        <c:crosses val="autoZero"/>
        <c:auto val="1"/>
        <c:lblAlgn val="ctr"/>
        <c:lblOffset val="100"/>
        <c:noMultiLvlLbl val="0"/>
      </c:catAx>
      <c:valAx>
        <c:axId val="886323135"/>
        <c:scaling>
          <c:orientation val="minMax"/>
        </c:scaling>
        <c:delete val="1"/>
        <c:axPos val="l"/>
        <c:numFmt formatCode="0.0%" sourceLinked="1"/>
        <c:majorTickMark val="none"/>
        <c:minorTickMark val="none"/>
        <c:tickLblPos val="nextTo"/>
        <c:crossAx val="88632355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50">
          <a:latin typeface="Arial" panose="020B0604020202020204" pitchFamily="34" charset="0"/>
          <a:cs typeface="Arial" panose="020B0604020202020204" pitchFamily="34" charset="0"/>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4"/>
          <c:order val="3"/>
          <c:tx>
            <c:strRef>
              <c:f>'Call money,MCLR,PV rate'!$P$5</c:f>
              <c:strCache>
                <c:ptCount val="1"/>
                <c:pt idx="0">
                  <c:v>repo</c:v>
                </c:pt>
              </c:strCache>
            </c:strRef>
          </c:tx>
          <c:spPr>
            <a:noFill/>
            <a:ln>
              <a:noFill/>
            </a:ln>
            <a:effectLst/>
          </c:spPr>
          <c:invertIfNegative val="0"/>
          <c:cat>
            <c:multiLvlStrRef>
              <c:f>'Call money,MCLR,PV rate'!$J$7:$K$77</c:f>
              <c:multiLvlStrCache>
                <c:ptCount val="71"/>
                <c:lvl>
                  <c:pt idx="0">
                    <c:v>May</c:v>
                  </c:pt>
                  <c:pt idx="1">
                    <c:v>Jun</c:v>
                  </c:pt>
                  <c:pt idx="2">
                    <c:v>Jul</c:v>
                  </c:pt>
                  <c:pt idx="3">
                    <c:v>Aug</c:v>
                  </c:pt>
                  <c:pt idx="4">
                    <c:v>Sep</c:v>
                  </c:pt>
                  <c:pt idx="5">
                    <c:v>Oct</c:v>
                  </c:pt>
                  <c:pt idx="6">
                    <c:v>Nov</c:v>
                  </c:pt>
                  <c:pt idx="7">
                    <c:v>Dec</c:v>
                  </c:pt>
                  <c:pt idx="8">
                    <c:v>Jan</c:v>
                  </c:pt>
                  <c:pt idx="9">
                    <c:v>Feb</c:v>
                  </c:pt>
                  <c:pt idx="10">
                    <c:v>Mar</c:v>
                  </c:pt>
                  <c:pt idx="11">
                    <c:v>Apr</c:v>
                  </c:pt>
                  <c:pt idx="12">
                    <c:v>May</c:v>
                  </c:pt>
                  <c:pt idx="13">
                    <c:v>Jun</c:v>
                  </c:pt>
                  <c:pt idx="14">
                    <c:v>Jul</c:v>
                  </c:pt>
                  <c:pt idx="15">
                    <c:v>Aug</c:v>
                  </c:pt>
                  <c:pt idx="16">
                    <c:v>Sep</c:v>
                  </c:pt>
                  <c:pt idx="17">
                    <c:v>Oct</c:v>
                  </c:pt>
                  <c:pt idx="18">
                    <c:v>Nov</c:v>
                  </c:pt>
                  <c:pt idx="19">
                    <c:v>Dec</c:v>
                  </c:pt>
                  <c:pt idx="20">
                    <c:v>Jan</c:v>
                  </c:pt>
                  <c:pt idx="21">
                    <c:v>Feb</c:v>
                  </c:pt>
                  <c:pt idx="22">
                    <c:v>Mar</c:v>
                  </c:pt>
                  <c:pt idx="23">
                    <c:v>Apr</c:v>
                  </c:pt>
                  <c:pt idx="24">
                    <c:v>May</c:v>
                  </c:pt>
                  <c:pt idx="25">
                    <c:v>Jun</c:v>
                  </c:pt>
                  <c:pt idx="26">
                    <c:v>Jul</c:v>
                  </c:pt>
                  <c:pt idx="27">
                    <c:v>Aug</c:v>
                  </c:pt>
                  <c:pt idx="28">
                    <c:v>Sep</c:v>
                  </c:pt>
                  <c:pt idx="29">
                    <c:v>Oct</c:v>
                  </c:pt>
                  <c:pt idx="30">
                    <c:v>Nov</c:v>
                  </c:pt>
                  <c:pt idx="31">
                    <c:v>Dec</c:v>
                  </c:pt>
                  <c:pt idx="32">
                    <c:v>Jan</c:v>
                  </c:pt>
                  <c:pt idx="33">
                    <c:v>Feb</c:v>
                  </c:pt>
                  <c:pt idx="34">
                    <c:v>Mar</c:v>
                  </c:pt>
                  <c:pt idx="35">
                    <c:v>Apr</c:v>
                  </c:pt>
                  <c:pt idx="36">
                    <c:v>May</c:v>
                  </c:pt>
                  <c:pt idx="37">
                    <c:v>Jun</c:v>
                  </c:pt>
                  <c:pt idx="38">
                    <c:v>Jul</c:v>
                  </c:pt>
                  <c:pt idx="39">
                    <c:v>Aug</c:v>
                  </c:pt>
                  <c:pt idx="40">
                    <c:v>Sep</c:v>
                  </c:pt>
                  <c:pt idx="41">
                    <c:v>Oct</c:v>
                  </c:pt>
                  <c:pt idx="42">
                    <c:v>Nov</c:v>
                  </c:pt>
                  <c:pt idx="43">
                    <c:v>Dec</c:v>
                  </c:pt>
                  <c:pt idx="44">
                    <c:v>Jan</c:v>
                  </c:pt>
                  <c:pt idx="45">
                    <c:v>Feb</c:v>
                  </c:pt>
                  <c:pt idx="46">
                    <c:v>Mar</c:v>
                  </c:pt>
                  <c:pt idx="47">
                    <c:v>Apr</c:v>
                  </c:pt>
                  <c:pt idx="48">
                    <c:v>May</c:v>
                  </c:pt>
                  <c:pt idx="49">
                    <c:v>Jun</c:v>
                  </c:pt>
                  <c:pt idx="50">
                    <c:v>Jul</c:v>
                  </c:pt>
                  <c:pt idx="51">
                    <c:v>Aug</c:v>
                  </c:pt>
                  <c:pt idx="52">
                    <c:v>Sep</c:v>
                  </c:pt>
                  <c:pt idx="53">
                    <c:v>Oct</c:v>
                  </c:pt>
                  <c:pt idx="54">
                    <c:v>Nov</c:v>
                  </c:pt>
                  <c:pt idx="55">
                    <c:v>Dec</c:v>
                  </c:pt>
                  <c:pt idx="56">
                    <c:v>Jan</c:v>
                  </c:pt>
                  <c:pt idx="57">
                    <c:v>Feb</c:v>
                  </c:pt>
                  <c:pt idx="58">
                    <c:v>Mar</c:v>
                  </c:pt>
                  <c:pt idx="59">
                    <c:v>Apr</c:v>
                  </c:pt>
                  <c:pt idx="60">
                    <c:v>May</c:v>
                  </c:pt>
                  <c:pt idx="61">
                    <c:v>June</c:v>
                  </c:pt>
                  <c:pt idx="62">
                    <c:v>Jun</c:v>
                  </c:pt>
                  <c:pt idx="63">
                    <c:v>Aug</c:v>
                  </c:pt>
                  <c:pt idx="64">
                    <c:v>Sep</c:v>
                  </c:pt>
                  <c:pt idx="65">
                    <c:v>Oct</c:v>
                  </c:pt>
                  <c:pt idx="66">
                    <c:v>Nov</c:v>
                  </c:pt>
                  <c:pt idx="67">
                    <c:v>Dec</c:v>
                  </c:pt>
                  <c:pt idx="68">
                    <c:v>Jan</c:v>
                  </c:pt>
                  <c:pt idx="69">
                    <c:v>Feb</c:v>
                  </c:pt>
                  <c:pt idx="70">
                    <c:v>Mar</c:v>
                  </c:pt>
                </c:lvl>
                <c:lvl>
                  <c:pt idx="11">
                    <c:v>FY18</c:v>
                  </c:pt>
                  <c:pt idx="23">
                    <c:v>FY19</c:v>
                  </c:pt>
                  <c:pt idx="35">
                    <c:v>FY20</c:v>
                  </c:pt>
                  <c:pt idx="47">
                    <c:v>FY21</c:v>
                  </c:pt>
                  <c:pt idx="59">
                    <c:v>FY22</c:v>
                  </c:pt>
                </c:lvl>
              </c:multiLvlStrCache>
            </c:multiLvlStrRef>
          </c:cat>
          <c:val>
            <c:numRef>
              <c:f>'Call money,MCLR,PV rate'!$P$7:$P$77</c:f>
              <c:numCache>
                <c:formatCode>0</c:formatCode>
                <c:ptCount val="71"/>
                <c:pt idx="0">
                  <c:v>650</c:v>
                </c:pt>
                <c:pt idx="1">
                  <c:v>650</c:v>
                </c:pt>
                <c:pt idx="2">
                  <c:v>650</c:v>
                </c:pt>
                <c:pt idx="3">
                  <c:v>650</c:v>
                </c:pt>
                <c:pt idx="4">
                  <c:v>650</c:v>
                </c:pt>
                <c:pt idx="5">
                  <c:v>625</c:v>
                </c:pt>
                <c:pt idx="6">
                  <c:v>625</c:v>
                </c:pt>
                <c:pt idx="7">
                  <c:v>625</c:v>
                </c:pt>
                <c:pt idx="8">
                  <c:v>625</c:v>
                </c:pt>
                <c:pt idx="9">
                  <c:v>625</c:v>
                </c:pt>
                <c:pt idx="10">
                  <c:v>625</c:v>
                </c:pt>
                <c:pt idx="11">
                  <c:v>625</c:v>
                </c:pt>
                <c:pt idx="12">
                  <c:v>625</c:v>
                </c:pt>
                <c:pt idx="13">
                  <c:v>625</c:v>
                </c:pt>
                <c:pt idx="14">
                  <c:v>625</c:v>
                </c:pt>
                <c:pt idx="15">
                  <c:v>600</c:v>
                </c:pt>
                <c:pt idx="16">
                  <c:v>600</c:v>
                </c:pt>
                <c:pt idx="17">
                  <c:v>600</c:v>
                </c:pt>
                <c:pt idx="18">
                  <c:v>600</c:v>
                </c:pt>
                <c:pt idx="19">
                  <c:v>600</c:v>
                </c:pt>
                <c:pt idx="20">
                  <c:v>600</c:v>
                </c:pt>
                <c:pt idx="21">
                  <c:v>600</c:v>
                </c:pt>
                <c:pt idx="22">
                  <c:v>600</c:v>
                </c:pt>
                <c:pt idx="23">
                  <c:v>600</c:v>
                </c:pt>
                <c:pt idx="24">
                  <c:v>600</c:v>
                </c:pt>
                <c:pt idx="25">
                  <c:v>620</c:v>
                </c:pt>
                <c:pt idx="26">
                  <c:v>625</c:v>
                </c:pt>
                <c:pt idx="27">
                  <c:v>650</c:v>
                </c:pt>
                <c:pt idx="28">
                  <c:v>650</c:v>
                </c:pt>
                <c:pt idx="29">
                  <c:v>650</c:v>
                </c:pt>
                <c:pt idx="30">
                  <c:v>650</c:v>
                </c:pt>
                <c:pt idx="31">
                  <c:v>650</c:v>
                </c:pt>
                <c:pt idx="32">
                  <c:v>650</c:v>
                </c:pt>
                <c:pt idx="33">
                  <c:v>631.25</c:v>
                </c:pt>
                <c:pt idx="34">
                  <c:v>625</c:v>
                </c:pt>
                <c:pt idx="35">
                  <c:v>600</c:v>
                </c:pt>
                <c:pt idx="36">
                  <c:v>600</c:v>
                </c:pt>
                <c:pt idx="37">
                  <c:v>575</c:v>
                </c:pt>
                <c:pt idx="38">
                  <c:v>575</c:v>
                </c:pt>
                <c:pt idx="39">
                  <c:v>547</c:v>
                </c:pt>
                <c:pt idx="40">
                  <c:v>540.00000000000011</c:v>
                </c:pt>
                <c:pt idx="41">
                  <c:v>515</c:v>
                </c:pt>
                <c:pt idx="42">
                  <c:v>515</c:v>
                </c:pt>
                <c:pt idx="43">
                  <c:v>515</c:v>
                </c:pt>
                <c:pt idx="44">
                  <c:v>515</c:v>
                </c:pt>
                <c:pt idx="45">
                  <c:v>515</c:v>
                </c:pt>
                <c:pt idx="46">
                  <c:v>496.25</c:v>
                </c:pt>
                <c:pt idx="47">
                  <c:v>440.00000000000006</c:v>
                </c:pt>
                <c:pt idx="48">
                  <c:v>424</c:v>
                </c:pt>
                <c:pt idx="49">
                  <c:v>400</c:v>
                </c:pt>
                <c:pt idx="50">
                  <c:v>400</c:v>
                </c:pt>
                <c:pt idx="51">
                  <c:v>400</c:v>
                </c:pt>
                <c:pt idx="52">
                  <c:v>400</c:v>
                </c:pt>
                <c:pt idx="53">
                  <c:v>400</c:v>
                </c:pt>
                <c:pt idx="54">
                  <c:v>400</c:v>
                </c:pt>
                <c:pt idx="55">
                  <c:v>400</c:v>
                </c:pt>
                <c:pt idx="56">
                  <c:v>400</c:v>
                </c:pt>
                <c:pt idx="57">
                  <c:v>400</c:v>
                </c:pt>
                <c:pt idx="58">
                  <c:v>400</c:v>
                </c:pt>
                <c:pt idx="59">
                  <c:v>400</c:v>
                </c:pt>
                <c:pt idx="60">
                  <c:v>400</c:v>
                </c:pt>
                <c:pt idx="61">
                  <c:v>400</c:v>
                </c:pt>
                <c:pt idx="62">
                  <c:v>400</c:v>
                </c:pt>
                <c:pt idx="63">
                  <c:v>400</c:v>
                </c:pt>
                <c:pt idx="64">
                  <c:v>400</c:v>
                </c:pt>
                <c:pt idx="65">
                  <c:v>400</c:v>
                </c:pt>
                <c:pt idx="66">
                  <c:v>400</c:v>
                </c:pt>
                <c:pt idx="67">
                  <c:v>400</c:v>
                </c:pt>
                <c:pt idx="68">
                  <c:v>400</c:v>
                </c:pt>
                <c:pt idx="69">
                  <c:v>400</c:v>
                </c:pt>
                <c:pt idx="70">
                  <c:v>400</c:v>
                </c:pt>
              </c:numCache>
            </c:numRef>
          </c:val>
          <c:extLst>
            <c:ext xmlns:c16="http://schemas.microsoft.com/office/drawing/2014/chart" uri="{C3380CC4-5D6E-409C-BE32-E72D297353CC}">
              <c16:uniqueId val="{00000000-5475-478A-89E3-BFD2A5EC0ADA}"/>
            </c:ext>
          </c:extLst>
        </c:ser>
        <c:ser>
          <c:idx val="5"/>
          <c:order val="4"/>
          <c:tx>
            <c:strRef>
              <c:f>'Call money,MCLR,PV rate'!$Q$5</c:f>
              <c:strCache>
                <c:ptCount val="1"/>
                <c:pt idx="0">
                  <c:v>Repo-MCLR spread (bps)</c:v>
                </c:pt>
              </c:strCache>
            </c:strRef>
          </c:tx>
          <c:spPr>
            <a:solidFill>
              <a:schemeClr val="bg1">
                <a:lumMod val="95000"/>
              </a:schemeClr>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all money,MCLR,PV rate'!$J$7:$K$77</c:f>
              <c:multiLvlStrCache>
                <c:ptCount val="71"/>
                <c:lvl>
                  <c:pt idx="0">
                    <c:v>May</c:v>
                  </c:pt>
                  <c:pt idx="1">
                    <c:v>Jun</c:v>
                  </c:pt>
                  <c:pt idx="2">
                    <c:v>Jul</c:v>
                  </c:pt>
                  <c:pt idx="3">
                    <c:v>Aug</c:v>
                  </c:pt>
                  <c:pt idx="4">
                    <c:v>Sep</c:v>
                  </c:pt>
                  <c:pt idx="5">
                    <c:v>Oct</c:v>
                  </c:pt>
                  <c:pt idx="6">
                    <c:v>Nov</c:v>
                  </c:pt>
                  <c:pt idx="7">
                    <c:v>Dec</c:v>
                  </c:pt>
                  <c:pt idx="8">
                    <c:v>Jan</c:v>
                  </c:pt>
                  <c:pt idx="9">
                    <c:v>Feb</c:v>
                  </c:pt>
                  <c:pt idx="10">
                    <c:v>Mar</c:v>
                  </c:pt>
                  <c:pt idx="11">
                    <c:v>Apr</c:v>
                  </c:pt>
                  <c:pt idx="12">
                    <c:v>May</c:v>
                  </c:pt>
                  <c:pt idx="13">
                    <c:v>Jun</c:v>
                  </c:pt>
                  <c:pt idx="14">
                    <c:v>Jul</c:v>
                  </c:pt>
                  <c:pt idx="15">
                    <c:v>Aug</c:v>
                  </c:pt>
                  <c:pt idx="16">
                    <c:v>Sep</c:v>
                  </c:pt>
                  <c:pt idx="17">
                    <c:v>Oct</c:v>
                  </c:pt>
                  <c:pt idx="18">
                    <c:v>Nov</c:v>
                  </c:pt>
                  <c:pt idx="19">
                    <c:v>Dec</c:v>
                  </c:pt>
                  <c:pt idx="20">
                    <c:v>Jan</c:v>
                  </c:pt>
                  <c:pt idx="21">
                    <c:v>Feb</c:v>
                  </c:pt>
                  <c:pt idx="22">
                    <c:v>Mar</c:v>
                  </c:pt>
                  <c:pt idx="23">
                    <c:v>Apr</c:v>
                  </c:pt>
                  <c:pt idx="24">
                    <c:v>May</c:v>
                  </c:pt>
                  <c:pt idx="25">
                    <c:v>Jun</c:v>
                  </c:pt>
                  <c:pt idx="26">
                    <c:v>Jul</c:v>
                  </c:pt>
                  <c:pt idx="27">
                    <c:v>Aug</c:v>
                  </c:pt>
                  <c:pt idx="28">
                    <c:v>Sep</c:v>
                  </c:pt>
                  <c:pt idx="29">
                    <c:v>Oct</c:v>
                  </c:pt>
                  <c:pt idx="30">
                    <c:v>Nov</c:v>
                  </c:pt>
                  <c:pt idx="31">
                    <c:v>Dec</c:v>
                  </c:pt>
                  <c:pt idx="32">
                    <c:v>Jan</c:v>
                  </c:pt>
                  <c:pt idx="33">
                    <c:v>Feb</c:v>
                  </c:pt>
                  <c:pt idx="34">
                    <c:v>Mar</c:v>
                  </c:pt>
                  <c:pt idx="35">
                    <c:v>Apr</c:v>
                  </c:pt>
                  <c:pt idx="36">
                    <c:v>May</c:v>
                  </c:pt>
                  <c:pt idx="37">
                    <c:v>Jun</c:v>
                  </c:pt>
                  <c:pt idx="38">
                    <c:v>Jul</c:v>
                  </c:pt>
                  <c:pt idx="39">
                    <c:v>Aug</c:v>
                  </c:pt>
                  <c:pt idx="40">
                    <c:v>Sep</c:v>
                  </c:pt>
                  <c:pt idx="41">
                    <c:v>Oct</c:v>
                  </c:pt>
                  <c:pt idx="42">
                    <c:v>Nov</c:v>
                  </c:pt>
                  <c:pt idx="43">
                    <c:v>Dec</c:v>
                  </c:pt>
                  <c:pt idx="44">
                    <c:v>Jan</c:v>
                  </c:pt>
                  <c:pt idx="45">
                    <c:v>Feb</c:v>
                  </c:pt>
                  <c:pt idx="46">
                    <c:v>Mar</c:v>
                  </c:pt>
                  <c:pt idx="47">
                    <c:v>Apr</c:v>
                  </c:pt>
                  <c:pt idx="48">
                    <c:v>May</c:v>
                  </c:pt>
                  <c:pt idx="49">
                    <c:v>Jun</c:v>
                  </c:pt>
                  <c:pt idx="50">
                    <c:v>Jul</c:v>
                  </c:pt>
                  <c:pt idx="51">
                    <c:v>Aug</c:v>
                  </c:pt>
                  <c:pt idx="52">
                    <c:v>Sep</c:v>
                  </c:pt>
                  <c:pt idx="53">
                    <c:v>Oct</c:v>
                  </c:pt>
                  <c:pt idx="54">
                    <c:v>Nov</c:v>
                  </c:pt>
                  <c:pt idx="55">
                    <c:v>Dec</c:v>
                  </c:pt>
                  <c:pt idx="56">
                    <c:v>Jan</c:v>
                  </c:pt>
                  <c:pt idx="57">
                    <c:v>Feb</c:v>
                  </c:pt>
                  <c:pt idx="58">
                    <c:v>Mar</c:v>
                  </c:pt>
                  <c:pt idx="59">
                    <c:v>Apr</c:v>
                  </c:pt>
                  <c:pt idx="60">
                    <c:v>May</c:v>
                  </c:pt>
                  <c:pt idx="61">
                    <c:v>June</c:v>
                  </c:pt>
                  <c:pt idx="62">
                    <c:v>Jun</c:v>
                  </c:pt>
                  <c:pt idx="63">
                    <c:v>Aug</c:v>
                  </c:pt>
                  <c:pt idx="64">
                    <c:v>Sep</c:v>
                  </c:pt>
                  <c:pt idx="65">
                    <c:v>Oct</c:v>
                  </c:pt>
                  <c:pt idx="66">
                    <c:v>Nov</c:v>
                  </c:pt>
                  <c:pt idx="67">
                    <c:v>Dec</c:v>
                  </c:pt>
                  <c:pt idx="68">
                    <c:v>Jan</c:v>
                  </c:pt>
                  <c:pt idx="69">
                    <c:v>Feb</c:v>
                  </c:pt>
                  <c:pt idx="70">
                    <c:v>Mar</c:v>
                  </c:pt>
                </c:lvl>
                <c:lvl>
                  <c:pt idx="11">
                    <c:v>FY18</c:v>
                  </c:pt>
                  <c:pt idx="23">
                    <c:v>FY19</c:v>
                  </c:pt>
                  <c:pt idx="35">
                    <c:v>FY20</c:v>
                  </c:pt>
                  <c:pt idx="47">
                    <c:v>FY21</c:v>
                  </c:pt>
                  <c:pt idx="59">
                    <c:v>FY22</c:v>
                  </c:pt>
                </c:lvl>
              </c:multiLvlStrCache>
            </c:multiLvlStrRef>
          </c:cat>
          <c:val>
            <c:numRef>
              <c:f>'Call money,MCLR,PV rate'!$Q$7:$Q$77</c:f>
              <c:numCache>
                <c:formatCode>0</c:formatCode>
                <c:ptCount val="71"/>
                <c:pt idx="0">
                  <c:v>276.49999999999983</c:v>
                </c:pt>
                <c:pt idx="1">
                  <c:v>275.49999999999989</c:v>
                </c:pt>
                <c:pt idx="2">
                  <c:v>276.49999999999983</c:v>
                </c:pt>
                <c:pt idx="3">
                  <c:v>273.99999999999994</c:v>
                </c:pt>
                <c:pt idx="4">
                  <c:v>272.49999999999994</c:v>
                </c:pt>
                <c:pt idx="5">
                  <c:v>295.50000000000006</c:v>
                </c:pt>
                <c:pt idx="6">
                  <c:v>288.5</c:v>
                </c:pt>
                <c:pt idx="7">
                  <c:v>277</c:v>
                </c:pt>
                <c:pt idx="8">
                  <c:v>243.00000000000003</c:v>
                </c:pt>
                <c:pt idx="9">
                  <c:v>200.99999999999991</c:v>
                </c:pt>
                <c:pt idx="10">
                  <c:v>200.49999999999986</c:v>
                </c:pt>
                <c:pt idx="11">
                  <c:v>200.49999999999986</c:v>
                </c:pt>
                <c:pt idx="12">
                  <c:v>199.50000000000009</c:v>
                </c:pt>
                <c:pt idx="13">
                  <c:v>197.50000000000017</c:v>
                </c:pt>
                <c:pt idx="14">
                  <c:v>195.50000000000011</c:v>
                </c:pt>
                <c:pt idx="15">
                  <c:v>219.50000000000011</c:v>
                </c:pt>
                <c:pt idx="16">
                  <c:v>219.50000000000011</c:v>
                </c:pt>
                <c:pt idx="17">
                  <c:v>213.49999999999994</c:v>
                </c:pt>
                <c:pt idx="18">
                  <c:v>212.50000000000006</c:v>
                </c:pt>
                <c:pt idx="19">
                  <c:v>211.99999999999997</c:v>
                </c:pt>
                <c:pt idx="20">
                  <c:v>212.50000000000006</c:v>
                </c:pt>
                <c:pt idx="21">
                  <c:v>214.00000000000003</c:v>
                </c:pt>
                <c:pt idx="22">
                  <c:v>218.50000000000009</c:v>
                </c:pt>
                <c:pt idx="23">
                  <c:v>223</c:v>
                </c:pt>
                <c:pt idx="24">
                  <c:v>225.49999999999986</c:v>
                </c:pt>
                <c:pt idx="25">
                  <c:v>211.50000000000003</c:v>
                </c:pt>
                <c:pt idx="26">
                  <c:v>211.99999999999997</c:v>
                </c:pt>
                <c:pt idx="27">
                  <c:v>187.99999999999983</c:v>
                </c:pt>
                <c:pt idx="28">
                  <c:v>191.99999999999994</c:v>
                </c:pt>
                <c:pt idx="29">
                  <c:v>200.00000000000017</c:v>
                </c:pt>
                <c:pt idx="30">
                  <c:v>203.99999999999989</c:v>
                </c:pt>
                <c:pt idx="31">
                  <c:v>208.49999999999966</c:v>
                </c:pt>
                <c:pt idx="32">
                  <c:v>209.49999999999983</c:v>
                </c:pt>
                <c:pt idx="33">
                  <c:v>228.74999999999991</c:v>
                </c:pt>
                <c:pt idx="34">
                  <c:v>235.99999999999997</c:v>
                </c:pt>
                <c:pt idx="35">
                  <c:v>259.49999999999989</c:v>
                </c:pt>
                <c:pt idx="36">
                  <c:v>257.49999999999994</c:v>
                </c:pt>
                <c:pt idx="37">
                  <c:v>283.49999999999966</c:v>
                </c:pt>
                <c:pt idx="38">
                  <c:v>280.00000000000006</c:v>
                </c:pt>
                <c:pt idx="39">
                  <c:v>302.99999999999972</c:v>
                </c:pt>
                <c:pt idx="40">
                  <c:v>299.49999999999989</c:v>
                </c:pt>
                <c:pt idx="41">
                  <c:v>318.00000000000011</c:v>
                </c:pt>
                <c:pt idx="42">
                  <c:v>307.99999999999994</c:v>
                </c:pt>
                <c:pt idx="43">
                  <c:v>302.49999999999983</c:v>
                </c:pt>
                <c:pt idx="44">
                  <c:v>294.99999999999972</c:v>
                </c:pt>
                <c:pt idx="45">
                  <c:v>293.99999999999994</c:v>
                </c:pt>
                <c:pt idx="46">
                  <c:v>306.74999999999994</c:v>
                </c:pt>
                <c:pt idx="47">
                  <c:v>355.99999999999989</c:v>
                </c:pt>
                <c:pt idx="48">
                  <c:v>351</c:v>
                </c:pt>
                <c:pt idx="49">
                  <c:v>362.99999999999994</c:v>
                </c:pt>
                <c:pt idx="50">
                  <c:v>350.50000000000006</c:v>
                </c:pt>
                <c:pt idx="51">
                  <c:v>337</c:v>
                </c:pt>
                <c:pt idx="52">
                  <c:v>332</c:v>
                </c:pt>
                <c:pt idx="53">
                  <c:v>327</c:v>
                </c:pt>
                <c:pt idx="54">
                  <c:v>324.00000000000006</c:v>
                </c:pt>
                <c:pt idx="55">
                  <c:v>322</c:v>
                </c:pt>
                <c:pt idx="56">
                  <c:v>320.99999999999994</c:v>
                </c:pt>
                <c:pt idx="57">
                  <c:v>320.00000000000006</c:v>
                </c:pt>
                <c:pt idx="58">
                  <c:v>320.00000000000006</c:v>
                </c:pt>
                <c:pt idx="59">
                  <c:v>318</c:v>
                </c:pt>
                <c:pt idx="60">
                  <c:v>318</c:v>
                </c:pt>
                <c:pt idx="61">
                  <c:v>317</c:v>
                </c:pt>
                <c:pt idx="62">
                  <c:v>315.99999999999994</c:v>
                </c:pt>
                <c:pt idx="63">
                  <c:v>315.99999999999994</c:v>
                </c:pt>
                <c:pt idx="64">
                  <c:v>315.00000000000006</c:v>
                </c:pt>
                <c:pt idx="65">
                  <c:v>313.99999999999989</c:v>
                </c:pt>
                <c:pt idx="66">
                  <c:v>313</c:v>
                </c:pt>
                <c:pt idx="67">
                  <c:v>313</c:v>
                </c:pt>
                <c:pt idx="68">
                  <c:v>312.49999999999994</c:v>
                </c:pt>
                <c:pt idx="69">
                  <c:v>312.49999999999994</c:v>
                </c:pt>
                <c:pt idx="70">
                  <c:v>312.49999999999994</c:v>
                </c:pt>
              </c:numCache>
            </c:numRef>
          </c:val>
          <c:extLst>
            <c:ext xmlns:c16="http://schemas.microsoft.com/office/drawing/2014/chart" uri="{C3380CC4-5D6E-409C-BE32-E72D297353CC}">
              <c16:uniqueId val="{00000001-5475-478A-89E3-BFD2A5EC0ADA}"/>
            </c:ext>
          </c:extLst>
        </c:ser>
        <c:ser>
          <c:idx val="6"/>
          <c:order val="5"/>
          <c:tx>
            <c:strRef>
              <c:f>'Call money,MCLR,PV rate'!$R$5</c:f>
              <c:strCache>
                <c:ptCount val="1"/>
                <c:pt idx="0">
                  <c:v>PV rate-MCLR spread (bps)</c:v>
                </c:pt>
              </c:strCache>
            </c:strRef>
          </c:tx>
          <c:spPr>
            <a:solidFill>
              <a:schemeClr val="accent2">
                <a:lumMod val="20000"/>
                <a:lumOff val="80000"/>
              </a:schemeClr>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all money,MCLR,PV rate'!$J$7:$K$77</c:f>
              <c:multiLvlStrCache>
                <c:ptCount val="71"/>
                <c:lvl>
                  <c:pt idx="0">
                    <c:v>May</c:v>
                  </c:pt>
                  <c:pt idx="1">
                    <c:v>Jun</c:v>
                  </c:pt>
                  <c:pt idx="2">
                    <c:v>Jul</c:v>
                  </c:pt>
                  <c:pt idx="3">
                    <c:v>Aug</c:v>
                  </c:pt>
                  <c:pt idx="4">
                    <c:v>Sep</c:v>
                  </c:pt>
                  <c:pt idx="5">
                    <c:v>Oct</c:v>
                  </c:pt>
                  <c:pt idx="6">
                    <c:v>Nov</c:v>
                  </c:pt>
                  <c:pt idx="7">
                    <c:v>Dec</c:v>
                  </c:pt>
                  <c:pt idx="8">
                    <c:v>Jan</c:v>
                  </c:pt>
                  <c:pt idx="9">
                    <c:v>Feb</c:v>
                  </c:pt>
                  <c:pt idx="10">
                    <c:v>Mar</c:v>
                  </c:pt>
                  <c:pt idx="11">
                    <c:v>Apr</c:v>
                  </c:pt>
                  <c:pt idx="12">
                    <c:v>May</c:v>
                  </c:pt>
                  <c:pt idx="13">
                    <c:v>Jun</c:v>
                  </c:pt>
                  <c:pt idx="14">
                    <c:v>Jul</c:v>
                  </c:pt>
                  <c:pt idx="15">
                    <c:v>Aug</c:v>
                  </c:pt>
                  <c:pt idx="16">
                    <c:v>Sep</c:v>
                  </c:pt>
                  <c:pt idx="17">
                    <c:v>Oct</c:v>
                  </c:pt>
                  <c:pt idx="18">
                    <c:v>Nov</c:v>
                  </c:pt>
                  <c:pt idx="19">
                    <c:v>Dec</c:v>
                  </c:pt>
                  <c:pt idx="20">
                    <c:v>Jan</c:v>
                  </c:pt>
                  <c:pt idx="21">
                    <c:v>Feb</c:v>
                  </c:pt>
                  <c:pt idx="22">
                    <c:v>Mar</c:v>
                  </c:pt>
                  <c:pt idx="23">
                    <c:v>Apr</c:v>
                  </c:pt>
                  <c:pt idx="24">
                    <c:v>May</c:v>
                  </c:pt>
                  <c:pt idx="25">
                    <c:v>Jun</c:v>
                  </c:pt>
                  <c:pt idx="26">
                    <c:v>Jul</c:v>
                  </c:pt>
                  <c:pt idx="27">
                    <c:v>Aug</c:v>
                  </c:pt>
                  <c:pt idx="28">
                    <c:v>Sep</c:v>
                  </c:pt>
                  <c:pt idx="29">
                    <c:v>Oct</c:v>
                  </c:pt>
                  <c:pt idx="30">
                    <c:v>Nov</c:v>
                  </c:pt>
                  <c:pt idx="31">
                    <c:v>Dec</c:v>
                  </c:pt>
                  <c:pt idx="32">
                    <c:v>Jan</c:v>
                  </c:pt>
                  <c:pt idx="33">
                    <c:v>Feb</c:v>
                  </c:pt>
                  <c:pt idx="34">
                    <c:v>Mar</c:v>
                  </c:pt>
                  <c:pt idx="35">
                    <c:v>Apr</c:v>
                  </c:pt>
                  <c:pt idx="36">
                    <c:v>May</c:v>
                  </c:pt>
                  <c:pt idx="37">
                    <c:v>Jun</c:v>
                  </c:pt>
                  <c:pt idx="38">
                    <c:v>Jul</c:v>
                  </c:pt>
                  <c:pt idx="39">
                    <c:v>Aug</c:v>
                  </c:pt>
                  <c:pt idx="40">
                    <c:v>Sep</c:v>
                  </c:pt>
                  <c:pt idx="41">
                    <c:v>Oct</c:v>
                  </c:pt>
                  <c:pt idx="42">
                    <c:v>Nov</c:v>
                  </c:pt>
                  <c:pt idx="43">
                    <c:v>Dec</c:v>
                  </c:pt>
                  <c:pt idx="44">
                    <c:v>Jan</c:v>
                  </c:pt>
                  <c:pt idx="45">
                    <c:v>Feb</c:v>
                  </c:pt>
                  <c:pt idx="46">
                    <c:v>Mar</c:v>
                  </c:pt>
                  <c:pt idx="47">
                    <c:v>Apr</c:v>
                  </c:pt>
                  <c:pt idx="48">
                    <c:v>May</c:v>
                  </c:pt>
                  <c:pt idx="49">
                    <c:v>Jun</c:v>
                  </c:pt>
                  <c:pt idx="50">
                    <c:v>Jul</c:v>
                  </c:pt>
                  <c:pt idx="51">
                    <c:v>Aug</c:v>
                  </c:pt>
                  <c:pt idx="52">
                    <c:v>Sep</c:v>
                  </c:pt>
                  <c:pt idx="53">
                    <c:v>Oct</c:v>
                  </c:pt>
                  <c:pt idx="54">
                    <c:v>Nov</c:v>
                  </c:pt>
                  <c:pt idx="55">
                    <c:v>Dec</c:v>
                  </c:pt>
                  <c:pt idx="56">
                    <c:v>Jan</c:v>
                  </c:pt>
                  <c:pt idx="57">
                    <c:v>Feb</c:v>
                  </c:pt>
                  <c:pt idx="58">
                    <c:v>Mar</c:v>
                  </c:pt>
                  <c:pt idx="59">
                    <c:v>Apr</c:v>
                  </c:pt>
                  <c:pt idx="60">
                    <c:v>May</c:v>
                  </c:pt>
                  <c:pt idx="61">
                    <c:v>June</c:v>
                  </c:pt>
                  <c:pt idx="62">
                    <c:v>Jun</c:v>
                  </c:pt>
                  <c:pt idx="63">
                    <c:v>Aug</c:v>
                  </c:pt>
                  <c:pt idx="64">
                    <c:v>Sep</c:v>
                  </c:pt>
                  <c:pt idx="65">
                    <c:v>Oct</c:v>
                  </c:pt>
                  <c:pt idx="66">
                    <c:v>Nov</c:v>
                  </c:pt>
                  <c:pt idx="67">
                    <c:v>Dec</c:v>
                  </c:pt>
                  <c:pt idx="68">
                    <c:v>Jan</c:v>
                  </c:pt>
                  <c:pt idx="69">
                    <c:v>Feb</c:v>
                  </c:pt>
                  <c:pt idx="70">
                    <c:v>Mar</c:v>
                  </c:pt>
                </c:lvl>
                <c:lvl>
                  <c:pt idx="11">
                    <c:v>FY18</c:v>
                  </c:pt>
                  <c:pt idx="23">
                    <c:v>FY19</c:v>
                  </c:pt>
                  <c:pt idx="35">
                    <c:v>FY20</c:v>
                  </c:pt>
                  <c:pt idx="47">
                    <c:v>FY21</c:v>
                  </c:pt>
                  <c:pt idx="59">
                    <c:v>FY22</c:v>
                  </c:pt>
                </c:lvl>
              </c:multiLvlStrCache>
            </c:multiLvlStrRef>
          </c:cat>
          <c:val>
            <c:numRef>
              <c:f>'Call money,MCLR,PV rate'!$R$7:$R$77</c:f>
              <c:numCache>
                <c:formatCode>0</c:formatCode>
                <c:ptCount val="71"/>
                <c:pt idx="0">
                  <c:v>80.500000000000156</c:v>
                </c:pt>
                <c:pt idx="1">
                  <c:v>77.500000000000071</c:v>
                </c:pt>
                <c:pt idx="2">
                  <c:v>70.500000000000142</c:v>
                </c:pt>
                <c:pt idx="3">
                  <c:v>73.000000000000014</c:v>
                </c:pt>
                <c:pt idx="4">
                  <c:v>70.5</c:v>
                </c:pt>
                <c:pt idx="5">
                  <c:v>67.499999999999915</c:v>
                </c:pt>
                <c:pt idx="6">
                  <c:v>72.499999999999929</c:v>
                </c:pt>
                <c:pt idx="7">
                  <c:v>79.999999999999929</c:v>
                </c:pt>
                <c:pt idx="8">
                  <c:v>68</c:v>
                </c:pt>
                <c:pt idx="9">
                  <c:v>106.00000000000013</c:v>
                </c:pt>
                <c:pt idx="10">
                  <c:v>109.50000000000016</c:v>
                </c:pt>
                <c:pt idx="11">
                  <c:v>105.50000000000017</c:v>
                </c:pt>
                <c:pt idx="12">
                  <c:v>104.49999999999987</c:v>
                </c:pt>
                <c:pt idx="13">
                  <c:v>105.49999999999976</c:v>
                </c:pt>
                <c:pt idx="14">
                  <c:v>108.49999999999984</c:v>
                </c:pt>
                <c:pt idx="15">
                  <c:v>109.49999999999987</c:v>
                </c:pt>
                <c:pt idx="16">
                  <c:v>102.49999999999996</c:v>
                </c:pt>
                <c:pt idx="17">
                  <c:v>106.50000000000007</c:v>
                </c:pt>
                <c:pt idx="18">
                  <c:v>104.50000000000001</c:v>
                </c:pt>
                <c:pt idx="19">
                  <c:v>105.0000000000001</c:v>
                </c:pt>
                <c:pt idx="20">
                  <c:v>96.499999999999915</c:v>
                </c:pt>
                <c:pt idx="21">
                  <c:v>92</c:v>
                </c:pt>
                <c:pt idx="22">
                  <c:v>92.499999999999943</c:v>
                </c:pt>
                <c:pt idx="23">
                  <c:v>100.99999999999997</c:v>
                </c:pt>
                <c:pt idx="24">
                  <c:v>98.500000000000114</c:v>
                </c:pt>
                <c:pt idx="25">
                  <c:v>96.499999999999915</c:v>
                </c:pt>
                <c:pt idx="26">
                  <c:v>94.000000000000057</c:v>
                </c:pt>
                <c:pt idx="27">
                  <c:v>90.000000000000085</c:v>
                </c:pt>
                <c:pt idx="28">
                  <c:v>90.999999999999972</c:v>
                </c:pt>
                <c:pt idx="29">
                  <c:v>88.999999999999773</c:v>
                </c:pt>
                <c:pt idx="30">
                  <c:v>85.000000000000071</c:v>
                </c:pt>
                <c:pt idx="31">
                  <c:v>82.500000000000355</c:v>
                </c:pt>
                <c:pt idx="32">
                  <c:v>85.500000000000156</c:v>
                </c:pt>
                <c:pt idx="33">
                  <c:v>85.000000000000071</c:v>
                </c:pt>
                <c:pt idx="34">
                  <c:v>81.999999999999986</c:v>
                </c:pt>
                <c:pt idx="35">
                  <c:v>83.500000000000099</c:v>
                </c:pt>
                <c:pt idx="36">
                  <c:v>88.500000000000099</c:v>
                </c:pt>
                <c:pt idx="37">
                  <c:v>85.500000000000298</c:v>
                </c:pt>
                <c:pt idx="38">
                  <c:v>81.999999999999986</c:v>
                </c:pt>
                <c:pt idx="39">
                  <c:v>80.000000000000213</c:v>
                </c:pt>
                <c:pt idx="40">
                  <c:v>81.500000000000043</c:v>
                </c:pt>
                <c:pt idx="41">
                  <c:v>75.999999999999815</c:v>
                </c:pt>
                <c:pt idx="42">
                  <c:v>80.000000000000071</c:v>
                </c:pt>
                <c:pt idx="43">
                  <c:v>78.500000000000099</c:v>
                </c:pt>
                <c:pt idx="44">
                  <c:v>82.00000000000027</c:v>
                </c:pt>
                <c:pt idx="45">
                  <c:v>83.000000000000014</c:v>
                </c:pt>
                <c:pt idx="46">
                  <c:v>81.000000000000099</c:v>
                </c:pt>
                <c:pt idx="47">
                  <c:v>43.000000000000121</c:v>
                </c:pt>
                <c:pt idx="48">
                  <c:v>60.000000000000057</c:v>
                </c:pt>
                <c:pt idx="49">
                  <c:v>52.000000000000099</c:v>
                </c:pt>
                <c:pt idx="50">
                  <c:v>59.499999999999972</c:v>
                </c:pt>
                <c:pt idx="51">
                  <c:v>73.000000000000014</c:v>
                </c:pt>
                <c:pt idx="52">
                  <c:v>78.000000000000014</c:v>
                </c:pt>
                <c:pt idx="53">
                  <c:v>71.999999999999986</c:v>
                </c:pt>
                <c:pt idx="54">
                  <c:v>74.999999999999929</c:v>
                </c:pt>
                <c:pt idx="55">
                  <c:v>74.000000000000043</c:v>
                </c:pt>
                <c:pt idx="56">
                  <c:v>75.000000000000071</c:v>
                </c:pt>
                <c:pt idx="57">
                  <c:v>75.999999999999957</c:v>
                </c:pt>
                <c:pt idx="58">
                  <c:v>75.999999999999957</c:v>
                </c:pt>
                <c:pt idx="59">
                  <c:v>61.999999999999972</c:v>
                </c:pt>
                <c:pt idx="60">
                  <c:v>61.999999999999972</c:v>
                </c:pt>
                <c:pt idx="61">
                  <c:v>63</c:v>
                </c:pt>
                <c:pt idx="62">
                  <c:v>64.000000000000028</c:v>
                </c:pt>
                <c:pt idx="63">
                  <c:v>64.000000000000028</c:v>
                </c:pt>
                <c:pt idx="64">
                  <c:v>64.999999999999915</c:v>
                </c:pt>
                <c:pt idx="65">
                  <c:v>57.000000000000107</c:v>
                </c:pt>
                <c:pt idx="66">
                  <c:v>57.999999999999993</c:v>
                </c:pt>
                <c:pt idx="67">
                  <c:v>46.999999999999957</c:v>
                </c:pt>
                <c:pt idx="68">
                  <c:v>47.500000000000043</c:v>
                </c:pt>
                <c:pt idx="69">
                  <c:v>47.500000000000043</c:v>
                </c:pt>
                <c:pt idx="70">
                  <c:v>47.500000000000043</c:v>
                </c:pt>
              </c:numCache>
            </c:numRef>
          </c:val>
          <c:extLst>
            <c:ext xmlns:c16="http://schemas.microsoft.com/office/drawing/2014/chart" uri="{C3380CC4-5D6E-409C-BE32-E72D297353CC}">
              <c16:uniqueId val="{00000002-5475-478A-89E3-BFD2A5EC0ADA}"/>
            </c:ext>
          </c:extLst>
        </c:ser>
        <c:dLbls>
          <c:showLegendKey val="0"/>
          <c:showVal val="0"/>
          <c:showCatName val="0"/>
          <c:showSerName val="0"/>
          <c:showPercent val="0"/>
          <c:showBubbleSize val="0"/>
        </c:dLbls>
        <c:gapWidth val="75"/>
        <c:overlap val="100"/>
        <c:axId val="154015616"/>
        <c:axId val="154014080"/>
      </c:barChart>
      <c:lineChart>
        <c:grouping val="standard"/>
        <c:varyColors val="0"/>
        <c:ser>
          <c:idx val="0"/>
          <c:order val="0"/>
          <c:tx>
            <c:strRef>
              <c:f>'Call money,MCLR,PV rate'!$L$5</c:f>
              <c:strCache>
                <c:ptCount val="1"/>
                <c:pt idx="0">
                  <c:v>Repo rate (%)</c:v>
                </c:pt>
              </c:strCache>
            </c:strRef>
          </c:tx>
          <c:spPr>
            <a:ln w="28575" cap="rnd">
              <a:solidFill>
                <a:schemeClr val="tx1"/>
              </a:solidFill>
              <a:round/>
            </a:ln>
            <a:effectLst/>
          </c:spPr>
          <c:marker>
            <c:symbol val="circle"/>
            <c:size val="5"/>
            <c:spPr>
              <a:solidFill>
                <a:schemeClr val="accent6"/>
              </a:solidFill>
              <a:ln w="9525">
                <a:solidFill>
                  <a:schemeClr val="tx1"/>
                </a:solidFill>
              </a:ln>
              <a:effectLst/>
            </c:spPr>
          </c:marker>
          <c:cat>
            <c:multiLvlStrRef>
              <c:f>'Call money,MCLR,PV rate'!$J$7:$K$77</c:f>
              <c:multiLvlStrCache>
                <c:ptCount val="71"/>
                <c:lvl>
                  <c:pt idx="0">
                    <c:v>May</c:v>
                  </c:pt>
                  <c:pt idx="1">
                    <c:v>Jun</c:v>
                  </c:pt>
                  <c:pt idx="2">
                    <c:v>Jul</c:v>
                  </c:pt>
                  <c:pt idx="3">
                    <c:v>Aug</c:v>
                  </c:pt>
                  <c:pt idx="4">
                    <c:v>Sep</c:v>
                  </c:pt>
                  <c:pt idx="5">
                    <c:v>Oct</c:v>
                  </c:pt>
                  <c:pt idx="6">
                    <c:v>Nov</c:v>
                  </c:pt>
                  <c:pt idx="7">
                    <c:v>Dec</c:v>
                  </c:pt>
                  <c:pt idx="8">
                    <c:v>Jan</c:v>
                  </c:pt>
                  <c:pt idx="9">
                    <c:v>Feb</c:v>
                  </c:pt>
                  <c:pt idx="10">
                    <c:v>Mar</c:v>
                  </c:pt>
                  <c:pt idx="11">
                    <c:v>Apr</c:v>
                  </c:pt>
                  <c:pt idx="12">
                    <c:v>May</c:v>
                  </c:pt>
                  <c:pt idx="13">
                    <c:v>Jun</c:v>
                  </c:pt>
                  <c:pt idx="14">
                    <c:v>Jul</c:v>
                  </c:pt>
                  <c:pt idx="15">
                    <c:v>Aug</c:v>
                  </c:pt>
                  <c:pt idx="16">
                    <c:v>Sep</c:v>
                  </c:pt>
                  <c:pt idx="17">
                    <c:v>Oct</c:v>
                  </c:pt>
                  <c:pt idx="18">
                    <c:v>Nov</c:v>
                  </c:pt>
                  <c:pt idx="19">
                    <c:v>Dec</c:v>
                  </c:pt>
                  <c:pt idx="20">
                    <c:v>Jan</c:v>
                  </c:pt>
                  <c:pt idx="21">
                    <c:v>Feb</c:v>
                  </c:pt>
                  <c:pt idx="22">
                    <c:v>Mar</c:v>
                  </c:pt>
                  <c:pt idx="23">
                    <c:v>Apr</c:v>
                  </c:pt>
                  <c:pt idx="24">
                    <c:v>May</c:v>
                  </c:pt>
                  <c:pt idx="25">
                    <c:v>Jun</c:v>
                  </c:pt>
                  <c:pt idx="26">
                    <c:v>Jul</c:v>
                  </c:pt>
                  <c:pt idx="27">
                    <c:v>Aug</c:v>
                  </c:pt>
                  <c:pt idx="28">
                    <c:v>Sep</c:v>
                  </c:pt>
                  <c:pt idx="29">
                    <c:v>Oct</c:v>
                  </c:pt>
                  <c:pt idx="30">
                    <c:v>Nov</c:v>
                  </c:pt>
                  <c:pt idx="31">
                    <c:v>Dec</c:v>
                  </c:pt>
                  <c:pt idx="32">
                    <c:v>Jan</c:v>
                  </c:pt>
                  <c:pt idx="33">
                    <c:v>Feb</c:v>
                  </c:pt>
                  <c:pt idx="34">
                    <c:v>Mar</c:v>
                  </c:pt>
                  <c:pt idx="35">
                    <c:v>Apr</c:v>
                  </c:pt>
                  <c:pt idx="36">
                    <c:v>May</c:v>
                  </c:pt>
                  <c:pt idx="37">
                    <c:v>Jun</c:v>
                  </c:pt>
                  <c:pt idx="38">
                    <c:v>Jul</c:v>
                  </c:pt>
                  <c:pt idx="39">
                    <c:v>Aug</c:v>
                  </c:pt>
                  <c:pt idx="40">
                    <c:v>Sep</c:v>
                  </c:pt>
                  <c:pt idx="41">
                    <c:v>Oct</c:v>
                  </c:pt>
                  <c:pt idx="42">
                    <c:v>Nov</c:v>
                  </c:pt>
                  <c:pt idx="43">
                    <c:v>Dec</c:v>
                  </c:pt>
                  <c:pt idx="44">
                    <c:v>Jan</c:v>
                  </c:pt>
                  <c:pt idx="45">
                    <c:v>Feb</c:v>
                  </c:pt>
                  <c:pt idx="46">
                    <c:v>Mar</c:v>
                  </c:pt>
                  <c:pt idx="47">
                    <c:v>Apr</c:v>
                  </c:pt>
                  <c:pt idx="48">
                    <c:v>May</c:v>
                  </c:pt>
                  <c:pt idx="49">
                    <c:v>Jun</c:v>
                  </c:pt>
                  <c:pt idx="50">
                    <c:v>Jul</c:v>
                  </c:pt>
                  <c:pt idx="51">
                    <c:v>Aug</c:v>
                  </c:pt>
                  <c:pt idx="52">
                    <c:v>Sep</c:v>
                  </c:pt>
                  <c:pt idx="53">
                    <c:v>Oct</c:v>
                  </c:pt>
                  <c:pt idx="54">
                    <c:v>Nov</c:v>
                  </c:pt>
                  <c:pt idx="55">
                    <c:v>Dec</c:v>
                  </c:pt>
                  <c:pt idx="56">
                    <c:v>Jan</c:v>
                  </c:pt>
                  <c:pt idx="57">
                    <c:v>Feb</c:v>
                  </c:pt>
                  <c:pt idx="58">
                    <c:v>Mar</c:v>
                  </c:pt>
                  <c:pt idx="59">
                    <c:v>Apr</c:v>
                  </c:pt>
                  <c:pt idx="60">
                    <c:v>May</c:v>
                  </c:pt>
                  <c:pt idx="61">
                    <c:v>June</c:v>
                  </c:pt>
                  <c:pt idx="62">
                    <c:v>Jun</c:v>
                  </c:pt>
                  <c:pt idx="63">
                    <c:v>Aug</c:v>
                  </c:pt>
                  <c:pt idx="64">
                    <c:v>Sep</c:v>
                  </c:pt>
                  <c:pt idx="65">
                    <c:v>Oct</c:v>
                  </c:pt>
                  <c:pt idx="66">
                    <c:v>Nov</c:v>
                  </c:pt>
                  <c:pt idx="67">
                    <c:v>Dec</c:v>
                  </c:pt>
                  <c:pt idx="68">
                    <c:v>Jan</c:v>
                  </c:pt>
                  <c:pt idx="69">
                    <c:v>Feb</c:v>
                  </c:pt>
                  <c:pt idx="70">
                    <c:v>Mar</c:v>
                  </c:pt>
                </c:lvl>
                <c:lvl>
                  <c:pt idx="11">
                    <c:v>FY18</c:v>
                  </c:pt>
                  <c:pt idx="23">
                    <c:v>FY19</c:v>
                  </c:pt>
                  <c:pt idx="35">
                    <c:v>FY20</c:v>
                  </c:pt>
                  <c:pt idx="47">
                    <c:v>FY21</c:v>
                  </c:pt>
                  <c:pt idx="59">
                    <c:v>FY22</c:v>
                  </c:pt>
                </c:lvl>
              </c:multiLvlStrCache>
            </c:multiLvlStrRef>
          </c:cat>
          <c:val>
            <c:numRef>
              <c:f>'Call money,MCLR,PV rate'!$L$7:$L$77</c:f>
              <c:numCache>
                <c:formatCode>0.00%</c:formatCode>
                <c:ptCount val="71"/>
                <c:pt idx="0">
                  <c:v>6.5000000000000002E-2</c:v>
                </c:pt>
                <c:pt idx="1">
                  <c:v>6.5000000000000002E-2</c:v>
                </c:pt>
                <c:pt idx="2">
                  <c:v>6.5000000000000002E-2</c:v>
                </c:pt>
                <c:pt idx="3">
                  <c:v>6.5000000000000002E-2</c:v>
                </c:pt>
                <c:pt idx="4">
                  <c:v>6.5000000000000002E-2</c:v>
                </c:pt>
                <c:pt idx="5">
                  <c:v>6.25E-2</c:v>
                </c:pt>
                <c:pt idx="6">
                  <c:v>6.25E-2</c:v>
                </c:pt>
                <c:pt idx="7">
                  <c:v>6.25E-2</c:v>
                </c:pt>
                <c:pt idx="8">
                  <c:v>6.25E-2</c:v>
                </c:pt>
                <c:pt idx="9">
                  <c:v>6.25E-2</c:v>
                </c:pt>
                <c:pt idx="10">
                  <c:v>6.25E-2</c:v>
                </c:pt>
                <c:pt idx="11">
                  <c:v>6.25E-2</c:v>
                </c:pt>
                <c:pt idx="12">
                  <c:v>6.25E-2</c:v>
                </c:pt>
                <c:pt idx="13">
                  <c:v>6.25E-2</c:v>
                </c:pt>
                <c:pt idx="14">
                  <c:v>6.25E-2</c:v>
                </c:pt>
                <c:pt idx="15">
                  <c:v>0.06</c:v>
                </c:pt>
                <c:pt idx="16">
                  <c:v>0.06</c:v>
                </c:pt>
                <c:pt idx="17">
                  <c:v>0.06</c:v>
                </c:pt>
                <c:pt idx="18">
                  <c:v>0.06</c:v>
                </c:pt>
                <c:pt idx="19">
                  <c:v>0.06</c:v>
                </c:pt>
                <c:pt idx="20">
                  <c:v>0.06</c:v>
                </c:pt>
                <c:pt idx="21">
                  <c:v>0.06</c:v>
                </c:pt>
                <c:pt idx="22">
                  <c:v>0.06</c:v>
                </c:pt>
                <c:pt idx="23">
                  <c:v>0.06</c:v>
                </c:pt>
                <c:pt idx="24">
                  <c:v>0.06</c:v>
                </c:pt>
                <c:pt idx="25">
                  <c:v>6.2E-2</c:v>
                </c:pt>
                <c:pt idx="26">
                  <c:v>6.25E-2</c:v>
                </c:pt>
                <c:pt idx="27">
                  <c:v>6.5000000000000002E-2</c:v>
                </c:pt>
                <c:pt idx="28">
                  <c:v>6.5000000000000002E-2</c:v>
                </c:pt>
                <c:pt idx="29">
                  <c:v>6.5000000000000002E-2</c:v>
                </c:pt>
                <c:pt idx="30">
                  <c:v>6.5000000000000002E-2</c:v>
                </c:pt>
                <c:pt idx="31">
                  <c:v>6.5000000000000002E-2</c:v>
                </c:pt>
                <c:pt idx="32">
                  <c:v>6.5000000000000002E-2</c:v>
                </c:pt>
                <c:pt idx="33">
                  <c:v>6.3125000000000001E-2</c:v>
                </c:pt>
                <c:pt idx="34">
                  <c:v>6.25E-2</c:v>
                </c:pt>
                <c:pt idx="35">
                  <c:v>0.06</c:v>
                </c:pt>
                <c:pt idx="36">
                  <c:v>0.06</c:v>
                </c:pt>
                <c:pt idx="37">
                  <c:v>5.7500000000000002E-2</c:v>
                </c:pt>
                <c:pt idx="38">
                  <c:v>5.7500000000000002E-2</c:v>
                </c:pt>
                <c:pt idx="39">
                  <c:v>5.4700000000000006E-2</c:v>
                </c:pt>
                <c:pt idx="40">
                  <c:v>5.4000000000000006E-2</c:v>
                </c:pt>
                <c:pt idx="41">
                  <c:v>5.1500000000000004E-2</c:v>
                </c:pt>
                <c:pt idx="42">
                  <c:v>5.1500000000000004E-2</c:v>
                </c:pt>
                <c:pt idx="43">
                  <c:v>5.1500000000000004E-2</c:v>
                </c:pt>
                <c:pt idx="44">
                  <c:v>5.1500000000000004E-2</c:v>
                </c:pt>
                <c:pt idx="45">
                  <c:v>5.1500000000000004E-2</c:v>
                </c:pt>
                <c:pt idx="46">
                  <c:v>4.9625000000000002E-2</c:v>
                </c:pt>
                <c:pt idx="47">
                  <c:v>4.4000000000000004E-2</c:v>
                </c:pt>
                <c:pt idx="48">
                  <c:v>4.24E-2</c:v>
                </c:pt>
                <c:pt idx="49">
                  <c:v>0.04</c:v>
                </c:pt>
                <c:pt idx="50">
                  <c:v>0.04</c:v>
                </c:pt>
                <c:pt idx="51">
                  <c:v>0.04</c:v>
                </c:pt>
                <c:pt idx="52">
                  <c:v>0.04</c:v>
                </c:pt>
                <c:pt idx="53">
                  <c:v>0.04</c:v>
                </c:pt>
                <c:pt idx="54">
                  <c:v>0.04</c:v>
                </c:pt>
                <c:pt idx="55">
                  <c:v>0.04</c:v>
                </c:pt>
                <c:pt idx="56">
                  <c:v>0.04</c:v>
                </c:pt>
                <c:pt idx="57">
                  <c:v>0.04</c:v>
                </c:pt>
                <c:pt idx="58">
                  <c:v>0.04</c:v>
                </c:pt>
                <c:pt idx="59">
                  <c:v>0.04</c:v>
                </c:pt>
                <c:pt idx="60">
                  <c:v>0.04</c:v>
                </c:pt>
                <c:pt idx="61">
                  <c:v>0.04</c:v>
                </c:pt>
                <c:pt idx="62">
                  <c:v>0.04</c:v>
                </c:pt>
                <c:pt idx="63">
                  <c:v>0.04</c:v>
                </c:pt>
                <c:pt idx="64">
                  <c:v>0.04</c:v>
                </c:pt>
                <c:pt idx="65">
                  <c:v>0.04</c:v>
                </c:pt>
                <c:pt idx="66">
                  <c:v>0.04</c:v>
                </c:pt>
                <c:pt idx="67">
                  <c:v>0.04</c:v>
                </c:pt>
                <c:pt idx="68">
                  <c:v>0.04</c:v>
                </c:pt>
                <c:pt idx="69">
                  <c:v>0.04</c:v>
                </c:pt>
                <c:pt idx="70">
                  <c:v>0.04</c:v>
                </c:pt>
              </c:numCache>
            </c:numRef>
          </c:val>
          <c:smooth val="0"/>
          <c:extLst>
            <c:ext xmlns:c16="http://schemas.microsoft.com/office/drawing/2014/chart" uri="{C3380CC4-5D6E-409C-BE32-E72D297353CC}">
              <c16:uniqueId val="{00000003-5475-478A-89E3-BFD2A5EC0ADA}"/>
            </c:ext>
          </c:extLst>
        </c:ser>
        <c:ser>
          <c:idx val="2"/>
          <c:order val="1"/>
          <c:tx>
            <c:strRef>
              <c:f>'Call money,MCLR,PV rate'!$N$5</c:f>
              <c:strCache>
                <c:ptCount val="1"/>
                <c:pt idx="0">
                  <c:v>Average MCLR (%)</c:v>
                </c:pt>
              </c:strCache>
            </c:strRef>
          </c:tx>
          <c:spPr>
            <a:ln w="28575" cap="rnd">
              <a:solidFill>
                <a:schemeClr val="accent3"/>
              </a:solidFill>
              <a:round/>
            </a:ln>
            <a:effectLst/>
          </c:spPr>
          <c:marker>
            <c:symbol val="circle"/>
            <c:size val="5"/>
            <c:spPr>
              <a:solidFill>
                <a:schemeClr val="accent4"/>
              </a:solidFill>
              <a:ln w="9525">
                <a:solidFill>
                  <a:schemeClr val="accent3"/>
                </a:solidFill>
              </a:ln>
              <a:effectLst/>
            </c:spPr>
          </c:marker>
          <c:cat>
            <c:multiLvlStrRef>
              <c:f>'Call money,MCLR,PV rate'!$J$7:$K$77</c:f>
              <c:multiLvlStrCache>
                <c:ptCount val="71"/>
                <c:lvl>
                  <c:pt idx="0">
                    <c:v>May</c:v>
                  </c:pt>
                  <c:pt idx="1">
                    <c:v>Jun</c:v>
                  </c:pt>
                  <c:pt idx="2">
                    <c:v>Jul</c:v>
                  </c:pt>
                  <c:pt idx="3">
                    <c:v>Aug</c:v>
                  </c:pt>
                  <c:pt idx="4">
                    <c:v>Sep</c:v>
                  </c:pt>
                  <c:pt idx="5">
                    <c:v>Oct</c:v>
                  </c:pt>
                  <c:pt idx="6">
                    <c:v>Nov</c:v>
                  </c:pt>
                  <c:pt idx="7">
                    <c:v>Dec</c:v>
                  </c:pt>
                  <c:pt idx="8">
                    <c:v>Jan</c:v>
                  </c:pt>
                  <c:pt idx="9">
                    <c:v>Feb</c:v>
                  </c:pt>
                  <c:pt idx="10">
                    <c:v>Mar</c:v>
                  </c:pt>
                  <c:pt idx="11">
                    <c:v>Apr</c:v>
                  </c:pt>
                  <c:pt idx="12">
                    <c:v>May</c:v>
                  </c:pt>
                  <c:pt idx="13">
                    <c:v>Jun</c:v>
                  </c:pt>
                  <c:pt idx="14">
                    <c:v>Jul</c:v>
                  </c:pt>
                  <c:pt idx="15">
                    <c:v>Aug</c:v>
                  </c:pt>
                  <c:pt idx="16">
                    <c:v>Sep</c:v>
                  </c:pt>
                  <c:pt idx="17">
                    <c:v>Oct</c:v>
                  </c:pt>
                  <c:pt idx="18">
                    <c:v>Nov</c:v>
                  </c:pt>
                  <c:pt idx="19">
                    <c:v>Dec</c:v>
                  </c:pt>
                  <c:pt idx="20">
                    <c:v>Jan</c:v>
                  </c:pt>
                  <c:pt idx="21">
                    <c:v>Feb</c:v>
                  </c:pt>
                  <c:pt idx="22">
                    <c:v>Mar</c:v>
                  </c:pt>
                  <c:pt idx="23">
                    <c:v>Apr</c:v>
                  </c:pt>
                  <c:pt idx="24">
                    <c:v>May</c:v>
                  </c:pt>
                  <c:pt idx="25">
                    <c:v>Jun</c:v>
                  </c:pt>
                  <c:pt idx="26">
                    <c:v>Jul</c:v>
                  </c:pt>
                  <c:pt idx="27">
                    <c:v>Aug</c:v>
                  </c:pt>
                  <c:pt idx="28">
                    <c:v>Sep</c:v>
                  </c:pt>
                  <c:pt idx="29">
                    <c:v>Oct</c:v>
                  </c:pt>
                  <c:pt idx="30">
                    <c:v>Nov</c:v>
                  </c:pt>
                  <c:pt idx="31">
                    <c:v>Dec</c:v>
                  </c:pt>
                  <c:pt idx="32">
                    <c:v>Jan</c:v>
                  </c:pt>
                  <c:pt idx="33">
                    <c:v>Feb</c:v>
                  </c:pt>
                  <c:pt idx="34">
                    <c:v>Mar</c:v>
                  </c:pt>
                  <c:pt idx="35">
                    <c:v>Apr</c:v>
                  </c:pt>
                  <c:pt idx="36">
                    <c:v>May</c:v>
                  </c:pt>
                  <c:pt idx="37">
                    <c:v>Jun</c:v>
                  </c:pt>
                  <c:pt idx="38">
                    <c:v>Jul</c:v>
                  </c:pt>
                  <c:pt idx="39">
                    <c:v>Aug</c:v>
                  </c:pt>
                  <c:pt idx="40">
                    <c:v>Sep</c:v>
                  </c:pt>
                  <c:pt idx="41">
                    <c:v>Oct</c:v>
                  </c:pt>
                  <c:pt idx="42">
                    <c:v>Nov</c:v>
                  </c:pt>
                  <c:pt idx="43">
                    <c:v>Dec</c:v>
                  </c:pt>
                  <c:pt idx="44">
                    <c:v>Jan</c:v>
                  </c:pt>
                  <c:pt idx="45">
                    <c:v>Feb</c:v>
                  </c:pt>
                  <c:pt idx="46">
                    <c:v>Mar</c:v>
                  </c:pt>
                  <c:pt idx="47">
                    <c:v>Apr</c:v>
                  </c:pt>
                  <c:pt idx="48">
                    <c:v>May</c:v>
                  </c:pt>
                  <c:pt idx="49">
                    <c:v>Jun</c:v>
                  </c:pt>
                  <c:pt idx="50">
                    <c:v>Jul</c:v>
                  </c:pt>
                  <c:pt idx="51">
                    <c:v>Aug</c:v>
                  </c:pt>
                  <c:pt idx="52">
                    <c:v>Sep</c:v>
                  </c:pt>
                  <c:pt idx="53">
                    <c:v>Oct</c:v>
                  </c:pt>
                  <c:pt idx="54">
                    <c:v>Nov</c:v>
                  </c:pt>
                  <c:pt idx="55">
                    <c:v>Dec</c:v>
                  </c:pt>
                  <c:pt idx="56">
                    <c:v>Jan</c:v>
                  </c:pt>
                  <c:pt idx="57">
                    <c:v>Feb</c:v>
                  </c:pt>
                  <c:pt idx="58">
                    <c:v>Mar</c:v>
                  </c:pt>
                  <c:pt idx="59">
                    <c:v>Apr</c:v>
                  </c:pt>
                  <c:pt idx="60">
                    <c:v>May</c:v>
                  </c:pt>
                  <c:pt idx="61">
                    <c:v>June</c:v>
                  </c:pt>
                  <c:pt idx="62">
                    <c:v>Jun</c:v>
                  </c:pt>
                  <c:pt idx="63">
                    <c:v>Aug</c:v>
                  </c:pt>
                  <c:pt idx="64">
                    <c:v>Sep</c:v>
                  </c:pt>
                  <c:pt idx="65">
                    <c:v>Oct</c:v>
                  </c:pt>
                  <c:pt idx="66">
                    <c:v>Nov</c:v>
                  </c:pt>
                  <c:pt idx="67">
                    <c:v>Dec</c:v>
                  </c:pt>
                  <c:pt idx="68">
                    <c:v>Jan</c:v>
                  </c:pt>
                  <c:pt idx="69">
                    <c:v>Feb</c:v>
                  </c:pt>
                  <c:pt idx="70">
                    <c:v>Mar</c:v>
                  </c:pt>
                </c:lvl>
                <c:lvl>
                  <c:pt idx="11">
                    <c:v>FY18</c:v>
                  </c:pt>
                  <c:pt idx="23">
                    <c:v>FY19</c:v>
                  </c:pt>
                  <c:pt idx="35">
                    <c:v>FY20</c:v>
                  </c:pt>
                  <c:pt idx="47">
                    <c:v>FY21</c:v>
                  </c:pt>
                  <c:pt idx="59">
                    <c:v>FY22</c:v>
                  </c:pt>
                </c:lvl>
              </c:multiLvlStrCache>
            </c:multiLvlStrRef>
          </c:cat>
          <c:val>
            <c:numRef>
              <c:f>'Call money,MCLR,PV rate'!$N$7:$N$77</c:f>
              <c:numCache>
                <c:formatCode>0.00%</c:formatCode>
                <c:ptCount val="71"/>
                <c:pt idx="0">
                  <c:v>9.2649999999999982E-2</c:v>
                </c:pt>
                <c:pt idx="1">
                  <c:v>9.2549999999999993E-2</c:v>
                </c:pt>
                <c:pt idx="2">
                  <c:v>9.2649999999999982E-2</c:v>
                </c:pt>
                <c:pt idx="3">
                  <c:v>9.2399999999999996E-2</c:v>
                </c:pt>
                <c:pt idx="4">
                  <c:v>9.2249999999999999E-2</c:v>
                </c:pt>
                <c:pt idx="5">
                  <c:v>9.2050000000000007E-2</c:v>
                </c:pt>
                <c:pt idx="6">
                  <c:v>9.1350000000000001E-2</c:v>
                </c:pt>
                <c:pt idx="7">
                  <c:v>9.0200000000000002E-2</c:v>
                </c:pt>
                <c:pt idx="8">
                  <c:v>8.6800000000000002E-2</c:v>
                </c:pt>
                <c:pt idx="9">
                  <c:v>8.2599999999999993E-2</c:v>
                </c:pt>
                <c:pt idx="10">
                  <c:v>8.2549999999999985E-2</c:v>
                </c:pt>
                <c:pt idx="11">
                  <c:v>8.2549999999999985E-2</c:v>
                </c:pt>
                <c:pt idx="12">
                  <c:v>8.2450000000000009E-2</c:v>
                </c:pt>
                <c:pt idx="13">
                  <c:v>8.2250000000000018E-2</c:v>
                </c:pt>
                <c:pt idx="14">
                  <c:v>8.2050000000000012E-2</c:v>
                </c:pt>
                <c:pt idx="15">
                  <c:v>8.1950000000000009E-2</c:v>
                </c:pt>
                <c:pt idx="16">
                  <c:v>8.1950000000000009E-2</c:v>
                </c:pt>
                <c:pt idx="17">
                  <c:v>8.1349999999999992E-2</c:v>
                </c:pt>
                <c:pt idx="18">
                  <c:v>8.1250000000000003E-2</c:v>
                </c:pt>
                <c:pt idx="19">
                  <c:v>8.1199999999999994E-2</c:v>
                </c:pt>
                <c:pt idx="20">
                  <c:v>8.1250000000000003E-2</c:v>
                </c:pt>
                <c:pt idx="21">
                  <c:v>8.14E-2</c:v>
                </c:pt>
                <c:pt idx="22">
                  <c:v>8.1850000000000006E-2</c:v>
                </c:pt>
                <c:pt idx="23">
                  <c:v>8.2299999999999998E-2</c:v>
                </c:pt>
                <c:pt idx="24">
                  <c:v>8.2549999999999985E-2</c:v>
                </c:pt>
                <c:pt idx="25">
                  <c:v>8.3150000000000002E-2</c:v>
                </c:pt>
                <c:pt idx="26">
                  <c:v>8.3699999999999997E-2</c:v>
                </c:pt>
                <c:pt idx="27">
                  <c:v>8.3799999999999986E-2</c:v>
                </c:pt>
                <c:pt idx="28">
                  <c:v>8.4199999999999997E-2</c:v>
                </c:pt>
                <c:pt idx="29">
                  <c:v>8.500000000000002E-2</c:v>
                </c:pt>
                <c:pt idx="30">
                  <c:v>8.539999999999999E-2</c:v>
                </c:pt>
                <c:pt idx="31">
                  <c:v>8.5849999999999968E-2</c:v>
                </c:pt>
                <c:pt idx="32">
                  <c:v>8.5949999999999985E-2</c:v>
                </c:pt>
                <c:pt idx="33">
                  <c:v>8.5999999999999993E-2</c:v>
                </c:pt>
                <c:pt idx="34">
                  <c:v>8.6099999999999996E-2</c:v>
                </c:pt>
                <c:pt idx="35">
                  <c:v>8.5949999999999985E-2</c:v>
                </c:pt>
                <c:pt idx="36">
                  <c:v>8.5749999999999993E-2</c:v>
                </c:pt>
                <c:pt idx="37">
                  <c:v>8.5849999999999968E-2</c:v>
                </c:pt>
                <c:pt idx="38">
                  <c:v>8.5500000000000007E-2</c:v>
                </c:pt>
                <c:pt idx="39">
                  <c:v>8.4999999999999978E-2</c:v>
                </c:pt>
                <c:pt idx="40">
                  <c:v>8.3949999999999997E-2</c:v>
                </c:pt>
                <c:pt idx="41">
                  <c:v>8.3300000000000013E-2</c:v>
                </c:pt>
                <c:pt idx="42">
                  <c:v>8.2299999999999998E-2</c:v>
                </c:pt>
                <c:pt idx="43">
                  <c:v>8.1749999999999989E-2</c:v>
                </c:pt>
                <c:pt idx="44">
                  <c:v>8.0999999999999975E-2</c:v>
                </c:pt>
                <c:pt idx="45">
                  <c:v>8.09E-2</c:v>
                </c:pt>
                <c:pt idx="46">
                  <c:v>8.0299999999999996E-2</c:v>
                </c:pt>
                <c:pt idx="47">
                  <c:v>7.959999999999999E-2</c:v>
                </c:pt>
                <c:pt idx="48">
                  <c:v>7.7499999999999999E-2</c:v>
                </c:pt>
                <c:pt idx="49">
                  <c:v>7.6299999999999993E-2</c:v>
                </c:pt>
                <c:pt idx="50">
                  <c:v>7.5050000000000006E-2</c:v>
                </c:pt>
                <c:pt idx="51">
                  <c:v>7.3700000000000002E-2</c:v>
                </c:pt>
                <c:pt idx="52">
                  <c:v>7.3200000000000001E-2</c:v>
                </c:pt>
                <c:pt idx="53">
                  <c:v>7.2700000000000001E-2</c:v>
                </c:pt>
                <c:pt idx="54">
                  <c:v>7.2400000000000006E-2</c:v>
                </c:pt>
                <c:pt idx="55">
                  <c:v>7.22E-2</c:v>
                </c:pt>
                <c:pt idx="56">
                  <c:v>7.2099999999999997E-2</c:v>
                </c:pt>
                <c:pt idx="57">
                  <c:v>7.2000000000000008E-2</c:v>
                </c:pt>
                <c:pt idx="58">
                  <c:v>7.2000000000000008E-2</c:v>
                </c:pt>
                <c:pt idx="59">
                  <c:v>7.1800000000000003E-2</c:v>
                </c:pt>
                <c:pt idx="60">
                  <c:v>7.1800000000000003E-2</c:v>
                </c:pt>
                <c:pt idx="61">
                  <c:v>7.17E-2</c:v>
                </c:pt>
                <c:pt idx="62">
                  <c:v>7.1599999999999997E-2</c:v>
                </c:pt>
                <c:pt idx="63">
                  <c:v>7.1599999999999997E-2</c:v>
                </c:pt>
                <c:pt idx="64">
                  <c:v>7.1500000000000008E-2</c:v>
                </c:pt>
                <c:pt idx="65">
                  <c:v>7.1399999999999991E-2</c:v>
                </c:pt>
                <c:pt idx="66">
                  <c:v>7.1300000000000002E-2</c:v>
                </c:pt>
                <c:pt idx="67">
                  <c:v>7.1300000000000002E-2</c:v>
                </c:pt>
                <c:pt idx="68">
                  <c:v>7.1249999999999994E-2</c:v>
                </c:pt>
                <c:pt idx="69">
                  <c:v>7.1249999999999994E-2</c:v>
                </c:pt>
                <c:pt idx="70">
                  <c:v>7.1249999999999994E-2</c:v>
                </c:pt>
              </c:numCache>
            </c:numRef>
          </c:val>
          <c:smooth val="0"/>
          <c:extLst>
            <c:ext xmlns:c16="http://schemas.microsoft.com/office/drawing/2014/chart" uri="{C3380CC4-5D6E-409C-BE32-E72D297353CC}">
              <c16:uniqueId val="{00000004-5475-478A-89E3-BFD2A5EC0ADA}"/>
            </c:ext>
          </c:extLst>
        </c:ser>
        <c:ser>
          <c:idx val="3"/>
          <c:order val="2"/>
          <c:tx>
            <c:strRef>
              <c:f>'Call money,MCLR,PV rate'!$O$5</c:f>
              <c:strCache>
                <c:ptCount val="1"/>
                <c:pt idx="0">
                  <c:v>PV Lending rate</c:v>
                </c:pt>
              </c:strCache>
            </c:strRef>
          </c:tx>
          <c:spPr>
            <a:ln w="28575" cap="rnd">
              <a:solidFill>
                <a:srgbClr val="FF0000"/>
              </a:solidFill>
              <a:round/>
            </a:ln>
            <a:effectLst/>
          </c:spPr>
          <c:marker>
            <c:symbol val="circle"/>
            <c:size val="5"/>
            <c:spPr>
              <a:solidFill>
                <a:schemeClr val="accent6">
                  <a:lumMod val="60000"/>
                </a:schemeClr>
              </a:solidFill>
              <a:ln w="9525">
                <a:solidFill>
                  <a:srgbClr val="FF0000"/>
                </a:solidFill>
              </a:ln>
              <a:effectLst/>
            </c:spPr>
          </c:marker>
          <c:cat>
            <c:multiLvlStrRef>
              <c:f>'Call money,MCLR,PV rate'!$J$7:$K$77</c:f>
              <c:multiLvlStrCache>
                <c:ptCount val="71"/>
                <c:lvl>
                  <c:pt idx="0">
                    <c:v>May</c:v>
                  </c:pt>
                  <c:pt idx="1">
                    <c:v>Jun</c:v>
                  </c:pt>
                  <c:pt idx="2">
                    <c:v>Jul</c:v>
                  </c:pt>
                  <c:pt idx="3">
                    <c:v>Aug</c:v>
                  </c:pt>
                  <c:pt idx="4">
                    <c:v>Sep</c:v>
                  </c:pt>
                  <c:pt idx="5">
                    <c:v>Oct</c:v>
                  </c:pt>
                  <c:pt idx="6">
                    <c:v>Nov</c:v>
                  </c:pt>
                  <c:pt idx="7">
                    <c:v>Dec</c:v>
                  </c:pt>
                  <c:pt idx="8">
                    <c:v>Jan</c:v>
                  </c:pt>
                  <c:pt idx="9">
                    <c:v>Feb</c:v>
                  </c:pt>
                  <c:pt idx="10">
                    <c:v>Mar</c:v>
                  </c:pt>
                  <c:pt idx="11">
                    <c:v>Apr</c:v>
                  </c:pt>
                  <c:pt idx="12">
                    <c:v>May</c:v>
                  </c:pt>
                  <c:pt idx="13">
                    <c:v>Jun</c:v>
                  </c:pt>
                  <c:pt idx="14">
                    <c:v>Jul</c:v>
                  </c:pt>
                  <c:pt idx="15">
                    <c:v>Aug</c:v>
                  </c:pt>
                  <c:pt idx="16">
                    <c:v>Sep</c:v>
                  </c:pt>
                  <c:pt idx="17">
                    <c:v>Oct</c:v>
                  </c:pt>
                  <c:pt idx="18">
                    <c:v>Nov</c:v>
                  </c:pt>
                  <c:pt idx="19">
                    <c:v>Dec</c:v>
                  </c:pt>
                  <c:pt idx="20">
                    <c:v>Jan</c:v>
                  </c:pt>
                  <c:pt idx="21">
                    <c:v>Feb</c:v>
                  </c:pt>
                  <c:pt idx="22">
                    <c:v>Mar</c:v>
                  </c:pt>
                  <c:pt idx="23">
                    <c:v>Apr</c:v>
                  </c:pt>
                  <c:pt idx="24">
                    <c:v>May</c:v>
                  </c:pt>
                  <c:pt idx="25">
                    <c:v>Jun</c:v>
                  </c:pt>
                  <c:pt idx="26">
                    <c:v>Jul</c:v>
                  </c:pt>
                  <c:pt idx="27">
                    <c:v>Aug</c:v>
                  </c:pt>
                  <c:pt idx="28">
                    <c:v>Sep</c:v>
                  </c:pt>
                  <c:pt idx="29">
                    <c:v>Oct</c:v>
                  </c:pt>
                  <c:pt idx="30">
                    <c:v>Nov</c:v>
                  </c:pt>
                  <c:pt idx="31">
                    <c:v>Dec</c:v>
                  </c:pt>
                  <c:pt idx="32">
                    <c:v>Jan</c:v>
                  </c:pt>
                  <c:pt idx="33">
                    <c:v>Feb</c:v>
                  </c:pt>
                  <c:pt idx="34">
                    <c:v>Mar</c:v>
                  </c:pt>
                  <c:pt idx="35">
                    <c:v>Apr</c:v>
                  </c:pt>
                  <c:pt idx="36">
                    <c:v>May</c:v>
                  </c:pt>
                  <c:pt idx="37">
                    <c:v>Jun</c:v>
                  </c:pt>
                  <c:pt idx="38">
                    <c:v>Jul</c:v>
                  </c:pt>
                  <c:pt idx="39">
                    <c:v>Aug</c:v>
                  </c:pt>
                  <c:pt idx="40">
                    <c:v>Sep</c:v>
                  </c:pt>
                  <c:pt idx="41">
                    <c:v>Oct</c:v>
                  </c:pt>
                  <c:pt idx="42">
                    <c:v>Nov</c:v>
                  </c:pt>
                  <c:pt idx="43">
                    <c:v>Dec</c:v>
                  </c:pt>
                  <c:pt idx="44">
                    <c:v>Jan</c:v>
                  </c:pt>
                  <c:pt idx="45">
                    <c:v>Feb</c:v>
                  </c:pt>
                  <c:pt idx="46">
                    <c:v>Mar</c:v>
                  </c:pt>
                  <c:pt idx="47">
                    <c:v>Apr</c:v>
                  </c:pt>
                  <c:pt idx="48">
                    <c:v>May</c:v>
                  </c:pt>
                  <c:pt idx="49">
                    <c:v>Jun</c:v>
                  </c:pt>
                  <c:pt idx="50">
                    <c:v>Jul</c:v>
                  </c:pt>
                  <c:pt idx="51">
                    <c:v>Aug</c:v>
                  </c:pt>
                  <c:pt idx="52">
                    <c:v>Sep</c:v>
                  </c:pt>
                  <c:pt idx="53">
                    <c:v>Oct</c:v>
                  </c:pt>
                  <c:pt idx="54">
                    <c:v>Nov</c:v>
                  </c:pt>
                  <c:pt idx="55">
                    <c:v>Dec</c:v>
                  </c:pt>
                  <c:pt idx="56">
                    <c:v>Jan</c:v>
                  </c:pt>
                  <c:pt idx="57">
                    <c:v>Feb</c:v>
                  </c:pt>
                  <c:pt idx="58">
                    <c:v>Mar</c:v>
                  </c:pt>
                  <c:pt idx="59">
                    <c:v>Apr</c:v>
                  </c:pt>
                  <c:pt idx="60">
                    <c:v>May</c:v>
                  </c:pt>
                  <c:pt idx="61">
                    <c:v>June</c:v>
                  </c:pt>
                  <c:pt idx="62">
                    <c:v>Jun</c:v>
                  </c:pt>
                  <c:pt idx="63">
                    <c:v>Aug</c:v>
                  </c:pt>
                  <c:pt idx="64">
                    <c:v>Sep</c:v>
                  </c:pt>
                  <c:pt idx="65">
                    <c:v>Oct</c:v>
                  </c:pt>
                  <c:pt idx="66">
                    <c:v>Nov</c:v>
                  </c:pt>
                  <c:pt idx="67">
                    <c:v>Dec</c:v>
                  </c:pt>
                  <c:pt idx="68">
                    <c:v>Jan</c:v>
                  </c:pt>
                  <c:pt idx="69">
                    <c:v>Feb</c:v>
                  </c:pt>
                  <c:pt idx="70">
                    <c:v>Mar</c:v>
                  </c:pt>
                </c:lvl>
                <c:lvl>
                  <c:pt idx="11">
                    <c:v>FY18</c:v>
                  </c:pt>
                  <c:pt idx="23">
                    <c:v>FY19</c:v>
                  </c:pt>
                  <c:pt idx="35">
                    <c:v>FY20</c:v>
                  </c:pt>
                  <c:pt idx="47">
                    <c:v>FY21</c:v>
                  </c:pt>
                  <c:pt idx="59">
                    <c:v>FY22</c:v>
                  </c:pt>
                </c:lvl>
              </c:multiLvlStrCache>
            </c:multiLvlStrRef>
          </c:cat>
          <c:val>
            <c:numRef>
              <c:f>'Call money,MCLR,PV rate'!$O$7:$O$77</c:f>
              <c:numCache>
                <c:formatCode>0.00%</c:formatCode>
                <c:ptCount val="71"/>
                <c:pt idx="0">
                  <c:v>0.1007</c:v>
                </c:pt>
                <c:pt idx="1">
                  <c:v>0.1003</c:v>
                </c:pt>
                <c:pt idx="2">
                  <c:v>9.9699999999999997E-2</c:v>
                </c:pt>
                <c:pt idx="3">
                  <c:v>9.9699999999999997E-2</c:v>
                </c:pt>
                <c:pt idx="4">
                  <c:v>9.9299999999999999E-2</c:v>
                </c:pt>
                <c:pt idx="5">
                  <c:v>9.8799999999999999E-2</c:v>
                </c:pt>
                <c:pt idx="6">
                  <c:v>9.8599999999999993E-2</c:v>
                </c:pt>
                <c:pt idx="7">
                  <c:v>9.8199999999999996E-2</c:v>
                </c:pt>
                <c:pt idx="8">
                  <c:v>9.3600000000000003E-2</c:v>
                </c:pt>
                <c:pt idx="9">
                  <c:v>9.3200000000000005E-2</c:v>
                </c:pt>
                <c:pt idx="10">
                  <c:v>9.35E-2</c:v>
                </c:pt>
                <c:pt idx="11">
                  <c:v>9.3100000000000002E-2</c:v>
                </c:pt>
                <c:pt idx="12">
                  <c:v>9.2899999999999996E-2</c:v>
                </c:pt>
                <c:pt idx="13">
                  <c:v>9.2799999999999994E-2</c:v>
                </c:pt>
                <c:pt idx="14">
                  <c:v>9.2899999999999996E-2</c:v>
                </c:pt>
                <c:pt idx="15">
                  <c:v>9.2899999999999996E-2</c:v>
                </c:pt>
                <c:pt idx="16">
                  <c:v>9.2200000000000004E-2</c:v>
                </c:pt>
                <c:pt idx="17">
                  <c:v>9.1999999999999998E-2</c:v>
                </c:pt>
                <c:pt idx="18">
                  <c:v>9.1700000000000004E-2</c:v>
                </c:pt>
                <c:pt idx="19">
                  <c:v>9.1700000000000004E-2</c:v>
                </c:pt>
                <c:pt idx="20">
                  <c:v>9.0899999999999995E-2</c:v>
                </c:pt>
                <c:pt idx="21">
                  <c:v>9.06E-2</c:v>
                </c:pt>
                <c:pt idx="22">
                  <c:v>9.11E-2</c:v>
                </c:pt>
                <c:pt idx="23">
                  <c:v>9.2399999999999996E-2</c:v>
                </c:pt>
                <c:pt idx="24">
                  <c:v>9.2399999999999996E-2</c:v>
                </c:pt>
                <c:pt idx="25">
                  <c:v>9.2799999999999994E-2</c:v>
                </c:pt>
                <c:pt idx="26">
                  <c:v>9.3100000000000002E-2</c:v>
                </c:pt>
                <c:pt idx="27">
                  <c:v>9.2799999999999994E-2</c:v>
                </c:pt>
                <c:pt idx="28">
                  <c:v>9.3299999999999994E-2</c:v>
                </c:pt>
                <c:pt idx="29">
                  <c:v>9.3899999999999997E-2</c:v>
                </c:pt>
                <c:pt idx="30">
                  <c:v>9.3899999999999997E-2</c:v>
                </c:pt>
                <c:pt idx="31">
                  <c:v>9.4100000000000003E-2</c:v>
                </c:pt>
                <c:pt idx="32">
                  <c:v>9.4500000000000001E-2</c:v>
                </c:pt>
                <c:pt idx="33">
                  <c:v>9.4500000000000001E-2</c:v>
                </c:pt>
                <c:pt idx="34">
                  <c:v>9.4299999999999995E-2</c:v>
                </c:pt>
                <c:pt idx="35" formatCode="0.0%">
                  <c:v>9.4299999999999995E-2</c:v>
                </c:pt>
                <c:pt idx="36" formatCode="0.0%">
                  <c:v>9.4600000000000004E-2</c:v>
                </c:pt>
                <c:pt idx="37" formatCode="0.0%">
                  <c:v>9.4399999999999998E-2</c:v>
                </c:pt>
                <c:pt idx="38" formatCode="0.0%">
                  <c:v>9.3700000000000006E-2</c:v>
                </c:pt>
                <c:pt idx="39" formatCode="0.0%">
                  <c:v>9.2999999999999999E-2</c:v>
                </c:pt>
                <c:pt idx="40" formatCode="0.0%">
                  <c:v>9.2100000000000001E-2</c:v>
                </c:pt>
                <c:pt idx="41" formatCode="0.0%">
                  <c:v>9.0899999999999995E-2</c:v>
                </c:pt>
                <c:pt idx="42" formatCode="0.0%">
                  <c:v>9.0300000000000005E-2</c:v>
                </c:pt>
                <c:pt idx="43" formatCode="0.0%">
                  <c:v>8.9599999999999999E-2</c:v>
                </c:pt>
                <c:pt idx="44" formatCode="0.0%">
                  <c:v>8.9200000000000002E-2</c:v>
                </c:pt>
                <c:pt idx="45" formatCode="0.0%">
                  <c:v>8.9200000000000002E-2</c:v>
                </c:pt>
                <c:pt idx="46" formatCode="0.0%">
                  <c:v>8.8400000000000006E-2</c:v>
                </c:pt>
                <c:pt idx="47" formatCode="0.0%">
                  <c:v>8.3900000000000002E-2</c:v>
                </c:pt>
                <c:pt idx="48" formatCode="0.0%">
                  <c:v>8.3500000000000005E-2</c:v>
                </c:pt>
                <c:pt idx="49" formatCode="0.0%">
                  <c:v>8.1500000000000003E-2</c:v>
                </c:pt>
                <c:pt idx="50" formatCode="0.0%">
                  <c:v>8.1000000000000003E-2</c:v>
                </c:pt>
                <c:pt idx="51" formatCode="0.0%">
                  <c:v>8.1000000000000003E-2</c:v>
                </c:pt>
                <c:pt idx="52" formatCode="0.0%">
                  <c:v>8.1000000000000003E-2</c:v>
                </c:pt>
                <c:pt idx="53" formatCode="0.0%">
                  <c:v>7.9899999999999999E-2</c:v>
                </c:pt>
                <c:pt idx="54" formatCode="0.0%">
                  <c:v>7.9899999999999999E-2</c:v>
                </c:pt>
                <c:pt idx="55" formatCode="0.0%">
                  <c:v>7.9600000000000004E-2</c:v>
                </c:pt>
                <c:pt idx="56" formatCode="0.0%">
                  <c:v>7.9600000000000004E-2</c:v>
                </c:pt>
                <c:pt idx="57" formatCode="0.0%">
                  <c:v>7.9600000000000004E-2</c:v>
                </c:pt>
                <c:pt idx="58" formatCode="0.0%">
                  <c:v>7.9600000000000004E-2</c:v>
                </c:pt>
                <c:pt idx="59" formatCode="0.0%">
                  <c:v>7.8E-2</c:v>
                </c:pt>
                <c:pt idx="60" formatCode="0.0%">
                  <c:v>7.8E-2</c:v>
                </c:pt>
                <c:pt idx="61" formatCode="0.0%">
                  <c:v>7.8E-2</c:v>
                </c:pt>
                <c:pt idx="62" formatCode="0.0%">
                  <c:v>7.8E-2</c:v>
                </c:pt>
                <c:pt idx="63" formatCode="0.0%">
                  <c:v>7.8E-2</c:v>
                </c:pt>
                <c:pt idx="64" formatCode="0.0%">
                  <c:v>7.8E-2</c:v>
                </c:pt>
                <c:pt idx="65" formatCode="0.0%">
                  <c:v>7.7100000000000002E-2</c:v>
                </c:pt>
                <c:pt idx="66" formatCode="0.0%">
                  <c:v>7.7100000000000002E-2</c:v>
                </c:pt>
                <c:pt idx="67" formatCode="0.0%">
                  <c:v>7.5999999999999998E-2</c:v>
                </c:pt>
                <c:pt idx="68" formatCode="0.0%">
                  <c:v>7.5999999999999998E-2</c:v>
                </c:pt>
                <c:pt idx="69" formatCode="0.0%">
                  <c:v>7.5999999999999998E-2</c:v>
                </c:pt>
                <c:pt idx="70" formatCode="0.0%">
                  <c:v>7.5999999999999998E-2</c:v>
                </c:pt>
              </c:numCache>
            </c:numRef>
          </c:val>
          <c:smooth val="0"/>
          <c:extLst>
            <c:ext xmlns:c16="http://schemas.microsoft.com/office/drawing/2014/chart" uri="{C3380CC4-5D6E-409C-BE32-E72D297353CC}">
              <c16:uniqueId val="{00000005-5475-478A-89E3-BFD2A5EC0ADA}"/>
            </c:ext>
          </c:extLst>
        </c:ser>
        <c:dLbls>
          <c:showLegendKey val="0"/>
          <c:showVal val="0"/>
          <c:showCatName val="0"/>
          <c:showSerName val="0"/>
          <c:showPercent val="0"/>
          <c:showBubbleSize val="0"/>
        </c:dLbls>
        <c:marker val="1"/>
        <c:smooth val="0"/>
        <c:axId val="152552192"/>
        <c:axId val="152554112"/>
      </c:lineChart>
      <c:catAx>
        <c:axId val="152552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2554112"/>
        <c:crosses val="autoZero"/>
        <c:auto val="1"/>
        <c:lblAlgn val="ctr"/>
        <c:lblOffset val="100"/>
        <c:tickLblSkip val="1"/>
        <c:noMultiLvlLbl val="0"/>
      </c:catAx>
      <c:valAx>
        <c:axId val="152554112"/>
        <c:scaling>
          <c:orientation val="minMax"/>
          <c:max val="0.12000000000000001"/>
          <c:min val="3.0000000000000006E-2"/>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2552192"/>
        <c:crosses val="autoZero"/>
        <c:crossBetween val="between"/>
        <c:majorUnit val="3.0000000000000006E-2"/>
      </c:valAx>
      <c:valAx>
        <c:axId val="154014080"/>
        <c:scaling>
          <c:orientation val="minMax"/>
          <c:max val="1200"/>
          <c:min val="30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4015616"/>
        <c:crosses val="max"/>
        <c:crossBetween val="between"/>
        <c:majorUnit val="300"/>
      </c:valAx>
      <c:catAx>
        <c:axId val="154015616"/>
        <c:scaling>
          <c:orientation val="minMax"/>
        </c:scaling>
        <c:delete val="1"/>
        <c:axPos val="b"/>
        <c:numFmt formatCode="General" sourceLinked="1"/>
        <c:majorTickMark val="out"/>
        <c:minorTickMark val="none"/>
        <c:tickLblPos val="nextTo"/>
        <c:crossAx val="154014080"/>
        <c:crosses val="autoZero"/>
        <c:auto val="1"/>
        <c:lblAlgn val="ctr"/>
        <c:lblOffset val="100"/>
        <c:noMultiLvlLbl val="0"/>
      </c:catAx>
      <c:spPr>
        <a:noFill/>
        <a:ln>
          <a:noFill/>
        </a:ln>
        <a:effectLst/>
      </c:spPr>
    </c:plotArea>
    <c:legend>
      <c:legendPos val="t"/>
      <c:legendEntry>
        <c:idx val="0"/>
        <c:delete val="1"/>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harts!$B$79</c:f>
              <c:strCache>
                <c:ptCount val="1"/>
                <c:pt idx="0">
                  <c:v>LTV Cars</c:v>
                </c:pt>
              </c:strCache>
            </c:strRef>
          </c:tx>
          <c:spPr>
            <a:ln w="19050" cap="rnd" cmpd="sng" algn="ctr">
              <a:solidFill>
                <a:schemeClr val="accent6"/>
              </a:solidFill>
              <a:prstDash val="solid"/>
              <a:round/>
            </a:ln>
            <a:effectLst/>
          </c:spPr>
          <c:marker>
            <c:symbol val="none"/>
          </c:marker>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Charts!$A$80:$A$86</c:f>
              <c:strCache>
                <c:ptCount val="7"/>
                <c:pt idx="0">
                  <c:v>FY17</c:v>
                </c:pt>
                <c:pt idx="1">
                  <c:v>FY18</c:v>
                </c:pt>
                <c:pt idx="2">
                  <c:v>FY19</c:v>
                </c:pt>
                <c:pt idx="3">
                  <c:v>FY20</c:v>
                </c:pt>
                <c:pt idx="4">
                  <c:v>FY21</c:v>
                </c:pt>
                <c:pt idx="5">
                  <c:v>FY22E</c:v>
                </c:pt>
                <c:pt idx="6">
                  <c:v>FY23P</c:v>
                </c:pt>
              </c:strCache>
            </c:strRef>
          </c:cat>
          <c:val>
            <c:numRef>
              <c:f>Charts!$B$80:$B$86</c:f>
              <c:numCache>
                <c:formatCode>0.0%</c:formatCode>
                <c:ptCount val="7"/>
                <c:pt idx="0">
                  <c:v>0.9</c:v>
                </c:pt>
                <c:pt idx="1">
                  <c:v>0.90500000000000003</c:v>
                </c:pt>
                <c:pt idx="2">
                  <c:v>0.9</c:v>
                </c:pt>
                <c:pt idx="3">
                  <c:v>0.9</c:v>
                </c:pt>
                <c:pt idx="4">
                  <c:v>0.89500000000000002</c:v>
                </c:pt>
                <c:pt idx="5" formatCode="0%">
                  <c:v>0.9</c:v>
                </c:pt>
                <c:pt idx="6" formatCode="0%">
                  <c:v>0.90500000000000003</c:v>
                </c:pt>
              </c:numCache>
            </c:numRef>
          </c:val>
          <c:smooth val="1"/>
          <c:extLst>
            <c:ext xmlns:c16="http://schemas.microsoft.com/office/drawing/2014/chart" uri="{C3380CC4-5D6E-409C-BE32-E72D297353CC}">
              <c16:uniqueId val="{00000000-138D-49AD-B8E7-14D487E266A2}"/>
            </c:ext>
          </c:extLst>
        </c:ser>
        <c:ser>
          <c:idx val="1"/>
          <c:order val="1"/>
          <c:tx>
            <c:strRef>
              <c:f>Charts!$C$79</c:f>
              <c:strCache>
                <c:ptCount val="1"/>
                <c:pt idx="0">
                  <c:v>LTV UVs</c:v>
                </c:pt>
              </c:strCache>
            </c:strRef>
          </c:tx>
          <c:spPr>
            <a:ln w="19050" cap="rnd" cmpd="sng" algn="ctr">
              <a:solidFill>
                <a:schemeClr val="accent5"/>
              </a:solidFill>
              <a:prstDash val="solid"/>
              <a:round/>
            </a:ln>
            <a:effectLst/>
          </c:spPr>
          <c:marker>
            <c:symbol val="none"/>
          </c:marker>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Charts!$A$80:$A$86</c:f>
              <c:strCache>
                <c:ptCount val="7"/>
                <c:pt idx="0">
                  <c:v>FY17</c:v>
                </c:pt>
                <c:pt idx="1">
                  <c:v>FY18</c:v>
                </c:pt>
                <c:pt idx="2">
                  <c:v>FY19</c:v>
                </c:pt>
                <c:pt idx="3">
                  <c:v>FY20</c:v>
                </c:pt>
                <c:pt idx="4">
                  <c:v>FY21</c:v>
                </c:pt>
                <c:pt idx="5">
                  <c:v>FY22E</c:v>
                </c:pt>
                <c:pt idx="6">
                  <c:v>FY23P</c:v>
                </c:pt>
              </c:strCache>
            </c:strRef>
          </c:cat>
          <c:val>
            <c:numRef>
              <c:f>Charts!$C$80:$C$86</c:f>
              <c:numCache>
                <c:formatCode>0.0%</c:formatCode>
                <c:ptCount val="7"/>
                <c:pt idx="0">
                  <c:v>0.86980000000000002</c:v>
                </c:pt>
                <c:pt idx="1">
                  <c:v>0.87880000000000003</c:v>
                </c:pt>
                <c:pt idx="2">
                  <c:v>0.875</c:v>
                </c:pt>
                <c:pt idx="3">
                  <c:v>0.875</c:v>
                </c:pt>
                <c:pt idx="4">
                  <c:v>0.87</c:v>
                </c:pt>
                <c:pt idx="5" formatCode="0.00%">
                  <c:v>0.875</c:v>
                </c:pt>
                <c:pt idx="6" formatCode="0%">
                  <c:v>0.88</c:v>
                </c:pt>
              </c:numCache>
            </c:numRef>
          </c:val>
          <c:smooth val="1"/>
          <c:extLst>
            <c:ext xmlns:c16="http://schemas.microsoft.com/office/drawing/2014/chart" uri="{C3380CC4-5D6E-409C-BE32-E72D297353CC}">
              <c16:uniqueId val="{00000001-138D-49AD-B8E7-14D487E266A2}"/>
            </c:ext>
          </c:extLst>
        </c:ser>
        <c:dLbls>
          <c:dLblPos val="t"/>
          <c:showLegendKey val="0"/>
          <c:showVal val="1"/>
          <c:showCatName val="0"/>
          <c:showSerName val="0"/>
          <c:showPercent val="0"/>
          <c:showBubbleSize val="0"/>
        </c:dLbls>
        <c:smooth val="0"/>
        <c:axId val="1360336448"/>
        <c:axId val="1360328288"/>
      </c:lineChart>
      <c:catAx>
        <c:axId val="1360336448"/>
        <c:scaling>
          <c:orientation val="minMax"/>
        </c:scaling>
        <c:delete val="0"/>
        <c:axPos val="b"/>
        <c:numFmt formatCode="General" sourceLinked="1"/>
        <c:majorTickMark val="out"/>
        <c:minorTickMark val="none"/>
        <c:tickLblPos val="nextTo"/>
        <c:spPr>
          <a:noFill/>
          <a:ln w="9525" cap="flat" cmpd="sng" algn="ctr">
            <a:solidFill>
              <a:schemeClr val="bg1">
                <a:lumMod val="75000"/>
              </a:schemeClr>
            </a:solidFill>
            <a:prstDash val="solid"/>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60328288"/>
        <c:crosses val="autoZero"/>
        <c:auto val="1"/>
        <c:lblAlgn val="ctr"/>
        <c:lblOffset val="100"/>
        <c:noMultiLvlLbl val="0"/>
      </c:catAx>
      <c:valAx>
        <c:axId val="1360328288"/>
        <c:scaling>
          <c:orientation val="minMax"/>
        </c:scaling>
        <c:delete val="1"/>
        <c:axPos val="l"/>
        <c:numFmt formatCode="0.0%" sourceLinked="1"/>
        <c:majorTickMark val="out"/>
        <c:minorTickMark val="none"/>
        <c:tickLblPos val="nextTo"/>
        <c:crossAx val="13603364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prstDash val="solid"/>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V!$C$4</c:f>
              <c:strCache>
                <c:ptCount val="1"/>
                <c:pt idx="0">
                  <c:v>Disbursement</c:v>
                </c:pt>
              </c:strCache>
            </c:strRef>
          </c:tx>
          <c:spPr>
            <a:solidFill>
              <a:schemeClr val="accent6"/>
            </a:solidFill>
            <a:ln>
              <a:noFill/>
            </a:ln>
            <a:effectLst/>
          </c:spPr>
          <c:invertIfNegative val="0"/>
          <c:cat>
            <c:strRef>
              <c:f>PV!$B$5:$B$14</c:f>
              <c:strCache>
                <c:ptCount val="10"/>
                <c:pt idx="0">
                  <c:v>FY 14</c:v>
                </c:pt>
                <c:pt idx="1">
                  <c:v>FY 15</c:v>
                </c:pt>
                <c:pt idx="2">
                  <c:v>FY 16</c:v>
                </c:pt>
                <c:pt idx="3">
                  <c:v>FY 17</c:v>
                </c:pt>
                <c:pt idx="4">
                  <c:v>FY 18</c:v>
                </c:pt>
                <c:pt idx="5">
                  <c:v>FY 19</c:v>
                </c:pt>
                <c:pt idx="6">
                  <c:v>FY 20 </c:v>
                </c:pt>
                <c:pt idx="7">
                  <c:v>FY 21</c:v>
                </c:pt>
                <c:pt idx="8">
                  <c:v>FY 22E</c:v>
                </c:pt>
                <c:pt idx="9">
                  <c:v>FY 23P</c:v>
                </c:pt>
              </c:strCache>
            </c:strRef>
          </c:cat>
          <c:val>
            <c:numRef>
              <c:f>PV!$C$5:$C$14</c:f>
              <c:numCache>
                <c:formatCode>General</c:formatCode>
                <c:ptCount val="10"/>
                <c:pt idx="0">
                  <c:v>696</c:v>
                </c:pt>
                <c:pt idx="1">
                  <c:v>741</c:v>
                </c:pt>
                <c:pt idx="2">
                  <c:v>714</c:v>
                </c:pt>
                <c:pt idx="3">
                  <c:v>981</c:v>
                </c:pt>
                <c:pt idx="4">
                  <c:v>1144</c:v>
                </c:pt>
                <c:pt idx="5" formatCode="0">
                  <c:v>1244</c:v>
                </c:pt>
                <c:pt idx="6" formatCode="0">
                  <c:v>1128</c:v>
                </c:pt>
                <c:pt idx="7" formatCode="0">
                  <c:v>1082.8799999999999</c:v>
                </c:pt>
                <c:pt idx="8" formatCode="0">
                  <c:v>1299.4559999999999</c:v>
                </c:pt>
                <c:pt idx="9" formatCode="0">
                  <c:v>1572.3417599999998</c:v>
                </c:pt>
              </c:numCache>
            </c:numRef>
          </c:val>
          <c:extLst>
            <c:ext xmlns:c16="http://schemas.microsoft.com/office/drawing/2014/chart" uri="{C3380CC4-5D6E-409C-BE32-E72D297353CC}">
              <c16:uniqueId val="{00000000-E30E-483E-9D1F-6A81289C5DD3}"/>
            </c:ext>
          </c:extLst>
        </c:ser>
        <c:dLbls>
          <c:showLegendKey val="0"/>
          <c:showVal val="0"/>
          <c:showCatName val="0"/>
          <c:showSerName val="0"/>
          <c:showPercent val="0"/>
          <c:showBubbleSize val="0"/>
        </c:dLbls>
        <c:gapWidth val="219"/>
        <c:overlap val="-27"/>
        <c:axId val="826827856"/>
        <c:axId val="826830032"/>
      </c:barChart>
      <c:lineChart>
        <c:grouping val="standard"/>
        <c:varyColors val="0"/>
        <c:ser>
          <c:idx val="1"/>
          <c:order val="1"/>
          <c:tx>
            <c:strRef>
              <c:f>PV!$D$4</c:f>
              <c:strCache>
                <c:ptCount val="1"/>
                <c:pt idx="0">
                  <c:v>Y-o-Y Growth</c:v>
                </c:pt>
              </c:strCache>
            </c:strRef>
          </c:tx>
          <c:spPr>
            <a:ln w="19050" cap="rnd" cmpd="sng" algn="ctr">
              <a:solidFill>
                <a:schemeClr val="accent5"/>
              </a:solidFill>
              <a:prstDash val="solid"/>
              <a:round/>
            </a:ln>
            <a:effectLst/>
          </c:spPr>
          <c:marker>
            <c:symbol val="none"/>
          </c:marker>
          <c:cat>
            <c:strRef>
              <c:f>PV!$B$5:$B$14</c:f>
              <c:strCache>
                <c:ptCount val="10"/>
                <c:pt idx="0">
                  <c:v>FY 14</c:v>
                </c:pt>
                <c:pt idx="1">
                  <c:v>FY 15</c:v>
                </c:pt>
                <c:pt idx="2">
                  <c:v>FY 16</c:v>
                </c:pt>
                <c:pt idx="3">
                  <c:v>FY 17</c:v>
                </c:pt>
                <c:pt idx="4">
                  <c:v>FY 18</c:v>
                </c:pt>
                <c:pt idx="5">
                  <c:v>FY 19</c:v>
                </c:pt>
                <c:pt idx="6">
                  <c:v>FY 20 </c:v>
                </c:pt>
                <c:pt idx="7">
                  <c:v>FY 21</c:v>
                </c:pt>
                <c:pt idx="8">
                  <c:v>FY 22E</c:v>
                </c:pt>
                <c:pt idx="9">
                  <c:v>FY 23P</c:v>
                </c:pt>
              </c:strCache>
            </c:strRef>
          </c:cat>
          <c:val>
            <c:numRef>
              <c:f>PV!$D$5:$D$14</c:f>
              <c:numCache>
                <c:formatCode>0%</c:formatCode>
                <c:ptCount val="10"/>
                <c:pt idx="1">
                  <c:v>6.4655172413793149E-2</c:v>
                </c:pt>
                <c:pt idx="2">
                  <c:v>-3.6437246963562764E-2</c:v>
                </c:pt>
                <c:pt idx="3">
                  <c:v>0.37394957983193278</c:v>
                </c:pt>
                <c:pt idx="4">
                  <c:v>0.16615698267074408</c:v>
                </c:pt>
                <c:pt idx="5">
                  <c:v>8.7412587412587506E-2</c:v>
                </c:pt>
                <c:pt idx="6">
                  <c:v>-9.3247588424437255E-2</c:v>
                </c:pt>
                <c:pt idx="7">
                  <c:v>-0.04</c:v>
                </c:pt>
                <c:pt idx="8">
                  <c:v>0.2</c:v>
                </c:pt>
                <c:pt idx="9">
                  <c:v>0.21</c:v>
                </c:pt>
              </c:numCache>
            </c:numRef>
          </c:val>
          <c:smooth val="0"/>
          <c:extLst>
            <c:ext xmlns:c16="http://schemas.microsoft.com/office/drawing/2014/chart" uri="{C3380CC4-5D6E-409C-BE32-E72D297353CC}">
              <c16:uniqueId val="{00000001-E30E-483E-9D1F-6A81289C5DD3}"/>
            </c:ext>
          </c:extLst>
        </c:ser>
        <c:dLbls>
          <c:showLegendKey val="0"/>
          <c:showVal val="0"/>
          <c:showCatName val="0"/>
          <c:showSerName val="0"/>
          <c:showPercent val="0"/>
          <c:showBubbleSize val="0"/>
        </c:dLbls>
        <c:marker val="1"/>
        <c:smooth val="0"/>
        <c:axId val="826821328"/>
        <c:axId val="826820784"/>
      </c:lineChart>
      <c:catAx>
        <c:axId val="826827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26830032"/>
        <c:crosses val="autoZero"/>
        <c:auto val="1"/>
        <c:lblAlgn val="ctr"/>
        <c:lblOffset val="100"/>
        <c:noMultiLvlLbl val="0"/>
      </c:catAx>
      <c:valAx>
        <c:axId val="826830032"/>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r>
                  <a:rPr lang="en-US" b="0"/>
                  <a:t>In Rs. billion</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6350" cap="flat" cmpd="sng" algn="ctr">
            <a:solidFill>
              <a:schemeClr val="bg1">
                <a:lumMod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26827856"/>
        <c:crosses val="autoZero"/>
        <c:crossBetween val="between"/>
      </c:valAx>
      <c:valAx>
        <c:axId val="826820784"/>
        <c:scaling>
          <c:orientation val="minMax"/>
        </c:scaling>
        <c:delete val="0"/>
        <c:axPos val="r"/>
        <c:numFmt formatCode="0%" sourceLinked="0"/>
        <c:majorTickMark val="out"/>
        <c:minorTickMark val="none"/>
        <c:tickLblPos val="nextTo"/>
        <c:spPr>
          <a:noFill/>
          <a:ln w="6350" cap="flat" cmpd="sng" algn="ctr">
            <a:solidFill>
              <a:schemeClr val="bg1">
                <a:lumMod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26821328"/>
        <c:crosses val="max"/>
        <c:crossBetween val="between"/>
        <c:majorUnit val="0.1"/>
      </c:valAx>
      <c:catAx>
        <c:axId val="826821328"/>
        <c:scaling>
          <c:orientation val="minMax"/>
        </c:scaling>
        <c:delete val="1"/>
        <c:axPos val="b"/>
        <c:numFmt formatCode="General" sourceLinked="1"/>
        <c:majorTickMark val="none"/>
        <c:minorTickMark val="none"/>
        <c:tickLblPos val="nextTo"/>
        <c:crossAx val="8268207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prstDash val="solid"/>
      <a:round/>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harts!$B$87</c:f>
              <c:strCache>
                <c:ptCount val="1"/>
                <c:pt idx="0">
                  <c:v>Financing Penetration Cars</c:v>
                </c:pt>
              </c:strCache>
            </c:strRef>
          </c:tx>
          <c:spPr>
            <a:ln w="28575" cap="rnd">
              <a:solidFill>
                <a:schemeClr val="accent6"/>
              </a:solidFill>
              <a:round/>
            </a:ln>
            <a:effectLst/>
          </c:spPr>
          <c:marker>
            <c:symbol val="none"/>
          </c:marker>
          <c:dLbls>
            <c:dLbl>
              <c:idx val="0"/>
              <c:tx>
                <c:rich>
                  <a:bodyPr/>
                  <a:lstStyle/>
                  <a:p>
                    <a:r>
                      <a:rPr lang="en-US"/>
                      <a:t>7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B9E-4D3A-911C-B83CDF2C33C0}"/>
                </c:ext>
              </c:extLst>
            </c:dLbl>
            <c:dLbl>
              <c:idx val="1"/>
              <c:delete val="1"/>
              <c:extLst>
                <c:ext xmlns:c15="http://schemas.microsoft.com/office/drawing/2012/chart" uri="{CE6537A1-D6FC-4f65-9D91-7224C49458BB}"/>
                <c:ext xmlns:c16="http://schemas.microsoft.com/office/drawing/2014/chart" uri="{C3380CC4-5D6E-409C-BE32-E72D297353CC}">
                  <c16:uniqueId val="{0000000D-8B9E-4D3A-911C-B83CDF2C33C0}"/>
                </c:ext>
              </c:extLst>
            </c:dLbl>
            <c:dLbl>
              <c:idx val="2"/>
              <c:delete val="1"/>
              <c:extLst>
                <c:ext xmlns:c15="http://schemas.microsoft.com/office/drawing/2012/chart" uri="{CE6537A1-D6FC-4f65-9D91-7224C49458BB}"/>
                <c:ext xmlns:c16="http://schemas.microsoft.com/office/drawing/2014/chart" uri="{C3380CC4-5D6E-409C-BE32-E72D297353CC}">
                  <c16:uniqueId val="{0000000B-8B9E-4D3A-911C-B83CDF2C33C0}"/>
                </c:ext>
              </c:extLst>
            </c:dLbl>
            <c:dLbl>
              <c:idx val="3"/>
              <c:delete val="1"/>
              <c:extLst>
                <c:ext xmlns:c15="http://schemas.microsoft.com/office/drawing/2012/chart" uri="{CE6537A1-D6FC-4f65-9D91-7224C49458BB}"/>
                <c:ext xmlns:c16="http://schemas.microsoft.com/office/drawing/2014/chart" uri="{C3380CC4-5D6E-409C-BE32-E72D297353CC}">
                  <c16:uniqueId val="{0000000A-8B9E-4D3A-911C-B83CDF2C33C0}"/>
                </c:ext>
              </c:extLst>
            </c:dLbl>
            <c:dLbl>
              <c:idx val="4"/>
              <c:tx>
                <c:rich>
                  <a:bodyPr/>
                  <a:lstStyle/>
                  <a:p>
                    <a:r>
                      <a:rPr lang="en-US"/>
                      <a:t>77-79%</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B9E-4D3A-911C-B83CDF2C33C0}"/>
                </c:ext>
              </c:extLst>
            </c:dLbl>
            <c:dLbl>
              <c:idx val="5"/>
              <c:tx>
                <c:rich>
                  <a:bodyPr/>
                  <a:lstStyle/>
                  <a:p>
                    <a:r>
                      <a:rPr lang="en-US"/>
                      <a:t>78-80%</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B9E-4D3A-911C-B83CDF2C33C0}"/>
                </c:ext>
              </c:extLst>
            </c:dLbl>
            <c:dLbl>
              <c:idx val="6"/>
              <c:tx>
                <c:rich>
                  <a:bodyPr/>
                  <a:lstStyle/>
                  <a:p>
                    <a:r>
                      <a:rPr lang="en-US"/>
                      <a:t>78-80%</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8B9E-4D3A-911C-B83CDF2C33C0}"/>
                </c:ext>
              </c:extLst>
            </c:dLbl>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s!$A$88:$A$94</c:f>
              <c:strCache>
                <c:ptCount val="7"/>
                <c:pt idx="0">
                  <c:v>FY17</c:v>
                </c:pt>
                <c:pt idx="1">
                  <c:v>FY18</c:v>
                </c:pt>
                <c:pt idx="2">
                  <c:v>FY19</c:v>
                </c:pt>
                <c:pt idx="3">
                  <c:v>FY20</c:v>
                </c:pt>
                <c:pt idx="4">
                  <c:v>FY21</c:v>
                </c:pt>
                <c:pt idx="5">
                  <c:v>FY22E</c:v>
                </c:pt>
                <c:pt idx="6">
                  <c:v>FY23P</c:v>
                </c:pt>
              </c:strCache>
            </c:strRef>
          </c:cat>
          <c:val>
            <c:numRef>
              <c:f>Charts!$B$88:$B$94</c:f>
              <c:numCache>
                <c:formatCode>0.0%</c:formatCode>
                <c:ptCount val="7"/>
                <c:pt idx="0">
                  <c:v>0.76500000000000001</c:v>
                </c:pt>
                <c:pt idx="1">
                  <c:v>0.77</c:v>
                </c:pt>
                <c:pt idx="2">
                  <c:v>0.77500000000000002</c:v>
                </c:pt>
                <c:pt idx="3">
                  <c:v>0.78</c:v>
                </c:pt>
                <c:pt idx="4">
                  <c:v>0.78200000000000003</c:v>
                </c:pt>
                <c:pt idx="5">
                  <c:v>0.78700000000000003</c:v>
                </c:pt>
                <c:pt idx="6">
                  <c:v>0.78700000000000003</c:v>
                </c:pt>
              </c:numCache>
            </c:numRef>
          </c:val>
          <c:smooth val="1"/>
          <c:extLst>
            <c:ext xmlns:c16="http://schemas.microsoft.com/office/drawing/2014/chart" uri="{C3380CC4-5D6E-409C-BE32-E72D297353CC}">
              <c16:uniqueId val="{00000000-8B9E-4D3A-911C-B83CDF2C33C0}"/>
            </c:ext>
          </c:extLst>
        </c:ser>
        <c:ser>
          <c:idx val="1"/>
          <c:order val="1"/>
          <c:tx>
            <c:strRef>
              <c:f>Charts!$C$87</c:f>
              <c:strCache>
                <c:ptCount val="1"/>
                <c:pt idx="0">
                  <c:v>Financing Penetration UVs</c:v>
                </c:pt>
              </c:strCache>
            </c:strRef>
          </c:tx>
          <c:spPr>
            <a:ln w="28575" cap="rnd">
              <a:solidFill>
                <a:schemeClr val="accent5"/>
              </a:solidFill>
              <a:round/>
            </a:ln>
            <a:effectLst/>
          </c:spPr>
          <c:marker>
            <c:symbol val="none"/>
          </c:marker>
          <c:dLbls>
            <c:dLbl>
              <c:idx val="0"/>
              <c:tx>
                <c:rich>
                  <a:bodyPr/>
                  <a:lstStyle/>
                  <a:p>
                    <a:r>
                      <a:rPr lang="en-US"/>
                      <a:t>70-7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B9E-4D3A-911C-B83CDF2C33C0}"/>
                </c:ext>
              </c:extLst>
            </c:dLbl>
            <c:dLbl>
              <c:idx val="1"/>
              <c:delete val="1"/>
              <c:extLst>
                <c:ext xmlns:c15="http://schemas.microsoft.com/office/drawing/2012/chart" uri="{CE6537A1-D6FC-4f65-9D91-7224C49458BB}"/>
                <c:ext xmlns:c16="http://schemas.microsoft.com/office/drawing/2014/chart" uri="{C3380CC4-5D6E-409C-BE32-E72D297353CC}">
                  <c16:uniqueId val="{0000000E-8B9E-4D3A-911C-B83CDF2C33C0}"/>
                </c:ext>
              </c:extLst>
            </c:dLbl>
            <c:dLbl>
              <c:idx val="2"/>
              <c:delete val="1"/>
              <c:extLst>
                <c:ext xmlns:c15="http://schemas.microsoft.com/office/drawing/2012/chart" uri="{CE6537A1-D6FC-4f65-9D91-7224C49458BB}"/>
                <c:ext xmlns:c16="http://schemas.microsoft.com/office/drawing/2014/chart" uri="{C3380CC4-5D6E-409C-BE32-E72D297353CC}">
                  <c16:uniqueId val="{0000000C-8B9E-4D3A-911C-B83CDF2C33C0}"/>
                </c:ext>
              </c:extLst>
            </c:dLbl>
            <c:dLbl>
              <c:idx val="3"/>
              <c:delete val="1"/>
              <c:extLst>
                <c:ext xmlns:c15="http://schemas.microsoft.com/office/drawing/2012/chart" uri="{CE6537A1-D6FC-4f65-9D91-7224C49458BB}"/>
                <c:ext xmlns:c16="http://schemas.microsoft.com/office/drawing/2014/chart" uri="{C3380CC4-5D6E-409C-BE32-E72D297353CC}">
                  <c16:uniqueId val="{00000009-8B9E-4D3A-911C-B83CDF2C33C0}"/>
                </c:ext>
              </c:extLst>
            </c:dLbl>
            <c:dLbl>
              <c:idx val="4"/>
              <c:tx>
                <c:rich>
                  <a:bodyPr/>
                  <a:lstStyle/>
                  <a:p>
                    <a:r>
                      <a:rPr lang="en-US"/>
                      <a:t>74-7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B9E-4D3A-911C-B83CDF2C33C0}"/>
                </c:ext>
              </c:extLst>
            </c:dLbl>
            <c:dLbl>
              <c:idx val="5"/>
              <c:layout>
                <c:manualLayout>
                  <c:x val="-8.0610558339865149E-2"/>
                  <c:y val="-3.273074625811339E-2"/>
                </c:manualLayout>
              </c:layout>
              <c:tx>
                <c:rich>
                  <a:bodyPr/>
                  <a:lstStyle/>
                  <a:p>
                    <a:r>
                      <a:rPr lang="en-US" dirty="0"/>
                      <a:t>75-77%</a:t>
                    </a:r>
                  </a:p>
                </c:rich>
              </c:tx>
              <c:dLblPos val="r"/>
              <c:showLegendKey val="0"/>
              <c:showVal val="1"/>
              <c:showCatName val="0"/>
              <c:showSerName val="0"/>
              <c:showPercent val="0"/>
              <c:showBubbleSize val="0"/>
              <c:extLst>
                <c:ext xmlns:c15="http://schemas.microsoft.com/office/drawing/2012/chart" uri="{CE6537A1-D6FC-4f65-9D91-7224C49458BB}">
                  <c15:layout>
                    <c:manualLayout>
                      <c:w val="0.13888068660295438"/>
                      <c:h val="8.5488020475598503E-2"/>
                    </c:manualLayout>
                  </c15:layout>
                  <c15:showDataLabelsRange val="0"/>
                </c:ext>
                <c:ext xmlns:c16="http://schemas.microsoft.com/office/drawing/2014/chart" uri="{C3380CC4-5D6E-409C-BE32-E72D297353CC}">
                  <c16:uniqueId val="{00000008-8B9E-4D3A-911C-B83CDF2C33C0}"/>
                </c:ext>
              </c:extLst>
            </c:dLbl>
            <c:dLbl>
              <c:idx val="6"/>
              <c:tx>
                <c:rich>
                  <a:bodyPr/>
                  <a:lstStyle/>
                  <a:p>
                    <a:r>
                      <a:rPr lang="en-US"/>
                      <a:t>75-7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8B9E-4D3A-911C-B83CDF2C33C0}"/>
                </c:ext>
              </c:extLst>
            </c:dLbl>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s!$A$88:$A$94</c:f>
              <c:strCache>
                <c:ptCount val="7"/>
                <c:pt idx="0">
                  <c:v>FY17</c:v>
                </c:pt>
                <c:pt idx="1">
                  <c:v>FY18</c:v>
                </c:pt>
                <c:pt idx="2">
                  <c:v>FY19</c:v>
                </c:pt>
                <c:pt idx="3">
                  <c:v>FY20</c:v>
                </c:pt>
                <c:pt idx="4">
                  <c:v>FY21</c:v>
                </c:pt>
                <c:pt idx="5">
                  <c:v>FY22E</c:v>
                </c:pt>
                <c:pt idx="6">
                  <c:v>FY23P</c:v>
                </c:pt>
              </c:strCache>
            </c:strRef>
          </c:cat>
          <c:val>
            <c:numRef>
              <c:f>Charts!$C$88:$C$94</c:f>
              <c:numCache>
                <c:formatCode>0.0%</c:formatCode>
                <c:ptCount val="7"/>
                <c:pt idx="0">
                  <c:v>0.71000000000000008</c:v>
                </c:pt>
                <c:pt idx="1">
                  <c:v>0.72500000000000009</c:v>
                </c:pt>
                <c:pt idx="2">
                  <c:v>0.7400000000000001</c:v>
                </c:pt>
                <c:pt idx="3">
                  <c:v>0.75</c:v>
                </c:pt>
                <c:pt idx="4">
                  <c:v>0.75</c:v>
                </c:pt>
                <c:pt idx="5">
                  <c:v>0.755</c:v>
                </c:pt>
                <c:pt idx="6">
                  <c:v>0.755</c:v>
                </c:pt>
              </c:numCache>
            </c:numRef>
          </c:val>
          <c:smooth val="1"/>
          <c:extLst>
            <c:ext xmlns:c16="http://schemas.microsoft.com/office/drawing/2014/chart" uri="{C3380CC4-5D6E-409C-BE32-E72D297353CC}">
              <c16:uniqueId val="{00000001-8B9E-4D3A-911C-B83CDF2C33C0}"/>
            </c:ext>
          </c:extLst>
        </c:ser>
        <c:dLbls>
          <c:dLblPos val="t"/>
          <c:showLegendKey val="0"/>
          <c:showVal val="1"/>
          <c:showCatName val="0"/>
          <c:showSerName val="0"/>
          <c:showPercent val="0"/>
          <c:showBubbleSize val="0"/>
        </c:dLbls>
        <c:smooth val="0"/>
        <c:axId val="1054662488"/>
        <c:axId val="1172533064"/>
      </c:lineChart>
      <c:catAx>
        <c:axId val="1054662488"/>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72533064"/>
        <c:crosses val="autoZero"/>
        <c:auto val="1"/>
        <c:lblAlgn val="ctr"/>
        <c:lblOffset val="100"/>
        <c:noMultiLvlLbl val="0"/>
      </c:catAx>
      <c:valAx>
        <c:axId val="1172533064"/>
        <c:scaling>
          <c:orientation val="minMax"/>
        </c:scaling>
        <c:delete val="1"/>
        <c:axPos val="l"/>
        <c:numFmt formatCode="0.0%" sourceLinked="1"/>
        <c:majorTickMark val="out"/>
        <c:minorTickMark val="none"/>
        <c:tickLblPos val="nextTo"/>
        <c:crossAx val="1054662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B$3</c:f>
              <c:strCache>
                <c:ptCount val="1"/>
                <c:pt idx="0">
                  <c:v>Retai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F$1:$Z$2</c:f>
              <c:multiLvlStrCache>
                <c:ptCount val="21"/>
                <c:lvl>
                  <c:pt idx="0">
                    <c:v>Jul</c:v>
                  </c:pt>
                  <c:pt idx="1">
                    <c:v>Aug</c:v>
                  </c:pt>
                  <c:pt idx="2">
                    <c:v>Sep</c:v>
                  </c:pt>
                  <c:pt idx="3">
                    <c:v>Oct</c:v>
                  </c:pt>
                  <c:pt idx="4">
                    <c:v>Nov</c:v>
                  </c:pt>
                  <c:pt idx="5">
                    <c:v>Dec</c:v>
                  </c:pt>
                  <c:pt idx="6">
                    <c:v>Jan</c:v>
                  </c:pt>
                  <c:pt idx="7">
                    <c:v>Feb</c:v>
                  </c:pt>
                  <c:pt idx="8">
                    <c:v>Mar</c:v>
                  </c:pt>
                  <c:pt idx="9">
                    <c:v>Apr</c:v>
                  </c:pt>
                  <c:pt idx="10">
                    <c:v>May</c:v>
                  </c:pt>
                  <c:pt idx="11">
                    <c:v>Jun</c:v>
                  </c:pt>
                  <c:pt idx="12">
                    <c:v>Jul</c:v>
                  </c:pt>
                  <c:pt idx="13">
                    <c:v>Aug</c:v>
                  </c:pt>
                  <c:pt idx="14">
                    <c:v>Sep</c:v>
                  </c:pt>
                  <c:pt idx="15">
                    <c:v>Oct</c:v>
                  </c:pt>
                  <c:pt idx="16">
                    <c:v>Nov</c:v>
                  </c:pt>
                  <c:pt idx="17">
                    <c:v>Dec</c:v>
                  </c:pt>
                  <c:pt idx="18">
                    <c:v>Jan</c:v>
                  </c:pt>
                  <c:pt idx="19">
                    <c:v>Feb</c:v>
                  </c:pt>
                  <c:pt idx="20">
                    <c:v>Mar</c:v>
                  </c:pt>
                </c:lvl>
                <c:lvl>
                  <c:pt idx="0">
                    <c:v>FY21</c:v>
                  </c:pt>
                  <c:pt idx="9">
                    <c:v>FY22</c:v>
                  </c:pt>
                </c:lvl>
              </c:multiLvlStrCache>
            </c:multiLvlStrRef>
          </c:cat>
          <c:val>
            <c:numRef>
              <c:f>Sheet2!$F$3:$Z$3</c:f>
              <c:numCache>
                <c:formatCode>0</c:formatCode>
                <c:ptCount val="21"/>
                <c:pt idx="0">
                  <c:v>178.26480000000001</c:v>
                </c:pt>
                <c:pt idx="1">
                  <c:v>203.03472000000002</c:v>
                </c:pt>
                <c:pt idx="2">
                  <c:v>213.5616</c:v>
                </c:pt>
                <c:pt idx="3">
                  <c:v>285.75904000000003</c:v>
                </c:pt>
                <c:pt idx="4">
                  <c:v>331.52672000000001</c:v>
                </c:pt>
                <c:pt idx="5">
                  <c:v>299.21584000000001</c:v>
                </c:pt>
                <c:pt idx="6">
                  <c:v>315.46592000000004</c:v>
                </c:pt>
                <c:pt idx="7">
                  <c:v>284.54496</c:v>
                </c:pt>
                <c:pt idx="8">
                  <c:v>313.31440000000003</c:v>
                </c:pt>
                <c:pt idx="9">
                  <c:v>232</c:v>
                </c:pt>
                <c:pt idx="10">
                  <c:v>96.105000000000004</c:v>
                </c:pt>
                <c:pt idx="11" formatCode="General">
                  <c:v>205</c:v>
                </c:pt>
                <c:pt idx="12">
                  <c:v>296</c:v>
                </c:pt>
                <c:pt idx="13">
                  <c:v>288</c:v>
                </c:pt>
                <c:pt idx="14" formatCode="General">
                  <c:v>264</c:v>
                </c:pt>
                <c:pt idx="15" formatCode="_ * #,##0_ ;_ * \-#,##0_ ;_ * &quot;-&quot;??_ ;_ @_ ">
                  <c:v>228</c:v>
                </c:pt>
                <c:pt idx="16" formatCode="_ * #,##0_ ;_ * \-#,##0_ ;_ * &quot;-&quot;??_ ;_ @_ ">
                  <c:v>240</c:v>
                </c:pt>
                <c:pt idx="17" formatCode="_ * #,##0_ ;_ * \-#,##0_ ;_ * &quot;-&quot;??_ ;_ @_ ">
                  <c:v>245</c:v>
                </c:pt>
                <c:pt idx="18" formatCode="_ * #,##0_ ;_ * \-#,##0_ ;_ * &quot;-&quot;??_ ;_ @_ ">
                  <c:v>259</c:v>
                </c:pt>
                <c:pt idx="19" formatCode="_ * #,##0_ ;_ * \-#,##0_ ;_ * &quot;-&quot;??_ ;_ @_ ">
                  <c:v>240</c:v>
                </c:pt>
                <c:pt idx="20" formatCode="_ * #,##0_ ;_ * \-#,##0_ ;_ * &quot;-&quot;??_ ;_ @_ ">
                  <c:v>270</c:v>
                </c:pt>
              </c:numCache>
            </c:numRef>
          </c:val>
          <c:extLst>
            <c:ext xmlns:c16="http://schemas.microsoft.com/office/drawing/2014/chart" uri="{C3380CC4-5D6E-409C-BE32-E72D297353CC}">
              <c16:uniqueId val="{00000000-06CD-4F9A-BE8D-16CA8F7ED9DA}"/>
            </c:ext>
          </c:extLst>
        </c:ser>
        <c:ser>
          <c:idx val="1"/>
          <c:order val="1"/>
          <c:tx>
            <c:strRef>
              <c:f>Sheet2!$B$4</c:f>
              <c:strCache>
                <c:ptCount val="1"/>
                <c:pt idx="0">
                  <c:v>Offtak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2!$F$1:$Z$2</c:f>
              <c:multiLvlStrCache>
                <c:ptCount val="21"/>
                <c:lvl>
                  <c:pt idx="0">
                    <c:v>Jul</c:v>
                  </c:pt>
                  <c:pt idx="1">
                    <c:v>Aug</c:v>
                  </c:pt>
                  <c:pt idx="2">
                    <c:v>Sep</c:v>
                  </c:pt>
                  <c:pt idx="3">
                    <c:v>Oct</c:v>
                  </c:pt>
                  <c:pt idx="4">
                    <c:v>Nov</c:v>
                  </c:pt>
                  <c:pt idx="5">
                    <c:v>Dec</c:v>
                  </c:pt>
                  <c:pt idx="6">
                    <c:v>Jan</c:v>
                  </c:pt>
                  <c:pt idx="7">
                    <c:v>Feb</c:v>
                  </c:pt>
                  <c:pt idx="8">
                    <c:v>Mar</c:v>
                  </c:pt>
                  <c:pt idx="9">
                    <c:v>Apr</c:v>
                  </c:pt>
                  <c:pt idx="10">
                    <c:v>May</c:v>
                  </c:pt>
                  <c:pt idx="11">
                    <c:v>Jun</c:v>
                  </c:pt>
                  <c:pt idx="12">
                    <c:v>Jul</c:v>
                  </c:pt>
                  <c:pt idx="13">
                    <c:v>Aug</c:v>
                  </c:pt>
                  <c:pt idx="14">
                    <c:v>Sep</c:v>
                  </c:pt>
                  <c:pt idx="15">
                    <c:v>Oct</c:v>
                  </c:pt>
                  <c:pt idx="16">
                    <c:v>Nov</c:v>
                  </c:pt>
                  <c:pt idx="17">
                    <c:v>Dec</c:v>
                  </c:pt>
                  <c:pt idx="18">
                    <c:v>Jan</c:v>
                  </c:pt>
                  <c:pt idx="19">
                    <c:v>Feb</c:v>
                  </c:pt>
                  <c:pt idx="20">
                    <c:v>Mar</c:v>
                  </c:pt>
                </c:lvl>
                <c:lvl>
                  <c:pt idx="0">
                    <c:v>FY21</c:v>
                  </c:pt>
                  <c:pt idx="9">
                    <c:v>FY22</c:v>
                  </c:pt>
                </c:lvl>
              </c:multiLvlStrCache>
            </c:multiLvlStrRef>
          </c:cat>
          <c:val>
            <c:numRef>
              <c:f>Sheet2!$F$4:$Z$4</c:f>
              <c:numCache>
                <c:formatCode>0</c:formatCode>
                <c:ptCount val="21"/>
                <c:pt idx="0">
                  <c:v>201.28100000000001</c:v>
                </c:pt>
                <c:pt idx="1">
                  <c:v>234.42</c:v>
                </c:pt>
                <c:pt idx="2">
                  <c:v>293.22699999999998</c:v>
                </c:pt>
                <c:pt idx="3">
                  <c:v>333.911</c:v>
                </c:pt>
                <c:pt idx="4">
                  <c:v>286.53800000000001</c:v>
                </c:pt>
                <c:pt idx="5">
                  <c:v>276.54399999999998</c:v>
                </c:pt>
                <c:pt idx="6">
                  <c:v>303.53199999999998</c:v>
                </c:pt>
                <c:pt idx="7">
                  <c:v>308.60399999999998</c:v>
                </c:pt>
                <c:pt idx="8">
                  <c:v>320.59300000000002</c:v>
                </c:pt>
                <c:pt idx="9" formatCode="General">
                  <c:v>286</c:v>
                </c:pt>
                <c:pt idx="10" formatCode="General">
                  <c:v>103</c:v>
                </c:pt>
                <c:pt idx="11" formatCode="General">
                  <c:v>255</c:v>
                </c:pt>
                <c:pt idx="12" formatCode="General">
                  <c:v>264</c:v>
                </c:pt>
                <c:pt idx="13" formatCode="General">
                  <c:v>232</c:v>
                </c:pt>
                <c:pt idx="14" formatCode="General">
                  <c:v>160</c:v>
                </c:pt>
                <c:pt idx="15" formatCode="General">
                  <c:v>226</c:v>
                </c:pt>
                <c:pt idx="16" formatCode="General">
                  <c:v>216</c:v>
                </c:pt>
                <c:pt idx="17" formatCode="General">
                  <c:v>219</c:v>
                </c:pt>
                <c:pt idx="18" formatCode="General">
                  <c:v>254</c:v>
                </c:pt>
                <c:pt idx="19" formatCode="General">
                  <c:v>263</c:v>
                </c:pt>
                <c:pt idx="20" formatCode="General">
                  <c:v>280</c:v>
                </c:pt>
              </c:numCache>
            </c:numRef>
          </c:val>
          <c:extLst>
            <c:ext xmlns:c16="http://schemas.microsoft.com/office/drawing/2014/chart" uri="{C3380CC4-5D6E-409C-BE32-E72D297353CC}">
              <c16:uniqueId val="{00000001-06CD-4F9A-BE8D-16CA8F7ED9DA}"/>
            </c:ext>
          </c:extLst>
        </c:ser>
        <c:dLbls>
          <c:showLegendKey val="0"/>
          <c:showVal val="0"/>
          <c:showCatName val="0"/>
          <c:showSerName val="0"/>
          <c:showPercent val="0"/>
          <c:showBubbleSize val="0"/>
        </c:dLbls>
        <c:gapWidth val="219"/>
        <c:overlap val="-27"/>
        <c:axId val="1551504384"/>
        <c:axId val="1551500032"/>
      </c:barChart>
      <c:catAx>
        <c:axId val="155150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51500032"/>
        <c:crosses val="autoZero"/>
        <c:auto val="1"/>
        <c:lblAlgn val="ctr"/>
        <c:lblOffset val="100"/>
        <c:noMultiLvlLbl val="0"/>
      </c:catAx>
      <c:valAx>
        <c:axId val="155150003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515043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bg1">
          <a:lumMod val="75000"/>
        </a:schemeClr>
      </a:solidFill>
    </a:ln>
    <a:effectLst/>
  </c:spPr>
  <c:txPr>
    <a:bodyPr/>
    <a:lstStyle/>
    <a:p>
      <a:pPr>
        <a:defRPr sz="1100"/>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harts!$B$95</c:f>
              <c:strCache>
                <c:ptCount val="1"/>
                <c:pt idx="0">
                  <c:v>Capacity Utilisation</c:v>
                </c:pt>
              </c:strCache>
            </c:strRef>
          </c:tx>
          <c:spPr>
            <a:solidFill>
              <a:schemeClr val="accent4"/>
            </a:solidFill>
            <a:ln>
              <a:noFill/>
            </a:ln>
            <a:effectLst/>
          </c:spPr>
          <c:invertIfNegative val="0"/>
          <c:dLbls>
            <c:dLbl>
              <c:idx val="6"/>
              <c:tx>
                <c:rich>
                  <a:bodyPr/>
                  <a:lstStyle/>
                  <a:p>
                    <a:r>
                      <a:rPr lang="en-US"/>
                      <a:t>66-6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282-4DB8-966B-A69FD2C0CF05}"/>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s!$A$98:$A$104</c:f>
              <c:strCache>
                <c:ptCount val="7"/>
                <c:pt idx="0">
                  <c:v>FY17</c:v>
                </c:pt>
                <c:pt idx="1">
                  <c:v>FY18</c:v>
                </c:pt>
                <c:pt idx="2">
                  <c:v>FY19</c:v>
                </c:pt>
                <c:pt idx="3">
                  <c:v>FY20</c:v>
                </c:pt>
                <c:pt idx="4">
                  <c:v>FY21</c:v>
                </c:pt>
                <c:pt idx="5">
                  <c:v>FY22E</c:v>
                </c:pt>
                <c:pt idx="6">
                  <c:v>FY23P</c:v>
                </c:pt>
              </c:strCache>
            </c:strRef>
          </c:cat>
          <c:val>
            <c:numRef>
              <c:f>Charts!$B$98:$B$104</c:f>
              <c:numCache>
                <c:formatCode>0%</c:formatCode>
                <c:ptCount val="7"/>
                <c:pt idx="0">
                  <c:v>0.72</c:v>
                </c:pt>
                <c:pt idx="1">
                  <c:v>0.75</c:v>
                </c:pt>
                <c:pt idx="2">
                  <c:v>0.73</c:v>
                </c:pt>
                <c:pt idx="3">
                  <c:v>0.6</c:v>
                </c:pt>
                <c:pt idx="4">
                  <c:v>0.50887398171238574</c:v>
                </c:pt>
                <c:pt idx="5">
                  <c:v>0.5945137157107232</c:v>
                </c:pt>
                <c:pt idx="6">
                  <c:v>0.66620116375727345</c:v>
                </c:pt>
              </c:numCache>
            </c:numRef>
          </c:val>
          <c:extLst>
            <c:ext xmlns:c16="http://schemas.microsoft.com/office/drawing/2014/chart" uri="{C3380CC4-5D6E-409C-BE32-E72D297353CC}">
              <c16:uniqueId val="{00000000-F282-4DB8-966B-A69FD2C0CF05}"/>
            </c:ext>
          </c:extLst>
        </c:ser>
        <c:dLbls>
          <c:dLblPos val="outEnd"/>
          <c:showLegendKey val="0"/>
          <c:showVal val="1"/>
          <c:showCatName val="0"/>
          <c:showSerName val="0"/>
          <c:showPercent val="0"/>
          <c:showBubbleSize val="0"/>
        </c:dLbls>
        <c:gapWidth val="159"/>
        <c:overlap val="-27"/>
        <c:axId val="1172540904"/>
        <c:axId val="1172541296"/>
      </c:barChart>
      <c:catAx>
        <c:axId val="1172540904"/>
        <c:scaling>
          <c:orientation val="minMax"/>
        </c:scaling>
        <c:delete val="0"/>
        <c:axPos val="b"/>
        <c:numFmt formatCode="General" sourceLinked="1"/>
        <c:majorTickMark val="out"/>
        <c:minorTickMark val="none"/>
        <c:tickLblPos val="nextTo"/>
        <c:spPr>
          <a:noFill/>
          <a:ln w="9525" cap="flat" cmpd="sng" algn="ctr">
            <a:solidFill>
              <a:schemeClr val="bg1">
                <a:lumMod val="85000"/>
              </a:schemeClr>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72541296"/>
        <c:crosses val="autoZero"/>
        <c:auto val="1"/>
        <c:lblAlgn val="ctr"/>
        <c:lblOffset val="100"/>
        <c:noMultiLvlLbl val="0"/>
      </c:catAx>
      <c:valAx>
        <c:axId val="1172541296"/>
        <c:scaling>
          <c:orientation val="minMax"/>
        </c:scaling>
        <c:delete val="0"/>
        <c:axPos val="l"/>
        <c:numFmt formatCode="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72540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2"/>
            </a:solidFill>
            <a:ln>
              <a:noFill/>
            </a:ln>
            <a:effectLst/>
          </c:spPr>
          <c:invertIfNegative val="0"/>
          <c:cat>
            <c:multiLvlStrRef>
              <c:f>Sheet3!$B$11:$Q$13</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lvl>
                <c:lvl>
                  <c:pt idx="0">
                    <c:v>FY21</c:v>
                  </c:pt>
                  <c:pt idx="4">
                    <c:v>FY22</c:v>
                  </c:pt>
                  <c:pt idx="8">
                    <c:v>FY21</c:v>
                  </c:pt>
                  <c:pt idx="12">
                    <c:v>FY22</c:v>
                  </c:pt>
                </c:lvl>
                <c:lvl>
                  <c:pt idx="0">
                    <c:v>Cars</c:v>
                  </c:pt>
                  <c:pt idx="8">
                    <c:v>UV</c:v>
                  </c:pt>
                </c:lvl>
              </c:multiLvlStrCache>
            </c:multiLvlStrRef>
          </c:cat>
          <c:val>
            <c:numRef>
              <c:f>Sheet3!$B$14:$Q$14</c:f>
              <c:numCache>
                <c:formatCode>0</c:formatCode>
                <c:ptCount val="16"/>
                <c:pt idx="0">
                  <c:v>76.382999999999996</c:v>
                </c:pt>
                <c:pt idx="1">
                  <c:v>497.78300000000002</c:v>
                </c:pt>
                <c:pt idx="2">
                  <c:v>604.75300000000004</c:v>
                </c:pt>
                <c:pt idx="3">
                  <c:v>591</c:v>
                </c:pt>
                <c:pt idx="4" formatCode="General">
                  <c:v>436</c:v>
                </c:pt>
                <c:pt idx="5" formatCode="General">
                  <c:v>426</c:v>
                </c:pt>
                <c:pt idx="6" formatCode="General">
                  <c:v>415</c:v>
                </c:pt>
                <c:pt idx="7" formatCode="General">
                  <c:v>497</c:v>
                </c:pt>
                <c:pt idx="8">
                  <c:v>68.290000000000006</c:v>
                </c:pt>
                <c:pt idx="9">
                  <c:v>342.221</c:v>
                </c:pt>
                <c:pt idx="10">
                  <c:v>414.95499999999998</c:v>
                </c:pt>
                <c:pt idx="11">
                  <c:v>462</c:v>
                </c:pt>
                <c:pt idx="12" formatCode="General">
                  <c:v>365</c:v>
                </c:pt>
                <c:pt idx="13" formatCode="General">
                  <c:v>450</c:v>
                </c:pt>
                <c:pt idx="14" formatCode="General">
                  <c:v>382</c:v>
                </c:pt>
                <c:pt idx="15" formatCode="General">
                  <c:v>454</c:v>
                </c:pt>
              </c:numCache>
            </c:numRef>
          </c:val>
          <c:extLst>
            <c:ext xmlns:c16="http://schemas.microsoft.com/office/drawing/2014/chart" uri="{C3380CC4-5D6E-409C-BE32-E72D297353CC}">
              <c16:uniqueId val="{00000000-3CD1-4281-BEA8-6278316446FC}"/>
            </c:ext>
          </c:extLst>
        </c:ser>
        <c:dLbls>
          <c:showLegendKey val="0"/>
          <c:showVal val="0"/>
          <c:showCatName val="0"/>
          <c:showSerName val="0"/>
          <c:showPercent val="0"/>
          <c:showBubbleSize val="0"/>
        </c:dLbls>
        <c:gapWidth val="134"/>
        <c:overlap val="-27"/>
        <c:axId val="1551502752"/>
        <c:axId val="1551510912"/>
      </c:barChart>
      <c:catAx>
        <c:axId val="1551502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51510912"/>
        <c:crosses val="autoZero"/>
        <c:auto val="1"/>
        <c:lblAlgn val="ctr"/>
        <c:lblOffset val="100"/>
        <c:noMultiLvlLbl val="0"/>
      </c:catAx>
      <c:valAx>
        <c:axId val="155151091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51502752"/>
        <c:crosses val="autoZero"/>
        <c:crossBetween val="between"/>
      </c:valAx>
      <c:spPr>
        <a:noFill/>
        <a:ln>
          <a:noFill/>
        </a:ln>
        <a:effectLst/>
      </c:spPr>
    </c:plotArea>
    <c:plotVisOnly val="1"/>
    <c:dispBlanksAs val="gap"/>
    <c:showDLblsOverMax val="0"/>
  </c:chart>
  <c:spPr>
    <a:noFill/>
    <a:ln>
      <a:solidFill>
        <a:schemeClr val="bg1">
          <a:lumMod val="75000"/>
        </a:schemeClr>
      </a:solidFill>
    </a:ln>
    <a:effectLst/>
  </c:spPr>
  <c:txPr>
    <a:bodyPr/>
    <a:lstStyle/>
    <a:p>
      <a:pPr>
        <a:defRPr sz="1200"/>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923627242616836E-2"/>
          <c:y val="3.8709672503216601E-2"/>
          <c:w val="0.97015274551476638"/>
          <c:h val="0.78895661627953684"/>
        </c:manualLayout>
      </c:layout>
      <c:barChart>
        <c:barDir val="col"/>
        <c:grouping val="stacked"/>
        <c:varyColors val="0"/>
        <c:ser>
          <c:idx val="0"/>
          <c:order val="0"/>
          <c:tx>
            <c:strRef>
              <c:f>PV!$A$19</c:f>
              <c:strCache>
                <c:ptCount val="1"/>
                <c:pt idx="0">
                  <c:v>Cars</c:v>
                </c:pt>
              </c:strCache>
            </c:strRef>
          </c:tx>
          <c:spPr>
            <a:solidFill>
              <a:schemeClr val="accent6">
                <a:lumMod val="75000"/>
              </a:schemeClr>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V!$B$9:$H$9</c:f>
              <c:strCache>
                <c:ptCount val="7"/>
                <c:pt idx="0">
                  <c:v>FY 16</c:v>
                </c:pt>
                <c:pt idx="1">
                  <c:v>FY 17</c:v>
                </c:pt>
                <c:pt idx="2">
                  <c:v>FY 18</c:v>
                </c:pt>
                <c:pt idx="3">
                  <c:v>FY 19</c:v>
                </c:pt>
                <c:pt idx="4">
                  <c:v>FY 20</c:v>
                </c:pt>
                <c:pt idx="5">
                  <c:v>FY 21</c:v>
                </c:pt>
                <c:pt idx="6">
                  <c:v>FY22</c:v>
                </c:pt>
              </c:strCache>
            </c:strRef>
          </c:cat>
          <c:val>
            <c:numRef>
              <c:f>PV!$B$19:$H$19</c:f>
              <c:numCache>
                <c:formatCode>0%</c:formatCode>
                <c:ptCount val="7"/>
                <c:pt idx="0">
                  <c:v>0.8155316010300071</c:v>
                </c:pt>
                <c:pt idx="1">
                  <c:v>0.79323180200069721</c:v>
                </c:pt>
                <c:pt idx="2">
                  <c:v>0.77523109855661954</c:v>
                </c:pt>
                <c:pt idx="3">
                  <c:v>0.76000786757626893</c:v>
                </c:pt>
                <c:pt idx="4">
                  <c:v>0.72469970945339446</c:v>
                </c:pt>
                <c:pt idx="5">
                  <c:v>0.6549509393101095</c:v>
                </c:pt>
                <c:pt idx="6">
                  <c:v>0.63</c:v>
                </c:pt>
              </c:numCache>
            </c:numRef>
          </c:val>
          <c:extLst>
            <c:ext xmlns:c16="http://schemas.microsoft.com/office/drawing/2014/chart" uri="{C3380CC4-5D6E-409C-BE32-E72D297353CC}">
              <c16:uniqueId val="{00000000-E9CE-4CF0-9198-F18F29EF8840}"/>
            </c:ext>
          </c:extLst>
        </c:ser>
        <c:ser>
          <c:idx val="2"/>
          <c:order val="1"/>
          <c:tx>
            <c:strRef>
              <c:f>PV!$A$20</c:f>
              <c:strCache>
                <c:ptCount val="1"/>
                <c:pt idx="0">
                  <c:v>Uvs</c:v>
                </c:pt>
              </c:strCache>
            </c:strRef>
          </c:tx>
          <c:spPr>
            <a:solidFill>
              <a:schemeClr val="accent5"/>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V!$B$9:$H$9</c:f>
              <c:strCache>
                <c:ptCount val="7"/>
                <c:pt idx="0">
                  <c:v>FY 16</c:v>
                </c:pt>
                <c:pt idx="1">
                  <c:v>FY 17</c:v>
                </c:pt>
                <c:pt idx="2">
                  <c:v>FY 18</c:v>
                </c:pt>
                <c:pt idx="3">
                  <c:v>FY 19</c:v>
                </c:pt>
                <c:pt idx="4">
                  <c:v>FY 20</c:v>
                </c:pt>
                <c:pt idx="5">
                  <c:v>FY 21</c:v>
                </c:pt>
                <c:pt idx="6">
                  <c:v>FY22</c:v>
                </c:pt>
              </c:strCache>
            </c:strRef>
          </c:cat>
          <c:val>
            <c:numRef>
              <c:f>PV!$B$20:$H$20</c:f>
              <c:numCache>
                <c:formatCode>0%</c:formatCode>
                <c:ptCount val="7"/>
                <c:pt idx="0">
                  <c:v>0.18446839896999284</c:v>
                </c:pt>
                <c:pt idx="1">
                  <c:v>0.20676819799930282</c:v>
                </c:pt>
                <c:pt idx="2">
                  <c:v>0.22476890144338052</c:v>
                </c:pt>
                <c:pt idx="3">
                  <c:v>0.2399921324237311</c:v>
                </c:pt>
                <c:pt idx="4">
                  <c:v>0.27530029054660554</c:v>
                </c:pt>
                <c:pt idx="5">
                  <c:v>0.34504906068989044</c:v>
                </c:pt>
                <c:pt idx="6">
                  <c:v>0.37</c:v>
                </c:pt>
              </c:numCache>
            </c:numRef>
          </c:val>
          <c:extLst>
            <c:ext xmlns:c16="http://schemas.microsoft.com/office/drawing/2014/chart" uri="{C3380CC4-5D6E-409C-BE32-E72D297353CC}">
              <c16:uniqueId val="{00000001-E9CE-4CF0-9198-F18F29EF8840}"/>
            </c:ext>
          </c:extLst>
        </c:ser>
        <c:dLbls>
          <c:dLblPos val="ctr"/>
          <c:showLegendKey val="0"/>
          <c:showVal val="1"/>
          <c:showCatName val="0"/>
          <c:showSerName val="0"/>
          <c:showPercent val="0"/>
          <c:showBubbleSize val="0"/>
        </c:dLbls>
        <c:gapWidth val="150"/>
        <c:overlap val="100"/>
        <c:axId val="-689987152"/>
        <c:axId val="-689992592"/>
      </c:barChart>
      <c:catAx>
        <c:axId val="-689987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689992592"/>
        <c:crosses val="autoZero"/>
        <c:auto val="1"/>
        <c:lblAlgn val="ctr"/>
        <c:lblOffset val="100"/>
        <c:noMultiLvlLbl val="0"/>
      </c:catAx>
      <c:valAx>
        <c:axId val="-689992592"/>
        <c:scaling>
          <c:orientation val="minMax"/>
        </c:scaling>
        <c:delete val="1"/>
        <c:axPos val="l"/>
        <c:numFmt formatCode="0%" sourceLinked="1"/>
        <c:majorTickMark val="none"/>
        <c:minorTickMark val="none"/>
        <c:tickLblPos val="nextTo"/>
        <c:crossAx val="-689987152"/>
        <c:crosses val="autoZero"/>
        <c:crossBetween val="between"/>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PV!$A$70</c:f>
              <c:strCache>
                <c:ptCount val="1"/>
                <c:pt idx="0">
                  <c:v>Hyundai</c:v>
                </c:pt>
              </c:strCache>
            </c:strRef>
          </c:tx>
          <c:spPr>
            <a:solidFill>
              <a:schemeClr val="bg1">
                <a:lumMod val="50000"/>
              </a:schemeClr>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V!$B$69:$H$69</c:f>
              <c:strCache>
                <c:ptCount val="7"/>
                <c:pt idx="0">
                  <c:v>FY 16</c:v>
                </c:pt>
                <c:pt idx="1">
                  <c:v>FY 17</c:v>
                </c:pt>
                <c:pt idx="2">
                  <c:v>FY 18</c:v>
                </c:pt>
                <c:pt idx="3">
                  <c:v>FY 19</c:v>
                </c:pt>
                <c:pt idx="4">
                  <c:v>FY 20</c:v>
                </c:pt>
                <c:pt idx="5">
                  <c:v>FY 21 </c:v>
                </c:pt>
                <c:pt idx="6">
                  <c:v>FY22</c:v>
                </c:pt>
              </c:strCache>
            </c:strRef>
          </c:cat>
          <c:val>
            <c:numRef>
              <c:f>PV!$B$70:$H$70</c:f>
              <c:numCache>
                <c:formatCode>0%</c:formatCode>
                <c:ptCount val="7"/>
                <c:pt idx="0">
                  <c:v>0.24853266739694965</c:v>
                </c:pt>
                <c:pt idx="1">
                  <c:v>0.22066823708367225</c:v>
                </c:pt>
                <c:pt idx="2">
                  <c:v>0.20570581003794966</c:v>
                </c:pt>
                <c:pt idx="3">
                  <c:v>0.23973185170506053</c:v>
                </c:pt>
                <c:pt idx="4">
                  <c:v>0.25077508621911465</c:v>
                </c:pt>
                <c:pt idx="5">
                  <c:v>0.25766193798507703</c:v>
                </c:pt>
                <c:pt idx="6">
                  <c:v>0.22900000000000001</c:v>
                </c:pt>
              </c:numCache>
            </c:numRef>
          </c:val>
          <c:extLst>
            <c:ext xmlns:c16="http://schemas.microsoft.com/office/drawing/2014/chart" uri="{C3380CC4-5D6E-409C-BE32-E72D297353CC}">
              <c16:uniqueId val="{00000000-895D-4EFE-BF2F-94893AF4AE83}"/>
            </c:ext>
          </c:extLst>
        </c:ser>
        <c:ser>
          <c:idx val="0"/>
          <c:order val="1"/>
          <c:tx>
            <c:strRef>
              <c:f>PV!$A$71</c:f>
              <c:strCache>
                <c:ptCount val="1"/>
                <c:pt idx="0">
                  <c:v>Ford</c:v>
                </c:pt>
              </c:strCache>
            </c:strRef>
          </c:tx>
          <c:spPr>
            <a:solidFill>
              <a:schemeClr val="accent6">
                <a:lumMod val="75000"/>
              </a:schemeClr>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V!$B$69:$H$69</c:f>
              <c:strCache>
                <c:ptCount val="7"/>
                <c:pt idx="0">
                  <c:v>FY 16</c:v>
                </c:pt>
                <c:pt idx="1">
                  <c:v>FY 17</c:v>
                </c:pt>
                <c:pt idx="2">
                  <c:v>FY 18</c:v>
                </c:pt>
                <c:pt idx="3">
                  <c:v>FY 19</c:v>
                </c:pt>
                <c:pt idx="4">
                  <c:v>FY 20</c:v>
                </c:pt>
                <c:pt idx="5">
                  <c:v>FY 21 </c:v>
                </c:pt>
                <c:pt idx="6">
                  <c:v>FY22</c:v>
                </c:pt>
              </c:strCache>
            </c:strRef>
          </c:cat>
          <c:val>
            <c:numRef>
              <c:f>PV!$B$71:$H$71</c:f>
              <c:numCache>
                <c:formatCode>0%</c:formatCode>
                <c:ptCount val="7"/>
                <c:pt idx="0">
                  <c:v>0.16984901526700014</c:v>
                </c:pt>
                <c:pt idx="1">
                  <c:v>0.20924926320681969</c:v>
                </c:pt>
                <c:pt idx="2">
                  <c:v>0.24532978780266182</c:v>
                </c:pt>
                <c:pt idx="3">
                  <c:v>0.24076114363798501</c:v>
                </c:pt>
                <c:pt idx="4">
                  <c:v>0.19410521094155997</c:v>
                </c:pt>
                <c:pt idx="5">
                  <c:v>0.11134259085788226</c:v>
                </c:pt>
                <c:pt idx="6">
                  <c:v>3.4000000000000002E-2</c:v>
                </c:pt>
              </c:numCache>
            </c:numRef>
          </c:val>
          <c:extLst>
            <c:ext xmlns:c16="http://schemas.microsoft.com/office/drawing/2014/chart" uri="{C3380CC4-5D6E-409C-BE32-E72D297353CC}">
              <c16:uniqueId val="{00000001-895D-4EFE-BF2F-94893AF4AE83}"/>
            </c:ext>
          </c:extLst>
        </c:ser>
        <c:ser>
          <c:idx val="2"/>
          <c:order val="2"/>
          <c:tx>
            <c:strRef>
              <c:f>PV!$A$72</c:f>
              <c:strCache>
                <c:ptCount val="1"/>
                <c:pt idx="0">
                  <c:v>Maruti</c:v>
                </c:pt>
              </c:strCache>
            </c:strRef>
          </c:tx>
          <c:spPr>
            <a:solidFill>
              <a:schemeClr val="accent5"/>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V!$B$69:$H$69</c:f>
              <c:strCache>
                <c:ptCount val="7"/>
                <c:pt idx="0">
                  <c:v>FY 16</c:v>
                </c:pt>
                <c:pt idx="1">
                  <c:v>FY 17</c:v>
                </c:pt>
                <c:pt idx="2">
                  <c:v>FY 18</c:v>
                </c:pt>
                <c:pt idx="3">
                  <c:v>FY 19</c:v>
                </c:pt>
                <c:pt idx="4">
                  <c:v>FY 20</c:v>
                </c:pt>
                <c:pt idx="5">
                  <c:v>FY 21 </c:v>
                </c:pt>
                <c:pt idx="6">
                  <c:v>FY22</c:v>
                </c:pt>
              </c:strCache>
            </c:strRef>
          </c:cat>
          <c:val>
            <c:numRef>
              <c:f>PV!$B$72:$H$72</c:f>
              <c:numCache>
                <c:formatCode>0%</c:formatCode>
                <c:ptCount val="7"/>
                <c:pt idx="0">
                  <c:v>0.18981485027921835</c:v>
                </c:pt>
                <c:pt idx="1">
                  <c:v>0.16114247837155504</c:v>
                </c:pt>
                <c:pt idx="2">
                  <c:v>0.16556603773584905</c:v>
                </c:pt>
                <c:pt idx="3">
                  <c:v>0.15749645441464197</c:v>
                </c:pt>
                <c:pt idx="4">
                  <c:v>0.14806951859025841</c:v>
                </c:pt>
                <c:pt idx="5">
                  <c:v>0.23563972092535279</c:v>
                </c:pt>
                <c:pt idx="6">
                  <c:v>0.40600000000000003</c:v>
                </c:pt>
              </c:numCache>
            </c:numRef>
          </c:val>
          <c:extLst>
            <c:ext xmlns:c16="http://schemas.microsoft.com/office/drawing/2014/chart" uri="{C3380CC4-5D6E-409C-BE32-E72D297353CC}">
              <c16:uniqueId val="{00000002-895D-4EFE-BF2F-94893AF4AE83}"/>
            </c:ext>
          </c:extLst>
        </c:ser>
        <c:ser>
          <c:idx val="3"/>
          <c:order val="3"/>
          <c:tx>
            <c:strRef>
              <c:f>PV!$A$73</c:f>
              <c:strCache>
                <c:ptCount val="1"/>
                <c:pt idx="0">
                  <c:v>Nissan</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V!$B$69:$H$69</c:f>
              <c:strCache>
                <c:ptCount val="7"/>
                <c:pt idx="0">
                  <c:v>FY 16</c:v>
                </c:pt>
                <c:pt idx="1">
                  <c:v>FY 17</c:v>
                </c:pt>
                <c:pt idx="2">
                  <c:v>FY 18</c:v>
                </c:pt>
                <c:pt idx="3">
                  <c:v>FY 19</c:v>
                </c:pt>
                <c:pt idx="4">
                  <c:v>FY 20</c:v>
                </c:pt>
                <c:pt idx="5">
                  <c:v>FY 21 </c:v>
                </c:pt>
                <c:pt idx="6">
                  <c:v>FY22</c:v>
                </c:pt>
              </c:strCache>
            </c:strRef>
          </c:cat>
          <c:val>
            <c:numRef>
              <c:f>PV!$B$73:$H$73</c:f>
              <c:numCache>
                <c:formatCode>0%</c:formatCode>
                <c:ptCount val="7"/>
                <c:pt idx="0">
                  <c:v>0.17099652987904368</c:v>
                </c:pt>
                <c:pt idx="1">
                  <c:v>0.14453162136753039</c:v>
                </c:pt>
                <c:pt idx="2">
                  <c:v>9.0636859265594102E-2</c:v>
                </c:pt>
                <c:pt idx="3">
                  <c:v>8.5252287438645477E-2</c:v>
                </c:pt>
                <c:pt idx="4">
                  <c:v>0.11733919544574101</c:v>
                </c:pt>
                <c:pt idx="5">
                  <c:v>0.1</c:v>
                </c:pt>
                <c:pt idx="6">
                  <c:v>6.5000000000000002E-2</c:v>
                </c:pt>
              </c:numCache>
            </c:numRef>
          </c:val>
          <c:extLst>
            <c:ext xmlns:c16="http://schemas.microsoft.com/office/drawing/2014/chart" uri="{C3380CC4-5D6E-409C-BE32-E72D297353CC}">
              <c16:uniqueId val="{00000003-895D-4EFE-BF2F-94893AF4AE83}"/>
            </c:ext>
          </c:extLst>
        </c:ser>
        <c:ser>
          <c:idx val="4"/>
          <c:order val="4"/>
          <c:tx>
            <c:strRef>
              <c:f>PV!$A$74</c:f>
              <c:strCache>
                <c:ptCount val="1"/>
                <c:pt idx="0">
                  <c:v>GM</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V!$B$69:$H$69</c:f>
              <c:strCache>
                <c:ptCount val="7"/>
                <c:pt idx="0">
                  <c:v>FY 16</c:v>
                </c:pt>
                <c:pt idx="1">
                  <c:v>FY 17</c:v>
                </c:pt>
                <c:pt idx="2">
                  <c:v>FY 18</c:v>
                </c:pt>
                <c:pt idx="3">
                  <c:v>FY 19</c:v>
                </c:pt>
                <c:pt idx="4">
                  <c:v>FY 20</c:v>
                </c:pt>
                <c:pt idx="5">
                  <c:v>FY 21 </c:v>
                </c:pt>
                <c:pt idx="6">
                  <c:v>FY22</c:v>
                </c:pt>
              </c:strCache>
            </c:strRef>
          </c:cat>
          <c:val>
            <c:numRef>
              <c:f>PV!$B$74:$H$74</c:f>
              <c:numCache>
                <c:formatCode>0%</c:formatCode>
                <c:ptCount val="7"/>
                <c:pt idx="0">
                  <c:v>5.7271550370376047E-2</c:v>
                </c:pt>
                <c:pt idx="1">
                  <c:v>9.3399759155777626E-2</c:v>
                </c:pt>
                <c:pt idx="2">
                  <c:v>0.11109626383024213</c:v>
                </c:pt>
                <c:pt idx="3">
                  <c:v>0.11436084076587602</c:v>
                </c:pt>
                <c:pt idx="4">
                  <c:v>0.10324591345018189</c:v>
                </c:pt>
                <c:pt idx="5">
                  <c:v>7.1489772009102656E-2</c:v>
                </c:pt>
                <c:pt idx="6">
                  <c:v>0</c:v>
                </c:pt>
              </c:numCache>
            </c:numRef>
          </c:val>
          <c:extLst>
            <c:ext xmlns:c16="http://schemas.microsoft.com/office/drawing/2014/chart" uri="{C3380CC4-5D6E-409C-BE32-E72D297353CC}">
              <c16:uniqueId val="{00000004-895D-4EFE-BF2F-94893AF4AE83}"/>
            </c:ext>
          </c:extLst>
        </c:ser>
        <c:ser>
          <c:idx val="5"/>
          <c:order val="5"/>
          <c:tx>
            <c:strRef>
              <c:f>PV!$A$75</c:f>
              <c:strCache>
                <c:ptCount val="1"/>
                <c:pt idx="0">
                  <c:v>Volkswagen</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V!$B$69:$H$69</c:f>
              <c:strCache>
                <c:ptCount val="7"/>
                <c:pt idx="0">
                  <c:v>FY 16</c:v>
                </c:pt>
                <c:pt idx="1">
                  <c:v>FY 17</c:v>
                </c:pt>
                <c:pt idx="2">
                  <c:v>FY 18</c:v>
                </c:pt>
                <c:pt idx="3">
                  <c:v>FY 19</c:v>
                </c:pt>
                <c:pt idx="4">
                  <c:v>FY 20</c:v>
                </c:pt>
                <c:pt idx="5">
                  <c:v>FY 21 </c:v>
                </c:pt>
                <c:pt idx="6">
                  <c:v>FY22</c:v>
                </c:pt>
              </c:strCache>
            </c:strRef>
          </c:cat>
          <c:val>
            <c:numRef>
              <c:f>PV!$B$75:$H$75</c:f>
              <c:numCache>
                <c:formatCode>0%</c:formatCode>
                <c:ptCount val="7"/>
                <c:pt idx="0">
                  <c:v>0.11641987697540274</c:v>
                </c:pt>
                <c:pt idx="1">
                  <c:v>0.11299344016394308</c:v>
                </c:pt>
                <c:pt idx="2">
                  <c:v>0.11885723448607621</c:v>
                </c:pt>
                <c:pt idx="3">
                  <c:v>9.1385151872320478E-2</c:v>
                </c:pt>
                <c:pt idx="4">
                  <c:v>8.2110419520952424E-2</c:v>
                </c:pt>
                <c:pt idx="5">
                  <c:v>0.08</c:v>
                </c:pt>
                <c:pt idx="6">
                  <c:v>7.0000000000000007E-2</c:v>
                </c:pt>
              </c:numCache>
            </c:numRef>
          </c:val>
          <c:extLst>
            <c:ext xmlns:c16="http://schemas.microsoft.com/office/drawing/2014/chart" uri="{C3380CC4-5D6E-409C-BE32-E72D297353CC}">
              <c16:uniqueId val="{00000005-895D-4EFE-BF2F-94893AF4AE83}"/>
            </c:ext>
          </c:extLst>
        </c:ser>
        <c:ser>
          <c:idx val="6"/>
          <c:order val="6"/>
          <c:tx>
            <c:strRef>
              <c:f>PV!$A$76</c:f>
              <c:strCache>
                <c:ptCount val="1"/>
                <c:pt idx="0">
                  <c:v>Kia</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V!$B$69:$H$69</c:f>
              <c:strCache>
                <c:ptCount val="7"/>
                <c:pt idx="0">
                  <c:v>FY 16</c:v>
                </c:pt>
                <c:pt idx="1">
                  <c:v>FY 17</c:v>
                </c:pt>
                <c:pt idx="2">
                  <c:v>FY 18</c:v>
                </c:pt>
                <c:pt idx="3">
                  <c:v>FY 19</c:v>
                </c:pt>
                <c:pt idx="4">
                  <c:v>FY 20</c:v>
                </c:pt>
                <c:pt idx="5">
                  <c:v>FY 21 </c:v>
                </c:pt>
                <c:pt idx="6">
                  <c:v>FY22</c:v>
                </c:pt>
              </c:strCache>
            </c:strRef>
          </c:cat>
          <c:val>
            <c:numRef>
              <c:f>PV!$B$76:$H$76</c:f>
              <c:numCache>
                <c:formatCode>0%</c:formatCode>
                <c:ptCount val="7"/>
                <c:pt idx="0">
                  <c:v>0</c:v>
                </c:pt>
                <c:pt idx="1">
                  <c:v>0</c:v>
                </c:pt>
                <c:pt idx="2">
                  <c:v>0</c:v>
                </c:pt>
                <c:pt idx="3">
                  <c:v>0</c:v>
                </c:pt>
                <c:pt idx="4">
                  <c:v>3.1684048282704207E-2</c:v>
                </c:pt>
                <c:pt idx="5">
                  <c:v>0.10101842761969709</c:v>
                </c:pt>
                <c:pt idx="6">
                  <c:v>8.6999999999999994E-2</c:v>
                </c:pt>
              </c:numCache>
            </c:numRef>
          </c:val>
          <c:extLst>
            <c:ext xmlns:c16="http://schemas.microsoft.com/office/drawing/2014/chart" uri="{C3380CC4-5D6E-409C-BE32-E72D297353CC}">
              <c16:uniqueId val="{00000006-895D-4EFE-BF2F-94893AF4AE83}"/>
            </c:ext>
          </c:extLst>
        </c:ser>
        <c:ser>
          <c:idx val="7"/>
          <c:order val="7"/>
          <c:tx>
            <c:strRef>
              <c:f>PV!$A$77</c:f>
              <c:strCache>
                <c:ptCount val="1"/>
                <c:pt idx="0">
                  <c:v>Others</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V!$B$69:$H$69</c:f>
              <c:strCache>
                <c:ptCount val="7"/>
                <c:pt idx="0">
                  <c:v>FY 16</c:v>
                </c:pt>
                <c:pt idx="1">
                  <c:v>FY 17</c:v>
                </c:pt>
                <c:pt idx="2">
                  <c:v>FY 18</c:v>
                </c:pt>
                <c:pt idx="3">
                  <c:v>FY 19</c:v>
                </c:pt>
                <c:pt idx="4">
                  <c:v>FY 20</c:v>
                </c:pt>
                <c:pt idx="5">
                  <c:v>FY 21 </c:v>
                </c:pt>
                <c:pt idx="6">
                  <c:v>FY22</c:v>
                </c:pt>
              </c:strCache>
            </c:strRef>
          </c:cat>
          <c:val>
            <c:numRef>
              <c:f>PV!$B$77:$H$77</c:f>
              <c:numCache>
                <c:formatCode>0%</c:formatCode>
                <c:ptCount val="7"/>
                <c:pt idx="0">
                  <c:v>4.7115509832009378E-2</c:v>
                </c:pt>
                <c:pt idx="1">
                  <c:v>5.8015200650701933E-2</c:v>
                </c:pt>
                <c:pt idx="2">
                  <c:v>6.2808006841627018E-2</c:v>
                </c:pt>
                <c:pt idx="3">
                  <c:v>7.1012270165470515E-2</c:v>
                </c:pt>
                <c:pt idx="4">
                  <c:v>7.2670607549487412E-2</c:v>
                </c:pt>
                <c:pt idx="5">
                  <c:v>5.3701635928987343E-2</c:v>
                </c:pt>
                <c:pt idx="6">
                  <c:v>0.10899999999999999</c:v>
                </c:pt>
              </c:numCache>
            </c:numRef>
          </c:val>
          <c:extLst>
            <c:ext xmlns:c16="http://schemas.microsoft.com/office/drawing/2014/chart" uri="{C3380CC4-5D6E-409C-BE32-E72D297353CC}">
              <c16:uniqueId val="{00000007-895D-4EFE-BF2F-94893AF4AE83}"/>
            </c:ext>
          </c:extLst>
        </c:ser>
        <c:dLbls>
          <c:dLblPos val="ctr"/>
          <c:showLegendKey val="0"/>
          <c:showVal val="1"/>
          <c:showCatName val="0"/>
          <c:showSerName val="0"/>
          <c:showPercent val="0"/>
          <c:showBubbleSize val="0"/>
        </c:dLbls>
        <c:gapWidth val="150"/>
        <c:overlap val="100"/>
        <c:axId val="-689993680"/>
        <c:axId val="-689994224"/>
      </c:barChart>
      <c:catAx>
        <c:axId val="-689993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689994224"/>
        <c:crosses val="autoZero"/>
        <c:auto val="1"/>
        <c:lblAlgn val="ctr"/>
        <c:lblOffset val="100"/>
        <c:noMultiLvlLbl val="0"/>
      </c:catAx>
      <c:valAx>
        <c:axId val="-689994224"/>
        <c:scaling>
          <c:orientation val="minMax"/>
        </c:scaling>
        <c:delete val="1"/>
        <c:axPos val="l"/>
        <c:numFmt formatCode="0%" sourceLinked="1"/>
        <c:majorTickMark val="none"/>
        <c:minorTickMark val="none"/>
        <c:tickLblPos val="nextTo"/>
        <c:crossAx val="-689993680"/>
        <c:crosses val="autoZero"/>
        <c:crossBetween val="between"/>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Diesel consumption (2)'!$D$1</c:f>
              <c:strCache>
                <c:ptCount val="1"/>
                <c:pt idx="0">
                  <c:v>Petrol consumption (Million tonnes)</c:v>
                </c:pt>
              </c:strCache>
            </c:strRef>
          </c:tx>
          <c:spPr>
            <a:solidFill>
              <a:schemeClr val="bg1">
                <a:lumMod val="85000"/>
              </a:schemeClr>
            </a:solidFill>
            <a:ln>
              <a:noFill/>
            </a:ln>
            <a:effectLst/>
          </c:spPr>
          <c:invertIfNegative val="0"/>
          <c:cat>
            <c:numRef>
              <c:f>'Diesel consumption (2)'!$B$65:$B$96</c:f>
              <c:numCache>
                <c:formatCode>mmm\-yy</c:formatCode>
                <c:ptCount val="32"/>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numCache>
            </c:numRef>
          </c:cat>
          <c:val>
            <c:numRef>
              <c:f>'Diesel consumption (2)'!$D$65:$D$96</c:f>
              <c:numCache>
                <c:formatCode>0</c:formatCode>
                <c:ptCount val="32"/>
                <c:pt idx="0">
                  <c:v>2522.9077699623563</c:v>
                </c:pt>
                <c:pt idx="1">
                  <c:v>2574.9290912808842</c:v>
                </c:pt>
                <c:pt idx="2">
                  <c:v>2372.2949184322615</c:v>
                </c:pt>
                <c:pt idx="3">
                  <c:v>2539.306914299862</c:v>
                </c:pt>
                <c:pt idx="4">
                  <c:v>2534.7383052778951</c:v>
                </c:pt>
                <c:pt idx="5">
                  <c:v>2473.2641568353583</c:v>
                </c:pt>
                <c:pt idx="6">
                  <c:v>2456.1561711158474</c:v>
                </c:pt>
                <c:pt idx="7">
                  <c:v>2510.9534597670172</c:v>
                </c:pt>
                <c:pt idx="8">
                  <c:v>2155.7272645789112</c:v>
                </c:pt>
                <c:pt idx="9">
                  <c:v>972.95382079932438</c:v>
                </c:pt>
                <c:pt idx="10">
                  <c:v>1770.5076263457363</c:v>
                </c:pt>
                <c:pt idx="11">
                  <c:v>2282.2296034715073</c:v>
                </c:pt>
                <c:pt idx="12">
                  <c:v>2260.372796613332</c:v>
                </c:pt>
                <c:pt idx="13">
                  <c:v>2381.6467267233206</c:v>
                </c:pt>
                <c:pt idx="14">
                  <c:v>2450.5428622041213</c:v>
                </c:pt>
                <c:pt idx="15">
                  <c:v>2654.0684799764067</c:v>
                </c:pt>
                <c:pt idx="16" formatCode="General">
                  <c:v>2665</c:v>
                </c:pt>
                <c:pt idx="17" formatCode="General">
                  <c:v>2706</c:v>
                </c:pt>
                <c:pt idx="18" formatCode="General">
                  <c:v>2610</c:v>
                </c:pt>
                <c:pt idx="19" formatCode="General">
                  <c:v>2463</c:v>
                </c:pt>
                <c:pt idx="20" formatCode="General">
                  <c:v>2740</c:v>
                </c:pt>
                <c:pt idx="21" formatCode="General">
                  <c:v>2386</c:v>
                </c:pt>
                <c:pt idx="22" formatCode="General">
                  <c:v>1990</c:v>
                </c:pt>
                <c:pt idx="23" formatCode="General">
                  <c:v>2409</c:v>
                </c:pt>
                <c:pt idx="24" formatCode="General">
                  <c:v>2630</c:v>
                </c:pt>
                <c:pt idx="25" formatCode="General">
                  <c:v>2691</c:v>
                </c:pt>
                <c:pt idx="26" formatCode="General">
                  <c:v>2598</c:v>
                </c:pt>
                <c:pt idx="27" formatCode="General">
                  <c:v>2750</c:v>
                </c:pt>
                <c:pt idx="28" formatCode="General">
                  <c:v>2646</c:v>
                </c:pt>
                <c:pt idx="29" formatCode="General">
                  <c:v>2816</c:v>
                </c:pt>
                <c:pt idx="30" formatCode="General">
                  <c:v>2473</c:v>
                </c:pt>
                <c:pt idx="31" formatCode="General">
                  <c:v>2550</c:v>
                </c:pt>
              </c:numCache>
            </c:numRef>
          </c:val>
          <c:extLst>
            <c:ext xmlns:c16="http://schemas.microsoft.com/office/drawing/2014/chart" uri="{C3380CC4-5D6E-409C-BE32-E72D297353CC}">
              <c16:uniqueId val="{00000000-2302-42FF-B395-C4E0AB04571B}"/>
            </c:ext>
          </c:extLst>
        </c:ser>
        <c:dLbls>
          <c:showLegendKey val="0"/>
          <c:showVal val="0"/>
          <c:showCatName val="0"/>
          <c:showSerName val="0"/>
          <c:showPercent val="0"/>
          <c:showBubbleSize val="0"/>
        </c:dLbls>
        <c:gapWidth val="219"/>
        <c:overlap val="-27"/>
        <c:axId val="1401200688"/>
        <c:axId val="1401211024"/>
      </c:barChart>
      <c:lineChart>
        <c:grouping val="standard"/>
        <c:varyColors val="0"/>
        <c:ser>
          <c:idx val="3"/>
          <c:order val="1"/>
          <c:tx>
            <c:strRef>
              <c:f>'Diesel consumption (2)'!$F$1</c:f>
              <c:strCache>
                <c:ptCount val="1"/>
                <c:pt idx="0">
                  <c:v>Petrol y-o-y growth (%)</c:v>
                </c:pt>
              </c:strCache>
            </c:strRef>
          </c:tx>
          <c:spPr>
            <a:ln w="28575" cap="rnd">
              <a:solidFill>
                <a:schemeClr val="accent2"/>
              </a:solidFill>
              <a:round/>
            </a:ln>
            <a:effectLst/>
          </c:spPr>
          <c:marker>
            <c:symbol val="square"/>
            <c:size val="5"/>
            <c:spPr>
              <a:solidFill>
                <a:schemeClr val="accent2"/>
              </a:solidFill>
              <a:ln>
                <a:solidFill>
                  <a:schemeClr val="accent2"/>
                </a:solidFill>
              </a:ln>
            </c:spPr>
          </c:marker>
          <c:cat>
            <c:numRef>
              <c:f>'Diesel consumption (2)'!$B$65:$B$96</c:f>
              <c:numCache>
                <c:formatCode>mmm\-yy</c:formatCode>
                <c:ptCount val="32"/>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numCache>
            </c:numRef>
          </c:cat>
          <c:val>
            <c:numRef>
              <c:f>'Diesel consumption (2)'!$F$65:$F$96</c:f>
              <c:numCache>
                <c:formatCode>0.0%</c:formatCode>
                <c:ptCount val="32"/>
                <c:pt idx="0">
                  <c:v>8.9338415355076028E-2</c:v>
                </c:pt>
                <c:pt idx="1">
                  <c:v>8.9824815372617994E-2</c:v>
                </c:pt>
                <c:pt idx="2">
                  <c:v>6.2618104560923316E-2</c:v>
                </c:pt>
                <c:pt idx="3">
                  <c:v>8.8803239130375689E-2</c:v>
                </c:pt>
                <c:pt idx="4">
                  <c:v>9.3077884030313918E-2</c:v>
                </c:pt>
                <c:pt idx="5">
                  <c:v>3.2678144816433496E-2</c:v>
                </c:pt>
                <c:pt idx="6">
                  <c:v>3.4693812080144548E-2</c:v>
                </c:pt>
                <c:pt idx="7">
                  <c:v>0.11276466198405366</c:v>
                </c:pt>
                <c:pt idx="8">
                  <c:v>-0.1636688141764</c:v>
                </c:pt>
                <c:pt idx="9">
                  <c:v>-0.6043494215153149</c:v>
                </c:pt>
                <c:pt idx="10">
                  <c:v>-0.35321893461695197</c:v>
                </c:pt>
                <c:pt idx="11">
                  <c:v>-0.13508409507198782</c:v>
                </c:pt>
                <c:pt idx="12">
                  <c:v>-0.10406047199773039</c:v>
                </c:pt>
                <c:pt idx="13">
                  <c:v>-7.5063179491834608E-2</c:v>
                </c:pt>
                <c:pt idx="14">
                  <c:v>3.2984070894343187E-2</c:v>
                </c:pt>
                <c:pt idx="15">
                  <c:v>4.5194050797985774E-2</c:v>
                </c:pt>
                <c:pt idx="16">
                  <c:v>5.1390589099817863E-2</c:v>
                </c:pt>
                <c:pt idx="17">
                  <c:v>9.4100681692826704E-2</c:v>
                </c:pt>
                <c:pt idx="18">
                  <c:v>6.2636012601047453E-2</c:v>
                </c:pt>
                <c:pt idx="19">
                  <c:v>-1.9097709509704242E-2</c:v>
                </c:pt>
                <c:pt idx="20">
                  <c:v>0.27103277164109052</c:v>
                </c:pt>
                <c:pt idx="22">
                  <c:v>0.12397143643333974</c:v>
                </c:pt>
                <c:pt idx="23">
                  <c:v>5.5546732167377932E-2</c:v>
                </c:pt>
                <c:pt idx="24">
                  <c:v>0.16352488578011237</c:v>
                </c:pt>
                <c:pt idx="25">
                  <c:v>0.12989049543140641</c:v>
                </c:pt>
                <c:pt idx="26">
                  <c:v>6.0173253881896871E-2</c:v>
                </c:pt>
                <c:pt idx="27">
                  <c:v>3.6145080937943996E-2</c:v>
                </c:pt>
                <c:pt idx="28">
                  <c:v>-7.1294559099437382E-3</c:v>
                </c:pt>
                <c:pt idx="29">
                  <c:v>4.0650406504065151E-2</c:v>
                </c:pt>
                <c:pt idx="30">
                  <c:v>-5.2490421455938741E-2</c:v>
                </c:pt>
                <c:pt idx="31">
                  <c:v>3.5322777101096214E-2</c:v>
                </c:pt>
              </c:numCache>
            </c:numRef>
          </c:val>
          <c:smooth val="1"/>
          <c:extLst>
            <c:ext xmlns:c16="http://schemas.microsoft.com/office/drawing/2014/chart" uri="{C3380CC4-5D6E-409C-BE32-E72D297353CC}">
              <c16:uniqueId val="{00000001-2302-42FF-B395-C4E0AB04571B}"/>
            </c:ext>
          </c:extLst>
        </c:ser>
        <c:dLbls>
          <c:showLegendKey val="0"/>
          <c:showVal val="0"/>
          <c:showCatName val="0"/>
          <c:showSerName val="0"/>
          <c:showPercent val="0"/>
          <c:showBubbleSize val="0"/>
        </c:dLbls>
        <c:marker val="1"/>
        <c:smooth val="0"/>
        <c:axId val="1401200144"/>
        <c:axId val="1401209392"/>
      </c:lineChart>
      <c:dateAx>
        <c:axId val="1401200688"/>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1211024"/>
        <c:crosses val="autoZero"/>
        <c:auto val="1"/>
        <c:lblOffset val="100"/>
        <c:baseTimeUnit val="months"/>
        <c:majorUnit val="1"/>
        <c:majorTimeUnit val="months"/>
      </c:dateAx>
      <c:valAx>
        <c:axId val="140121102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1200688"/>
        <c:crosses val="autoZero"/>
        <c:crossBetween val="between"/>
        <c:dispUnits>
          <c:builtInUnit val="thousands"/>
        </c:dispUnits>
      </c:valAx>
      <c:valAx>
        <c:axId val="1401209392"/>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1200144"/>
        <c:crosses val="max"/>
        <c:crossBetween val="between"/>
      </c:valAx>
      <c:dateAx>
        <c:axId val="1401200144"/>
        <c:scaling>
          <c:orientation val="minMax"/>
        </c:scaling>
        <c:delete val="1"/>
        <c:axPos val="b"/>
        <c:numFmt formatCode="mmm\-yy" sourceLinked="1"/>
        <c:majorTickMark val="out"/>
        <c:minorTickMark val="none"/>
        <c:tickLblPos val="nextTo"/>
        <c:crossAx val="1401209392"/>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harts!$B$2</c:f>
              <c:strCache>
                <c:ptCount val="1"/>
                <c:pt idx="0">
                  <c:v>Rainfall Deviation</c:v>
                </c:pt>
              </c:strCache>
            </c:strRef>
          </c:tx>
          <c:spPr>
            <a:solidFill>
              <a:schemeClr val="accent4">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s!$A$3:$A$15</c:f>
              <c:strCache>
                <c:ptCount val="13"/>
                <c:pt idx="0">
                  <c:v>FY10</c:v>
                </c:pt>
                <c:pt idx="1">
                  <c:v>FY11</c:v>
                </c:pt>
                <c:pt idx="2">
                  <c:v>FY12</c:v>
                </c:pt>
                <c:pt idx="3">
                  <c:v>FY13</c:v>
                </c:pt>
                <c:pt idx="4">
                  <c:v>FY14</c:v>
                </c:pt>
                <c:pt idx="5">
                  <c:v>FY15</c:v>
                </c:pt>
                <c:pt idx="6">
                  <c:v>FY16</c:v>
                </c:pt>
                <c:pt idx="7">
                  <c:v>FY17</c:v>
                </c:pt>
                <c:pt idx="8">
                  <c:v>FY18</c:v>
                </c:pt>
                <c:pt idx="9">
                  <c:v>FY19</c:v>
                </c:pt>
                <c:pt idx="10">
                  <c:v>FY20</c:v>
                </c:pt>
                <c:pt idx="11">
                  <c:v>FY21</c:v>
                </c:pt>
                <c:pt idx="12">
                  <c:v>FY22E</c:v>
                </c:pt>
              </c:strCache>
            </c:strRef>
          </c:cat>
          <c:val>
            <c:numRef>
              <c:f>Charts!$B$3:$B$15</c:f>
              <c:numCache>
                <c:formatCode>0%</c:formatCode>
                <c:ptCount val="13"/>
                <c:pt idx="0">
                  <c:v>-0.21</c:v>
                </c:pt>
                <c:pt idx="1">
                  <c:v>0.04</c:v>
                </c:pt>
                <c:pt idx="2">
                  <c:v>0.02</c:v>
                </c:pt>
                <c:pt idx="3">
                  <c:v>-0.06</c:v>
                </c:pt>
                <c:pt idx="4">
                  <c:v>0.06</c:v>
                </c:pt>
                <c:pt idx="5">
                  <c:v>-0.11</c:v>
                </c:pt>
                <c:pt idx="6">
                  <c:v>-0.16</c:v>
                </c:pt>
                <c:pt idx="7">
                  <c:v>-0.05</c:v>
                </c:pt>
                <c:pt idx="8">
                  <c:v>-0.03</c:v>
                </c:pt>
                <c:pt idx="9">
                  <c:v>-0.09</c:v>
                </c:pt>
                <c:pt idx="10">
                  <c:v>9.9591187826481908E-2</c:v>
                </c:pt>
                <c:pt idx="11">
                  <c:v>0.09</c:v>
                </c:pt>
                <c:pt idx="12">
                  <c:v>-0.01</c:v>
                </c:pt>
              </c:numCache>
            </c:numRef>
          </c:val>
          <c:extLst>
            <c:ext xmlns:c16="http://schemas.microsoft.com/office/drawing/2014/chart" uri="{C3380CC4-5D6E-409C-BE32-E72D297353CC}">
              <c16:uniqueId val="{00000000-2121-420B-92BC-50414E745D66}"/>
            </c:ext>
          </c:extLst>
        </c:ser>
        <c:dLbls>
          <c:showLegendKey val="0"/>
          <c:showVal val="1"/>
          <c:showCatName val="0"/>
          <c:showSerName val="0"/>
          <c:showPercent val="0"/>
          <c:showBubbleSize val="0"/>
        </c:dLbls>
        <c:gapWidth val="219"/>
        <c:overlap val="-27"/>
        <c:axId val="-8546576"/>
        <c:axId val="-8545488"/>
      </c:barChart>
      <c:catAx>
        <c:axId val="-854657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545488"/>
        <c:crosses val="autoZero"/>
        <c:auto val="1"/>
        <c:lblAlgn val="ctr"/>
        <c:lblOffset val="100"/>
        <c:noMultiLvlLbl val="0"/>
      </c:catAx>
      <c:valAx>
        <c:axId val="-854548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46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C$2</c:f>
              <c:strCache>
                <c:ptCount val="1"/>
                <c:pt idx="0">
                  <c:v>Kharif</c:v>
                </c:pt>
              </c:strCache>
            </c:strRef>
          </c:tx>
          <c:spPr>
            <a:solidFill>
              <a:schemeClr val="accent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B$13</c:f>
              <c:strCache>
                <c:ptCount val="7"/>
                <c:pt idx="0">
                  <c:v>2015-16</c:v>
                </c:pt>
                <c:pt idx="1">
                  <c:v>2016-17</c:v>
                </c:pt>
                <c:pt idx="2">
                  <c:v>2017-18</c:v>
                </c:pt>
                <c:pt idx="3">
                  <c:v>2018-19</c:v>
                </c:pt>
                <c:pt idx="4">
                  <c:v>2019-20 E</c:v>
                </c:pt>
                <c:pt idx="5">
                  <c:v>2020-21 E</c:v>
                </c:pt>
                <c:pt idx="6">
                  <c:v>2021-22 P</c:v>
                </c:pt>
              </c:strCache>
            </c:strRef>
          </c:cat>
          <c:val>
            <c:numRef>
              <c:f>Sheet1!$E$7:$E$13</c:f>
              <c:numCache>
                <c:formatCode>0</c:formatCode>
                <c:ptCount val="7"/>
                <c:pt idx="0">
                  <c:v>387.979804</c:v>
                </c:pt>
                <c:pt idx="1">
                  <c:v>361.41143899999997</c:v>
                </c:pt>
                <c:pt idx="2">
                  <c:v>432.45997</c:v>
                </c:pt>
                <c:pt idx="3">
                  <c:v>446.10325722395248</c:v>
                </c:pt>
                <c:pt idx="4">
                  <c:v>435.6713003413364</c:v>
                </c:pt>
                <c:pt idx="5">
                  <c:v>441</c:v>
                </c:pt>
                <c:pt idx="6" formatCode="General">
                  <c:v>442</c:v>
                </c:pt>
              </c:numCache>
            </c:numRef>
          </c:val>
          <c:extLst>
            <c:ext xmlns:c16="http://schemas.microsoft.com/office/drawing/2014/chart" uri="{C3380CC4-5D6E-409C-BE32-E72D297353CC}">
              <c16:uniqueId val="{00000000-37F6-49A2-863A-3BA86A19293B}"/>
            </c:ext>
          </c:extLst>
        </c:ser>
        <c:ser>
          <c:idx val="1"/>
          <c:order val="1"/>
          <c:tx>
            <c:strRef>
              <c:f>Sheet1!$D$2</c:f>
              <c:strCache>
                <c:ptCount val="1"/>
                <c:pt idx="0">
                  <c:v>Rabi</c:v>
                </c:pt>
              </c:strCache>
            </c:strRef>
          </c:tx>
          <c:spPr>
            <a:solidFill>
              <a:schemeClr val="bg1">
                <a:lumMod val="6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7:$B$13</c:f>
              <c:strCache>
                <c:ptCount val="7"/>
                <c:pt idx="0">
                  <c:v>2015-16</c:v>
                </c:pt>
                <c:pt idx="1">
                  <c:v>2016-17</c:v>
                </c:pt>
                <c:pt idx="2">
                  <c:v>2017-18</c:v>
                </c:pt>
                <c:pt idx="3">
                  <c:v>2018-19</c:v>
                </c:pt>
                <c:pt idx="4">
                  <c:v>2019-20 E</c:v>
                </c:pt>
                <c:pt idx="5">
                  <c:v>2020-21 E</c:v>
                </c:pt>
                <c:pt idx="6">
                  <c:v>2021-22 P</c:v>
                </c:pt>
              </c:strCache>
            </c:strRef>
          </c:cat>
          <c:val>
            <c:numRef>
              <c:f>Sheet1!$F$7:$F$13</c:f>
              <c:numCache>
                <c:formatCode>0</c:formatCode>
                <c:ptCount val="7"/>
                <c:pt idx="0">
                  <c:v>167.55500000000001</c:v>
                </c:pt>
                <c:pt idx="1">
                  <c:v>198.59452000000002</c:v>
                </c:pt>
                <c:pt idx="2">
                  <c:v>203.80800999999997</c:v>
                </c:pt>
                <c:pt idx="3">
                  <c:v>196.15540000000001</c:v>
                </c:pt>
                <c:pt idx="4">
                  <c:v>188.31545725369233</c:v>
                </c:pt>
                <c:pt idx="5">
                  <c:v>186.4410571139172</c:v>
                </c:pt>
                <c:pt idx="6">
                  <c:v>178.77086831274272</c:v>
                </c:pt>
              </c:numCache>
            </c:numRef>
          </c:val>
          <c:extLst>
            <c:ext xmlns:c16="http://schemas.microsoft.com/office/drawing/2014/chart" uri="{C3380CC4-5D6E-409C-BE32-E72D297353CC}">
              <c16:uniqueId val="{00000001-37F6-49A2-863A-3BA86A19293B}"/>
            </c:ext>
          </c:extLst>
        </c:ser>
        <c:dLbls>
          <c:showLegendKey val="0"/>
          <c:showVal val="0"/>
          <c:showCatName val="0"/>
          <c:showSerName val="0"/>
          <c:showPercent val="0"/>
          <c:showBubbleSize val="0"/>
        </c:dLbls>
        <c:gapWidth val="218"/>
        <c:overlap val="-27"/>
        <c:axId val="1979065728"/>
        <c:axId val="1979067904"/>
      </c:barChart>
      <c:catAx>
        <c:axId val="1979065728"/>
        <c:scaling>
          <c:orientation val="minMax"/>
        </c:scaling>
        <c:delete val="0"/>
        <c:axPos val="b"/>
        <c:numFmt formatCode="General" sourceLinked="0"/>
        <c:majorTickMark val="out"/>
        <c:minorTickMark val="none"/>
        <c:tickLblPos val="nextTo"/>
        <c:crossAx val="1979067904"/>
        <c:crosses val="autoZero"/>
        <c:auto val="0"/>
        <c:lblAlgn val="ctr"/>
        <c:lblOffset val="100"/>
        <c:noMultiLvlLbl val="0"/>
      </c:catAx>
      <c:valAx>
        <c:axId val="1979067904"/>
        <c:scaling>
          <c:orientation val="minMax"/>
        </c:scaling>
        <c:delete val="1"/>
        <c:axPos val="l"/>
        <c:numFmt formatCode="0" sourceLinked="1"/>
        <c:majorTickMark val="out"/>
        <c:minorTickMark val="none"/>
        <c:tickLblPos val="nextTo"/>
        <c:crossAx val="1979065728"/>
        <c:crosses val="autoZero"/>
        <c:crossBetween val="between"/>
      </c:valAx>
    </c:plotArea>
    <c:legend>
      <c:legendPos val="t"/>
      <c:overlay val="0"/>
    </c:legend>
    <c:plotVisOnly val="1"/>
    <c:dispBlanksAs val="gap"/>
    <c:showDLblsOverMax val="0"/>
  </c:chart>
  <c:spPr>
    <a:ln>
      <a:noFill/>
    </a:ln>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nancial Data'!$B$2</c:f>
              <c:strCache>
                <c:ptCount val="1"/>
                <c:pt idx="0">
                  <c:v>Disbursement</c:v>
                </c:pt>
              </c:strCache>
            </c:strRef>
          </c:tx>
          <c:spPr>
            <a:solidFill>
              <a:schemeClr val="accent1"/>
            </a:solidFill>
            <a:ln>
              <a:noFill/>
            </a:ln>
            <a:effectLst/>
          </c:spPr>
          <c:invertIfNegative val="0"/>
          <c:cat>
            <c:strRef>
              <c:f>'Financial Data'!$A$3:$A$12</c:f>
              <c:strCache>
                <c:ptCount val="10"/>
                <c:pt idx="0">
                  <c:v>FY 14</c:v>
                </c:pt>
                <c:pt idx="1">
                  <c:v>FY 15</c:v>
                </c:pt>
                <c:pt idx="2">
                  <c:v>FY 16</c:v>
                </c:pt>
                <c:pt idx="3">
                  <c:v>FY 17</c:v>
                </c:pt>
                <c:pt idx="4">
                  <c:v>FY 18</c:v>
                </c:pt>
                <c:pt idx="5">
                  <c:v>FY 19</c:v>
                </c:pt>
                <c:pt idx="6">
                  <c:v>FY 20</c:v>
                </c:pt>
                <c:pt idx="7">
                  <c:v>FY 21</c:v>
                </c:pt>
                <c:pt idx="8">
                  <c:v>FY 22 </c:v>
                </c:pt>
                <c:pt idx="9">
                  <c:v>FY23E</c:v>
                </c:pt>
              </c:strCache>
            </c:strRef>
          </c:cat>
          <c:val>
            <c:numRef>
              <c:f>'Financial Data'!$B$3:$B$12</c:f>
              <c:numCache>
                <c:formatCode>General</c:formatCode>
                <c:ptCount val="10"/>
                <c:pt idx="0">
                  <c:v>140</c:v>
                </c:pt>
                <c:pt idx="1">
                  <c:v>158</c:v>
                </c:pt>
                <c:pt idx="2">
                  <c:v>174</c:v>
                </c:pt>
                <c:pt idx="3" formatCode="0">
                  <c:v>206.41621873625897</c:v>
                </c:pt>
                <c:pt idx="4" formatCode="0">
                  <c:v>269.4525711378206</c:v>
                </c:pt>
                <c:pt idx="5" formatCode="0">
                  <c:v>316.07933456102398</c:v>
                </c:pt>
                <c:pt idx="6" formatCode="0">
                  <c:v>309.76128709574482</c:v>
                </c:pt>
                <c:pt idx="7" formatCode="0">
                  <c:v>272.58993264425544</c:v>
                </c:pt>
                <c:pt idx="8" formatCode="0">
                  <c:v>281</c:v>
                </c:pt>
                <c:pt idx="9" formatCode="0">
                  <c:v>335</c:v>
                </c:pt>
              </c:numCache>
            </c:numRef>
          </c:val>
          <c:extLst>
            <c:ext xmlns:c16="http://schemas.microsoft.com/office/drawing/2014/chart" uri="{C3380CC4-5D6E-409C-BE32-E72D297353CC}">
              <c16:uniqueId val="{00000000-AC69-4B5C-8D26-666973AD5599}"/>
            </c:ext>
          </c:extLst>
        </c:ser>
        <c:dLbls>
          <c:showLegendKey val="0"/>
          <c:showVal val="0"/>
          <c:showCatName val="0"/>
          <c:showSerName val="0"/>
          <c:showPercent val="0"/>
          <c:showBubbleSize val="0"/>
        </c:dLbls>
        <c:gapWidth val="219"/>
        <c:overlap val="-27"/>
        <c:axId val="487020240"/>
        <c:axId val="487024832"/>
      </c:barChart>
      <c:lineChart>
        <c:grouping val="standard"/>
        <c:varyColors val="0"/>
        <c:ser>
          <c:idx val="1"/>
          <c:order val="1"/>
          <c:tx>
            <c:strRef>
              <c:f>'Financial Data'!$C$2</c:f>
              <c:strCache>
                <c:ptCount val="1"/>
                <c:pt idx="0">
                  <c:v>Y-o-Y Growth</c:v>
                </c:pt>
              </c:strCache>
            </c:strRef>
          </c:tx>
          <c:spPr>
            <a:ln w="28575" cap="rnd">
              <a:solidFill>
                <a:schemeClr val="accent2"/>
              </a:solidFill>
              <a:round/>
            </a:ln>
            <a:effectLst/>
          </c:spPr>
          <c:marker>
            <c:symbol val="none"/>
          </c:marker>
          <c:cat>
            <c:strRef>
              <c:f>'Financial Data'!$A$3:$A$12</c:f>
              <c:strCache>
                <c:ptCount val="10"/>
                <c:pt idx="0">
                  <c:v>FY 14</c:v>
                </c:pt>
                <c:pt idx="1">
                  <c:v>FY 15</c:v>
                </c:pt>
                <c:pt idx="2">
                  <c:v>FY 16</c:v>
                </c:pt>
                <c:pt idx="3">
                  <c:v>FY 17</c:v>
                </c:pt>
                <c:pt idx="4">
                  <c:v>FY 18</c:v>
                </c:pt>
                <c:pt idx="5">
                  <c:v>FY 19</c:v>
                </c:pt>
                <c:pt idx="6">
                  <c:v>FY 20</c:v>
                </c:pt>
                <c:pt idx="7">
                  <c:v>FY 21</c:v>
                </c:pt>
                <c:pt idx="8">
                  <c:v>FY 22 </c:v>
                </c:pt>
                <c:pt idx="9">
                  <c:v>FY23E</c:v>
                </c:pt>
              </c:strCache>
            </c:strRef>
          </c:cat>
          <c:val>
            <c:numRef>
              <c:f>'Financial Data'!$C$3:$C$12</c:f>
              <c:numCache>
                <c:formatCode>0%</c:formatCode>
                <c:ptCount val="10"/>
                <c:pt idx="1">
                  <c:v>0.12857142857142856</c:v>
                </c:pt>
                <c:pt idx="2">
                  <c:v>0.10126582278481022</c:v>
                </c:pt>
                <c:pt idx="3">
                  <c:v>0.18630010767964933</c:v>
                </c:pt>
                <c:pt idx="4">
                  <c:v>0.30538468724739154</c:v>
                </c:pt>
                <c:pt idx="5">
                  <c:v>0.17304256265327878</c:v>
                </c:pt>
                <c:pt idx="6">
                  <c:v>-1.998880272907988E-2</c:v>
                </c:pt>
                <c:pt idx="7">
                  <c:v>-0.12</c:v>
                </c:pt>
                <c:pt idx="8">
                  <c:v>0.04</c:v>
                </c:pt>
                <c:pt idx="9">
                  <c:v>0.19</c:v>
                </c:pt>
              </c:numCache>
            </c:numRef>
          </c:val>
          <c:smooth val="0"/>
          <c:extLst>
            <c:ext xmlns:c16="http://schemas.microsoft.com/office/drawing/2014/chart" uri="{C3380CC4-5D6E-409C-BE32-E72D297353CC}">
              <c16:uniqueId val="{00000001-AC69-4B5C-8D26-666973AD5599}"/>
            </c:ext>
          </c:extLst>
        </c:ser>
        <c:dLbls>
          <c:showLegendKey val="0"/>
          <c:showVal val="0"/>
          <c:showCatName val="0"/>
          <c:showSerName val="0"/>
          <c:showPercent val="0"/>
          <c:showBubbleSize val="0"/>
        </c:dLbls>
        <c:marker val="1"/>
        <c:smooth val="0"/>
        <c:axId val="487025816"/>
        <c:axId val="487023848"/>
      </c:lineChart>
      <c:catAx>
        <c:axId val="48702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87024832"/>
        <c:crosses val="autoZero"/>
        <c:auto val="1"/>
        <c:lblAlgn val="ctr"/>
        <c:lblOffset val="100"/>
        <c:noMultiLvlLbl val="0"/>
      </c:catAx>
      <c:valAx>
        <c:axId val="4870248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87020240"/>
        <c:crosses val="autoZero"/>
        <c:crossBetween val="between"/>
      </c:valAx>
      <c:valAx>
        <c:axId val="487023848"/>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87025816"/>
        <c:crosses val="max"/>
        <c:crossBetween val="between"/>
      </c:valAx>
      <c:catAx>
        <c:axId val="487025816"/>
        <c:scaling>
          <c:orientation val="minMax"/>
        </c:scaling>
        <c:delete val="1"/>
        <c:axPos val="b"/>
        <c:numFmt formatCode="General" sourceLinked="1"/>
        <c:majorTickMark val="none"/>
        <c:minorTickMark val="none"/>
        <c:tickLblPos val="nextTo"/>
        <c:crossAx val="48702384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inancial Data'!$N$2</c:f>
              <c:strCache>
                <c:ptCount val="1"/>
                <c:pt idx="0">
                  <c:v>Auto finance penetration</c:v>
                </c:pt>
              </c:strCache>
            </c:strRef>
          </c:tx>
          <c:spPr>
            <a:ln w="28575" cap="rnd">
              <a:solidFill>
                <a:schemeClr val="accent1"/>
              </a:solidFill>
              <a:round/>
            </a:ln>
            <a:effectLst/>
          </c:spPr>
          <c:marker>
            <c:symbol val="none"/>
          </c:marker>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inancial Data'!$M$3:$M$12</c:f>
              <c:strCache>
                <c:ptCount val="10"/>
                <c:pt idx="0">
                  <c:v>FY14</c:v>
                </c:pt>
                <c:pt idx="1">
                  <c:v>FY15</c:v>
                </c:pt>
                <c:pt idx="2">
                  <c:v>FY16</c:v>
                </c:pt>
                <c:pt idx="3">
                  <c:v>FY17</c:v>
                </c:pt>
                <c:pt idx="4">
                  <c:v>FY18</c:v>
                </c:pt>
                <c:pt idx="5">
                  <c:v>FY19</c:v>
                </c:pt>
                <c:pt idx="6">
                  <c:v>FY20</c:v>
                </c:pt>
                <c:pt idx="7">
                  <c:v>FY21</c:v>
                </c:pt>
                <c:pt idx="8">
                  <c:v>FY22</c:v>
                </c:pt>
                <c:pt idx="9">
                  <c:v>FY23P</c:v>
                </c:pt>
              </c:strCache>
            </c:strRef>
          </c:cat>
          <c:val>
            <c:numRef>
              <c:f>'Financial Data'!$N$3:$N$12</c:f>
              <c:numCache>
                <c:formatCode>0.0%</c:formatCode>
                <c:ptCount val="10"/>
                <c:pt idx="0">
                  <c:v>0.27800000000000002</c:v>
                </c:pt>
                <c:pt idx="1">
                  <c:v>0.28399999999999997</c:v>
                </c:pt>
                <c:pt idx="2">
                  <c:v>0.28399999999999997</c:v>
                </c:pt>
                <c:pt idx="3">
                  <c:v>0.30400000000000005</c:v>
                </c:pt>
                <c:pt idx="4">
                  <c:v>0.314</c:v>
                </c:pt>
                <c:pt idx="5">
                  <c:v>0.32800000000000001</c:v>
                </c:pt>
                <c:pt idx="6">
                  <c:v>0.33799999999999997</c:v>
                </c:pt>
                <c:pt idx="7">
                  <c:v>0.33999999999999997</c:v>
                </c:pt>
                <c:pt idx="8">
                  <c:v>0.33999999999999997</c:v>
                </c:pt>
                <c:pt idx="9" formatCode="0.00%">
                  <c:v>0.35</c:v>
                </c:pt>
              </c:numCache>
            </c:numRef>
          </c:val>
          <c:smooth val="0"/>
          <c:extLst>
            <c:ext xmlns:c16="http://schemas.microsoft.com/office/drawing/2014/chart" uri="{C3380CC4-5D6E-409C-BE32-E72D297353CC}">
              <c16:uniqueId val="{00000000-AE6C-4F26-BB80-F0D65D72A6CC}"/>
            </c:ext>
          </c:extLst>
        </c:ser>
        <c:dLbls>
          <c:showLegendKey val="0"/>
          <c:showVal val="0"/>
          <c:showCatName val="0"/>
          <c:showSerName val="0"/>
          <c:showPercent val="0"/>
          <c:showBubbleSize val="0"/>
        </c:dLbls>
        <c:smooth val="0"/>
        <c:axId val="1026024992"/>
        <c:axId val="1026025648"/>
      </c:lineChart>
      <c:catAx>
        <c:axId val="1026024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26025648"/>
        <c:crosses val="autoZero"/>
        <c:auto val="1"/>
        <c:lblAlgn val="ctr"/>
        <c:lblOffset val="100"/>
        <c:noMultiLvlLbl val="0"/>
      </c:catAx>
      <c:valAx>
        <c:axId val="1026025648"/>
        <c:scaling>
          <c:orientation val="minMax"/>
          <c:min val="0.2400000000000000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260249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inancial Data'!$Y$2</c:f>
              <c:strCache>
                <c:ptCount val="1"/>
                <c:pt idx="0">
                  <c:v>LTV</c:v>
                </c:pt>
              </c:strCache>
            </c:strRef>
          </c:tx>
          <c:spPr>
            <a:ln w="28575" cap="rnd">
              <a:solidFill>
                <a:schemeClr val="accent1"/>
              </a:solidFill>
              <a:round/>
            </a:ln>
            <a:effectLst/>
          </c:spPr>
          <c:marker>
            <c:symbol val="none"/>
          </c:marker>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cial Data'!$X$3:$X$12</c:f>
              <c:strCache>
                <c:ptCount val="10"/>
                <c:pt idx="0">
                  <c:v>FY14</c:v>
                </c:pt>
                <c:pt idx="1">
                  <c:v>FY15</c:v>
                </c:pt>
                <c:pt idx="2">
                  <c:v>FY16</c:v>
                </c:pt>
                <c:pt idx="3">
                  <c:v>FY17</c:v>
                </c:pt>
                <c:pt idx="4">
                  <c:v>FY18</c:v>
                </c:pt>
                <c:pt idx="5">
                  <c:v>FY19</c:v>
                </c:pt>
                <c:pt idx="6">
                  <c:v>FY20</c:v>
                </c:pt>
                <c:pt idx="7">
                  <c:v>FY21</c:v>
                </c:pt>
                <c:pt idx="8">
                  <c:v>FY22</c:v>
                </c:pt>
                <c:pt idx="9">
                  <c:v>FY23P</c:v>
                </c:pt>
              </c:strCache>
            </c:strRef>
          </c:cat>
          <c:val>
            <c:numRef>
              <c:f>'Financial Data'!$Y$3:$Y$12</c:f>
              <c:numCache>
                <c:formatCode>0.0%</c:formatCode>
                <c:ptCount val="10"/>
                <c:pt idx="0">
                  <c:v>0.67800000000000005</c:v>
                </c:pt>
                <c:pt idx="1">
                  <c:v>0.69599999999999995</c:v>
                </c:pt>
                <c:pt idx="2">
                  <c:v>0.69</c:v>
                </c:pt>
                <c:pt idx="3">
                  <c:v>0.69</c:v>
                </c:pt>
                <c:pt idx="4">
                  <c:v>0.68599999999999994</c:v>
                </c:pt>
                <c:pt idx="5">
                  <c:v>0.69599999999999995</c:v>
                </c:pt>
                <c:pt idx="6">
                  <c:v>0.69599999999999995</c:v>
                </c:pt>
                <c:pt idx="7">
                  <c:v>0.69599999999999995</c:v>
                </c:pt>
                <c:pt idx="8">
                  <c:v>0.69099999999999995</c:v>
                </c:pt>
                <c:pt idx="9">
                  <c:v>0.69599999999999995</c:v>
                </c:pt>
              </c:numCache>
            </c:numRef>
          </c:val>
          <c:smooth val="0"/>
          <c:extLst>
            <c:ext xmlns:c16="http://schemas.microsoft.com/office/drawing/2014/chart" uri="{C3380CC4-5D6E-409C-BE32-E72D297353CC}">
              <c16:uniqueId val="{00000000-6FF3-4FE0-B397-283A15564CEF}"/>
            </c:ext>
          </c:extLst>
        </c:ser>
        <c:dLbls>
          <c:showLegendKey val="0"/>
          <c:showVal val="0"/>
          <c:showCatName val="0"/>
          <c:showSerName val="0"/>
          <c:showPercent val="0"/>
          <c:showBubbleSize val="0"/>
        </c:dLbls>
        <c:smooth val="0"/>
        <c:axId val="1118285664"/>
        <c:axId val="1118288288"/>
      </c:lineChart>
      <c:catAx>
        <c:axId val="1118285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18288288"/>
        <c:crosses val="autoZero"/>
        <c:auto val="1"/>
        <c:lblAlgn val="ctr"/>
        <c:lblOffset val="100"/>
        <c:noMultiLvlLbl val="0"/>
      </c:catAx>
      <c:valAx>
        <c:axId val="1118288288"/>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182856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etail Vs Offtake'!$B$36</c:f>
              <c:strCache>
                <c:ptCount val="1"/>
                <c:pt idx="0">
                  <c:v>Retail</c:v>
                </c:pt>
              </c:strCache>
            </c:strRef>
          </c:tx>
          <c:spPr>
            <a:solidFill>
              <a:schemeClr val="accent4"/>
            </a:solidFill>
            <a:ln>
              <a:solidFill>
                <a:schemeClr val="accent4"/>
              </a:solidFill>
            </a:ln>
            <a:effectLst/>
          </c:spPr>
          <c:invertIfNegative val="0"/>
          <c:cat>
            <c:multiLvlStrRef>
              <c:f>'Retail Vs Offtake'!$F$34:$Z$35</c:f>
              <c:multiLvlStrCache>
                <c:ptCount val="21"/>
                <c:lvl>
                  <c:pt idx="0">
                    <c:v>Jul</c:v>
                  </c:pt>
                  <c:pt idx="1">
                    <c:v>Aug</c:v>
                  </c:pt>
                  <c:pt idx="2">
                    <c:v>Sep</c:v>
                  </c:pt>
                  <c:pt idx="3">
                    <c:v>Oct</c:v>
                  </c:pt>
                  <c:pt idx="4">
                    <c:v>Nov</c:v>
                  </c:pt>
                  <c:pt idx="5">
                    <c:v>Dec</c:v>
                  </c:pt>
                  <c:pt idx="6">
                    <c:v>Jan</c:v>
                  </c:pt>
                  <c:pt idx="7">
                    <c:v>Feb</c:v>
                  </c:pt>
                  <c:pt idx="8">
                    <c:v>Mar</c:v>
                  </c:pt>
                  <c:pt idx="9">
                    <c:v>Apr</c:v>
                  </c:pt>
                  <c:pt idx="10">
                    <c:v>May</c:v>
                  </c:pt>
                  <c:pt idx="11">
                    <c:v>Jun</c:v>
                  </c:pt>
                  <c:pt idx="12">
                    <c:v>Jul</c:v>
                  </c:pt>
                  <c:pt idx="13">
                    <c:v>Aug</c:v>
                  </c:pt>
                  <c:pt idx="14">
                    <c:v>Sep</c:v>
                  </c:pt>
                  <c:pt idx="15">
                    <c:v>Oct</c:v>
                  </c:pt>
                  <c:pt idx="16">
                    <c:v>Nov</c:v>
                  </c:pt>
                  <c:pt idx="17">
                    <c:v>Dec</c:v>
                  </c:pt>
                  <c:pt idx="18">
                    <c:v>Jan</c:v>
                  </c:pt>
                  <c:pt idx="19">
                    <c:v>Feb</c:v>
                  </c:pt>
                  <c:pt idx="20">
                    <c:v>Mar</c:v>
                  </c:pt>
                </c:lvl>
                <c:lvl>
                  <c:pt idx="0">
                    <c:v>FY21</c:v>
                  </c:pt>
                  <c:pt idx="9">
                    <c:v>FY 22</c:v>
                  </c:pt>
                </c:lvl>
              </c:multiLvlStrCache>
            </c:multiLvlStrRef>
          </c:cat>
          <c:val>
            <c:numRef>
              <c:f>'Retail Vs Offtake'!$F$36:$Z$36</c:f>
              <c:numCache>
                <c:formatCode>0.0</c:formatCode>
                <c:ptCount val="21"/>
                <c:pt idx="0">
                  <c:v>1.02750388</c:v>
                </c:pt>
                <c:pt idx="1">
                  <c:v>1.0595491399999999</c:v>
                </c:pt>
                <c:pt idx="2">
                  <c:v>1.1696926999999999</c:v>
                </c:pt>
                <c:pt idx="3">
                  <c:v>1.2289169</c:v>
                </c:pt>
                <c:pt idx="4">
                  <c:v>1.6745332800000001</c:v>
                </c:pt>
                <c:pt idx="5">
                  <c:v>1.6447099599999999</c:v>
                </c:pt>
                <c:pt idx="6">
                  <c:v>1.3280460600000001</c:v>
                </c:pt>
                <c:pt idx="7">
                  <c:v>1.2384065500000001</c:v>
                </c:pt>
                <c:pt idx="8">
                  <c:v>1.32727653</c:v>
                </c:pt>
                <c:pt idx="9">
                  <c:v>0.85363</c:v>
                </c:pt>
                <c:pt idx="10">
                  <c:v>0.40445399999999998</c:v>
                </c:pt>
                <c:pt idx="11">
                  <c:v>0.91778499999999996</c:v>
                </c:pt>
                <c:pt idx="12">
                  <c:v>1.1168119999999999</c:v>
                </c:pt>
                <c:pt idx="13">
                  <c:v>0.96198799999999995</c:v>
                </c:pt>
                <c:pt idx="14" formatCode="General">
                  <c:v>1.1000000000000001</c:v>
                </c:pt>
                <c:pt idx="15" formatCode="_(* #,##0.0_);_(* \(#,##0.0\);_(* &quot;-&quot;??_);_(@_)">
                  <c:v>0.98184199999999999</c:v>
                </c:pt>
                <c:pt idx="16" formatCode="_(* #,##0.0_);_(* \(#,##0.0\);_(* &quot;-&quot;??_);_(@_)">
                  <c:v>1.412849</c:v>
                </c:pt>
                <c:pt idx="17" formatCode="_(* #,##0.0_);_(* \(#,##0.0\);_(* &quot;-&quot;??_);_(@_)">
                  <c:v>1.1337520000000001</c:v>
                </c:pt>
                <c:pt idx="18" formatCode="_(* #,##0.0_);_(* \(#,##0.0\);_(* &quot;-&quot;??_);_(@_)">
                  <c:v>1.018357</c:v>
                </c:pt>
                <c:pt idx="19" formatCode="_(* #,##0.0_);_(* \(#,##0.0\);_(* &quot;-&quot;??_);_(@_)">
                  <c:v>0.98466900000000002</c:v>
                </c:pt>
                <c:pt idx="20" formatCode="_(* #,##0.0_);_(* \(#,##0.0\);_(* &quot;-&quot;??_);_(@_)">
                  <c:v>1.1584000000000001</c:v>
                </c:pt>
              </c:numCache>
            </c:numRef>
          </c:val>
          <c:extLst>
            <c:ext xmlns:c16="http://schemas.microsoft.com/office/drawing/2014/chart" uri="{C3380CC4-5D6E-409C-BE32-E72D297353CC}">
              <c16:uniqueId val="{00000000-8200-41C5-B6A1-A3362D7FF685}"/>
            </c:ext>
          </c:extLst>
        </c:ser>
        <c:ser>
          <c:idx val="1"/>
          <c:order val="1"/>
          <c:tx>
            <c:strRef>
              <c:f>'Retail Vs Offtake'!$B$37</c:f>
              <c:strCache>
                <c:ptCount val="1"/>
                <c:pt idx="0">
                  <c:v>Offtake</c:v>
                </c:pt>
              </c:strCache>
            </c:strRef>
          </c:tx>
          <c:spPr>
            <a:solidFill>
              <a:schemeClr val="accent2"/>
            </a:solidFill>
            <a:ln>
              <a:noFill/>
            </a:ln>
            <a:effectLst/>
          </c:spPr>
          <c:invertIfNegative val="0"/>
          <c:cat>
            <c:multiLvlStrRef>
              <c:f>'Retail Vs Offtake'!$F$34:$Z$35</c:f>
              <c:multiLvlStrCache>
                <c:ptCount val="21"/>
                <c:lvl>
                  <c:pt idx="0">
                    <c:v>Jul</c:v>
                  </c:pt>
                  <c:pt idx="1">
                    <c:v>Aug</c:v>
                  </c:pt>
                  <c:pt idx="2">
                    <c:v>Sep</c:v>
                  </c:pt>
                  <c:pt idx="3">
                    <c:v>Oct</c:v>
                  </c:pt>
                  <c:pt idx="4">
                    <c:v>Nov</c:v>
                  </c:pt>
                  <c:pt idx="5">
                    <c:v>Dec</c:v>
                  </c:pt>
                  <c:pt idx="6">
                    <c:v>Jan</c:v>
                  </c:pt>
                  <c:pt idx="7">
                    <c:v>Feb</c:v>
                  </c:pt>
                  <c:pt idx="8">
                    <c:v>Mar</c:v>
                  </c:pt>
                  <c:pt idx="9">
                    <c:v>Apr</c:v>
                  </c:pt>
                  <c:pt idx="10">
                    <c:v>May</c:v>
                  </c:pt>
                  <c:pt idx="11">
                    <c:v>Jun</c:v>
                  </c:pt>
                  <c:pt idx="12">
                    <c:v>Jul</c:v>
                  </c:pt>
                  <c:pt idx="13">
                    <c:v>Aug</c:v>
                  </c:pt>
                  <c:pt idx="14">
                    <c:v>Sep</c:v>
                  </c:pt>
                  <c:pt idx="15">
                    <c:v>Oct</c:v>
                  </c:pt>
                  <c:pt idx="16">
                    <c:v>Nov</c:v>
                  </c:pt>
                  <c:pt idx="17">
                    <c:v>Dec</c:v>
                  </c:pt>
                  <c:pt idx="18">
                    <c:v>Jan</c:v>
                  </c:pt>
                  <c:pt idx="19">
                    <c:v>Feb</c:v>
                  </c:pt>
                  <c:pt idx="20">
                    <c:v>Mar</c:v>
                  </c:pt>
                </c:lvl>
                <c:lvl>
                  <c:pt idx="0">
                    <c:v>FY21</c:v>
                  </c:pt>
                  <c:pt idx="9">
                    <c:v>FY 22</c:v>
                  </c:pt>
                </c:lvl>
              </c:multiLvlStrCache>
            </c:multiLvlStrRef>
          </c:cat>
          <c:val>
            <c:numRef>
              <c:f>'Retail Vs Offtake'!$F$37:$Z$37</c:f>
              <c:numCache>
                <c:formatCode>0.0</c:formatCode>
                <c:ptCount val="21"/>
                <c:pt idx="0">
                  <c:v>1.2813540000000001</c:v>
                </c:pt>
                <c:pt idx="1">
                  <c:v>1.5596650000000001</c:v>
                </c:pt>
                <c:pt idx="2">
                  <c:v>1.8495459999999999</c:v>
                </c:pt>
                <c:pt idx="3">
                  <c:v>2.053814</c:v>
                </c:pt>
                <c:pt idx="4">
                  <c:v>1.600379</c:v>
                </c:pt>
                <c:pt idx="5">
                  <c:v>1.1279170000000001</c:v>
                </c:pt>
                <c:pt idx="6">
                  <c:v>1.4299280000000001</c:v>
                </c:pt>
                <c:pt idx="7">
                  <c:v>1.426512</c:v>
                </c:pt>
                <c:pt idx="8">
                  <c:v>1.4963610000000001</c:v>
                </c:pt>
                <c:pt idx="9">
                  <c:v>0.99509700000000001</c:v>
                </c:pt>
                <c:pt idx="10">
                  <c:v>0.352717</c:v>
                </c:pt>
                <c:pt idx="11">
                  <c:v>1.055777</c:v>
                </c:pt>
                <c:pt idx="12">
                  <c:v>1.2539370000000001</c:v>
                </c:pt>
                <c:pt idx="13">
                  <c:v>1.3314360000000001</c:v>
                </c:pt>
                <c:pt idx="14">
                  <c:v>1.5284720000000001</c:v>
                </c:pt>
                <c:pt idx="15">
                  <c:v>1.54162</c:v>
                </c:pt>
                <c:pt idx="16">
                  <c:v>1.0505960000000001</c:v>
                </c:pt>
                <c:pt idx="17">
                  <c:v>1.006062</c:v>
                </c:pt>
                <c:pt idx="18">
                  <c:v>1.128293</c:v>
                </c:pt>
                <c:pt idx="19">
                  <c:v>1.0379940000000001</c:v>
                </c:pt>
                <c:pt idx="20">
                  <c:v>1.18421</c:v>
                </c:pt>
              </c:numCache>
            </c:numRef>
          </c:val>
          <c:extLst>
            <c:ext xmlns:c16="http://schemas.microsoft.com/office/drawing/2014/chart" uri="{C3380CC4-5D6E-409C-BE32-E72D297353CC}">
              <c16:uniqueId val="{00000001-8200-41C5-B6A1-A3362D7FF685}"/>
            </c:ext>
          </c:extLst>
        </c:ser>
        <c:dLbls>
          <c:showLegendKey val="0"/>
          <c:showVal val="0"/>
          <c:showCatName val="0"/>
          <c:showSerName val="0"/>
          <c:showPercent val="0"/>
          <c:showBubbleSize val="0"/>
        </c:dLbls>
        <c:gapWidth val="219"/>
        <c:overlap val="-27"/>
        <c:axId val="693177120"/>
        <c:axId val="693147272"/>
      </c:barChart>
      <c:catAx>
        <c:axId val="693177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3147272"/>
        <c:crosses val="autoZero"/>
        <c:auto val="1"/>
        <c:lblAlgn val="ctr"/>
        <c:lblOffset val="100"/>
        <c:noMultiLvlLbl val="0"/>
      </c:catAx>
      <c:valAx>
        <c:axId val="693147272"/>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3177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75000"/>
        </a:schemeClr>
      </a:solidFill>
    </a:ln>
    <a:effectLst/>
  </c:spPr>
  <c:txPr>
    <a:bodyPr/>
    <a:lstStyle/>
    <a:p>
      <a:pPr>
        <a:defRPr sz="1100"/>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pacity Utilization'!$A$18:$A$25</c:f>
              <c:strCache>
                <c:ptCount val="8"/>
                <c:pt idx="0">
                  <c:v>FY 16</c:v>
                </c:pt>
                <c:pt idx="1">
                  <c:v>FY 17</c:v>
                </c:pt>
                <c:pt idx="2">
                  <c:v>FY 18</c:v>
                </c:pt>
                <c:pt idx="3">
                  <c:v>FY 19</c:v>
                </c:pt>
                <c:pt idx="4">
                  <c:v>FY 20</c:v>
                </c:pt>
                <c:pt idx="5">
                  <c:v>FY 21</c:v>
                </c:pt>
                <c:pt idx="6">
                  <c:v>FY 22</c:v>
                </c:pt>
                <c:pt idx="7">
                  <c:v>FY 23P</c:v>
                </c:pt>
              </c:strCache>
            </c:strRef>
          </c:cat>
          <c:val>
            <c:numRef>
              <c:f>'Capacity Utilization'!$B$18:$B$25</c:f>
              <c:numCache>
                <c:formatCode>0%</c:formatCode>
                <c:ptCount val="8"/>
                <c:pt idx="0">
                  <c:v>0.69</c:v>
                </c:pt>
                <c:pt idx="1">
                  <c:v>0.69</c:v>
                </c:pt>
                <c:pt idx="2">
                  <c:v>0.78</c:v>
                </c:pt>
                <c:pt idx="3">
                  <c:v>0.76</c:v>
                </c:pt>
                <c:pt idx="4">
                  <c:v>0.66</c:v>
                </c:pt>
                <c:pt idx="5">
                  <c:v>0.56999999999999995</c:v>
                </c:pt>
                <c:pt idx="6">
                  <c:v>0.53</c:v>
                </c:pt>
                <c:pt idx="7">
                  <c:v>0.53</c:v>
                </c:pt>
              </c:numCache>
            </c:numRef>
          </c:val>
          <c:extLst>
            <c:ext xmlns:c16="http://schemas.microsoft.com/office/drawing/2014/chart" uri="{C3380CC4-5D6E-409C-BE32-E72D297353CC}">
              <c16:uniqueId val="{00000000-9184-4D70-8016-1CAEDE2682D0}"/>
            </c:ext>
          </c:extLst>
        </c:ser>
        <c:dLbls>
          <c:showLegendKey val="0"/>
          <c:showVal val="0"/>
          <c:showCatName val="0"/>
          <c:showSerName val="0"/>
          <c:showPercent val="0"/>
          <c:showBubbleSize val="0"/>
        </c:dLbls>
        <c:gapWidth val="159"/>
        <c:overlap val="-27"/>
        <c:axId val="1114136248"/>
        <c:axId val="1114136904"/>
      </c:barChart>
      <c:catAx>
        <c:axId val="1114136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14136904"/>
        <c:crosses val="autoZero"/>
        <c:auto val="1"/>
        <c:lblAlgn val="ctr"/>
        <c:lblOffset val="100"/>
        <c:noMultiLvlLbl val="0"/>
      </c:catAx>
      <c:valAx>
        <c:axId val="111413690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14136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4"/>
      </a:solidFill>
    </a:ln>
    <a:effectLst/>
  </c:spPr>
  <c:txPr>
    <a:bodyPr/>
    <a:lstStyle/>
    <a:p>
      <a:pPr>
        <a:defRPr sz="1200">
          <a:solidFill>
            <a:schemeClr val="tx1"/>
          </a:solidFill>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0"/>
          <c:showCatName val="0"/>
          <c:showSerName val="0"/>
          <c:showPercent val="0"/>
          <c:showBubbleSize val="0"/>
        </c:dLbls>
        <c:gapWidth val="119"/>
        <c:overlap val="-27"/>
        <c:axId val="937168624"/>
        <c:axId val="937166448"/>
      </c:barChart>
      <c:catAx>
        <c:axId val="937168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IN"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37166448"/>
        <c:crosses val="autoZero"/>
        <c:auto val="1"/>
        <c:lblAlgn val="ctr"/>
        <c:lblOffset val="100"/>
        <c:noMultiLvlLbl val="0"/>
      </c:catAx>
      <c:valAx>
        <c:axId val="937166448"/>
        <c:scaling>
          <c:orientation val="minMax"/>
        </c:scaling>
        <c:delete val="1"/>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n million</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00" sourceLinked="1"/>
        <c:majorTickMark val="out"/>
        <c:minorTickMark val="none"/>
        <c:tickLblPos val="nextTo"/>
        <c:crossAx val="937168624"/>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dLbls>
          <c:showLegendKey val="0"/>
          <c:showVal val="0"/>
          <c:showCatName val="0"/>
          <c:showSerName val="0"/>
          <c:showPercent val="0"/>
          <c:showBubbleSize val="0"/>
        </c:dLbls>
        <c:gapWidth val="219"/>
        <c:overlap val="-27"/>
        <c:axId val="655007200"/>
        <c:axId val="655004480"/>
      </c:barChart>
      <c:catAx>
        <c:axId val="655007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55004480"/>
        <c:crosses val="autoZero"/>
        <c:auto val="1"/>
        <c:lblAlgn val="ctr"/>
        <c:lblOffset val="100"/>
        <c:noMultiLvlLbl val="0"/>
      </c:catAx>
      <c:valAx>
        <c:axId val="655004480"/>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n million</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0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55007200"/>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duction!$B$22</c:f>
              <c:strCache>
                <c:ptCount val="1"/>
                <c:pt idx="0">
                  <c:v>Motorcyc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D$21:$K$21</c:f>
              <c:strCache>
                <c:ptCount val="8"/>
                <c:pt idx="0">
                  <c:v>Q1 FY21</c:v>
                </c:pt>
                <c:pt idx="1">
                  <c:v>Q2 FY21</c:v>
                </c:pt>
                <c:pt idx="2">
                  <c:v>Q3 FY21</c:v>
                </c:pt>
                <c:pt idx="3">
                  <c:v>Q4 FY21</c:v>
                </c:pt>
                <c:pt idx="4">
                  <c:v>Q1 FY22</c:v>
                </c:pt>
                <c:pt idx="5">
                  <c:v>Q2 FY22</c:v>
                </c:pt>
                <c:pt idx="6">
                  <c:v>Q3 FY22</c:v>
                </c:pt>
                <c:pt idx="7">
                  <c:v>Q4 FY22</c:v>
                </c:pt>
              </c:strCache>
            </c:strRef>
          </c:cat>
          <c:val>
            <c:numRef>
              <c:f>Production!$D$22:$K$22</c:f>
              <c:numCache>
                <c:formatCode>#,##0.00</c:formatCode>
                <c:ptCount val="8"/>
                <c:pt idx="0">
                  <c:v>1.0346299999999999</c:v>
                </c:pt>
                <c:pt idx="1">
                  <c:v>3.14</c:v>
                </c:pt>
                <c:pt idx="2">
                  <c:v>3.15</c:v>
                </c:pt>
                <c:pt idx="3" formatCode="#,##0.0">
                  <c:v>2.82</c:v>
                </c:pt>
                <c:pt idx="4" formatCode="#,##0.0">
                  <c:v>1.74</c:v>
                </c:pt>
                <c:pt idx="5" formatCode="#,##0.0">
                  <c:v>2.61</c:v>
                </c:pt>
                <c:pt idx="6" formatCode="[$-10409]#,##0.0">
                  <c:v>2.77</c:v>
                </c:pt>
                <c:pt idx="7" formatCode="[$-10409]#,##0.0">
                  <c:v>3.2</c:v>
                </c:pt>
              </c:numCache>
            </c:numRef>
          </c:val>
          <c:extLst>
            <c:ext xmlns:c16="http://schemas.microsoft.com/office/drawing/2014/chart" uri="{C3380CC4-5D6E-409C-BE32-E72D297353CC}">
              <c16:uniqueId val="{00000000-D449-487E-98D7-6B89790EA889}"/>
            </c:ext>
          </c:extLst>
        </c:ser>
        <c:dLbls>
          <c:showLegendKey val="0"/>
          <c:showVal val="0"/>
          <c:showCatName val="0"/>
          <c:showSerName val="0"/>
          <c:showPercent val="0"/>
          <c:showBubbleSize val="0"/>
        </c:dLbls>
        <c:gapWidth val="180"/>
        <c:overlap val="-27"/>
        <c:axId val="969037792"/>
        <c:axId val="1214211152"/>
      </c:barChart>
      <c:catAx>
        <c:axId val="96903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14211152"/>
        <c:crosses val="autoZero"/>
        <c:auto val="1"/>
        <c:lblAlgn val="ctr"/>
        <c:lblOffset val="100"/>
        <c:noMultiLvlLbl val="0"/>
      </c:catAx>
      <c:valAx>
        <c:axId val="1214211152"/>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969037792"/>
        <c:crosses val="autoZero"/>
        <c:crossBetween val="between"/>
      </c:valAx>
      <c:spPr>
        <a:noFill/>
        <a:ln>
          <a:noFill/>
        </a:ln>
        <a:effectLst/>
      </c:spPr>
    </c:plotArea>
    <c:plotVisOnly val="1"/>
    <c:dispBlanksAs val="gap"/>
    <c:showDLblsOverMax val="0"/>
  </c:chart>
  <c:spPr>
    <a:noFill/>
    <a:ln>
      <a:solidFill>
        <a:schemeClr val="accent4"/>
      </a:solidFill>
    </a:ln>
    <a:effectLst/>
  </c:spPr>
  <c:txPr>
    <a:bodyPr/>
    <a:lstStyle/>
    <a:p>
      <a:pPr>
        <a:defRPr sz="105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ir traffic'!$H$1</c:f>
              <c:strCache>
                <c:ptCount val="1"/>
                <c:pt idx="0">
                  <c:v>Monthly Domestic Air  Passenger traffic (lakhs)</c:v>
                </c:pt>
              </c:strCache>
            </c:strRef>
          </c:tx>
          <c:spPr>
            <a:solidFill>
              <a:schemeClr val="bg1">
                <a:lumMod val="85000"/>
              </a:schemeClr>
            </a:solidFill>
            <a:ln>
              <a:noFill/>
            </a:ln>
            <a:effectLst/>
          </c:spPr>
          <c:invertIfNegative val="0"/>
          <c:dLbls>
            <c:spPr>
              <a:noFill/>
              <a:ln>
                <a:noFill/>
              </a:ln>
              <a:effectLst/>
            </c:spPr>
            <c:txPr>
              <a:bodyPr rot="-5400000"/>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ir traffic'!$G$29:$G$51</c:f>
              <c:numCache>
                <c:formatCode>mmm\-yy</c:formatCode>
                <c:ptCount val="23"/>
                <c:pt idx="0">
                  <c:v>43922</c:v>
                </c:pt>
                <c:pt idx="1">
                  <c:v>43952</c:v>
                </c:pt>
                <c:pt idx="2">
                  <c:v>43983</c:v>
                </c:pt>
                <c:pt idx="3">
                  <c:v>44013</c:v>
                </c:pt>
                <c:pt idx="4">
                  <c:v>44044</c:v>
                </c:pt>
                <c:pt idx="5">
                  <c:v>44075</c:v>
                </c:pt>
                <c:pt idx="6">
                  <c:v>44105</c:v>
                </c:pt>
                <c:pt idx="7">
                  <c:v>44136</c:v>
                </c:pt>
                <c:pt idx="8">
                  <c:v>44166</c:v>
                </c:pt>
                <c:pt idx="9">
                  <c:v>44197</c:v>
                </c:pt>
                <c:pt idx="10">
                  <c:v>44228</c:v>
                </c:pt>
                <c:pt idx="11">
                  <c:v>44256</c:v>
                </c:pt>
                <c:pt idx="12">
                  <c:v>44287</c:v>
                </c:pt>
                <c:pt idx="13">
                  <c:v>44317</c:v>
                </c:pt>
                <c:pt idx="14">
                  <c:v>44348</c:v>
                </c:pt>
                <c:pt idx="15">
                  <c:v>44378</c:v>
                </c:pt>
                <c:pt idx="16">
                  <c:v>44409</c:v>
                </c:pt>
                <c:pt idx="17">
                  <c:v>44440</c:v>
                </c:pt>
                <c:pt idx="18">
                  <c:v>44470</c:v>
                </c:pt>
                <c:pt idx="19">
                  <c:v>44501</c:v>
                </c:pt>
                <c:pt idx="20">
                  <c:v>44531</c:v>
                </c:pt>
                <c:pt idx="21">
                  <c:v>44562</c:v>
                </c:pt>
                <c:pt idx="22">
                  <c:v>44593</c:v>
                </c:pt>
              </c:numCache>
            </c:numRef>
          </c:cat>
          <c:val>
            <c:numRef>
              <c:f>'Air traffic'!$H$29:$H$51</c:f>
              <c:numCache>
                <c:formatCode>0</c:formatCode>
                <c:ptCount val="23"/>
                <c:pt idx="0">
                  <c:v>0</c:v>
                </c:pt>
                <c:pt idx="1">
                  <c:v>2.81</c:v>
                </c:pt>
                <c:pt idx="2">
                  <c:v>19.84</c:v>
                </c:pt>
                <c:pt idx="3">
                  <c:v>21.07</c:v>
                </c:pt>
                <c:pt idx="4">
                  <c:v>28.32</c:v>
                </c:pt>
                <c:pt idx="5">
                  <c:v>39.43</c:v>
                </c:pt>
                <c:pt idx="6">
                  <c:v>52.71</c:v>
                </c:pt>
                <c:pt idx="7">
                  <c:v>63.54</c:v>
                </c:pt>
                <c:pt idx="8">
                  <c:v>73.27</c:v>
                </c:pt>
                <c:pt idx="9">
                  <c:v>77.34</c:v>
                </c:pt>
                <c:pt idx="10">
                  <c:v>78.27</c:v>
                </c:pt>
                <c:pt idx="11">
                  <c:v>78.22</c:v>
                </c:pt>
                <c:pt idx="12">
                  <c:v>57.25</c:v>
                </c:pt>
                <c:pt idx="13">
                  <c:v>21.15</c:v>
                </c:pt>
                <c:pt idx="14">
                  <c:v>31</c:v>
                </c:pt>
                <c:pt idx="15">
                  <c:v>50.07</c:v>
                </c:pt>
                <c:pt idx="16">
                  <c:v>67.010000000000005</c:v>
                </c:pt>
                <c:pt idx="17">
                  <c:v>71</c:v>
                </c:pt>
                <c:pt idx="18">
                  <c:v>89.85</c:v>
                </c:pt>
                <c:pt idx="19">
                  <c:v>105</c:v>
                </c:pt>
                <c:pt idx="20">
                  <c:v>111</c:v>
                </c:pt>
                <c:pt idx="21">
                  <c:v>64.08</c:v>
                </c:pt>
                <c:pt idx="22">
                  <c:v>76</c:v>
                </c:pt>
              </c:numCache>
            </c:numRef>
          </c:val>
          <c:extLst>
            <c:ext xmlns:c16="http://schemas.microsoft.com/office/drawing/2014/chart" uri="{C3380CC4-5D6E-409C-BE32-E72D297353CC}">
              <c16:uniqueId val="{00000000-5458-4FFB-8C37-7DF15C1D220C}"/>
            </c:ext>
          </c:extLst>
        </c:ser>
        <c:dLbls>
          <c:showLegendKey val="0"/>
          <c:showVal val="1"/>
          <c:showCatName val="0"/>
          <c:showSerName val="0"/>
          <c:showPercent val="0"/>
          <c:showBubbleSize val="0"/>
        </c:dLbls>
        <c:gapWidth val="75"/>
        <c:axId val="-556489984"/>
        <c:axId val="-556491616"/>
      </c:barChart>
      <c:lineChart>
        <c:grouping val="standard"/>
        <c:varyColors val="0"/>
        <c:ser>
          <c:idx val="1"/>
          <c:order val="1"/>
          <c:tx>
            <c:strRef>
              <c:f>'Air traffic'!$I$1</c:f>
              <c:strCache>
                <c:ptCount val="1"/>
                <c:pt idx="0">
                  <c:v>y-o-y growth</c:v>
                </c:pt>
              </c:strCache>
            </c:strRef>
          </c:tx>
          <c:spPr>
            <a:ln w="28575" cap="rnd">
              <a:solidFill>
                <a:srgbClr val="C00000"/>
              </a:solidFill>
              <a:round/>
            </a:ln>
            <a:effectLst/>
          </c:spPr>
          <c:marker>
            <c:symbol val="none"/>
          </c:marker>
          <c:dLbls>
            <c:dLbl>
              <c:idx val="14"/>
              <c:layout>
                <c:manualLayout>
                  <c:x val="-7.2792460966837128E-2"/>
                  <c:y val="-6.5682552169038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ECB-47E7-8A9C-07430EC01751}"/>
                </c:ext>
              </c:extLst>
            </c:dLbl>
            <c:spPr>
              <a:noFill/>
              <a:ln>
                <a:noFill/>
              </a:ln>
              <a:effectLst/>
            </c:spPr>
            <c:txPr>
              <a:bodyPr rot="0" vert="horz"/>
              <a:lstStyle/>
              <a:p>
                <a:pPr>
                  <a:defRPr sz="7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ir traffic'!$G$29:$G$51</c:f>
              <c:numCache>
                <c:formatCode>mmm\-yy</c:formatCode>
                <c:ptCount val="23"/>
                <c:pt idx="0">
                  <c:v>43922</c:v>
                </c:pt>
                <c:pt idx="1">
                  <c:v>43952</c:v>
                </c:pt>
                <c:pt idx="2">
                  <c:v>43983</c:v>
                </c:pt>
                <c:pt idx="3">
                  <c:v>44013</c:v>
                </c:pt>
                <c:pt idx="4">
                  <c:v>44044</c:v>
                </c:pt>
                <c:pt idx="5">
                  <c:v>44075</c:v>
                </c:pt>
                <c:pt idx="6">
                  <c:v>44105</c:v>
                </c:pt>
                <c:pt idx="7">
                  <c:v>44136</c:v>
                </c:pt>
                <c:pt idx="8">
                  <c:v>44166</c:v>
                </c:pt>
                <c:pt idx="9">
                  <c:v>44197</c:v>
                </c:pt>
                <c:pt idx="10">
                  <c:v>44228</c:v>
                </c:pt>
                <c:pt idx="11">
                  <c:v>44256</c:v>
                </c:pt>
                <c:pt idx="12">
                  <c:v>44287</c:v>
                </c:pt>
                <c:pt idx="13">
                  <c:v>44317</c:v>
                </c:pt>
                <c:pt idx="14">
                  <c:v>44348</c:v>
                </c:pt>
                <c:pt idx="15">
                  <c:v>44378</c:v>
                </c:pt>
                <c:pt idx="16">
                  <c:v>44409</c:v>
                </c:pt>
                <c:pt idx="17">
                  <c:v>44440</c:v>
                </c:pt>
                <c:pt idx="18">
                  <c:v>44470</c:v>
                </c:pt>
                <c:pt idx="19">
                  <c:v>44501</c:v>
                </c:pt>
                <c:pt idx="20">
                  <c:v>44531</c:v>
                </c:pt>
                <c:pt idx="21">
                  <c:v>44562</c:v>
                </c:pt>
                <c:pt idx="22">
                  <c:v>44593</c:v>
                </c:pt>
              </c:numCache>
            </c:numRef>
          </c:cat>
          <c:val>
            <c:numRef>
              <c:f>'Air traffic'!$I$29:$I$51</c:f>
              <c:numCache>
                <c:formatCode>0%</c:formatCode>
                <c:ptCount val="23"/>
                <c:pt idx="0">
                  <c:v>-1</c:v>
                </c:pt>
                <c:pt idx="1">
                  <c:v>-0.97694264380077134</c:v>
                </c:pt>
                <c:pt idx="2">
                  <c:v>-0.83501039501039498</c:v>
                </c:pt>
                <c:pt idx="3">
                  <c:v>-0.82301553968920627</c:v>
                </c:pt>
                <c:pt idx="4">
                  <c:v>-0.75985754261002292</c:v>
                </c:pt>
                <c:pt idx="5">
                  <c:v>-0.65811150611289349</c:v>
                </c:pt>
                <c:pt idx="6">
                  <c:v>-0.57202013640792471</c:v>
                </c:pt>
                <c:pt idx="7">
                  <c:v>-0.50922993743724421</c:v>
                </c:pt>
                <c:pt idx="8">
                  <c:v>-0.43716392687048711</c:v>
                </c:pt>
                <c:pt idx="9">
                  <c:v>-0.39497770476413985</c:v>
                </c:pt>
                <c:pt idx="10">
                  <c:v>-0.36715717981888751</c:v>
                </c:pt>
                <c:pt idx="11">
                  <c:v>7.7299665034784582E-3</c:v>
                </c:pt>
                <c:pt idx="14">
                  <c:v>0.5625</c:v>
                </c:pt>
                <c:pt idx="15">
                  <c:v>1.3763644992880875</c:v>
                </c:pt>
                <c:pt idx="16">
                  <c:v>1.3661723163841808</c:v>
                </c:pt>
                <c:pt idx="17">
                  <c:v>0.80065939639868122</c:v>
                </c:pt>
                <c:pt idx="18">
                  <c:v>0.7046101309049515</c:v>
                </c:pt>
                <c:pt idx="19">
                  <c:v>0.6525023607176581</c:v>
                </c:pt>
                <c:pt idx="20">
                  <c:v>0.51494472498976407</c:v>
                </c:pt>
                <c:pt idx="21">
                  <c:v>-0.17145073700543068</c:v>
                </c:pt>
                <c:pt idx="22">
                  <c:v>-2.9002171968825818E-2</c:v>
                </c:pt>
              </c:numCache>
            </c:numRef>
          </c:val>
          <c:smooth val="1"/>
          <c:extLst>
            <c:ext xmlns:c16="http://schemas.microsoft.com/office/drawing/2014/chart" uri="{C3380CC4-5D6E-409C-BE32-E72D297353CC}">
              <c16:uniqueId val="{00000001-5458-4FFB-8C37-7DF15C1D220C}"/>
            </c:ext>
          </c:extLst>
        </c:ser>
        <c:dLbls>
          <c:showLegendKey val="0"/>
          <c:showVal val="1"/>
          <c:showCatName val="0"/>
          <c:showSerName val="0"/>
          <c:showPercent val="0"/>
          <c:showBubbleSize val="0"/>
        </c:dLbls>
        <c:marker val="1"/>
        <c:smooth val="0"/>
        <c:axId val="-541264704"/>
        <c:axId val="-556491072"/>
      </c:lineChart>
      <c:dateAx>
        <c:axId val="-5564899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556491616"/>
        <c:crosses val="autoZero"/>
        <c:auto val="1"/>
        <c:lblOffset val="100"/>
        <c:baseTimeUnit val="months"/>
        <c:majorUnit val="1"/>
        <c:majorTimeUnit val="months"/>
      </c:dateAx>
      <c:valAx>
        <c:axId val="-556491616"/>
        <c:scaling>
          <c:orientation val="minMax"/>
        </c:scaling>
        <c:delete val="0"/>
        <c:axPos val="l"/>
        <c:numFmt formatCode="0" sourceLinked="1"/>
        <c:majorTickMark val="none"/>
        <c:minorTickMark val="none"/>
        <c:tickLblPos val="nextTo"/>
        <c:spPr>
          <a:noFill/>
          <a:ln>
            <a:noFill/>
          </a:ln>
          <a:effectLst/>
        </c:spPr>
        <c:txPr>
          <a:bodyPr rot="-60000000" vert="horz"/>
          <a:lstStyle/>
          <a:p>
            <a:pPr>
              <a:defRPr/>
            </a:pPr>
            <a:endParaRPr lang="en-US"/>
          </a:p>
        </c:txPr>
        <c:crossAx val="-556489984"/>
        <c:crosses val="autoZero"/>
        <c:crossBetween val="between"/>
      </c:valAx>
      <c:valAx>
        <c:axId val="-556491072"/>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541264704"/>
        <c:crosses val="max"/>
        <c:crossBetween val="between"/>
      </c:valAx>
      <c:dateAx>
        <c:axId val="-541264704"/>
        <c:scaling>
          <c:orientation val="minMax"/>
        </c:scaling>
        <c:delete val="1"/>
        <c:axPos val="b"/>
        <c:numFmt formatCode="mmm\-yy" sourceLinked="1"/>
        <c:majorTickMark val="out"/>
        <c:minorTickMark val="none"/>
        <c:tickLblPos val="nextTo"/>
        <c:crossAx val="-556491072"/>
        <c:crosses val="autoZero"/>
        <c:auto val="1"/>
        <c:lblOffset val="100"/>
        <c:baseTimeUnit val="month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duction!$B$23</c:f>
              <c:strCache>
                <c:ptCount val="1"/>
                <c:pt idx="0">
                  <c:v>Scooter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D$21:$K$21</c:f>
              <c:strCache>
                <c:ptCount val="8"/>
                <c:pt idx="0">
                  <c:v>Q1 FY21</c:v>
                </c:pt>
                <c:pt idx="1">
                  <c:v>Q2 FY21</c:v>
                </c:pt>
                <c:pt idx="2">
                  <c:v>Q3 FY21</c:v>
                </c:pt>
                <c:pt idx="3">
                  <c:v>Q4 FY21</c:v>
                </c:pt>
                <c:pt idx="4">
                  <c:v>Q1 FY22</c:v>
                </c:pt>
                <c:pt idx="5">
                  <c:v>Q2 FY22</c:v>
                </c:pt>
                <c:pt idx="6">
                  <c:v>Q3 FY22</c:v>
                </c:pt>
                <c:pt idx="7">
                  <c:v>Q4 FY22</c:v>
                </c:pt>
              </c:strCache>
            </c:strRef>
          </c:cat>
          <c:val>
            <c:numRef>
              <c:f>Production!$D$23:$K$23</c:f>
              <c:numCache>
                <c:formatCode>#,##0.00</c:formatCode>
                <c:ptCount val="8"/>
                <c:pt idx="0">
                  <c:v>0.15829299999999999</c:v>
                </c:pt>
                <c:pt idx="1">
                  <c:v>1.34</c:v>
                </c:pt>
                <c:pt idx="2">
                  <c:v>1.42</c:v>
                </c:pt>
                <c:pt idx="3" formatCode="#,##0.0">
                  <c:v>1.38</c:v>
                </c:pt>
                <c:pt idx="4" formatCode="#,##0.0">
                  <c:v>0.6</c:v>
                </c:pt>
                <c:pt idx="5" formatCode="#,##0.0">
                  <c:v>1.33</c:v>
                </c:pt>
                <c:pt idx="6" formatCode="[$-10409]#,##0.0">
                  <c:v>1.02</c:v>
                </c:pt>
                <c:pt idx="7" formatCode="[$-10409]#,##0.0">
                  <c:v>1.1399999999999999</c:v>
                </c:pt>
              </c:numCache>
            </c:numRef>
          </c:val>
          <c:extLst>
            <c:ext xmlns:c16="http://schemas.microsoft.com/office/drawing/2014/chart" uri="{C3380CC4-5D6E-409C-BE32-E72D297353CC}">
              <c16:uniqueId val="{00000000-E573-460D-8F05-4A58CE358258}"/>
            </c:ext>
          </c:extLst>
        </c:ser>
        <c:dLbls>
          <c:showLegendKey val="0"/>
          <c:showVal val="0"/>
          <c:showCatName val="0"/>
          <c:showSerName val="0"/>
          <c:showPercent val="0"/>
          <c:showBubbleSize val="0"/>
        </c:dLbls>
        <c:gapWidth val="180"/>
        <c:overlap val="-27"/>
        <c:axId val="1214213448"/>
        <c:axId val="1214213776"/>
      </c:barChart>
      <c:catAx>
        <c:axId val="1214213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14213776"/>
        <c:crosses val="autoZero"/>
        <c:auto val="1"/>
        <c:lblAlgn val="ctr"/>
        <c:lblOffset val="100"/>
        <c:noMultiLvlLbl val="0"/>
      </c:catAx>
      <c:valAx>
        <c:axId val="1214213776"/>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14213448"/>
        <c:crosses val="autoZero"/>
        <c:crossBetween val="between"/>
      </c:valAx>
      <c:spPr>
        <a:noFill/>
        <a:ln>
          <a:noFill/>
        </a:ln>
        <a:effectLst/>
      </c:spPr>
    </c:plotArea>
    <c:plotVisOnly val="1"/>
    <c:dispBlanksAs val="gap"/>
    <c:showDLblsOverMax val="0"/>
  </c:chart>
  <c:spPr>
    <a:noFill/>
    <a:ln>
      <a:solidFill>
        <a:schemeClr val="accent4"/>
      </a:solidFill>
    </a:ln>
    <a:effectLst/>
  </c:spPr>
  <c:txPr>
    <a:bodyPr/>
    <a:lstStyle/>
    <a:p>
      <a:pPr>
        <a:defRPr sz="1050"/>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duction!$B$24</c:f>
              <c:strCache>
                <c:ptCount val="1"/>
                <c:pt idx="0">
                  <c:v>Moped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D$21:$K$21</c:f>
              <c:strCache>
                <c:ptCount val="8"/>
                <c:pt idx="0">
                  <c:v>Q1 FY21</c:v>
                </c:pt>
                <c:pt idx="1">
                  <c:v>Q2 FY21</c:v>
                </c:pt>
                <c:pt idx="2">
                  <c:v>Q3 FY21</c:v>
                </c:pt>
                <c:pt idx="3">
                  <c:v>Q4 FY21</c:v>
                </c:pt>
                <c:pt idx="4">
                  <c:v>Q1 FY22</c:v>
                </c:pt>
                <c:pt idx="5">
                  <c:v>Q2 FY22</c:v>
                </c:pt>
                <c:pt idx="6">
                  <c:v>Q3 FY22</c:v>
                </c:pt>
                <c:pt idx="7">
                  <c:v>Q4 FY22</c:v>
                </c:pt>
              </c:strCache>
            </c:strRef>
          </c:cat>
          <c:val>
            <c:numRef>
              <c:f>Production!$D$24:$K$24</c:f>
              <c:numCache>
                <c:formatCode>#,##0.00</c:formatCode>
                <c:ptCount val="8"/>
                <c:pt idx="0">
                  <c:v>4.4684000000000001E-2</c:v>
                </c:pt>
                <c:pt idx="1">
                  <c:v>0.200269</c:v>
                </c:pt>
                <c:pt idx="2">
                  <c:v>0.21</c:v>
                </c:pt>
                <c:pt idx="3" formatCode="#,##0.0">
                  <c:v>0.2</c:v>
                </c:pt>
                <c:pt idx="4" formatCode="#,##0.0">
                  <c:v>0.1</c:v>
                </c:pt>
                <c:pt idx="5" formatCode="#,##0.0">
                  <c:v>0.2</c:v>
                </c:pt>
                <c:pt idx="6" formatCode="[$-10409]#,##0.0;\(#,##0.0\)">
                  <c:v>0.2</c:v>
                </c:pt>
                <c:pt idx="7" formatCode="[$-10409]#,##0.0;\(#,##0.0\)">
                  <c:v>0.115</c:v>
                </c:pt>
              </c:numCache>
            </c:numRef>
          </c:val>
          <c:extLst>
            <c:ext xmlns:c16="http://schemas.microsoft.com/office/drawing/2014/chart" uri="{C3380CC4-5D6E-409C-BE32-E72D297353CC}">
              <c16:uniqueId val="{00000000-74DC-40AF-8F9D-119656EB428E}"/>
            </c:ext>
          </c:extLst>
        </c:ser>
        <c:dLbls>
          <c:showLegendKey val="0"/>
          <c:showVal val="0"/>
          <c:showCatName val="0"/>
          <c:showSerName val="0"/>
          <c:showPercent val="0"/>
          <c:showBubbleSize val="0"/>
        </c:dLbls>
        <c:gapWidth val="180"/>
        <c:overlap val="-27"/>
        <c:axId val="1216387024"/>
        <c:axId val="1216391288"/>
      </c:barChart>
      <c:catAx>
        <c:axId val="1216387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16391288"/>
        <c:crosses val="autoZero"/>
        <c:auto val="1"/>
        <c:lblAlgn val="ctr"/>
        <c:lblOffset val="100"/>
        <c:noMultiLvlLbl val="0"/>
      </c:catAx>
      <c:valAx>
        <c:axId val="1216391288"/>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216387024"/>
        <c:crosses val="autoZero"/>
        <c:crossBetween val="between"/>
      </c:valAx>
      <c:spPr>
        <a:noFill/>
        <a:ln>
          <a:noFill/>
        </a:ln>
        <a:effectLst/>
      </c:spPr>
    </c:plotArea>
    <c:plotVisOnly val="1"/>
    <c:dispBlanksAs val="gap"/>
    <c:showDLblsOverMax val="0"/>
  </c:chart>
  <c:spPr>
    <a:noFill/>
    <a:ln>
      <a:solidFill>
        <a:schemeClr val="accent4"/>
      </a:solidFill>
    </a:ln>
    <a:effectLst/>
  </c:spPr>
  <c:txPr>
    <a:bodyPr/>
    <a:lstStyle/>
    <a:p>
      <a:pPr>
        <a:defRPr sz="1050"/>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2W'!$A$41</c:f>
              <c:strCache>
                <c:ptCount val="1"/>
                <c:pt idx="0">
                  <c:v>M. Cyc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2W'!$B$40:$H$40</c:f>
              <c:strCache>
                <c:ptCount val="7"/>
                <c:pt idx="0">
                  <c:v>FY 16</c:v>
                </c:pt>
                <c:pt idx="1">
                  <c:v>FY 17</c:v>
                </c:pt>
                <c:pt idx="2">
                  <c:v>FY 18</c:v>
                </c:pt>
                <c:pt idx="3">
                  <c:v>FY 19</c:v>
                </c:pt>
                <c:pt idx="4">
                  <c:v>FY 20</c:v>
                </c:pt>
                <c:pt idx="5">
                  <c:v>FY 21</c:v>
                </c:pt>
                <c:pt idx="6">
                  <c:v>FY 22</c:v>
                </c:pt>
              </c:strCache>
            </c:strRef>
          </c:cat>
          <c:val>
            <c:numRef>
              <c:f>'2W'!$B$41:$H$41</c:f>
              <c:numCache>
                <c:formatCode>0%</c:formatCode>
                <c:ptCount val="7"/>
                <c:pt idx="0">
                  <c:v>0.89034450371263008</c:v>
                </c:pt>
                <c:pt idx="1">
                  <c:v>0.86626369442591622</c:v>
                </c:pt>
                <c:pt idx="2">
                  <c:v>0.88216850923427081</c:v>
                </c:pt>
                <c:pt idx="3">
                  <c:v>0.8735110906014647</c:v>
                </c:pt>
                <c:pt idx="4">
                  <c:v>0.89093305161848702</c:v>
                </c:pt>
                <c:pt idx="5">
                  <c:v>0.92669150910814946</c:v>
                </c:pt>
                <c:pt idx="6">
                  <c:v>0.92</c:v>
                </c:pt>
              </c:numCache>
            </c:numRef>
          </c:val>
          <c:extLst>
            <c:ext xmlns:c16="http://schemas.microsoft.com/office/drawing/2014/chart" uri="{C3380CC4-5D6E-409C-BE32-E72D297353CC}">
              <c16:uniqueId val="{00000000-77A5-442F-B18D-2A7FF9BB2240}"/>
            </c:ext>
          </c:extLst>
        </c:ser>
        <c:ser>
          <c:idx val="2"/>
          <c:order val="1"/>
          <c:tx>
            <c:strRef>
              <c:f>'2W'!$A$43</c:f>
              <c:strCache>
                <c:ptCount val="1"/>
                <c:pt idx="0">
                  <c:v>Scoote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2W'!$B$40:$H$40</c:f>
              <c:strCache>
                <c:ptCount val="7"/>
                <c:pt idx="0">
                  <c:v>FY 16</c:v>
                </c:pt>
                <c:pt idx="1">
                  <c:v>FY 17</c:v>
                </c:pt>
                <c:pt idx="2">
                  <c:v>FY 18</c:v>
                </c:pt>
                <c:pt idx="3">
                  <c:v>FY 19</c:v>
                </c:pt>
                <c:pt idx="4">
                  <c:v>FY 20</c:v>
                </c:pt>
                <c:pt idx="5">
                  <c:v>FY 21</c:v>
                </c:pt>
                <c:pt idx="6">
                  <c:v>FY 22</c:v>
                </c:pt>
              </c:strCache>
            </c:strRef>
          </c:cat>
          <c:val>
            <c:numRef>
              <c:f>'2W'!$B$43:$H$43</c:f>
              <c:numCache>
                <c:formatCode>0%</c:formatCode>
                <c:ptCount val="7"/>
                <c:pt idx="0">
                  <c:v>0.1037027221657465</c:v>
                </c:pt>
                <c:pt idx="1">
                  <c:v>0.12512535909210748</c:v>
                </c:pt>
                <c:pt idx="2">
                  <c:v>0.11164606218892129</c:v>
                </c:pt>
                <c:pt idx="3">
                  <c:v>0.12140667591023155</c:v>
                </c:pt>
                <c:pt idx="4">
                  <c:v>0.10512905900384099</c:v>
                </c:pt>
                <c:pt idx="5">
                  <c:v>7.0772279789268408E-2</c:v>
                </c:pt>
                <c:pt idx="6">
                  <c:v>0.08</c:v>
                </c:pt>
              </c:numCache>
            </c:numRef>
          </c:val>
          <c:extLst>
            <c:ext xmlns:c16="http://schemas.microsoft.com/office/drawing/2014/chart" uri="{C3380CC4-5D6E-409C-BE32-E72D297353CC}">
              <c16:uniqueId val="{00000001-77A5-442F-B18D-2A7FF9BB2240}"/>
            </c:ext>
          </c:extLst>
        </c:ser>
        <c:ser>
          <c:idx val="1"/>
          <c:order val="2"/>
          <c:tx>
            <c:strRef>
              <c:f>'2W'!$A$42</c:f>
              <c:strCache>
                <c:ptCount val="1"/>
                <c:pt idx="0">
                  <c:v>Mope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2W'!$B$40:$H$40</c:f>
              <c:strCache>
                <c:ptCount val="7"/>
                <c:pt idx="0">
                  <c:v>FY 16</c:v>
                </c:pt>
                <c:pt idx="1">
                  <c:v>FY 17</c:v>
                </c:pt>
                <c:pt idx="2">
                  <c:v>FY 18</c:v>
                </c:pt>
                <c:pt idx="3">
                  <c:v>FY 19</c:v>
                </c:pt>
                <c:pt idx="4">
                  <c:v>FY 20</c:v>
                </c:pt>
                <c:pt idx="5">
                  <c:v>FY 21</c:v>
                </c:pt>
                <c:pt idx="6">
                  <c:v>FY 22</c:v>
                </c:pt>
              </c:strCache>
            </c:strRef>
          </c:cat>
          <c:val>
            <c:numRef>
              <c:f>'2W'!$B$42:$H$42</c:f>
              <c:numCache>
                <c:formatCode>0%</c:formatCode>
                <c:ptCount val="7"/>
                <c:pt idx="0">
                  <c:v>5.9527741216234718E-3</c:v>
                </c:pt>
                <c:pt idx="1">
                  <c:v>8.6109464819762796E-3</c:v>
                </c:pt>
                <c:pt idx="2">
                  <c:v>6.1854285768079111E-3</c:v>
                </c:pt>
                <c:pt idx="3">
                  <c:v>5.0822334883037614E-3</c:v>
                </c:pt>
                <c:pt idx="4">
                  <c:v>3.937889377671977E-3</c:v>
                </c:pt>
                <c:pt idx="5">
                  <c:v>2.5362111025821576E-3</c:v>
                </c:pt>
                <c:pt idx="6">
                  <c:v>5.2150653705640405E-4</c:v>
                </c:pt>
              </c:numCache>
            </c:numRef>
          </c:val>
          <c:extLst>
            <c:ext xmlns:c16="http://schemas.microsoft.com/office/drawing/2014/chart" uri="{C3380CC4-5D6E-409C-BE32-E72D297353CC}">
              <c16:uniqueId val="{00000002-77A5-442F-B18D-2A7FF9BB2240}"/>
            </c:ext>
          </c:extLst>
        </c:ser>
        <c:dLbls>
          <c:dLblPos val="ctr"/>
          <c:showLegendKey val="0"/>
          <c:showVal val="1"/>
          <c:showCatName val="0"/>
          <c:showSerName val="0"/>
          <c:showPercent val="0"/>
          <c:showBubbleSize val="0"/>
        </c:dLbls>
        <c:gapWidth val="150"/>
        <c:overlap val="100"/>
        <c:axId val="1425836016"/>
        <c:axId val="1425836560"/>
      </c:barChart>
      <c:catAx>
        <c:axId val="1425836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25836560"/>
        <c:crosses val="autoZero"/>
        <c:auto val="1"/>
        <c:lblAlgn val="ctr"/>
        <c:lblOffset val="100"/>
        <c:noMultiLvlLbl val="0"/>
      </c:catAx>
      <c:valAx>
        <c:axId val="1425836560"/>
        <c:scaling>
          <c:orientation val="minMax"/>
        </c:scaling>
        <c:delete val="1"/>
        <c:axPos val="l"/>
        <c:numFmt formatCode="0%" sourceLinked="1"/>
        <c:majorTickMark val="none"/>
        <c:minorTickMark val="none"/>
        <c:tickLblPos val="nextTo"/>
        <c:crossAx val="1425836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prstDash val="solid"/>
      <a:round/>
    </a:ln>
    <a:effectLst/>
  </c:spPr>
  <c:txPr>
    <a:bodyPr/>
    <a:lstStyle/>
    <a:p>
      <a:pPr>
        <a:defRPr sz="1100">
          <a:latin typeface="Arial" panose="020B0604020202020204" pitchFamily="34" charset="0"/>
          <a:cs typeface="Arial" panose="020B06040202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2W'!$A$16</c:f>
              <c:strCache>
                <c:ptCount val="1"/>
                <c:pt idx="0">
                  <c:v>Bajaj</c:v>
                </c:pt>
              </c:strCache>
            </c:strRef>
          </c:tx>
          <c:spPr>
            <a:solidFill>
              <a:schemeClr val="accent1"/>
            </a:solidFill>
            <a:ln>
              <a:noFill/>
            </a:ln>
            <a:effectLst/>
          </c:spPr>
          <c:invertIfNegative val="0"/>
          <c:dLbls>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W'!$C$15:$H$15</c:f>
              <c:strCache>
                <c:ptCount val="6"/>
                <c:pt idx="0">
                  <c:v>FY 17</c:v>
                </c:pt>
                <c:pt idx="1">
                  <c:v>FY 18</c:v>
                </c:pt>
                <c:pt idx="2">
                  <c:v>FY 19</c:v>
                </c:pt>
                <c:pt idx="3">
                  <c:v>FY 20</c:v>
                </c:pt>
                <c:pt idx="4">
                  <c:v>FY 21 </c:v>
                </c:pt>
                <c:pt idx="5">
                  <c:v>FY 22</c:v>
                </c:pt>
              </c:strCache>
            </c:strRef>
          </c:cat>
          <c:val>
            <c:numRef>
              <c:f>'2W'!$C$16:$H$16</c:f>
              <c:numCache>
                <c:formatCode>0%</c:formatCode>
                <c:ptCount val="6"/>
                <c:pt idx="0">
                  <c:v>0.52068238076090989</c:v>
                </c:pt>
                <c:pt idx="1">
                  <c:v>0.4954726513612952</c:v>
                </c:pt>
                <c:pt idx="2">
                  <c:v>0.51680438034028475</c:v>
                </c:pt>
                <c:pt idx="3">
                  <c:v>0.53111924255227738</c:v>
                </c:pt>
                <c:pt idx="4">
                  <c:v>0.54809922983143178</c:v>
                </c:pt>
                <c:pt idx="5">
                  <c:v>0.49420731583801819</c:v>
                </c:pt>
              </c:numCache>
            </c:numRef>
          </c:val>
          <c:extLst>
            <c:ext xmlns:c16="http://schemas.microsoft.com/office/drawing/2014/chart" uri="{C3380CC4-5D6E-409C-BE32-E72D297353CC}">
              <c16:uniqueId val="{00000000-615A-4ADF-8BB4-726607299974}"/>
            </c:ext>
          </c:extLst>
        </c:ser>
        <c:ser>
          <c:idx val="2"/>
          <c:order val="1"/>
          <c:tx>
            <c:strRef>
              <c:f>'2W'!$A$17</c:f>
              <c:strCache>
                <c:ptCount val="1"/>
                <c:pt idx="0">
                  <c:v>TVS</c:v>
                </c:pt>
              </c:strCache>
            </c:strRef>
          </c:tx>
          <c:spPr>
            <a:solidFill>
              <a:schemeClr val="accent3"/>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W'!$C$15:$H$15</c:f>
              <c:strCache>
                <c:ptCount val="6"/>
                <c:pt idx="0">
                  <c:v>FY 17</c:v>
                </c:pt>
                <c:pt idx="1">
                  <c:v>FY 18</c:v>
                </c:pt>
                <c:pt idx="2">
                  <c:v>FY 19</c:v>
                </c:pt>
                <c:pt idx="3">
                  <c:v>FY 20</c:v>
                </c:pt>
                <c:pt idx="4">
                  <c:v>FY 21 </c:v>
                </c:pt>
                <c:pt idx="5">
                  <c:v>FY 22</c:v>
                </c:pt>
              </c:strCache>
            </c:strRef>
          </c:cat>
          <c:val>
            <c:numRef>
              <c:f>'2W'!$C$17:$H$17</c:f>
              <c:numCache>
                <c:formatCode>0%</c:formatCode>
                <c:ptCount val="6"/>
                <c:pt idx="0">
                  <c:v>0.15606656818829565</c:v>
                </c:pt>
                <c:pt idx="1">
                  <c:v>0.17476357929281069</c:v>
                </c:pt>
                <c:pt idx="2">
                  <c:v>0.18959132734564094</c:v>
                </c:pt>
                <c:pt idx="3">
                  <c:v>0.19288554463007593</c:v>
                </c:pt>
                <c:pt idx="4">
                  <c:v>0.23310046849582211</c:v>
                </c:pt>
                <c:pt idx="5">
                  <c:v>0.24536002329947798</c:v>
                </c:pt>
              </c:numCache>
            </c:numRef>
          </c:val>
          <c:extLst>
            <c:ext xmlns:c16="http://schemas.microsoft.com/office/drawing/2014/chart" uri="{C3380CC4-5D6E-409C-BE32-E72D297353CC}">
              <c16:uniqueId val="{00000001-615A-4ADF-8BB4-726607299974}"/>
            </c:ext>
          </c:extLst>
        </c:ser>
        <c:ser>
          <c:idx val="1"/>
          <c:order val="2"/>
          <c:tx>
            <c:strRef>
              <c:f>'2W'!$A$18</c:f>
              <c:strCache>
                <c:ptCount val="1"/>
                <c:pt idx="0">
                  <c:v>Honda</c:v>
                </c:pt>
              </c:strCache>
            </c:strRef>
          </c:tx>
          <c:spPr>
            <a:solidFill>
              <a:schemeClr val="accent2"/>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W'!$C$15:$H$15</c:f>
              <c:strCache>
                <c:ptCount val="6"/>
                <c:pt idx="0">
                  <c:v>FY 17</c:v>
                </c:pt>
                <c:pt idx="1">
                  <c:v>FY 18</c:v>
                </c:pt>
                <c:pt idx="2">
                  <c:v>FY 19</c:v>
                </c:pt>
                <c:pt idx="3">
                  <c:v>FY 20</c:v>
                </c:pt>
                <c:pt idx="4">
                  <c:v>FY 21 </c:v>
                </c:pt>
                <c:pt idx="5">
                  <c:v>FY 22</c:v>
                </c:pt>
              </c:strCache>
            </c:strRef>
          </c:cat>
          <c:val>
            <c:numRef>
              <c:f>'2W'!$C$18:$H$18</c:f>
              <c:numCache>
                <c:formatCode>0%</c:formatCode>
                <c:ptCount val="6"/>
                <c:pt idx="0">
                  <c:v>0.12099550608752725</c:v>
                </c:pt>
                <c:pt idx="1">
                  <c:v>0.12383290532905293</c:v>
                </c:pt>
                <c:pt idx="2">
                  <c:v>0.11583981058515179</c:v>
                </c:pt>
                <c:pt idx="3">
                  <c:v>9.2734325586364491E-2</c:v>
                </c:pt>
                <c:pt idx="4">
                  <c:v>6.4004473836113102E-2</c:v>
                </c:pt>
                <c:pt idx="5">
                  <c:v>7.4936000709427686E-2</c:v>
                </c:pt>
              </c:numCache>
            </c:numRef>
          </c:val>
          <c:extLst>
            <c:ext xmlns:c16="http://schemas.microsoft.com/office/drawing/2014/chart" uri="{C3380CC4-5D6E-409C-BE32-E72D297353CC}">
              <c16:uniqueId val="{00000002-615A-4ADF-8BB4-726607299974}"/>
            </c:ext>
          </c:extLst>
        </c:ser>
        <c:ser>
          <c:idx val="3"/>
          <c:order val="3"/>
          <c:tx>
            <c:strRef>
              <c:f>'2W'!$A$19</c:f>
              <c:strCache>
                <c:ptCount val="1"/>
                <c:pt idx="0">
                  <c:v>Hero</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W'!$C$15:$H$15</c:f>
              <c:strCache>
                <c:ptCount val="6"/>
                <c:pt idx="0">
                  <c:v>FY 17</c:v>
                </c:pt>
                <c:pt idx="1">
                  <c:v>FY 18</c:v>
                </c:pt>
                <c:pt idx="2">
                  <c:v>FY 19</c:v>
                </c:pt>
                <c:pt idx="3">
                  <c:v>FY 20</c:v>
                </c:pt>
                <c:pt idx="4">
                  <c:v>FY 21 </c:v>
                </c:pt>
                <c:pt idx="5">
                  <c:v>FY 22</c:v>
                </c:pt>
              </c:strCache>
            </c:strRef>
          </c:cat>
          <c:val>
            <c:numRef>
              <c:f>'2W'!$C$19:$H$19</c:f>
              <c:numCache>
                <c:formatCode>0%</c:formatCode>
                <c:ptCount val="6"/>
                <c:pt idx="0">
                  <c:v>7.7081046388953106E-2</c:v>
                </c:pt>
                <c:pt idx="1">
                  <c:v>7.263757800613356E-2</c:v>
                </c:pt>
                <c:pt idx="2">
                  <c:v>6.3415447441677306E-2</c:v>
                </c:pt>
                <c:pt idx="3">
                  <c:v>5.0650992016248231E-2</c:v>
                </c:pt>
                <c:pt idx="4">
                  <c:v>5.6903814964286197E-2</c:v>
                </c:pt>
                <c:pt idx="5">
                  <c:v>6.7661666011706451E-2</c:v>
                </c:pt>
              </c:numCache>
            </c:numRef>
          </c:val>
          <c:extLst>
            <c:ext xmlns:c16="http://schemas.microsoft.com/office/drawing/2014/chart" uri="{C3380CC4-5D6E-409C-BE32-E72D297353CC}">
              <c16:uniqueId val="{00000003-615A-4ADF-8BB4-726607299974}"/>
            </c:ext>
          </c:extLst>
        </c:ser>
        <c:ser>
          <c:idx val="4"/>
          <c:order val="4"/>
          <c:tx>
            <c:strRef>
              <c:f>'2W'!$A$20</c:f>
              <c:strCache>
                <c:ptCount val="1"/>
                <c:pt idx="0">
                  <c:v>Yamaha</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W'!$C$15:$H$15</c:f>
              <c:strCache>
                <c:ptCount val="6"/>
                <c:pt idx="0">
                  <c:v>FY 17</c:v>
                </c:pt>
                <c:pt idx="1">
                  <c:v>FY 18</c:v>
                </c:pt>
                <c:pt idx="2">
                  <c:v>FY 19</c:v>
                </c:pt>
                <c:pt idx="3">
                  <c:v>FY 20</c:v>
                </c:pt>
                <c:pt idx="4">
                  <c:v>FY 21 </c:v>
                </c:pt>
                <c:pt idx="5">
                  <c:v>FY 22</c:v>
                </c:pt>
              </c:strCache>
            </c:strRef>
          </c:cat>
          <c:val>
            <c:numRef>
              <c:f>'2W'!$C$20:$H$20</c:f>
              <c:numCache>
                <c:formatCode>0%</c:formatCode>
                <c:ptCount val="6"/>
                <c:pt idx="0">
                  <c:v>7.3334054045739033E-2</c:v>
                </c:pt>
                <c:pt idx="1">
                  <c:v>8.9495464125615501E-2</c:v>
                </c:pt>
                <c:pt idx="2">
                  <c:v>7.4128859033400274E-2</c:v>
                </c:pt>
                <c:pt idx="3">
                  <c:v>8.4487744779078694E-2</c:v>
                </c:pt>
                <c:pt idx="4">
                  <c:v>5.7715963882254882E-2</c:v>
                </c:pt>
                <c:pt idx="5">
                  <c:v>6.1108687833360119E-2</c:v>
                </c:pt>
              </c:numCache>
            </c:numRef>
          </c:val>
          <c:extLst>
            <c:ext xmlns:c16="http://schemas.microsoft.com/office/drawing/2014/chart" uri="{C3380CC4-5D6E-409C-BE32-E72D297353CC}">
              <c16:uniqueId val="{00000004-615A-4ADF-8BB4-726607299974}"/>
            </c:ext>
          </c:extLst>
        </c:ser>
        <c:ser>
          <c:idx val="5"/>
          <c:order val="5"/>
          <c:tx>
            <c:strRef>
              <c:f>'2W'!$A$21</c:f>
              <c:strCache>
                <c:ptCount val="1"/>
                <c:pt idx="0">
                  <c:v>Suzuki</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W'!$C$15:$H$15</c:f>
              <c:strCache>
                <c:ptCount val="6"/>
                <c:pt idx="0">
                  <c:v>FY 17</c:v>
                </c:pt>
                <c:pt idx="1">
                  <c:v>FY 18</c:v>
                </c:pt>
                <c:pt idx="2">
                  <c:v>FY 19</c:v>
                </c:pt>
                <c:pt idx="3">
                  <c:v>FY 20</c:v>
                </c:pt>
                <c:pt idx="4">
                  <c:v>FY 21 </c:v>
                </c:pt>
                <c:pt idx="5">
                  <c:v>FY 22</c:v>
                </c:pt>
              </c:strCache>
            </c:strRef>
          </c:cat>
          <c:val>
            <c:numRef>
              <c:f>'2W'!$C$21:$H$21</c:f>
              <c:numCache>
                <c:formatCode>0%</c:formatCode>
                <c:ptCount val="6"/>
                <c:pt idx="0">
                  <c:v>3.0815155641832143E-2</c:v>
                </c:pt>
                <c:pt idx="1">
                  <c:v>2.6108320310848691E-2</c:v>
                </c:pt>
                <c:pt idx="2">
                  <c:v>2.3985923121541092E-2</c:v>
                </c:pt>
                <c:pt idx="3">
                  <c:v>2.9881246735947456E-2</c:v>
                </c:pt>
                <c:pt idx="4">
                  <c:v>2.1468860709443503E-2</c:v>
                </c:pt>
                <c:pt idx="5">
                  <c:v>3.2660232301557186E-2</c:v>
                </c:pt>
              </c:numCache>
            </c:numRef>
          </c:val>
          <c:extLst>
            <c:ext xmlns:c16="http://schemas.microsoft.com/office/drawing/2014/chart" uri="{C3380CC4-5D6E-409C-BE32-E72D297353CC}">
              <c16:uniqueId val="{00000005-615A-4ADF-8BB4-726607299974}"/>
            </c:ext>
          </c:extLst>
        </c:ser>
        <c:ser>
          <c:idx val="6"/>
          <c:order val="6"/>
          <c:tx>
            <c:strRef>
              <c:f>'2W'!$A$22</c:f>
              <c:strCache>
                <c:ptCount val="1"/>
                <c:pt idx="0">
                  <c:v>Others</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W'!$C$15:$H$15</c:f>
              <c:strCache>
                <c:ptCount val="6"/>
                <c:pt idx="0">
                  <c:v>FY 17</c:v>
                </c:pt>
                <c:pt idx="1">
                  <c:v>FY 18</c:v>
                </c:pt>
                <c:pt idx="2">
                  <c:v>FY 19</c:v>
                </c:pt>
                <c:pt idx="3">
                  <c:v>FY 20</c:v>
                </c:pt>
                <c:pt idx="4">
                  <c:v>FY 21 </c:v>
                </c:pt>
                <c:pt idx="5">
                  <c:v>FY 22</c:v>
                </c:pt>
              </c:strCache>
            </c:strRef>
          </c:cat>
          <c:val>
            <c:numRef>
              <c:f>'2W'!$C$22:$H$22</c:f>
              <c:numCache>
                <c:formatCode>0%</c:formatCode>
                <c:ptCount val="6"/>
                <c:pt idx="0">
                  <c:v>2.1025288886742894E-2</c:v>
                </c:pt>
                <c:pt idx="1">
                  <c:v>1.7689501574243437E-2</c:v>
                </c:pt>
                <c:pt idx="2">
                  <c:v>1.6234252132303881E-2</c:v>
                </c:pt>
                <c:pt idx="3">
                  <c:v>1.8240903700007787E-2</c:v>
                </c:pt>
                <c:pt idx="4">
                  <c:v>1.87071882806484E-2</c:v>
                </c:pt>
                <c:pt idx="5">
                  <c:v>1.8238053503271876E-2</c:v>
                </c:pt>
              </c:numCache>
            </c:numRef>
          </c:val>
          <c:extLst>
            <c:ext xmlns:c16="http://schemas.microsoft.com/office/drawing/2014/chart" uri="{C3380CC4-5D6E-409C-BE32-E72D297353CC}">
              <c16:uniqueId val="{00000006-615A-4ADF-8BB4-726607299974}"/>
            </c:ext>
          </c:extLst>
        </c:ser>
        <c:dLbls>
          <c:dLblPos val="ctr"/>
          <c:showLegendKey val="0"/>
          <c:showVal val="1"/>
          <c:showCatName val="0"/>
          <c:showSerName val="0"/>
          <c:showPercent val="0"/>
          <c:showBubbleSize val="0"/>
        </c:dLbls>
        <c:gapWidth val="150"/>
        <c:overlap val="100"/>
        <c:axId val="-798539456"/>
        <c:axId val="-798546528"/>
      </c:barChart>
      <c:catAx>
        <c:axId val="-79853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798546528"/>
        <c:crosses val="autoZero"/>
        <c:auto val="1"/>
        <c:lblAlgn val="ctr"/>
        <c:lblOffset val="100"/>
        <c:noMultiLvlLbl val="0"/>
      </c:catAx>
      <c:valAx>
        <c:axId val="-798546528"/>
        <c:scaling>
          <c:orientation val="minMax"/>
        </c:scaling>
        <c:delete val="1"/>
        <c:axPos val="l"/>
        <c:numFmt formatCode="0%" sourceLinked="1"/>
        <c:majorTickMark val="none"/>
        <c:minorTickMark val="none"/>
        <c:tickLblPos val="nextTo"/>
        <c:crossAx val="-798539456"/>
        <c:crosses val="autoZero"/>
        <c:crossBetween val="between"/>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422312168086554E-2"/>
          <c:y val="0.14931703703703705"/>
          <c:w val="0.92102216765695166"/>
          <c:h val="0.64685759259259257"/>
        </c:manualLayout>
      </c:layout>
      <c:barChart>
        <c:barDir val="col"/>
        <c:grouping val="stacked"/>
        <c:varyColors val="0"/>
        <c:ser>
          <c:idx val="2"/>
          <c:order val="2"/>
          <c:tx>
            <c:strRef>
              <c:f>Output!$E$2</c:f>
              <c:strCache>
                <c:ptCount val="1"/>
              </c:strCache>
            </c:strRef>
          </c:tx>
          <c:spPr>
            <a:noFill/>
            <a:ln>
              <a:noFill/>
            </a:ln>
            <a:effectLst/>
          </c:spPr>
          <c:invertIfNegative val="0"/>
          <c:cat>
            <c:numRef>
              <c:f>Output!$A$3:$A$42</c:f>
              <c:numCache>
                <c:formatCode>mmm\-yy</c:formatCode>
                <c:ptCount val="40"/>
                <c:pt idx="0">
                  <c:v>43435</c:v>
                </c:pt>
                <c:pt idx="1">
                  <c:v>43466</c:v>
                </c:pt>
                <c:pt idx="2">
                  <c:v>43497</c:v>
                </c:pt>
                <c:pt idx="3">
                  <c:v>43525</c:v>
                </c:pt>
                <c:pt idx="4">
                  <c:v>43556</c:v>
                </c:pt>
                <c:pt idx="5">
                  <c:v>43586</c:v>
                </c:pt>
                <c:pt idx="6">
                  <c:v>43617</c:v>
                </c:pt>
                <c:pt idx="7">
                  <c:v>43647</c:v>
                </c:pt>
                <c:pt idx="8">
                  <c:v>43678</c:v>
                </c:pt>
                <c:pt idx="9">
                  <c:v>43709</c:v>
                </c:pt>
                <c:pt idx="10">
                  <c:v>43739</c:v>
                </c:pt>
                <c:pt idx="11">
                  <c:v>43770</c:v>
                </c:pt>
                <c:pt idx="12">
                  <c:v>43800</c:v>
                </c:pt>
                <c:pt idx="13">
                  <c:v>43831</c:v>
                </c:pt>
                <c:pt idx="14">
                  <c:v>43862</c:v>
                </c:pt>
                <c:pt idx="15">
                  <c:v>43891</c:v>
                </c:pt>
                <c:pt idx="16">
                  <c:v>43922</c:v>
                </c:pt>
                <c:pt idx="17">
                  <c:v>43952</c:v>
                </c:pt>
                <c:pt idx="18">
                  <c:v>43983</c:v>
                </c:pt>
                <c:pt idx="19">
                  <c:v>44013</c:v>
                </c:pt>
                <c:pt idx="20">
                  <c:v>44044</c:v>
                </c:pt>
                <c:pt idx="21">
                  <c:v>44075</c:v>
                </c:pt>
                <c:pt idx="22">
                  <c:v>44105</c:v>
                </c:pt>
                <c:pt idx="23">
                  <c:v>44136</c:v>
                </c:pt>
                <c:pt idx="24">
                  <c:v>44166</c:v>
                </c:pt>
                <c:pt idx="25">
                  <c:v>44197</c:v>
                </c:pt>
                <c:pt idx="26">
                  <c:v>44228</c:v>
                </c:pt>
                <c:pt idx="27">
                  <c:v>44256</c:v>
                </c:pt>
                <c:pt idx="28">
                  <c:v>44287</c:v>
                </c:pt>
                <c:pt idx="29">
                  <c:v>44317</c:v>
                </c:pt>
                <c:pt idx="30">
                  <c:v>44348</c:v>
                </c:pt>
                <c:pt idx="31">
                  <c:v>44378</c:v>
                </c:pt>
                <c:pt idx="32">
                  <c:v>44409</c:v>
                </c:pt>
                <c:pt idx="33">
                  <c:v>44440</c:v>
                </c:pt>
                <c:pt idx="34">
                  <c:v>44470</c:v>
                </c:pt>
                <c:pt idx="35">
                  <c:v>44501</c:v>
                </c:pt>
                <c:pt idx="36">
                  <c:v>44531</c:v>
                </c:pt>
                <c:pt idx="37">
                  <c:v>44562</c:v>
                </c:pt>
                <c:pt idx="38">
                  <c:v>44593</c:v>
                </c:pt>
                <c:pt idx="39">
                  <c:v>44621</c:v>
                </c:pt>
              </c:numCache>
            </c:numRef>
          </c:cat>
          <c:val>
            <c:numRef>
              <c:f>Output!$E$3:$E$42</c:f>
              <c:numCache>
                <c:formatCode>_ * #,##0.00_ ;_ * \-#,##0.00_ ;_ * "-"??_ ;_ @_ </c:formatCode>
                <c:ptCount val="40"/>
                <c:pt idx="0">
                  <c:v>1.085867775297201</c:v>
                </c:pt>
                <c:pt idx="1">
                  <c:v>1.0890967736862092</c:v>
                </c:pt>
                <c:pt idx="2">
                  <c:v>1.1078578126201084</c:v>
                </c:pt>
                <c:pt idx="3">
                  <c:v>1.1362812383716154</c:v>
                </c:pt>
                <c:pt idx="4">
                  <c:v>1.1129071830831905</c:v>
                </c:pt>
                <c:pt idx="5">
                  <c:v>1.1258893804474115</c:v>
                </c:pt>
                <c:pt idx="6">
                  <c:v>1.0824479737734418</c:v>
                </c:pt>
                <c:pt idx="7">
                  <c:v>1.119210582267151</c:v>
                </c:pt>
                <c:pt idx="8">
                  <c:v>1.1004740062282174</c:v>
                </c:pt>
                <c:pt idx="9">
                  <c:v>1.119150601501429</c:v>
                </c:pt>
                <c:pt idx="10">
                  <c:v>1.119345267607589</c:v>
                </c:pt>
                <c:pt idx="11">
                  <c:v>1.1193514953837298</c:v>
                </c:pt>
                <c:pt idx="12">
                  <c:v>1.1250116117610514</c:v>
                </c:pt>
                <c:pt idx="13">
                  <c:v>1.1670640195360884</c:v>
                </c:pt>
                <c:pt idx="14">
                  <c:v>1.1023563736580695</c:v>
                </c:pt>
                <c:pt idx="15">
                  <c:v>1.0740797187777165</c:v>
                </c:pt>
                <c:pt idx="17">
                  <c:v>1.0850497195395412</c:v>
                </c:pt>
                <c:pt idx="18">
                  <c:v>1.1872107765451669</c:v>
                </c:pt>
                <c:pt idx="19">
                  <c:v>1.2833624192184987</c:v>
                </c:pt>
                <c:pt idx="20">
                  <c:v>1.1660150058121099</c:v>
                </c:pt>
                <c:pt idx="21">
                  <c:v>1.1399999999999999</c:v>
                </c:pt>
                <c:pt idx="22">
                  <c:v>1.1171481566089652</c:v>
                </c:pt>
                <c:pt idx="23">
                  <c:v>1.1236205073995773</c:v>
                </c:pt>
                <c:pt idx="24">
                  <c:v>1.1687077335461353</c:v>
                </c:pt>
                <c:pt idx="25">
                  <c:v>1.1905282437124407</c:v>
                </c:pt>
                <c:pt idx="26">
                  <c:v>1.2513443625212679</c:v>
                </c:pt>
                <c:pt idx="27">
                  <c:v>1.2907063615523169</c:v>
                </c:pt>
                <c:pt idx="28">
                  <c:v>1.2819848404724132</c:v>
                </c:pt>
                <c:pt idx="29">
                  <c:v>1.3163245460190944</c:v>
                </c:pt>
                <c:pt idx="30">
                  <c:v>1.3847826086956525</c:v>
                </c:pt>
                <c:pt idx="31">
                  <c:v>1.4237130219922722</c:v>
                </c:pt>
                <c:pt idx="32">
                  <c:v>1.420725234742185</c:v>
                </c:pt>
                <c:pt idx="33">
                  <c:v>1.4094708994708993</c:v>
                </c:pt>
                <c:pt idx="34">
                  <c:v>1.4933838364872198</c:v>
                </c:pt>
                <c:pt idx="35">
                  <c:v>1.3946602455546151</c:v>
                </c:pt>
                <c:pt idx="36">
                  <c:v>1.3761511590981268</c:v>
                </c:pt>
                <c:pt idx="37">
                  <c:v>1.3762968452254929</c:v>
                </c:pt>
                <c:pt idx="38">
                  <c:v>1.3764425622022238</c:v>
                </c:pt>
                <c:pt idx="39">
                  <c:v>1.37658831003812</c:v>
                </c:pt>
              </c:numCache>
            </c:numRef>
          </c:val>
          <c:extLst>
            <c:ext xmlns:c16="http://schemas.microsoft.com/office/drawing/2014/chart" uri="{C3380CC4-5D6E-409C-BE32-E72D297353CC}">
              <c16:uniqueId val="{00000000-15C0-4809-9F4E-372CB9C1E9C3}"/>
            </c:ext>
          </c:extLst>
        </c:ser>
        <c:ser>
          <c:idx val="3"/>
          <c:order val="3"/>
          <c:tx>
            <c:strRef>
              <c:f>Output!$F$2</c:f>
              <c:strCache>
                <c:ptCount val="1"/>
                <c:pt idx="0">
                  <c:v>Freight rate to diesel spread (paise/tkm)</c:v>
                </c:pt>
              </c:strCache>
            </c:strRef>
          </c:tx>
          <c:spPr>
            <a:solidFill>
              <a:schemeClr val="bg1">
                <a:lumMod val="85000"/>
              </a:schemeClr>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utput!$A$3:$A$42</c:f>
              <c:numCache>
                <c:formatCode>mmm\-yy</c:formatCode>
                <c:ptCount val="40"/>
                <c:pt idx="0">
                  <c:v>43435</c:v>
                </c:pt>
                <c:pt idx="1">
                  <c:v>43466</c:v>
                </c:pt>
                <c:pt idx="2">
                  <c:v>43497</c:v>
                </c:pt>
                <c:pt idx="3">
                  <c:v>43525</c:v>
                </c:pt>
                <c:pt idx="4">
                  <c:v>43556</c:v>
                </c:pt>
                <c:pt idx="5">
                  <c:v>43586</c:v>
                </c:pt>
                <c:pt idx="6">
                  <c:v>43617</c:v>
                </c:pt>
                <c:pt idx="7">
                  <c:v>43647</c:v>
                </c:pt>
                <c:pt idx="8">
                  <c:v>43678</c:v>
                </c:pt>
                <c:pt idx="9">
                  <c:v>43709</c:v>
                </c:pt>
                <c:pt idx="10">
                  <c:v>43739</c:v>
                </c:pt>
                <c:pt idx="11">
                  <c:v>43770</c:v>
                </c:pt>
                <c:pt idx="12">
                  <c:v>43800</c:v>
                </c:pt>
                <c:pt idx="13">
                  <c:v>43831</c:v>
                </c:pt>
                <c:pt idx="14">
                  <c:v>43862</c:v>
                </c:pt>
                <c:pt idx="15">
                  <c:v>43891</c:v>
                </c:pt>
                <c:pt idx="16">
                  <c:v>43922</c:v>
                </c:pt>
                <c:pt idx="17">
                  <c:v>43952</c:v>
                </c:pt>
                <c:pt idx="18">
                  <c:v>43983</c:v>
                </c:pt>
                <c:pt idx="19">
                  <c:v>44013</c:v>
                </c:pt>
                <c:pt idx="20">
                  <c:v>44044</c:v>
                </c:pt>
                <c:pt idx="21">
                  <c:v>44075</c:v>
                </c:pt>
                <c:pt idx="22">
                  <c:v>44105</c:v>
                </c:pt>
                <c:pt idx="23">
                  <c:v>44136</c:v>
                </c:pt>
                <c:pt idx="24">
                  <c:v>44166</c:v>
                </c:pt>
                <c:pt idx="25">
                  <c:v>44197</c:v>
                </c:pt>
                <c:pt idx="26">
                  <c:v>44228</c:v>
                </c:pt>
                <c:pt idx="27">
                  <c:v>44256</c:v>
                </c:pt>
                <c:pt idx="28">
                  <c:v>44287</c:v>
                </c:pt>
                <c:pt idx="29">
                  <c:v>44317</c:v>
                </c:pt>
                <c:pt idx="30">
                  <c:v>44348</c:v>
                </c:pt>
                <c:pt idx="31">
                  <c:v>44378</c:v>
                </c:pt>
                <c:pt idx="32">
                  <c:v>44409</c:v>
                </c:pt>
                <c:pt idx="33">
                  <c:v>44440</c:v>
                </c:pt>
                <c:pt idx="34">
                  <c:v>44470</c:v>
                </c:pt>
                <c:pt idx="35">
                  <c:v>44501</c:v>
                </c:pt>
                <c:pt idx="36">
                  <c:v>44531</c:v>
                </c:pt>
                <c:pt idx="37">
                  <c:v>44562</c:v>
                </c:pt>
                <c:pt idx="38">
                  <c:v>44593</c:v>
                </c:pt>
                <c:pt idx="39">
                  <c:v>44621</c:v>
                </c:pt>
              </c:numCache>
            </c:numRef>
          </c:cat>
          <c:val>
            <c:numRef>
              <c:f>Output!$F$3:$F$42</c:f>
              <c:numCache>
                <c:formatCode>_ * #,##0.0_ ;_ * \-#,##0.0_ ;_ * "-"??_ ;_ @_ </c:formatCode>
                <c:ptCount val="40"/>
                <c:pt idx="0">
                  <c:v>0.78758181467892707</c:v>
                </c:pt>
                <c:pt idx="1">
                  <c:v>0.75156744846533652</c:v>
                </c:pt>
                <c:pt idx="2">
                  <c:v>0.67298482231151202</c:v>
                </c:pt>
                <c:pt idx="3">
                  <c:v>0.64456139656000522</c:v>
                </c:pt>
                <c:pt idx="4">
                  <c:v>0.66793545184843017</c:v>
                </c:pt>
                <c:pt idx="5">
                  <c:v>0.6193364017855767</c:v>
                </c:pt>
                <c:pt idx="6">
                  <c:v>0.66277780845954615</c:v>
                </c:pt>
                <c:pt idx="7">
                  <c:v>0.63986844204090843</c:v>
                </c:pt>
                <c:pt idx="8">
                  <c:v>0.66273271877976159</c:v>
                </c:pt>
                <c:pt idx="9">
                  <c:v>0.70576835888182909</c:v>
                </c:pt>
                <c:pt idx="10">
                  <c:v>0.75119666678525032</c:v>
                </c:pt>
                <c:pt idx="11">
                  <c:v>0.71377960032125265</c:v>
                </c:pt>
                <c:pt idx="12">
                  <c:v>0.65312555107278136</c:v>
                </c:pt>
                <c:pt idx="13">
                  <c:v>0.60218245748357546</c:v>
                </c:pt>
                <c:pt idx="14">
                  <c:v>0.65764362634193052</c:v>
                </c:pt>
                <c:pt idx="15">
                  <c:v>0.63312028122228381</c:v>
                </c:pt>
                <c:pt idx="17">
                  <c:v>0.79287028046045904</c:v>
                </c:pt>
                <c:pt idx="18">
                  <c:v>0.85972202345483351</c:v>
                </c:pt>
                <c:pt idx="19">
                  <c:v>0.82980185862053113</c:v>
                </c:pt>
                <c:pt idx="20">
                  <c:v>0.7166222598990255</c:v>
                </c:pt>
                <c:pt idx="21">
                  <c:v>0.64850540242557875</c:v>
                </c:pt>
                <c:pt idx="22">
                  <c:v>0.86809284008342713</c:v>
                </c:pt>
                <c:pt idx="23">
                  <c:v>0.93110392417704846</c:v>
                </c:pt>
                <c:pt idx="24">
                  <c:v>1.0349097727824201</c:v>
                </c:pt>
                <c:pt idx="25">
                  <c:v>1.1453063129958283</c:v>
                </c:pt>
                <c:pt idx="26">
                  <c:v>1.1505987193768579</c:v>
                </c:pt>
                <c:pt idx="27">
                  <c:v>1.1319895085734084</c:v>
                </c:pt>
                <c:pt idx="28">
                  <c:v>0.68039881432942417</c:v>
                </c:pt>
                <c:pt idx="29">
                  <c:v>0.50869225294661446</c:v>
                </c:pt>
                <c:pt idx="30">
                  <c:v>0.69573654212525593</c:v>
                </c:pt>
                <c:pt idx="31">
                  <c:v>0.7608320863696818</c:v>
                </c:pt>
                <c:pt idx="32">
                  <c:v>0.86758576626696171</c:v>
                </c:pt>
                <c:pt idx="33">
                  <c:v>0.98181409658365926</c:v>
                </c:pt>
                <c:pt idx="34">
                  <c:v>1.1370296591727944</c:v>
                </c:pt>
                <c:pt idx="35">
                  <c:v>1.0632671192424474</c:v>
                </c:pt>
                <c:pt idx="36">
                  <c:v>1.1800933002908183</c:v>
                </c:pt>
                <c:pt idx="37">
                  <c:v>1.2438537256481756</c:v>
                </c:pt>
                <c:pt idx="38">
                  <c:v>1.2830102672345491</c:v>
                </c:pt>
                <c:pt idx="39">
                  <c:v>1.37594536842894</c:v>
                </c:pt>
              </c:numCache>
            </c:numRef>
          </c:val>
          <c:extLst>
            <c:ext xmlns:c16="http://schemas.microsoft.com/office/drawing/2014/chart" uri="{C3380CC4-5D6E-409C-BE32-E72D297353CC}">
              <c16:uniqueId val="{00000001-15C0-4809-9F4E-372CB9C1E9C3}"/>
            </c:ext>
          </c:extLst>
        </c:ser>
        <c:dLbls>
          <c:showLegendKey val="0"/>
          <c:showVal val="0"/>
          <c:showCatName val="0"/>
          <c:showSerName val="0"/>
          <c:showPercent val="0"/>
          <c:showBubbleSize val="0"/>
        </c:dLbls>
        <c:gapWidth val="75"/>
        <c:overlap val="100"/>
        <c:axId val="1648416448"/>
        <c:axId val="1648409376"/>
      </c:barChart>
      <c:lineChart>
        <c:grouping val="standard"/>
        <c:varyColors val="0"/>
        <c:ser>
          <c:idx val="0"/>
          <c:order val="0"/>
          <c:tx>
            <c:strRef>
              <c:f>Output!$C$2</c:f>
              <c:strCache>
                <c:ptCount val="1"/>
                <c:pt idx="0">
                  <c:v>Freight (INR/TKM)</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utput!$A$3:$A$42</c:f>
              <c:numCache>
                <c:formatCode>mmm\-yy</c:formatCode>
                <c:ptCount val="40"/>
                <c:pt idx="0">
                  <c:v>43435</c:v>
                </c:pt>
                <c:pt idx="1">
                  <c:v>43466</c:v>
                </c:pt>
                <c:pt idx="2">
                  <c:v>43497</c:v>
                </c:pt>
                <c:pt idx="3">
                  <c:v>43525</c:v>
                </c:pt>
                <c:pt idx="4">
                  <c:v>43556</c:v>
                </c:pt>
                <c:pt idx="5">
                  <c:v>43586</c:v>
                </c:pt>
                <c:pt idx="6">
                  <c:v>43617</c:v>
                </c:pt>
                <c:pt idx="7">
                  <c:v>43647</c:v>
                </c:pt>
                <c:pt idx="8">
                  <c:v>43678</c:v>
                </c:pt>
                <c:pt idx="9">
                  <c:v>43709</c:v>
                </c:pt>
                <c:pt idx="10">
                  <c:v>43739</c:v>
                </c:pt>
                <c:pt idx="11">
                  <c:v>43770</c:v>
                </c:pt>
                <c:pt idx="12">
                  <c:v>43800</c:v>
                </c:pt>
                <c:pt idx="13">
                  <c:v>43831</c:v>
                </c:pt>
                <c:pt idx="14">
                  <c:v>43862</c:v>
                </c:pt>
                <c:pt idx="15">
                  <c:v>43891</c:v>
                </c:pt>
                <c:pt idx="16">
                  <c:v>43922</c:v>
                </c:pt>
                <c:pt idx="17">
                  <c:v>43952</c:v>
                </c:pt>
                <c:pt idx="18">
                  <c:v>43983</c:v>
                </c:pt>
                <c:pt idx="19">
                  <c:v>44013</c:v>
                </c:pt>
                <c:pt idx="20">
                  <c:v>44044</c:v>
                </c:pt>
                <c:pt idx="21">
                  <c:v>44075</c:v>
                </c:pt>
                <c:pt idx="22">
                  <c:v>44105</c:v>
                </c:pt>
                <c:pt idx="23">
                  <c:v>44136</c:v>
                </c:pt>
                <c:pt idx="24">
                  <c:v>44166</c:v>
                </c:pt>
                <c:pt idx="25">
                  <c:v>44197</c:v>
                </c:pt>
                <c:pt idx="26">
                  <c:v>44228</c:v>
                </c:pt>
                <c:pt idx="27">
                  <c:v>44256</c:v>
                </c:pt>
                <c:pt idx="28">
                  <c:v>44287</c:v>
                </c:pt>
                <c:pt idx="29">
                  <c:v>44317</c:v>
                </c:pt>
                <c:pt idx="30">
                  <c:v>44348</c:v>
                </c:pt>
                <c:pt idx="31">
                  <c:v>44378</c:v>
                </c:pt>
                <c:pt idx="32">
                  <c:v>44409</c:v>
                </c:pt>
                <c:pt idx="33">
                  <c:v>44440</c:v>
                </c:pt>
                <c:pt idx="34">
                  <c:v>44470</c:v>
                </c:pt>
                <c:pt idx="35">
                  <c:v>44501</c:v>
                </c:pt>
                <c:pt idx="36">
                  <c:v>44531</c:v>
                </c:pt>
                <c:pt idx="37">
                  <c:v>44562</c:v>
                </c:pt>
                <c:pt idx="38">
                  <c:v>44593</c:v>
                </c:pt>
                <c:pt idx="39">
                  <c:v>44621</c:v>
                </c:pt>
              </c:numCache>
            </c:numRef>
          </c:cat>
          <c:val>
            <c:numRef>
              <c:f>Output!$C$3:$C$42</c:f>
              <c:numCache>
                <c:formatCode>0.0</c:formatCode>
                <c:ptCount val="40"/>
                <c:pt idx="0">
                  <c:v>1.8734495899761281</c:v>
                </c:pt>
                <c:pt idx="1">
                  <c:v>1.8406642221515457</c:v>
                </c:pt>
                <c:pt idx="2">
                  <c:v>1.7808426349316204</c:v>
                </c:pt>
                <c:pt idx="3">
                  <c:v>1.7808426349316206</c:v>
                </c:pt>
                <c:pt idx="4">
                  <c:v>1.7808426349316206</c:v>
                </c:pt>
                <c:pt idx="5">
                  <c:v>1.7452257822329882</c:v>
                </c:pt>
                <c:pt idx="6">
                  <c:v>1.745225782232988</c:v>
                </c:pt>
                <c:pt idx="7">
                  <c:v>1.7590790243080594</c:v>
                </c:pt>
                <c:pt idx="8">
                  <c:v>1.763206725007979</c:v>
                </c:pt>
                <c:pt idx="9">
                  <c:v>1.8249189603832581</c:v>
                </c:pt>
                <c:pt idx="10">
                  <c:v>1.8705419343928393</c:v>
                </c:pt>
                <c:pt idx="11">
                  <c:v>1.8331310957049824</c:v>
                </c:pt>
                <c:pt idx="12">
                  <c:v>1.7781371628338327</c:v>
                </c:pt>
                <c:pt idx="13">
                  <c:v>1.7692464770196639</c:v>
                </c:pt>
                <c:pt idx="14">
                  <c:v>1.76</c:v>
                </c:pt>
                <c:pt idx="15">
                  <c:v>1.7072000000000003</c:v>
                </c:pt>
                <c:pt idx="17">
                  <c:v>1.8779200000000003</c:v>
                </c:pt>
                <c:pt idx="18">
                  <c:v>2.0469328000000004</c:v>
                </c:pt>
                <c:pt idx="19">
                  <c:v>2.1131642778390298</c:v>
                </c:pt>
                <c:pt idx="20">
                  <c:v>1.8826372657111354</c:v>
                </c:pt>
                <c:pt idx="21">
                  <c:v>1.7885054024255786</c:v>
                </c:pt>
                <c:pt idx="22">
                  <c:v>1.9852409966923923</c:v>
                </c:pt>
                <c:pt idx="23">
                  <c:v>2.0547244315766258</c:v>
                </c:pt>
                <c:pt idx="24">
                  <c:v>2.2036175063285555</c:v>
                </c:pt>
                <c:pt idx="25">
                  <c:v>2.335834556708269</c:v>
                </c:pt>
                <c:pt idx="26">
                  <c:v>2.4019430818981258</c:v>
                </c:pt>
                <c:pt idx="27">
                  <c:v>2.4226958701257253</c:v>
                </c:pt>
                <c:pt idx="28">
                  <c:v>1.9623836548018374</c:v>
                </c:pt>
                <c:pt idx="29">
                  <c:v>1.8250167989657089</c:v>
                </c:pt>
                <c:pt idx="30">
                  <c:v>2.0805191508209084</c:v>
                </c:pt>
                <c:pt idx="31">
                  <c:v>2.184545108361954</c:v>
                </c:pt>
                <c:pt idx="32">
                  <c:v>2.2883110010091468</c:v>
                </c:pt>
                <c:pt idx="33">
                  <c:v>2.3912849960545586</c:v>
                </c:pt>
                <c:pt idx="34">
                  <c:v>2.6304134956600143</c:v>
                </c:pt>
                <c:pt idx="35">
                  <c:v>2.4579273647970625</c:v>
                </c:pt>
                <c:pt idx="36">
                  <c:v>2.5562444593889451</c:v>
                </c:pt>
                <c:pt idx="37">
                  <c:v>2.6201505708736685</c:v>
                </c:pt>
                <c:pt idx="38">
                  <c:v>2.659452829436773</c:v>
                </c:pt>
                <c:pt idx="39">
                  <c:v>2.75253367846706</c:v>
                </c:pt>
              </c:numCache>
            </c:numRef>
          </c:val>
          <c:smooth val="1"/>
          <c:extLst>
            <c:ext xmlns:c16="http://schemas.microsoft.com/office/drawing/2014/chart" uri="{C3380CC4-5D6E-409C-BE32-E72D297353CC}">
              <c16:uniqueId val="{00000002-15C0-4809-9F4E-372CB9C1E9C3}"/>
            </c:ext>
          </c:extLst>
        </c:ser>
        <c:ser>
          <c:idx val="1"/>
          <c:order val="1"/>
          <c:tx>
            <c:strRef>
              <c:f>Output!$D$2</c:f>
              <c:strCache>
                <c:ptCount val="1"/>
                <c:pt idx="0">
                  <c:v>Fuel cost (INR/ TKM)</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utput!$A$3:$A$42</c:f>
              <c:numCache>
                <c:formatCode>mmm\-yy</c:formatCode>
                <c:ptCount val="40"/>
                <c:pt idx="0">
                  <c:v>43435</c:v>
                </c:pt>
                <c:pt idx="1">
                  <c:v>43466</c:v>
                </c:pt>
                <c:pt idx="2">
                  <c:v>43497</c:v>
                </c:pt>
                <c:pt idx="3">
                  <c:v>43525</c:v>
                </c:pt>
                <c:pt idx="4">
                  <c:v>43556</c:v>
                </c:pt>
                <c:pt idx="5">
                  <c:v>43586</c:v>
                </c:pt>
                <c:pt idx="6">
                  <c:v>43617</c:v>
                </c:pt>
                <c:pt idx="7">
                  <c:v>43647</c:v>
                </c:pt>
                <c:pt idx="8">
                  <c:v>43678</c:v>
                </c:pt>
                <c:pt idx="9">
                  <c:v>43709</c:v>
                </c:pt>
                <c:pt idx="10">
                  <c:v>43739</c:v>
                </c:pt>
                <c:pt idx="11">
                  <c:v>43770</c:v>
                </c:pt>
                <c:pt idx="12">
                  <c:v>43800</c:v>
                </c:pt>
                <c:pt idx="13">
                  <c:v>43831</c:v>
                </c:pt>
                <c:pt idx="14">
                  <c:v>43862</c:v>
                </c:pt>
                <c:pt idx="15">
                  <c:v>43891</c:v>
                </c:pt>
                <c:pt idx="16">
                  <c:v>43922</c:v>
                </c:pt>
                <c:pt idx="17">
                  <c:v>43952</c:v>
                </c:pt>
                <c:pt idx="18">
                  <c:v>43983</c:v>
                </c:pt>
                <c:pt idx="19">
                  <c:v>44013</c:v>
                </c:pt>
                <c:pt idx="20">
                  <c:v>44044</c:v>
                </c:pt>
                <c:pt idx="21">
                  <c:v>44075</c:v>
                </c:pt>
                <c:pt idx="22">
                  <c:v>44105</c:v>
                </c:pt>
                <c:pt idx="23">
                  <c:v>44136</c:v>
                </c:pt>
                <c:pt idx="24">
                  <c:v>44166</c:v>
                </c:pt>
                <c:pt idx="25">
                  <c:v>44197</c:v>
                </c:pt>
                <c:pt idx="26">
                  <c:v>44228</c:v>
                </c:pt>
                <c:pt idx="27">
                  <c:v>44256</c:v>
                </c:pt>
                <c:pt idx="28">
                  <c:v>44287</c:v>
                </c:pt>
                <c:pt idx="29">
                  <c:v>44317</c:v>
                </c:pt>
                <c:pt idx="30">
                  <c:v>44348</c:v>
                </c:pt>
                <c:pt idx="31">
                  <c:v>44378</c:v>
                </c:pt>
                <c:pt idx="32">
                  <c:v>44409</c:v>
                </c:pt>
                <c:pt idx="33">
                  <c:v>44440</c:v>
                </c:pt>
                <c:pt idx="34">
                  <c:v>44470</c:v>
                </c:pt>
                <c:pt idx="35">
                  <c:v>44501</c:v>
                </c:pt>
                <c:pt idx="36">
                  <c:v>44531</c:v>
                </c:pt>
                <c:pt idx="37">
                  <c:v>44562</c:v>
                </c:pt>
                <c:pt idx="38">
                  <c:v>44593</c:v>
                </c:pt>
                <c:pt idx="39">
                  <c:v>44621</c:v>
                </c:pt>
              </c:numCache>
            </c:numRef>
          </c:cat>
          <c:val>
            <c:numRef>
              <c:f>Output!$D$3:$D$42</c:f>
              <c:numCache>
                <c:formatCode>0.0</c:formatCode>
                <c:ptCount val="40"/>
                <c:pt idx="0">
                  <c:v>1.085867775297201</c:v>
                </c:pt>
                <c:pt idx="1">
                  <c:v>1.0890967736862092</c:v>
                </c:pt>
                <c:pt idx="2">
                  <c:v>1.1078578126201084</c:v>
                </c:pt>
                <c:pt idx="3">
                  <c:v>1.1362812383716154</c:v>
                </c:pt>
                <c:pt idx="4">
                  <c:v>1.1129071830831905</c:v>
                </c:pt>
                <c:pt idx="5">
                  <c:v>1.1258893804474115</c:v>
                </c:pt>
                <c:pt idx="6">
                  <c:v>1.0824479737734418</c:v>
                </c:pt>
                <c:pt idx="7">
                  <c:v>1.119210582267151</c:v>
                </c:pt>
                <c:pt idx="8">
                  <c:v>1.1004740062282174</c:v>
                </c:pt>
                <c:pt idx="9">
                  <c:v>1.119150601501429</c:v>
                </c:pt>
                <c:pt idx="10">
                  <c:v>1.119345267607589</c:v>
                </c:pt>
                <c:pt idx="11">
                  <c:v>1.1193514953837298</c:v>
                </c:pt>
                <c:pt idx="12">
                  <c:v>1.1250116117610514</c:v>
                </c:pt>
                <c:pt idx="13">
                  <c:v>1.1670640195360884</c:v>
                </c:pt>
                <c:pt idx="14">
                  <c:v>1.1023563736580695</c:v>
                </c:pt>
                <c:pt idx="15">
                  <c:v>1.0740797187777165</c:v>
                </c:pt>
                <c:pt idx="16">
                  <c:v>1.0741931739080406</c:v>
                </c:pt>
                <c:pt idx="17">
                  <c:v>1.0850497195395412</c:v>
                </c:pt>
                <c:pt idx="18">
                  <c:v>1.1872107765451669</c:v>
                </c:pt>
                <c:pt idx="19">
                  <c:v>1.2833624192184987</c:v>
                </c:pt>
                <c:pt idx="20">
                  <c:v>1.1660150058121099</c:v>
                </c:pt>
                <c:pt idx="21">
                  <c:v>1.1399999999999999</c:v>
                </c:pt>
                <c:pt idx="22">
                  <c:v>1.1171481566089652</c:v>
                </c:pt>
                <c:pt idx="23">
                  <c:v>1.1236205073995773</c:v>
                </c:pt>
                <c:pt idx="24">
                  <c:v>1.1687077335461353</c:v>
                </c:pt>
                <c:pt idx="25">
                  <c:v>1.1905282437124407</c:v>
                </c:pt>
                <c:pt idx="26">
                  <c:v>1.2513443625212679</c:v>
                </c:pt>
                <c:pt idx="27">
                  <c:v>1.2907063615523169</c:v>
                </c:pt>
                <c:pt idx="28">
                  <c:v>1.2819848404724132</c:v>
                </c:pt>
                <c:pt idx="29">
                  <c:v>1.3163245460190944</c:v>
                </c:pt>
                <c:pt idx="30">
                  <c:v>1.3847826086956525</c:v>
                </c:pt>
                <c:pt idx="31">
                  <c:v>1.4237130219922722</c:v>
                </c:pt>
                <c:pt idx="32">
                  <c:v>1.420725234742185</c:v>
                </c:pt>
                <c:pt idx="33">
                  <c:v>1.4094708994708993</c:v>
                </c:pt>
                <c:pt idx="34">
                  <c:v>1.4933838364872198</c:v>
                </c:pt>
                <c:pt idx="35">
                  <c:v>1.3946602455546151</c:v>
                </c:pt>
                <c:pt idx="36">
                  <c:v>1.3761511590981268</c:v>
                </c:pt>
                <c:pt idx="37">
                  <c:v>1.3762968452254929</c:v>
                </c:pt>
                <c:pt idx="38">
                  <c:v>1.3764425622022238</c:v>
                </c:pt>
                <c:pt idx="39">
                  <c:v>1.37658831003812</c:v>
                </c:pt>
              </c:numCache>
            </c:numRef>
          </c:val>
          <c:smooth val="1"/>
          <c:extLst>
            <c:ext xmlns:c16="http://schemas.microsoft.com/office/drawing/2014/chart" uri="{C3380CC4-5D6E-409C-BE32-E72D297353CC}">
              <c16:uniqueId val="{00000003-15C0-4809-9F4E-372CB9C1E9C3}"/>
            </c:ext>
          </c:extLst>
        </c:ser>
        <c:dLbls>
          <c:showLegendKey val="0"/>
          <c:showVal val="0"/>
          <c:showCatName val="0"/>
          <c:showSerName val="0"/>
          <c:showPercent val="0"/>
          <c:showBubbleSize val="0"/>
        </c:dLbls>
        <c:marker val="1"/>
        <c:smooth val="0"/>
        <c:axId val="1648416448"/>
        <c:axId val="1648409376"/>
      </c:lineChart>
      <c:dateAx>
        <c:axId val="1648416448"/>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48409376"/>
        <c:crosses val="autoZero"/>
        <c:auto val="1"/>
        <c:lblOffset val="100"/>
        <c:baseTimeUnit val="months"/>
      </c:dateAx>
      <c:valAx>
        <c:axId val="1648409376"/>
        <c:scaling>
          <c:orientation val="minMax"/>
        </c:scaling>
        <c:delete val="0"/>
        <c:axPos val="l"/>
        <c:numFmt formatCode="_ * #,##0.00_ ;_ * \-#,##0.0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48416448"/>
        <c:crosses val="autoZero"/>
        <c:crossBetween val="between"/>
      </c:valAx>
      <c:spPr>
        <a:noFill/>
        <a:ln>
          <a:noFill/>
        </a:ln>
        <a:effectLst/>
      </c:spPr>
    </c:plotArea>
    <c:legend>
      <c:legendPos val="t"/>
      <c:layout>
        <c:manualLayout>
          <c:xMode val="edge"/>
          <c:yMode val="edge"/>
          <c:x val="1.0199037620297466E-3"/>
          <c:y val="2.7777777777777776E-2"/>
          <c:w val="0.99898009623797024"/>
          <c:h val="0.1481503353747448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50691015028246"/>
          <c:y val="4.2337515766709077E-2"/>
          <c:w val="0.76681475823355949"/>
          <c:h val="0.63031014579015987"/>
        </c:manualLayout>
      </c:layout>
      <c:barChart>
        <c:barDir val="col"/>
        <c:grouping val="clustered"/>
        <c:varyColors val="0"/>
        <c:ser>
          <c:idx val="0"/>
          <c:order val="0"/>
          <c:tx>
            <c:strRef>
              <c:f>GDP!$C$3</c:f>
              <c:strCache>
                <c:ptCount val="1"/>
                <c:pt idx="0">
                  <c:v>Agri GVA (Constant prices)</c:v>
                </c:pt>
              </c:strCache>
            </c:strRef>
          </c:tx>
          <c:spPr>
            <a:solidFill>
              <a:schemeClr val="accent4"/>
            </a:solidFill>
            <a:ln>
              <a:noFill/>
            </a:ln>
            <a:effectLst/>
          </c:spPr>
          <c:invertIfNegative val="0"/>
          <c:cat>
            <c:multiLvlStrRef>
              <c:f>GDP!$A$13:$B$26</c:f>
              <c:multiLvlStrCache>
                <c:ptCount val="14"/>
                <c:lvl>
                  <c:pt idx="0">
                    <c:v>Sep-18</c:v>
                  </c:pt>
                  <c:pt idx="1">
                    <c:v>Dec-18</c:v>
                  </c:pt>
                  <c:pt idx="2">
                    <c:v>Mar-19</c:v>
                  </c:pt>
                  <c:pt idx="3">
                    <c:v>Jun-19</c:v>
                  </c:pt>
                  <c:pt idx="4">
                    <c:v>Sep-19</c:v>
                  </c:pt>
                  <c:pt idx="5">
                    <c:v>Dec-19</c:v>
                  </c:pt>
                  <c:pt idx="6">
                    <c:v>Mar-20</c:v>
                  </c:pt>
                  <c:pt idx="7">
                    <c:v>Jun-20</c:v>
                  </c:pt>
                  <c:pt idx="8">
                    <c:v>Sep-20</c:v>
                  </c:pt>
                  <c:pt idx="9">
                    <c:v>Dec-20</c:v>
                  </c:pt>
                  <c:pt idx="10">
                    <c:v>Mar-21</c:v>
                  </c:pt>
                  <c:pt idx="11">
                    <c:v>Jun-21</c:v>
                  </c:pt>
                  <c:pt idx="12">
                    <c:v>Sep-21</c:v>
                  </c:pt>
                  <c:pt idx="13">
                    <c:v>Dec-21</c:v>
                  </c:pt>
                </c:lvl>
                <c:lvl>
                  <c:pt idx="3">
                    <c:v>2019-20</c:v>
                  </c:pt>
                  <c:pt idx="7">
                    <c:v>2020-21</c:v>
                  </c:pt>
                  <c:pt idx="11">
                    <c:v>2021-22</c:v>
                  </c:pt>
                </c:lvl>
              </c:multiLvlStrCache>
            </c:multiLvlStrRef>
          </c:cat>
          <c:val>
            <c:numRef>
              <c:f>GDP!$C$13:$C$26</c:f>
              <c:numCache>
                <c:formatCode>_(* #,##0_);_(* \(#,##0\);_(* "-"??_);_(@_)</c:formatCode>
                <c:ptCount val="14"/>
                <c:pt idx="0">
                  <c:v>355283.38094933593</c:v>
                </c:pt>
                <c:pt idx="1">
                  <c:v>588679.45643987681</c:v>
                </c:pt>
                <c:pt idx="2">
                  <c:v>501199.27807788528</c:v>
                </c:pt>
                <c:pt idx="3">
                  <c:v>449390</c:v>
                </c:pt>
                <c:pt idx="4">
                  <c:v>378602</c:v>
                </c:pt>
                <c:pt idx="5">
                  <c:v>612460</c:v>
                </c:pt>
                <c:pt idx="6">
                  <c:v>528119</c:v>
                </c:pt>
                <c:pt idx="7">
                  <c:v>465280</c:v>
                </c:pt>
                <c:pt idx="8">
                  <c:v>390106</c:v>
                </c:pt>
                <c:pt idx="9">
                  <c:v>640191</c:v>
                </c:pt>
                <c:pt idx="10">
                  <c:v>544503</c:v>
                </c:pt>
                <c:pt idx="11">
                  <c:v>478324</c:v>
                </c:pt>
                <c:pt idx="12">
                  <c:v>408000</c:v>
                </c:pt>
                <c:pt idx="13">
                  <c:v>663037</c:v>
                </c:pt>
              </c:numCache>
            </c:numRef>
          </c:val>
          <c:extLst>
            <c:ext xmlns:c16="http://schemas.microsoft.com/office/drawing/2014/chart" uri="{C3380CC4-5D6E-409C-BE32-E72D297353CC}">
              <c16:uniqueId val="{00000000-03BC-4D18-9D2A-CC6D544B195A}"/>
            </c:ext>
          </c:extLst>
        </c:ser>
        <c:dLbls>
          <c:showLegendKey val="0"/>
          <c:showVal val="0"/>
          <c:showCatName val="0"/>
          <c:showSerName val="0"/>
          <c:showPercent val="0"/>
          <c:showBubbleSize val="0"/>
        </c:dLbls>
        <c:gapWidth val="79"/>
        <c:overlap val="59"/>
        <c:axId val="208623104"/>
        <c:axId val="208624640"/>
      </c:barChart>
      <c:lineChart>
        <c:grouping val="standard"/>
        <c:varyColors val="0"/>
        <c:ser>
          <c:idx val="1"/>
          <c:order val="1"/>
          <c:tx>
            <c:strRef>
              <c:f>GDP!$D$3</c:f>
              <c:strCache>
                <c:ptCount val="1"/>
                <c:pt idx="0">
                  <c:v>Growth </c:v>
                </c:pt>
              </c:strCache>
            </c:strRef>
          </c:tx>
          <c:spPr>
            <a:ln w="28575" cap="rnd">
              <a:solidFill>
                <a:schemeClr val="accent2"/>
              </a:solidFill>
              <a:round/>
            </a:ln>
            <a:effectLst/>
          </c:spPr>
          <c:marker>
            <c:symbol val="none"/>
          </c:marker>
          <c:dLbls>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DP!$B$13:$B$26</c:f>
              <c:numCache>
                <c:formatCode>mmm\-yy</c:formatCode>
                <c:ptCount val="14"/>
                <c:pt idx="0">
                  <c:v>43344</c:v>
                </c:pt>
                <c:pt idx="1">
                  <c:v>43435</c:v>
                </c:pt>
                <c:pt idx="2">
                  <c:v>43525</c:v>
                </c:pt>
                <c:pt idx="3">
                  <c:v>43617</c:v>
                </c:pt>
                <c:pt idx="4">
                  <c:v>43709</c:v>
                </c:pt>
                <c:pt idx="5">
                  <c:v>43800</c:v>
                </c:pt>
                <c:pt idx="6">
                  <c:v>43891</c:v>
                </c:pt>
                <c:pt idx="7">
                  <c:v>43983</c:v>
                </c:pt>
                <c:pt idx="8">
                  <c:v>44075</c:v>
                </c:pt>
                <c:pt idx="9">
                  <c:v>44166</c:v>
                </c:pt>
                <c:pt idx="10">
                  <c:v>44256</c:v>
                </c:pt>
                <c:pt idx="11">
                  <c:v>44348</c:v>
                </c:pt>
                <c:pt idx="12">
                  <c:v>44440</c:v>
                </c:pt>
                <c:pt idx="13">
                  <c:v>44531</c:v>
                </c:pt>
              </c:numCache>
            </c:numRef>
          </c:cat>
          <c:val>
            <c:numRef>
              <c:f>GDP!$D$13:$D$26</c:f>
              <c:numCache>
                <c:formatCode>0%</c:formatCode>
                <c:ptCount val="14"/>
                <c:pt idx="0">
                  <c:v>2.5390427877737931E-2</c:v>
                </c:pt>
                <c:pt idx="1">
                  <c:v>1.9764642311061564E-2</c:v>
                </c:pt>
                <c:pt idx="2">
                  <c:v>1.6202785077195969E-2</c:v>
                </c:pt>
                <c:pt idx="3">
                  <c:v>5.199965169194698E-2</c:v>
                </c:pt>
                <c:pt idx="4">
                  <c:v>6.5633858213000273E-2</c:v>
                </c:pt>
                <c:pt idx="5">
                  <c:v>4.0396421685817696E-2</c:v>
                </c:pt>
                <c:pt idx="6">
                  <c:v>5.3710615915794291E-2</c:v>
                </c:pt>
                <c:pt idx="7">
                  <c:v>3.5359042257282036E-2</c:v>
                </c:pt>
                <c:pt idx="8">
                  <c:v>3.038547075821052E-2</c:v>
                </c:pt>
                <c:pt idx="9" formatCode="0.0%">
                  <c:v>4.5278058975279922E-2</c:v>
                </c:pt>
                <c:pt idx="10" formatCode="0.0%">
                  <c:v>3.1023311034066081E-2</c:v>
                </c:pt>
                <c:pt idx="11" formatCode="0.0%">
                  <c:v>2.80347317744154E-2</c:v>
                </c:pt>
                <c:pt idx="12" formatCode="0.0%">
                  <c:v>4.5869584164303978E-2</c:v>
                </c:pt>
                <c:pt idx="13" formatCode="0.0%">
                  <c:v>3.56862248922587E-2</c:v>
                </c:pt>
              </c:numCache>
            </c:numRef>
          </c:val>
          <c:smooth val="0"/>
          <c:extLst>
            <c:ext xmlns:c16="http://schemas.microsoft.com/office/drawing/2014/chart" uri="{C3380CC4-5D6E-409C-BE32-E72D297353CC}">
              <c16:uniqueId val="{00000001-03BC-4D18-9D2A-CC6D544B195A}"/>
            </c:ext>
          </c:extLst>
        </c:ser>
        <c:dLbls>
          <c:showLegendKey val="0"/>
          <c:showVal val="0"/>
          <c:showCatName val="0"/>
          <c:showSerName val="0"/>
          <c:showPercent val="0"/>
          <c:showBubbleSize val="0"/>
        </c:dLbls>
        <c:marker val="1"/>
        <c:smooth val="0"/>
        <c:axId val="208636160"/>
        <c:axId val="208634624"/>
      </c:lineChart>
      <c:catAx>
        <c:axId val="2086231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08624640"/>
        <c:crosses val="autoZero"/>
        <c:auto val="1"/>
        <c:lblAlgn val="ctr"/>
        <c:lblOffset val="100"/>
        <c:noMultiLvlLbl val="0"/>
      </c:catAx>
      <c:valAx>
        <c:axId val="208624640"/>
        <c:scaling>
          <c:orientation val="minMax"/>
        </c:scaling>
        <c:delete val="0"/>
        <c:axPos val="l"/>
        <c:numFmt formatCode="_(* #,##0_);_(* \(#,##0\);_(* &quot;-&quot;??_);_(@_)" sourceLinked="1"/>
        <c:majorTickMark val="out"/>
        <c:minorTickMark val="none"/>
        <c:tickLblPos val="nextTo"/>
        <c:spPr>
          <a:noFill/>
          <a:ln>
            <a:solidFill>
              <a:schemeClr val="tx1"/>
            </a:solidFill>
          </a:ln>
          <a:effectLst/>
        </c:spPr>
        <c:txPr>
          <a:bodyPr rot="-60000000" vert="horz"/>
          <a:lstStyle/>
          <a:p>
            <a:pPr>
              <a:defRPr/>
            </a:pPr>
            <a:endParaRPr lang="en-US"/>
          </a:p>
        </c:txPr>
        <c:crossAx val="208623104"/>
        <c:crosses val="autoZero"/>
        <c:crossBetween val="between"/>
      </c:valAx>
      <c:valAx>
        <c:axId val="208634624"/>
        <c:scaling>
          <c:orientation val="minMax"/>
        </c:scaling>
        <c:delete val="0"/>
        <c:axPos val="r"/>
        <c:numFmt formatCode="0%" sourceLinked="1"/>
        <c:majorTickMark val="out"/>
        <c:minorTickMark val="none"/>
        <c:tickLblPos val="nextTo"/>
        <c:spPr>
          <a:noFill/>
          <a:ln>
            <a:solidFill>
              <a:schemeClr val="tx1"/>
            </a:solidFill>
          </a:ln>
          <a:effectLst/>
        </c:spPr>
        <c:txPr>
          <a:bodyPr rot="-60000000" vert="horz"/>
          <a:lstStyle/>
          <a:p>
            <a:pPr>
              <a:defRPr/>
            </a:pPr>
            <a:endParaRPr lang="en-US"/>
          </a:p>
        </c:txPr>
        <c:crossAx val="208636160"/>
        <c:crosses val="max"/>
        <c:crossBetween val="between"/>
      </c:valAx>
      <c:dateAx>
        <c:axId val="208636160"/>
        <c:scaling>
          <c:orientation val="minMax"/>
        </c:scaling>
        <c:delete val="1"/>
        <c:axPos val="b"/>
        <c:numFmt formatCode="mmm\-yy" sourceLinked="1"/>
        <c:majorTickMark val="out"/>
        <c:minorTickMark val="none"/>
        <c:tickLblPos val="nextTo"/>
        <c:crossAx val="208634624"/>
        <c:crosses val="autoZero"/>
        <c:auto val="1"/>
        <c:lblOffset val="100"/>
        <c:baseTimeUnit val="months"/>
      </c:date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bg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70692214698678"/>
          <c:y val="4.3992711758618887E-2"/>
          <c:w val="0.72591064750892376"/>
          <c:h val="0.61585702652096064"/>
        </c:manualLayout>
      </c:layout>
      <c:barChart>
        <c:barDir val="col"/>
        <c:grouping val="clustered"/>
        <c:varyColors val="0"/>
        <c:ser>
          <c:idx val="0"/>
          <c:order val="0"/>
          <c:tx>
            <c:strRef>
              <c:f>GDP!$C$28</c:f>
              <c:strCache>
                <c:ptCount val="1"/>
                <c:pt idx="0">
                  <c:v>Industry GVA (Constant prices)</c:v>
                </c:pt>
              </c:strCache>
            </c:strRef>
          </c:tx>
          <c:spPr>
            <a:solidFill>
              <a:schemeClr val="accent4"/>
            </a:solidFill>
            <a:ln>
              <a:noFill/>
            </a:ln>
            <a:effectLst/>
          </c:spPr>
          <c:invertIfNegative val="0"/>
          <c:cat>
            <c:multiLvlStrRef>
              <c:f>GDP!$A$38:$B$51</c:f>
              <c:multiLvlStrCache>
                <c:ptCount val="14"/>
                <c:lvl>
                  <c:pt idx="0">
                    <c:v>Sep-18</c:v>
                  </c:pt>
                  <c:pt idx="1">
                    <c:v>Dec-18</c:v>
                  </c:pt>
                  <c:pt idx="2">
                    <c:v>Mar-19</c:v>
                  </c:pt>
                  <c:pt idx="3">
                    <c:v>Jun-19</c:v>
                  </c:pt>
                  <c:pt idx="4">
                    <c:v>Sep-19</c:v>
                  </c:pt>
                  <c:pt idx="5">
                    <c:v>Dec-19</c:v>
                  </c:pt>
                  <c:pt idx="6">
                    <c:v>Mar-20</c:v>
                  </c:pt>
                  <c:pt idx="7">
                    <c:v>Jun-20</c:v>
                  </c:pt>
                  <c:pt idx="8">
                    <c:v>Sep-20</c:v>
                  </c:pt>
                  <c:pt idx="9">
                    <c:v>Dec-20</c:v>
                  </c:pt>
                  <c:pt idx="10">
                    <c:v>Mar-21</c:v>
                  </c:pt>
                  <c:pt idx="11">
                    <c:v>Jun-21</c:v>
                  </c:pt>
                  <c:pt idx="12">
                    <c:v>Sep-21</c:v>
                  </c:pt>
                  <c:pt idx="13">
                    <c:v>Dec-21</c:v>
                  </c:pt>
                </c:lvl>
                <c:lvl>
                  <c:pt idx="3">
                    <c:v>2019-20</c:v>
                  </c:pt>
                  <c:pt idx="7">
                    <c:v>2020-21</c:v>
                  </c:pt>
                  <c:pt idx="11">
                    <c:v>2021-22</c:v>
                  </c:pt>
                </c:lvl>
              </c:multiLvlStrCache>
            </c:multiLvlStrRef>
          </c:cat>
          <c:val>
            <c:numRef>
              <c:f>GDP!$C$38:$C$51</c:f>
              <c:numCache>
                <c:formatCode>_(* #,##0_);_(* \(#,##0\);_(* "-"??_);_(@_)</c:formatCode>
                <c:ptCount val="14"/>
                <c:pt idx="0">
                  <c:v>963846.27194167464</c:v>
                </c:pt>
                <c:pt idx="1">
                  <c:v>976303.45104063791</c:v>
                </c:pt>
                <c:pt idx="2">
                  <c:v>1063016.6730728408</c:v>
                </c:pt>
                <c:pt idx="3">
                  <c:v>990183</c:v>
                </c:pt>
                <c:pt idx="4">
                  <c:v>948304</c:v>
                </c:pt>
                <c:pt idx="5">
                  <c:v>951529</c:v>
                </c:pt>
                <c:pt idx="6">
                  <c:v>1037590</c:v>
                </c:pt>
                <c:pt idx="7">
                  <c:v>635367</c:v>
                </c:pt>
                <c:pt idx="8">
                  <c:v>919919</c:v>
                </c:pt>
                <c:pt idx="9" formatCode="_ * #,##0_ ;_ * \-#,##0_ ;_ * &quot;-&quot;??_ ;_ @_ ">
                  <c:v>979195</c:v>
                </c:pt>
                <c:pt idx="10" formatCode="_ * #,##0_ ;_ * \-#,##0_ ;_ * &quot;-&quot;??_ ;_ @_ ">
                  <c:v>1119881</c:v>
                </c:pt>
                <c:pt idx="11">
                  <c:v>959933</c:v>
                </c:pt>
                <c:pt idx="12">
                  <c:v>1018041</c:v>
                </c:pt>
                <c:pt idx="13">
                  <c:v>1012476</c:v>
                </c:pt>
              </c:numCache>
            </c:numRef>
          </c:val>
          <c:extLst>
            <c:ext xmlns:c16="http://schemas.microsoft.com/office/drawing/2014/chart" uri="{C3380CC4-5D6E-409C-BE32-E72D297353CC}">
              <c16:uniqueId val="{00000000-D61E-43D4-A122-0934DC6AFC43}"/>
            </c:ext>
          </c:extLst>
        </c:ser>
        <c:dLbls>
          <c:showLegendKey val="0"/>
          <c:showVal val="0"/>
          <c:showCatName val="0"/>
          <c:showSerName val="0"/>
          <c:showPercent val="0"/>
          <c:showBubbleSize val="0"/>
        </c:dLbls>
        <c:gapWidth val="86"/>
        <c:overlap val="-24"/>
        <c:axId val="208675968"/>
        <c:axId val="208677504"/>
      </c:barChart>
      <c:lineChart>
        <c:grouping val="standard"/>
        <c:varyColors val="0"/>
        <c:ser>
          <c:idx val="1"/>
          <c:order val="1"/>
          <c:tx>
            <c:strRef>
              <c:f>GDP!$D$28</c:f>
              <c:strCache>
                <c:ptCount val="1"/>
                <c:pt idx="0">
                  <c:v>Growth</c:v>
                </c:pt>
              </c:strCache>
            </c:strRef>
          </c:tx>
          <c:spPr>
            <a:ln w="28575" cap="rnd">
              <a:solidFill>
                <a:schemeClr val="accent2"/>
              </a:solidFill>
              <a:round/>
            </a:ln>
            <a:effectLst/>
          </c:spPr>
          <c:marker>
            <c:symbol val="none"/>
          </c:marker>
          <c:dLbls>
            <c:dLbl>
              <c:idx val="0"/>
              <c:layout>
                <c:manualLayout>
                  <c:x val="-2.5001588325672126E-2"/>
                  <c:y val="1.59973497304068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25C-41E7-8686-E42913EF81C7}"/>
                </c:ext>
              </c:extLst>
            </c:dLbl>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GDP!$A$38:$B$51</c:f>
              <c:multiLvlStrCache>
                <c:ptCount val="14"/>
                <c:lvl>
                  <c:pt idx="0">
                    <c:v>Sep-18</c:v>
                  </c:pt>
                  <c:pt idx="1">
                    <c:v>Dec-18</c:v>
                  </c:pt>
                  <c:pt idx="2">
                    <c:v>Mar-19</c:v>
                  </c:pt>
                  <c:pt idx="3">
                    <c:v>Jun-19</c:v>
                  </c:pt>
                  <c:pt idx="4">
                    <c:v>Sep-19</c:v>
                  </c:pt>
                  <c:pt idx="5">
                    <c:v>Dec-19</c:v>
                  </c:pt>
                  <c:pt idx="6">
                    <c:v>Mar-20</c:v>
                  </c:pt>
                  <c:pt idx="7">
                    <c:v>Jun-20</c:v>
                  </c:pt>
                  <c:pt idx="8">
                    <c:v>Sep-20</c:v>
                  </c:pt>
                  <c:pt idx="9">
                    <c:v>Dec-20</c:v>
                  </c:pt>
                  <c:pt idx="10">
                    <c:v>Mar-21</c:v>
                  </c:pt>
                  <c:pt idx="11">
                    <c:v>Jun-21</c:v>
                  </c:pt>
                  <c:pt idx="12">
                    <c:v>Sep-21</c:v>
                  </c:pt>
                  <c:pt idx="13">
                    <c:v>Dec-21</c:v>
                  </c:pt>
                </c:lvl>
                <c:lvl>
                  <c:pt idx="3">
                    <c:v>2019-20</c:v>
                  </c:pt>
                  <c:pt idx="7">
                    <c:v>2020-21</c:v>
                  </c:pt>
                  <c:pt idx="11">
                    <c:v>2021-22</c:v>
                  </c:pt>
                </c:lvl>
              </c:multiLvlStrCache>
            </c:multiLvlStrRef>
          </c:cat>
          <c:val>
            <c:numRef>
              <c:f>GDP!$E$38:$E$51</c:f>
              <c:numCache>
                <c:formatCode>0%</c:formatCode>
                <c:ptCount val="14"/>
                <c:pt idx="0">
                  <c:v>4.8198642805641123E-2</c:v>
                </c:pt>
                <c:pt idx="1">
                  <c:v>4.9826416073117219E-2</c:v>
                </c:pt>
                <c:pt idx="2">
                  <c:v>2.574033411051202E-2</c:v>
                </c:pt>
                <c:pt idx="3">
                  <c:v>1.5135444296382472E-2</c:v>
                </c:pt>
                <c:pt idx="4">
                  <c:v>-1.6125260214333359E-2</c:v>
                </c:pt>
                <c:pt idx="5">
                  <c:v>-2.5375769197815368E-2</c:v>
                </c:pt>
                <c:pt idx="6">
                  <c:v>-2.3919354904698209E-2</c:v>
                </c:pt>
                <c:pt idx="7">
                  <c:v>-0.35833376254692317</c:v>
                </c:pt>
                <c:pt idx="8">
                  <c:v>-2.9932384551789259E-2</c:v>
                </c:pt>
                <c:pt idx="9">
                  <c:v>2.9075309317950326E-2</c:v>
                </c:pt>
                <c:pt idx="10">
                  <c:v>7.9309746624389277E-2</c:v>
                </c:pt>
                <c:pt idx="11">
                  <c:v>0.510832322106751</c:v>
                </c:pt>
                <c:pt idx="12">
                  <c:v>0.10666373887266167</c:v>
                </c:pt>
                <c:pt idx="13">
                  <c:v>3.3988122896869477E-2</c:v>
                </c:pt>
              </c:numCache>
            </c:numRef>
          </c:val>
          <c:smooth val="0"/>
          <c:extLst>
            <c:ext xmlns:c16="http://schemas.microsoft.com/office/drawing/2014/chart" uri="{C3380CC4-5D6E-409C-BE32-E72D297353CC}">
              <c16:uniqueId val="{00000001-D61E-43D4-A122-0934DC6AFC43}"/>
            </c:ext>
          </c:extLst>
        </c:ser>
        <c:dLbls>
          <c:showLegendKey val="0"/>
          <c:showVal val="0"/>
          <c:showCatName val="0"/>
          <c:showSerName val="0"/>
          <c:showPercent val="0"/>
          <c:showBubbleSize val="0"/>
        </c:dLbls>
        <c:marker val="1"/>
        <c:smooth val="0"/>
        <c:axId val="208689024"/>
        <c:axId val="208687488"/>
      </c:lineChart>
      <c:catAx>
        <c:axId val="20867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08677504"/>
        <c:crosses val="autoZero"/>
        <c:auto val="1"/>
        <c:lblAlgn val="ctr"/>
        <c:lblOffset val="100"/>
        <c:noMultiLvlLbl val="0"/>
      </c:catAx>
      <c:valAx>
        <c:axId val="208677504"/>
        <c:scaling>
          <c:orientation val="minMax"/>
        </c:scaling>
        <c:delete val="0"/>
        <c:axPos val="l"/>
        <c:numFmt formatCode="_(* #,##0_);_(* \(#,##0\);_(* &quot;-&quot;??_);_(@_)" sourceLinked="1"/>
        <c:majorTickMark val="out"/>
        <c:minorTickMark val="none"/>
        <c:tickLblPos val="nextTo"/>
        <c:spPr>
          <a:noFill/>
          <a:ln>
            <a:solidFill>
              <a:schemeClr val="tx1"/>
            </a:solidFill>
          </a:ln>
          <a:effectLst/>
        </c:spPr>
        <c:txPr>
          <a:bodyPr rot="-60000000" vert="horz"/>
          <a:lstStyle/>
          <a:p>
            <a:pPr>
              <a:defRPr/>
            </a:pPr>
            <a:endParaRPr lang="en-US"/>
          </a:p>
        </c:txPr>
        <c:crossAx val="208675968"/>
        <c:crosses val="autoZero"/>
        <c:crossBetween val="between"/>
      </c:valAx>
      <c:valAx>
        <c:axId val="208687488"/>
        <c:scaling>
          <c:orientation val="minMax"/>
        </c:scaling>
        <c:delete val="0"/>
        <c:axPos val="r"/>
        <c:numFmt formatCode="0%" sourceLinked="1"/>
        <c:majorTickMark val="in"/>
        <c:minorTickMark val="none"/>
        <c:tickLblPos val="nextTo"/>
        <c:spPr>
          <a:noFill/>
          <a:ln>
            <a:solidFill>
              <a:schemeClr val="tx1"/>
            </a:solidFill>
          </a:ln>
          <a:effectLst/>
        </c:spPr>
        <c:txPr>
          <a:bodyPr rot="-60000000" vert="horz"/>
          <a:lstStyle/>
          <a:p>
            <a:pPr>
              <a:defRPr/>
            </a:pPr>
            <a:endParaRPr lang="en-US"/>
          </a:p>
        </c:txPr>
        <c:crossAx val="208689024"/>
        <c:crosses val="max"/>
        <c:crossBetween val="between"/>
      </c:valAx>
      <c:catAx>
        <c:axId val="208689024"/>
        <c:scaling>
          <c:orientation val="minMax"/>
        </c:scaling>
        <c:delete val="1"/>
        <c:axPos val="b"/>
        <c:numFmt formatCode="General" sourceLinked="1"/>
        <c:majorTickMark val="none"/>
        <c:minorTickMark val="none"/>
        <c:tickLblPos val="nextTo"/>
        <c:crossAx val="208687488"/>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bg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4"/>
            </a:solidFill>
            <a:ln>
              <a:noFill/>
            </a:ln>
            <a:effectLst/>
          </c:spPr>
          <c:invertIfNegative val="0"/>
          <c:dLbls>
            <c:delete val="1"/>
          </c:dLbls>
          <c:cat>
            <c:multiLvlStrRef>
              <c:f>IIP!$C$35:$AV$36</c:f>
              <c:multiLvlStrCache>
                <c:ptCount val="46"/>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lvl>
                <c:lvl>
                  <c:pt idx="0">
                    <c:v>FY 19</c:v>
                  </c:pt>
                  <c:pt idx="12">
                    <c:v>FY 20</c:v>
                  </c:pt>
                  <c:pt idx="24">
                    <c:v>FY 21</c:v>
                  </c:pt>
                  <c:pt idx="36">
                    <c:v>FY 22</c:v>
                  </c:pt>
                </c:lvl>
              </c:multiLvlStrCache>
            </c:multiLvlStrRef>
          </c:cat>
          <c:val>
            <c:numRef>
              <c:f>IIP!$C$37:$AV$37</c:f>
              <c:numCache>
                <c:formatCode>0.0</c:formatCode>
                <c:ptCount val="46"/>
                <c:pt idx="0">
                  <c:v>97.6</c:v>
                </c:pt>
                <c:pt idx="1">
                  <c:v>106.1</c:v>
                </c:pt>
                <c:pt idx="2">
                  <c:v>109.5</c:v>
                </c:pt>
                <c:pt idx="3">
                  <c:v>98.7</c:v>
                </c:pt>
                <c:pt idx="4">
                  <c:v>112.2</c:v>
                </c:pt>
                <c:pt idx="5">
                  <c:v>115</c:v>
                </c:pt>
                <c:pt idx="6">
                  <c:v>114.1</c:v>
                </c:pt>
                <c:pt idx="7">
                  <c:v>100</c:v>
                </c:pt>
                <c:pt idx="8">
                  <c:v>114.7</c:v>
                </c:pt>
                <c:pt idx="9">
                  <c:v>107.1</c:v>
                </c:pt>
                <c:pt idx="10">
                  <c:v>107.7</c:v>
                </c:pt>
                <c:pt idx="11">
                  <c:v>118.6</c:v>
                </c:pt>
                <c:pt idx="12">
                  <c:v>96.2</c:v>
                </c:pt>
                <c:pt idx="13">
                  <c:v>103.9</c:v>
                </c:pt>
                <c:pt idx="14">
                  <c:v>101.9</c:v>
                </c:pt>
                <c:pt idx="15">
                  <c:v>91.8</c:v>
                </c:pt>
                <c:pt idx="16">
                  <c:v>88.7</c:v>
                </c:pt>
                <c:pt idx="17">
                  <c:v>91.4</c:v>
                </c:pt>
                <c:pt idx="18">
                  <c:v>88.5</c:v>
                </c:pt>
                <c:pt idx="19">
                  <c:v>91.1</c:v>
                </c:pt>
                <c:pt idx="20">
                  <c:v>93.7</c:v>
                </c:pt>
                <c:pt idx="21">
                  <c:v>102.4</c:v>
                </c:pt>
                <c:pt idx="22">
                  <c:v>97.4</c:v>
                </c:pt>
                <c:pt idx="23">
                  <c:v>72.599999999999994</c:v>
                </c:pt>
                <c:pt idx="24">
                  <c:v>7</c:v>
                </c:pt>
                <c:pt idx="25">
                  <c:v>35.4</c:v>
                </c:pt>
                <c:pt idx="26">
                  <c:v>63.8</c:v>
                </c:pt>
                <c:pt idx="27">
                  <c:v>70.900000000000006</c:v>
                </c:pt>
                <c:pt idx="28">
                  <c:v>75.900000000000006</c:v>
                </c:pt>
                <c:pt idx="29">
                  <c:v>90.3</c:v>
                </c:pt>
                <c:pt idx="30">
                  <c:v>91.3</c:v>
                </c:pt>
                <c:pt idx="31">
                  <c:v>84.4</c:v>
                </c:pt>
                <c:pt idx="32">
                  <c:v>95.1</c:v>
                </c:pt>
                <c:pt idx="33">
                  <c:v>93.2</c:v>
                </c:pt>
                <c:pt idx="34">
                  <c:v>93.3</c:v>
                </c:pt>
                <c:pt idx="35">
                  <c:v>103</c:v>
                </c:pt>
                <c:pt idx="36">
                  <c:v>79</c:v>
                </c:pt>
                <c:pt idx="37">
                  <c:v>61.9</c:v>
                </c:pt>
                <c:pt idx="38">
                  <c:v>81.2</c:v>
                </c:pt>
                <c:pt idx="39">
                  <c:v>92.4</c:v>
                </c:pt>
                <c:pt idx="40">
                  <c:v>91.1</c:v>
                </c:pt>
                <c:pt idx="41">
                  <c:v>93.3</c:v>
                </c:pt>
                <c:pt idx="42">
                  <c:v>89.8</c:v>
                </c:pt>
                <c:pt idx="43">
                  <c:v>82.6</c:v>
                </c:pt>
                <c:pt idx="44">
                  <c:v>92.2</c:v>
                </c:pt>
                <c:pt idx="45">
                  <c:v>91.9</c:v>
                </c:pt>
              </c:numCache>
            </c:numRef>
          </c:val>
          <c:extLst>
            <c:ext xmlns:c16="http://schemas.microsoft.com/office/drawing/2014/chart" uri="{C3380CC4-5D6E-409C-BE32-E72D297353CC}">
              <c16:uniqueId val="{00000000-5D1A-4D32-85C6-1B939E25C3B2}"/>
            </c:ext>
          </c:extLst>
        </c:ser>
        <c:dLbls>
          <c:showLegendKey val="0"/>
          <c:showVal val="1"/>
          <c:showCatName val="0"/>
          <c:showSerName val="0"/>
          <c:showPercent val="0"/>
          <c:showBubbleSize val="0"/>
        </c:dLbls>
        <c:gapWidth val="450"/>
        <c:axId val="1678193376"/>
        <c:axId val="1678188480"/>
      </c:barChart>
      <c:catAx>
        <c:axId val="167819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8188480"/>
        <c:crosses val="autoZero"/>
        <c:auto val="1"/>
        <c:lblAlgn val="ctr"/>
        <c:lblOffset val="100"/>
        <c:tickLblSkip val="1"/>
        <c:noMultiLvlLbl val="0"/>
      </c:catAx>
      <c:valAx>
        <c:axId val="1678188480"/>
        <c:scaling>
          <c:orientation val="minMax"/>
          <c:max val="120"/>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8193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7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4"/>
            </a:solidFill>
            <a:ln>
              <a:noFill/>
            </a:ln>
            <a:effectLst/>
          </c:spPr>
          <c:invertIfNegative val="0"/>
          <c:dLbls>
            <c:delete val="1"/>
          </c:dLbls>
          <c:cat>
            <c:multiLvlStrRef>
              <c:f>IIP!$C$35:$AV$36</c:f>
              <c:multiLvlStrCache>
                <c:ptCount val="46"/>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lvl>
                <c:lvl>
                  <c:pt idx="0">
                    <c:v>FY 19</c:v>
                  </c:pt>
                  <c:pt idx="12">
                    <c:v>FY 20</c:v>
                  </c:pt>
                  <c:pt idx="24">
                    <c:v>FY 21</c:v>
                  </c:pt>
                  <c:pt idx="36">
                    <c:v>FY 22</c:v>
                  </c:pt>
                </c:lvl>
              </c:multiLvlStrCache>
            </c:multiLvlStrRef>
          </c:cat>
          <c:val>
            <c:numRef>
              <c:f>IIP!$C$41:$AV$41</c:f>
              <c:numCache>
                <c:formatCode>0.0</c:formatCode>
                <c:ptCount val="46"/>
                <c:pt idx="0">
                  <c:v>123.1</c:v>
                </c:pt>
                <c:pt idx="1">
                  <c:v>130.1</c:v>
                </c:pt>
                <c:pt idx="2">
                  <c:v>128.6</c:v>
                </c:pt>
                <c:pt idx="3">
                  <c:v>127.6</c:v>
                </c:pt>
                <c:pt idx="4">
                  <c:v>130.6</c:v>
                </c:pt>
                <c:pt idx="5">
                  <c:v>131.6</c:v>
                </c:pt>
                <c:pt idx="6">
                  <c:v>133.9</c:v>
                </c:pt>
                <c:pt idx="7">
                  <c:v>126.8</c:v>
                </c:pt>
                <c:pt idx="8">
                  <c:v>135.80000000000001</c:v>
                </c:pt>
                <c:pt idx="9">
                  <c:v>135.5</c:v>
                </c:pt>
                <c:pt idx="10">
                  <c:v>129.30000000000001</c:v>
                </c:pt>
                <c:pt idx="11">
                  <c:v>144.6</c:v>
                </c:pt>
                <c:pt idx="12">
                  <c:v>126.2</c:v>
                </c:pt>
                <c:pt idx="13">
                  <c:v>135.80000000000001</c:v>
                </c:pt>
                <c:pt idx="14">
                  <c:v>129</c:v>
                </c:pt>
                <c:pt idx="15">
                  <c:v>133.69999999999999</c:v>
                </c:pt>
                <c:pt idx="16">
                  <c:v>128.4</c:v>
                </c:pt>
                <c:pt idx="17">
                  <c:v>126</c:v>
                </c:pt>
                <c:pt idx="18">
                  <c:v>126.3</c:v>
                </c:pt>
                <c:pt idx="19">
                  <c:v>130.6</c:v>
                </c:pt>
                <c:pt idx="20">
                  <c:v>135.4</c:v>
                </c:pt>
                <c:pt idx="21">
                  <c:v>137.9</c:v>
                </c:pt>
                <c:pt idx="22">
                  <c:v>134.19999999999999</c:v>
                </c:pt>
                <c:pt idx="23">
                  <c:v>111.6</c:v>
                </c:pt>
                <c:pt idx="24">
                  <c:v>42.1</c:v>
                </c:pt>
                <c:pt idx="25">
                  <c:v>84.4</c:v>
                </c:pt>
                <c:pt idx="26">
                  <c:v>107.1</c:v>
                </c:pt>
                <c:pt idx="27">
                  <c:v>118.5</c:v>
                </c:pt>
                <c:pt idx="28">
                  <c:v>118.7</c:v>
                </c:pt>
                <c:pt idx="29">
                  <c:v>126.5</c:v>
                </c:pt>
                <c:pt idx="30">
                  <c:v>132</c:v>
                </c:pt>
                <c:pt idx="31">
                  <c:v>128</c:v>
                </c:pt>
                <c:pt idx="32">
                  <c:v>138.30000000000001</c:v>
                </c:pt>
                <c:pt idx="33">
                  <c:v>136.1</c:v>
                </c:pt>
                <c:pt idx="34">
                  <c:v>129.30000000000001</c:v>
                </c:pt>
                <c:pt idx="35">
                  <c:v>143.19999999999999</c:v>
                </c:pt>
                <c:pt idx="36">
                  <c:v>124.6</c:v>
                </c:pt>
                <c:pt idx="37">
                  <c:v>111.5</c:v>
                </c:pt>
                <c:pt idx="38">
                  <c:v>121.2</c:v>
                </c:pt>
                <c:pt idx="39">
                  <c:v>131</c:v>
                </c:pt>
                <c:pt idx="40">
                  <c:v>131.9</c:v>
                </c:pt>
                <c:pt idx="41">
                  <c:v>131.9</c:v>
                </c:pt>
                <c:pt idx="42">
                  <c:v>136.4</c:v>
                </c:pt>
                <c:pt idx="43">
                  <c:v>129.5</c:v>
                </c:pt>
                <c:pt idx="44">
                  <c:v>139.30000000000001</c:v>
                </c:pt>
                <c:pt idx="45">
                  <c:v>138.1</c:v>
                </c:pt>
              </c:numCache>
            </c:numRef>
          </c:val>
          <c:extLst>
            <c:ext xmlns:c16="http://schemas.microsoft.com/office/drawing/2014/chart" uri="{C3380CC4-5D6E-409C-BE32-E72D297353CC}">
              <c16:uniqueId val="{00000000-3F32-4B5F-82FE-7709CFCAAB13}"/>
            </c:ext>
          </c:extLst>
        </c:ser>
        <c:dLbls>
          <c:showLegendKey val="0"/>
          <c:showVal val="1"/>
          <c:showCatName val="0"/>
          <c:showSerName val="0"/>
          <c:showPercent val="0"/>
          <c:showBubbleSize val="0"/>
        </c:dLbls>
        <c:gapWidth val="450"/>
        <c:axId val="1678179232"/>
        <c:axId val="1678193920"/>
      </c:barChart>
      <c:catAx>
        <c:axId val="16781792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8193920"/>
        <c:crosses val="autoZero"/>
        <c:auto val="1"/>
        <c:lblAlgn val="ctr"/>
        <c:lblOffset val="100"/>
        <c:tickLblSkip val="1"/>
        <c:noMultiLvlLbl val="0"/>
      </c:catAx>
      <c:valAx>
        <c:axId val="1678193920"/>
        <c:scaling>
          <c:orientation val="minMax"/>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817923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7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4"/>
            </a:solidFill>
            <a:ln>
              <a:noFill/>
            </a:ln>
            <a:effectLst/>
          </c:spPr>
          <c:invertIfNegative val="0"/>
          <c:dLbls>
            <c:delete val="1"/>
          </c:dLbls>
          <c:cat>
            <c:multiLvlStrRef>
              <c:f>IIP!$C$35:$AV$36</c:f>
              <c:multiLvlStrCache>
                <c:ptCount val="46"/>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lvl>
                <c:lvl>
                  <c:pt idx="0">
                    <c:v>FY 19</c:v>
                  </c:pt>
                  <c:pt idx="12">
                    <c:v>FY 20</c:v>
                  </c:pt>
                  <c:pt idx="24">
                    <c:v>FY 21</c:v>
                  </c:pt>
                  <c:pt idx="36">
                    <c:v>FY 22</c:v>
                  </c:pt>
                </c:lvl>
              </c:multiLvlStrCache>
            </c:multiLvlStrRef>
          </c:cat>
          <c:val>
            <c:numRef>
              <c:f>IIP!$C$39:$AV$39</c:f>
              <c:numCache>
                <c:formatCode>0.0</c:formatCode>
                <c:ptCount val="46"/>
                <c:pt idx="0">
                  <c:v>102.6</c:v>
                </c:pt>
                <c:pt idx="1">
                  <c:v>107.6</c:v>
                </c:pt>
                <c:pt idx="2">
                  <c:v>104.9</c:v>
                </c:pt>
                <c:pt idx="3">
                  <c:v>95.5</c:v>
                </c:pt>
                <c:pt idx="4">
                  <c:v>92</c:v>
                </c:pt>
                <c:pt idx="5">
                  <c:v>94.5</c:v>
                </c:pt>
                <c:pt idx="6">
                  <c:v>108.2</c:v>
                </c:pt>
                <c:pt idx="7">
                  <c:v>110.6</c:v>
                </c:pt>
                <c:pt idx="8">
                  <c:v>114.4</c:v>
                </c:pt>
                <c:pt idx="9">
                  <c:v>119.1</c:v>
                </c:pt>
                <c:pt idx="10">
                  <c:v>112.5</c:v>
                </c:pt>
                <c:pt idx="11">
                  <c:v>132.69999999999999</c:v>
                </c:pt>
                <c:pt idx="12">
                  <c:v>107.8</c:v>
                </c:pt>
                <c:pt idx="13">
                  <c:v>110.1</c:v>
                </c:pt>
                <c:pt idx="14">
                  <c:v>106.5</c:v>
                </c:pt>
                <c:pt idx="15">
                  <c:v>100.2</c:v>
                </c:pt>
                <c:pt idx="16">
                  <c:v>92</c:v>
                </c:pt>
                <c:pt idx="17">
                  <c:v>86.4</c:v>
                </c:pt>
                <c:pt idx="18">
                  <c:v>99.5</c:v>
                </c:pt>
                <c:pt idx="19">
                  <c:v>112.7</c:v>
                </c:pt>
                <c:pt idx="20">
                  <c:v>120.9</c:v>
                </c:pt>
                <c:pt idx="21">
                  <c:v>124.3</c:v>
                </c:pt>
                <c:pt idx="22">
                  <c:v>123.3</c:v>
                </c:pt>
                <c:pt idx="23">
                  <c:v>131</c:v>
                </c:pt>
                <c:pt idx="24">
                  <c:v>78.8</c:v>
                </c:pt>
                <c:pt idx="25">
                  <c:v>87.6</c:v>
                </c:pt>
                <c:pt idx="26">
                  <c:v>85.7</c:v>
                </c:pt>
                <c:pt idx="27">
                  <c:v>87.4</c:v>
                </c:pt>
                <c:pt idx="28">
                  <c:v>84</c:v>
                </c:pt>
                <c:pt idx="29" formatCode="General">
                  <c:v>87.6</c:v>
                </c:pt>
                <c:pt idx="30">
                  <c:v>98.5</c:v>
                </c:pt>
                <c:pt idx="31">
                  <c:v>105.2</c:v>
                </c:pt>
                <c:pt idx="32">
                  <c:v>115.8</c:v>
                </c:pt>
                <c:pt idx="33">
                  <c:v>121.2</c:v>
                </c:pt>
                <c:pt idx="34">
                  <c:v>117.9</c:v>
                </c:pt>
                <c:pt idx="35">
                  <c:v>139</c:v>
                </c:pt>
                <c:pt idx="36">
                  <c:v>107.6</c:v>
                </c:pt>
                <c:pt idx="37">
                  <c:v>108.3</c:v>
                </c:pt>
                <c:pt idx="38">
                  <c:v>105.5</c:v>
                </c:pt>
                <c:pt idx="39">
                  <c:v>104.6</c:v>
                </c:pt>
                <c:pt idx="40">
                  <c:v>103.8</c:v>
                </c:pt>
                <c:pt idx="41">
                  <c:v>95.1</c:v>
                </c:pt>
                <c:pt idx="42">
                  <c:v>109.7</c:v>
                </c:pt>
                <c:pt idx="43">
                  <c:v>111.8</c:v>
                </c:pt>
                <c:pt idx="44">
                  <c:v>120.3</c:v>
                </c:pt>
                <c:pt idx="45">
                  <c:v>124.7</c:v>
                </c:pt>
              </c:numCache>
            </c:numRef>
          </c:val>
          <c:extLst>
            <c:ext xmlns:c16="http://schemas.microsoft.com/office/drawing/2014/chart" uri="{C3380CC4-5D6E-409C-BE32-E72D297353CC}">
              <c16:uniqueId val="{00000000-CA07-4CCF-929A-6AC2D76A67F3}"/>
            </c:ext>
          </c:extLst>
        </c:ser>
        <c:dLbls>
          <c:showLegendKey val="0"/>
          <c:showVal val="1"/>
          <c:showCatName val="0"/>
          <c:showSerName val="0"/>
          <c:showPercent val="0"/>
          <c:showBubbleSize val="0"/>
        </c:dLbls>
        <c:gapWidth val="450"/>
        <c:axId val="1678189568"/>
        <c:axId val="1678182496"/>
      </c:barChart>
      <c:catAx>
        <c:axId val="1678189568"/>
        <c:scaling>
          <c:orientation val="minMax"/>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8182496"/>
        <c:crosses val="autoZero"/>
        <c:auto val="1"/>
        <c:lblAlgn val="ctr"/>
        <c:lblOffset val="100"/>
        <c:tickLblSkip val="1"/>
        <c:noMultiLvlLbl val="0"/>
      </c:catAx>
      <c:valAx>
        <c:axId val="1678182496"/>
        <c:scaling>
          <c:orientation val="minMax"/>
        </c:scaling>
        <c:delete val="0"/>
        <c:axPos val="l"/>
        <c:numFmt formatCode="#,##0" sourceLinked="0"/>
        <c:majorTickMark val="out"/>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78189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bg1">
          <a:lumMod val="75000"/>
        </a:schemeClr>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Rail Passenger'!$B$1</c:f>
              <c:strCache>
                <c:ptCount val="1"/>
                <c:pt idx="0">
                  <c:v>Passengers carried (millions)</c:v>
                </c:pt>
              </c:strCache>
            </c:strRef>
          </c:tx>
          <c:spPr>
            <a:solidFill>
              <a:schemeClr val="bg1">
                <a:lumMod val="85000"/>
              </a:schemeClr>
            </a:solidFill>
            <a:ln>
              <a:noFill/>
            </a:ln>
            <a:effectLst/>
          </c:spPr>
          <c:invertIfNegative val="0"/>
          <c:dLbls>
            <c:spPr>
              <a:noFill/>
              <a:ln>
                <a:noFill/>
              </a:ln>
              <a:effectLst/>
            </c:spPr>
            <c:txPr>
              <a:bodyPr rot="-5400000"/>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ail Passenger'!$A$23:$A$48</c:f>
              <c:numCache>
                <c:formatCode>mmm\-yy</c:formatCode>
                <c:ptCount val="26"/>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numCache>
            </c:numRef>
          </c:cat>
          <c:val>
            <c:numRef>
              <c:f>'Rail Passenger'!$B$23:$B$48</c:f>
              <c:numCache>
                <c:formatCode>0</c:formatCode>
                <c:ptCount val="26"/>
                <c:pt idx="0">
                  <c:v>715.12</c:v>
                </c:pt>
                <c:pt idx="1">
                  <c:v>675.91</c:v>
                </c:pt>
                <c:pt idx="2">
                  <c:v>436.05</c:v>
                </c:pt>
                <c:pt idx="3">
                  <c:v>0</c:v>
                </c:pt>
                <c:pt idx="4">
                  <c:v>0</c:v>
                </c:pt>
                <c:pt idx="5">
                  <c:v>3.98</c:v>
                </c:pt>
                <c:pt idx="6">
                  <c:v>14.62</c:v>
                </c:pt>
                <c:pt idx="7">
                  <c:v>22.29</c:v>
                </c:pt>
                <c:pt idx="8">
                  <c:v>39.380000000000003</c:v>
                </c:pt>
                <c:pt idx="9">
                  <c:v>61.86</c:v>
                </c:pt>
                <c:pt idx="10">
                  <c:v>122</c:v>
                </c:pt>
                <c:pt idx="11">
                  <c:v>190</c:v>
                </c:pt>
                <c:pt idx="12">
                  <c:v>239</c:v>
                </c:pt>
                <c:pt idx="13">
                  <c:v>288</c:v>
                </c:pt>
                <c:pt idx="14">
                  <c:v>316.33</c:v>
                </c:pt>
                <c:pt idx="15">
                  <c:v>211.73</c:v>
                </c:pt>
                <c:pt idx="16">
                  <c:v>86</c:v>
                </c:pt>
                <c:pt idx="17">
                  <c:v>142</c:v>
                </c:pt>
                <c:pt idx="18">
                  <c:v>192</c:v>
                </c:pt>
                <c:pt idx="19">
                  <c:v>256.04000000000002</c:v>
                </c:pt>
                <c:pt idx="20">
                  <c:v>295</c:v>
                </c:pt>
                <c:pt idx="21">
                  <c:v>344.41</c:v>
                </c:pt>
                <c:pt idx="22">
                  <c:v>376.98</c:v>
                </c:pt>
                <c:pt idx="23">
                  <c:v>397</c:v>
                </c:pt>
                <c:pt idx="24">
                  <c:v>345.2</c:v>
                </c:pt>
                <c:pt idx="25">
                  <c:v>413.75</c:v>
                </c:pt>
              </c:numCache>
            </c:numRef>
          </c:val>
          <c:extLst>
            <c:ext xmlns:c16="http://schemas.microsoft.com/office/drawing/2014/chart" uri="{C3380CC4-5D6E-409C-BE32-E72D297353CC}">
              <c16:uniqueId val="{00000000-8F87-4B74-A74A-4CC4C0D6AEB4}"/>
            </c:ext>
          </c:extLst>
        </c:ser>
        <c:dLbls>
          <c:showLegendKey val="0"/>
          <c:showVal val="1"/>
          <c:showCatName val="0"/>
          <c:showSerName val="0"/>
          <c:showPercent val="0"/>
          <c:showBubbleSize val="0"/>
        </c:dLbls>
        <c:gapWidth val="75"/>
        <c:axId val="1401193616"/>
        <c:axId val="1401191440"/>
        <c:extLst/>
      </c:barChart>
      <c:lineChart>
        <c:grouping val="standard"/>
        <c:varyColors val="0"/>
        <c:ser>
          <c:idx val="2"/>
          <c:order val="1"/>
          <c:tx>
            <c:strRef>
              <c:f>'Rail Passenger'!$C$1</c:f>
              <c:strCache>
                <c:ptCount val="1"/>
                <c:pt idx="0">
                  <c:v>% growth y-o-y</c:v>
                </c:pt>
              </c:strCache>
            </c:strRef>
          </c:tx>
          <c:spPr>
            <a:ln w="28575" cap="rnd">
              <a:solidFill>
                <a:srgbClr val="C00000"/>
              </a:solidFill>
              <a:round/>
            </a:ln>
            <a:effectLst/>
          </c:spPr>
          <c:marker>
            <c:symbol val="none"/>
          </c:marker>
          <c:dLbls>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ail Passenger'!$A$23:$A$48</c:f>
              <c:numCache>
                <c:formatCode>mmm\-yy</c:formatCode>
                <c:ptCount val="26"/>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numCache>
            </c:numRef>
          </c:cat>
          <c:val>
            <c:numRef>
              <c:f>'Rail Passenger'!$C$23:$C$48</c:f>
              <c:numCache>
                <c:formatCode>0%</c:formatCode>
                <c:ptCount val="26"/>
                <c:pt idx="0">
                  <c:v>-1.6976645085020725E-2</c:v>
                </c:pt>
                <c:pt idx="1">
                  <c:v>4.528091799019518E-2</c:v>
                </c:pt>
                <c:pt idx="2">
                  <c:v>-0.38841201716738194</c:v>
                </c:pt>
                <c:pt idx="3">
                  <c:v>-1</c:v>
                </c:pt>
                <c:pt idx="4">
                  <c:v>-1</c:v>
                </c:pt>
                <c:pt idx="5">
                  <c:v>-0.99439894170958931</c:v>
                </c:pt>
                <c:pt idx="6">
                  <c:v>-0.97950974758587828</c:v>
                </c:pt>
                <c:pt idx="7">
                  <c:v>-0.96771623892010894</c:v>
                </c:pt>
                <c:pt idx="8">
                  <c:v>-0.94306451146517078</c:v>
                </c:pt>
                <c:pt idx="9">
                  <c:v>-0.91199442318362234</c:v>
                </c:pt>
                <c:pt idx="10">
                  <c:v>-0.82564952696715921</c:v>
                </c:pt>
                <c:pt idx="11">
                  <c:v>-0.72591278256228275</c:v>
                </c:pt>
                <c:pt idx="12">
                  <c:v>-0.66579035686318377</c:v>
                </c:pt>
                <c:pt idx="13">
                  <c:v>-0.57390776878578509</c:v>
                </c:pt>
                <c:pt idx="14">
                  <c:v>-0.274555670221305</c:v>
                </c:pt>
                <c:pt idx="23">
                  <c:v>1.0894736842105264</c:v>
                </c:pt>
                <c:pt idx="24">
                  <c:v>0.4443514644351465</c:v>
                </c:pt>
                <c:pt idx="25">
                  <c:v>0.43663194444444442</c:v>
                </c:pt>
              </c:numCache>
            </c:numRef>
          </c:val>
          <c:smooth val="1"/>
          <c:extLst>
            <c:ext xmlns:c16="http://schemas.microsoft.com/office/drawing/2014/chart" uri="{C3380CC4-5D6E-409C-BE32-E72D297353CC}">
              <c16:uniqueId val="{00000001-8F87-4B74-A74A-4CC4C0D6AEB4}"/>
            </c:ext>
          </c:extLst>
        </c:ser>
        <c:dLbls>
          <c:showLegendKey val="0"/>
          <c:showVal val="1"/>
          <c:showCatName val="0"/>
          <c:showSerName val="0"/>
          <c:showPercent val="0"/>
          <c:showBubbleSize val="0"/>
        </c:dLbls>
        <c:marker val="1"/>
        <c:smooth val="0"/>
        <c:axId val="1401209936"/>
        <c:axId val="1401208304"/>
      </c:lineChart>
      <c:dateAx>
        <c:axId val="140119361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401191440"/>
        <c:crosses val="autoZero"/>
        <c:auto val="1"/>
        <c:lblOffset val="100"/>
        <c:baseTimeUnit val="months"/>
        <c:majorUnit val="1"/>
        <c:majorTimeUnit val="months"/>
      </c:dateAx>
      <c:valAx>
        <c:axId val="1401191440"/>
        <c:scaling>
          <c:orientation val="minMax"/>
        </c:scaling>
        <c:delete val="0"/>
        <c:axPos val="l"/>
        <c:numFmt formatCode="0" sourceLinked="1"/>
        <c:majorTickMark val="none"/>
        <c:minorTickMark val="none"/>
        <c:tickLblPos val="nextTo"/>
        <c:spPr>
          <a:noFill/>
          <a:ln>
            <a:noFill/>
          </a:ln>
          <a:effectLst/>
        </c:spPr>
        <c:txPr>
          <a:bodyPr rot="-60000000" vert="horz"/>
          <a:lstStyle/>
          <a:p>
            <a:pPr>
              <a:defRPr/>
            </a:pPr>
            <a:endParaRPr lang="en-US"/>
          </a:p>
        </c:txPr>
        <c:crossAx val="1401193616"/>
        <c:crosses val="autoZero"/>
        <c:crossBetween val="between"/>
      </c:valAx>
      <c:valAx>
        <c:axId val="1401208304"/>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209936"/>
        <c:crosses val="max"/>
        <c:crossBetween val="between"/>
      </c:valAx>
      <c:dateAx>
        <c:axId val="1401209936"/>
        <c:scaling>
          <c:orientation val="minMax"/>
        </c:scaling>
        <c:delete val="1"/>
        <c:axPos val="b"/>
        <c:numFmt formatCode="mmm\-yy" sourceLinked="1"/>
        <c:majorTickMark val="out"/>
        <c:minorTickMark val="none"/>
        <c:tickLblPos val="nextTo"/>
        <c:crossAx val="1401208304"/>
        <c:crosses val="autoZero"/>
        <c:auto val="1"/>
        <c:lblOffset val="100"/>
        <c:baseTimeUnit val="months"/>
        <c:majorUnit val="1"/>
        <c:minorUnit val="1"/>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25791812844641"/>
          <c:y val="4.3406418930045758E-2"/>
          <c:w val="0.76667953478627182"/>
          <c:h val="0.62097651703414536"/>
        </c:manualLayout>
      </c:layout>
      <c:barChart>
        <c:barDir val="col"/>
        <c:grouping val="clustered"/>
        <c:varyColors val="0"/>
        <c:ser>
          <c:idx val="0"/>
          <c:order val="0"/>
          <c:tx>
            <c:strRef>
              <c:f>GDP!$C$53</c:f>
              <c:strCache>
                <c:ptCount val="1"/>
                <c:pt idx="0">
                  <c:v>GDP THTC</c:v>
                </c:pt>
              </c:strCache>
            </c:strRef>
          </c:tx>
          <c:spPr>
            <a:solidFill>
              <a:schemeClr val="accent4"/>
            </a:solidFill>
            <a:ln>
              <a:noFill/>
            </a:ln>
            <a:effectLst/>
          </c:spPr>
          <c:invertIfNegative val="0"/>
          <c:cat>
            <c:multiLvlStrRef>
              <c:f>GDP!$A$63:$B$76</c:f>
              <c:multiLvlStrCache>
                <c:ptCount val="14"/>
                <c:lvl>
                  <c:pt idx="0">
                    <c:v>Sep-18</c:v>
                  </c:pt>
                  <c:pt idx="1">
                    <c:v>Dec-18</c:v>
                  </c:pt>
                  <c:pt idx="2">
                    <c:v>Mar-19</c:v>
                  </c:pt>
                  <c:pt idx="3">
                    <c:v>Jun-19</c:v>
                  </c:pt>
                  <c:pt idx="4">
                    <c:v>Sep-19</c:v>
                  </c:pt>
                  <c:pt idx="5">
                    <c:v>Dec-19</c:v>
                  </c:pt>
                  <c:pt idx="6">
                    <c:v>Mar-20</c:v>
                  </c:pt>
                  <c:pt idx="7">
                    <c:v>Jun-20</c:v>
                  </c:pt>
                  <c:pt idx="8">
                    <c:v>Sep-20</c:v>
                  </c:pt>
                  <c:pt idx="9">
                    <c:v>Dec-20</c:v>
                  </c:pt>
                  <c:pt idx="10">
                    <c:v>Mar-21</c:v>
                  </c:pt>
                  <c:pt idx="11">
                    <c:v>Jun-21</c:v>
                  </c:pt>
                  <c:pt idx="12">
                    <c:v>Sep-21</c:v>
                  </c:pt>
                  <c:pt idx="13">
                    <c:v>Dec-21</c:v>
                  </c:pt>
                </c:lvl>
                <c:lvl>
                  <c:pt idx="3">
                    <c:v>2019-20</c:v>
                  </c:pt>
                  <c:pt idx="7">
                    <c:v>2020-21</c:v>
                  </c:pt>
                  <c:pt idx="11">
                    <c:v>2021-22</c:v>
                  </c:pt>
                </c:lvl>
              </c:multiLvlStrCache>
            </c:multiLvlStrRef>
          </c:cat>
          <c:val>
            <c:numRef>
              <c:f>GDP!$C$63:$C$76</c:f>
              <c:numCache>
                <c:formatCode>0</c:formatCode>
                <c:ptCount val="14"/>
                <c:pt idx="0">
                  <c:v>597466.82591313717</c:v>
                </c:pt>
                <c:pt idx="1">
                  <c:v>620292.04370765062</c:v>
                </c:pt>
                <c:pt idx="2">
                  <c:v>694147.89834005595</c:v>
                </c:pt>
                <c:pt idx="3">
                  <c:v>664311</c:v>
                </c:pt>
                <c:pt idx="4">
                  <c:v>638065</c:v>
                </c:pt>
                <c:pt idx="5">
                  <c:v>663688</c:v>
                </c:pt>
                <c:pt idx="6">
                  <c:v>733734</c:v>
                </c:pt>
                <c:pt idx="7" formatCode="_(* #,##0_);_(* \(#,##0\);_(* &quot;-&quot;??_);_(@_)">
                  <c:v>345099</c:v>
                </c:pt>
                <c:pt idx="8" formatCode="_(* #,##0_);_(* \(#,##0\);_(* &quot;-&quot;??_);_(@_)">
                  <c:v>535234</c:v>
                </c:pt>
                <c:pt idx="9" formatCode="_(* #,##0_);_(* \(#,##0\);_(* &quot;-&quot;??_);_(@_)">
                  <c:v>611248</c:v>
                </c:pt>
                <c:pt idx="10" formatCode="_(* #,##0_);_(* \(#,##0\);_(* &quot;-&quot;??_);_(@_)">
                  <c:v>716808</c:v>
                </c:pt>
                <c:pt idx="11" formatCode="_(* #,##0_);_(* \(#,##0\);_(* &quot;-&quot;??_);_(@_)">
                  <c:v>445358</c:v>
                </c:pt>
                <c:pt idx="12" formatCode="_(* #,##0_);_(* \(#,##0\);_(* &quot;-&quot;??_);_(@_)">
                  <c:v>565469</c:v>
                </c:pt>
                <c:pt idx="13" formatCode="#,##0">
                  <c:v>630866</c:v>
                </c:pt>
              </c:numCache>
            </c:numRef>
          </c:val>
          <c:extLst>
            <c:ext xmlns:c16="http://schemas.microsoft.com/office/drawing/2014/chart" uri="{C3380CC4-5D6E-409C-BE32-E72D297353CC}">
              <c16:uniqueId val="{00000000-4AEB-4DEC-8AEE-93930EA55FC5}"/>
            </c:ext>
          </c:extLst>
        </c:ser>
        <c:dLbls>
          <c:showLegendKey val="0"/>
          <c:showVal val="0"/>
          <c:showCatName val="0"/>
          <c:showSerName val="0"/>
          <c:showPercent val="0"/>
          <c:showBubbleSize val="0"/>
        </c:dLbls>
        <c:gapWidth val="219"/>
        <c:overlap val="-27"/>
        <c:axId val="208712832"/>
        <c:axId val="208714368"/>
      </c:barChart>
      <c:lineChart>
        <c:grouping val="standard"/>
        <c:varyColors val="0"/>
        <c:ser>
          <c:idx val="1"/>
          <c:order val="1"/>
          <c:tx>
            <c:strRef>
              <c:f>GDP!$D$53</c:f>
              <c:strCache>
                <c:ptCount val="1"/>
                <c:pt idx="0">
                  <c:v>Growth</c:v>
                </c:pt>
              </c:strCache>
            </c:strRef>
          </c:tx>
          <c:spPr>
            <a:ln w="28575" cap="rnd">
              <a:solidFill>
                <a:schemeClr val="accent2"/>
              </a:solidFill>
              <a:round/>
            </a:ln>
            <a:effectLst/>
          </c:spPr>
          <c:marker>
            <c:symbol val="none"/>
          </c:marker>
          <c:cat>
            <c:multiLvlStrRef>
              <c:f>GDP!$A$63:$B$76</c:f>
              <c:multiLvlStrCache>
                <c:ptCount val="14"/>
                <c:lvl>
                  <c:pt idx="0">
                    <c:v>Sep-18</c:v>
                  </c:pt>
                  <c:pt idx="1">
                    <c:v>Dec-18</c:v>
                  </c:pt>
                  <c:pt idx="2">
                    <c:v>Mar-19</c:v>
                  </c:pt>
                  <c:pt idx="3">
                    <c:v>Jun-19</c:v>
                  </c:pt>
                  <c:pt idx="4">
                    <c:v>Sep-19</c:v>
                  </c:pt>
                  <c:pt idx="5">
                    <c:v>Dec-19</c:v>
                  </c:pt>
                  <c:pt idx="6">
                    <c:v>Mar-20</c:v>
                  </c:pt>
                  <c:pt idx="7">
                    <c:v>Jun-20</c:v>
                  </c:pt>
                  <c:pt idx="8">
                    <c:v>Sep-20</c:v>
                  </c:pt>
                  <c:pt idx="9">
                    <c:v>Dec-20</c:v>
                  </c:pt>
                  <c:pt idx="10">
                    <c:v>Mar-21</c:v>
                  </c:pt>
                  <c:pt idx="11">
                    <c:v>Jun-21</c:v>
                  </c:pt>
                  <c:pt idx="12">
                    <c:v>Sep-21</c:v>
                  </c:pt>
                  <c:pt idx="13">
                    <c:v>Dec-21</c:v>
                  </c:pt>
                </c:lvl>
                <c:lvl>
                  <c:pt idx="3">
                    <c:v>2019-20</c:v>
                  </c:pt>
                  <c:pt idx="7">
                    <c:v>2020-21</c:v>
                  </c:pt>
                  <c:pt idx="11">
                    <c:v>2021-22</c:v>
                  </c:pt>
                </c:lvl>
              </c:multiLvlStrCache>
            </c:multiLvlStrRef>
          </c:cat>
          <c:val>
            <c:numRef>
              <c:f>GDP!$D$63:$D$76</c:f>
              <c:numCache>
                <c:formatCode>0%</c:formatCode>
                <c:ptCount val="14"/>
                <c:pt idx="0">
                  <c:v>9.662667318695628E-2</c:v>
                </c:pt>
                <c:pt idx="1">
                  <c:v>9.6703963576938667E-2</c:v>
                </c:pt>
                <c:pt idx="2">
                  <c:v>8.8628011788620675E-2</c:v>
                </c:pt>
                <c:pt idx="3">
                  <c:v>6.2026525050452141E-2</c:v>
                </c:pt>
                <c:pt idx="4">
                  <c:v>6.7950507586449937E-2</c:v>
                </c:pt>
                <c:pt idx="5">
                  <c:v>6.9960523809011299E-2</c:v>
                </c:pt>
                <c:pt idx="6">
                  <c:v>5.7028338996066852E-2</c:v>
                </c:pt>
                <c:pt idx="7">
                  <c:v>-0.48051590294304924</c:v>
                </c:pt>
                <c:pt idx="8">
                  <c:v>-0.16116069679421374</c:v>
                </c:pt>
                <c:pt idx="9">
                  <c:v>-7.9013030219018621E-2</c:v>
                </c:pt>
                <c:pt idx="10">
                  <c:v>-2.3068305407681788E-2</c:v>
                </c:pt>
                <c:pt idx="11">
                  <c:v>0.29052242979550802</c:v>
                </c:pt>
                <c:pt idx="12">
                  <c:v>5.648931121714984E-2</c:v>
                </c:pt>
                <c:pt idx="13" formatCode="0.0%">
                  <c:v>3.2094992539852818E-2</c:v>
                </c:pt>
              </c:numCache>
            </c:numRef>
          </c:val>
          <c:smooth val="0"/>
          <c:extLst>
            <c:ext xmlns:c16="http://schemas.microsoft.com/office/drawing/2014/chart" uri="{C3380CC4-5D6E-409C-BE32-E72D297353CC}">
              <c16:uniqueId val="{00000001-4AEB-4DEC-8AEE-93930EA55FC5}"/>
            </c:ext>
          </c:extLst>
        </c:ser>
        <c:dLbls>
          <c:showLegendKey val="0"/>
          <c:showVal val="0"/>
          <c:showCatName val="0"/>
          <c:showSerName val="0"/>
          <c:showPercent val="0"/>
          <c:showBubbleSize val="0"/>
        </c:dLbls>
        <c:marker val="1"/>
        <c:smooth val="0"/>
        <c:axId val="208717696"/>
        <c:axId val="208716160"/>
      </c:lineChart>
      <c:catAx>
        <c:axId val="208712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08714368"/>
        <c:crosses val="autoZero"/>
        <c:auto val="1"/>
        <c:lblAlgn val="ctr"/>
        <c:lblOffset val="100"/>
        <c:noMultiLvlLbl val="0"/>
      </c:catAx>
      <c:valAx>
        <c:axId val="208714368"/>
        <c:scaling>
          <c:orientation val="minMax"/>
        </c:scaling>
        <c:delete val="0"/>
        <c:axPos val="l"/>
        <c:numFmt formatCode="#,##0.0" sourceLinked="0"/>
        <c:majorTickMark val="out"/>
        <c:minorTickMark val="none"/>
        <c:tickLblPos val="nextTo"/>
        <c:spPr>
          <a:noFill/>
          <a:ln>
            <a:solidFill>
              <a:schemeClr val="tx1"/>
            </a:solidFill>
          </a:ln>
          <a:effectLst/>
        </c:spPr>
        <c:txPr>
          <a:bodyPr rot="-60000000" vert="horz"/>
          <a:lstStyle/>
          <a:p>
            <a:pPr>
              <a:defRPr/>
            </a:pPr>
            <a:endParaRPr lang="en-US"/>
          </a:p>
        </c:txPr>
        <c:crossAx val="208712832"/>
        <c:crosses val="autoZero"/>
        <c:crossBetween val="between"/>
      </c:valAx>
      <c:valAx>
        <c:axId val="208716160"/>
        <c:scaling>
          <c:orientation val="minMax"/>
        </c:scaling>
        <c:delete val="0"/>
        <c:axPos val="r"/>
        <c:numFmt formatCode="0%" sourceLinked="1"/>
        <c:majorTickMark val="in"/>
        <c:minorTickMark val="none"/>
        <c:tickLblPos val="nextTo"/>
        <c:spPr>
          <a:noFill/>
          <a:ln>
            <a:solidFill>
              <a:schemeClr val="tx1"/>
            </a:solidFill>
          </a:ln>
          <a:effectLst/>
        </c:spPr>
        <c:txPr>
          <a:bodyPr rot="-60000000" vert="horz"/>
          <a:lstStyle/>
          <a:p>
            <a:pPr>
              <a:defRPr/>
            </a:pPr>
            <a:endParaRPr lang="en-US"/>
          </a:p>
        </c:txPr>
        <c:crossAx val="208717696"/>
        <c:crosses val="max"/>
        <c:crossBetween val="between"/>
      </c:valAx>
      <c:catAx>
        <c:axId val="208717696"/>
        <c:scaling>
          <c:orientation val="minMax"/>
        </c:scaling>
        <c:delete val="1"/>
        <c:axPos val="b"/>
        <c:numFmt formatCode="General" sourceLinked="1"/>
        <c:majorTickMark val="none"/>
        <c:minorTickMark val="none"/>
        <c:tickLblPos val="nextTo"/>
        <c:crossAx val="208716160"/>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bg1"/>
      </a:solidFill>
      <a:round/>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way bill_charts (2)'!$D$1</c:f>
              <c:strCache>
                <c:ptCount val="1"/>
                <c:pt idx="0">
                  <c:v>Intra State E-way bills generated (millions)</c:v>
                </c:pt>
              </c:strCache>
            </c:strRef>
          </c:tx>
          <c:spPr>
            <a:solidFill>
              <a:schemeClr val="bg1">
                <a:lumMod val="85000"/>
              </a:schemeClr>
            </a:solidFill>
            <a:ln>
              <a:noFill/>
            </a:ln>
            <a:effectLst/>
          </c:spPr>
          <c:invertIfNegative val="0"/>
          <c:dLbls>
            <c:spPr>
              <a:noFill/>
              <a:ln>
                <a:noFill/>
              </a:ln>
              <a:effectLst/>
            </c:spPr>
            <c:txPr>
              <a:bodyPr rot="-5400000" vert="horz"/>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D$17:$D$49</c:f>
              <c:numCache>
                <c:formatCode>_ * #,##0_ ;_ * \-#,##0_ ;_ * "-"??_ ;_ @_ </c:formatCode>
                <c:ptCount val="33"/>
                <c:pt idx="0">
                  <c:v>31.024588999999999</c:v>
                </c:pt>
                <c:pt idx="1">
                  <c:v>30.039708000000001</c:v>
                </c:pt>
                <c:pt idx="2">
                  <c:v>30.086136</c:v>
                </c:pt>
                <c:pt idx="3">
                  <c:v>30.711355000000001</c:v>
                </c:pt>
                <c:pt idx="4">
                  <c:v>31.684403</c:v>
                </c:pt>
                <c:pt idx="5">
                  <c:v>32.684113000000004</c:v>
                </c:pt>
                <c:pt idx="6">
                  <c:v>33.455970000000001</c:v>
                </c:pt>
                <c:pt idx="7">
                  <c:v>33.503633999999998</c:v>
                </c:pt>
                <c:pt idx="8">
                  <c:v>24.295894000000001</c:v>
                </c:pt>
                <c:pt idx="9">
                  <c:v>6.1662330000000001</c:v>
                </c:pt>
                <c:pt idx="10">
                  <c:v>17.092904000000001</c:v>
                </c:pt>
                <c:pt idx="11">
                  <c:v>25.111329999999999</c:v>
                </c:pt>
                <c:pt idx="12">
                  <c:v>29.844929</c:v>
                </c:pt>
                <c:pt idx="13">
                  <c:v>30.472821</c:v>
                </c:pt>
                <c:pt idx="14">
                  <c:v>34.622548000000002</c:v>
                </c:pt>
                <c:pt idx="15" formatCode="0">
                  <c:v>37.86</c:v>
                </c:pt>
                <c:pt idx="16">
                  <c:v>34.700000000000003</c:v>
                </c:pt>
                <c:pt idx="17" formatCode="0">
                  <c:v>38.35</c:v>
                </c:pt>
                <c:pt idx="18" formatCode="0">
                  <c:v>37.799999999999997</c:v>
                </c:pt>
                <c:pt idx="19" formatCode="0">
                  <c:v>38.36</c:v>
                </c:pt>
                <c:pt idx="20" formatCode="0">
                  <c:v>42.84</c:v>
                </c:pt>
                <c:pt idx="21" formatCode="0">
                  <c:v>35.57</c:v>
                </c:pt>
                <c:pt idx="22" formatCode="0">
                  <c:v>25.15</c:v>
                </c:pt>
                <c:pt idx="23" formatCode="0">
                  <c:v>33.997999999999998</c:v>
                </c:pt>
                <c:pt idx="24" formatCode="0">
                  <c:v>39.265999999999998</c:v>
                </c:pt>
                <c:pt idx="25" formatCode="0">
                  <c:v>39.764142857142858</c:v>
                </c:pt>
                <c:pt idx="26" formatCode="0">
                  <c:v>40.027000000000001</c:v>
                </c:pt>
                <c:pt idx="27" formatCode="0">
                  <c:v>43.213000000000001</c:v>
                </c:pt>
                <c:pt idx="28" formatCode="0">
                  <c:v>37.26</c:v>
                </c:pt>
                <c:pt idx="29" formatCode="0">
                  <c:v>43.481999999999999</c:v>
                </c:pt>
                <c:pt idx="30" formatCode="0">
                  <c:v>42.131</c:v>
                </c:pt>
                <c:pt idx="31" formatCode="0">
                  <c:v>42.31</c:v>
                </c:pt>
                <c:pt idx="32" formatCode="0">
                  <c:v>47.89</c:v>
                </c:pt>
              </c:numCache>
            </c:numRef>
          </c:val>
          <c:extLst>
            <c:ext xmlns:c16="http://schemas.microsoft.com/office/drawing/2014/chart" uri="{C3380CC4-5D6E-409C-BE32-E72D297353CC}">
              <c16:uniqueId val="{00000000-2071-41AC-B384-A95CBE28DFC7}"/>
            </c:ext>
          </c:extLst>
        </c:ser>
        <c:dLbls>
          <c:showLegendKey val="0"/>
          <c:showVal val="1"/>
          <c:showCatName val="0"/>
          <c:showSerName val="0"/>
          <c:showPercent val="0"/>
          <c:showBubbleSize val="0"/>
        </c:dLbls>
        <c:gapWidth val="75"/>
        <c:axId val="1401193072"/>
        <c:axId val="1401202864"/>
      </c:barChart>
      <c:lineChart>
        <c:grouping val="standard"/>
        <c:varyColors val="0"/>
        <c:ser>
          <c:idx val="1"/>
          <c:order val="1"/>
          <c:tx>
            <c:strRef>
              <c:f>'E-way bill_charts (2)'!$E$1</c:f>
              <c:strCache>
                <c:ptCount val="1"/>
                <c:pt idx="0">
                  <c:v>Y-o-Y growth</c:v>
                </c:pt>
              </c:strCache>
            </c:strRef>
          </c:tx>
          <c:spPr>
            <a:ln w="28575" cap="rnd">
              <a:solidFill>
                <a:srgbClr val="FF0000"/>
              </a:solidFill>
              <a:round/>
            </a:ln>
            <a:effectLst/>
          </c:spPr>
          <c:marker>
            <c:symbol val="square"/>
            <c:size val="5"/>
            <c:spPr>
              <a:solidFill>
                <a:srgbClr val="FF0000"/>
              </a:solidFill>
              <a:ln w="9525">
                <a:solidFill>
                  <a:srgbClr val="FF0000"/>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1-2071-41AC-B384-A95CBE28DFC7}"/>
                </c:ext>
              </c:extLst>
            </c:dLbl>
            <c:dLbl>
              <c:idx val="2"/>
              <c:delete val="1"/>
              <c:extLst>
                <c:ext xmlns:c15="http://schemas.microsoft.com/office/drawing/2012/chart" uri="{CE6537A1-D6FC-4f65-9D91-7224C49458BB}"/>
                <c:ext xmlns:c16="http://schemas.microsoft.com/office/drawing/2014/chart" uri="{C3380CC4-5D6E-409C-BE32-E72D297353CC}">
                  <c16:uniqueId val="{00000002-2071-41AC-B384-A95CBE28DFC7}"/>
                </c:ext>
              </c:extLst>
            </c:dLbl>
            <c:dLbl>
              <c:idx val="5"/>
              <c:delete val="1"/>
              <c:extLst>
                <c:ext xmlns:c15="http://schemas.microsoft.com/office/drawing/2012/chart" uri="{CE6537A1-D6FC-4f65-9D91-7224C49458BB}"/>
                <c:ext xmlns:c16="http://schemas.microsoft.com/office/drawing/2014/chart" uri="{C3380CC4-5D6E-409C-BE32-E72D297353CC}">
                  <c16:uniqueId val="{00000003-2071-41AC-B384-A95CBE28DFC7}"/>
                </c:ext>
              </c:extLst>
            </c:dLbl>
            <c:dLbl>
              <c:idx val="7"/>
              <c:delete val="1"/>
              <c:extLst>
                <c:ext xmlns:c15="http://schemas.microsoft.com/office/drawing/2012/chart" uri="{CE6537A1-D6FC-4f65-9D91-7224C49458BB}"/>
                <c:ext xmlns:c16="http://schemas.microsoft.com/office/drawing/2014/chart" uri="{C3380CC4-5D6E-409C-BE32-E72D297353CC}">
                  <c16:uniqueId val="{00000004-2071-41AC-B384-A95CBE28DFC7}"/>
                </c:ext>
              </c:extLst>
            </c:dLbl>
            <c:dLbl>
              <c:idx val="12"/>
              <c:delete val="1"/>
              <c:extLst>
                <c:ext xmlns:c15="http://schemas.microsoft.com/office/drawing/2012/chart" uri="{CE6537A1-D6FC-4f65-9D91-7224C49458BB}"/>
                <c:ext xmlns:c16="http://schemas.microsoft.com/office/drawing/2014/chart" uri="{C3380CC4-5D6E-409C-BE32-E72D297353CC}">
                  <c16:uniqueId val="{00000005-2071-41AC-B384-A95CBE28DFC7}"/>
                </c:ext>
              </c:extLst>
            </c:dLbl>
            <c:dLbl>
              <c:idx val="15"/>
              <c:delete val="1"/>
              <c:extLst>
                <c:ext xmlns:c15="http://schemas.microsoft.com/office/drawing/2012/chart" uri="{CE6537A1-D6FC-4f65-9D91-7224C49458BB}"/>
                <c:ext xmlns:c16="http://schemas.microsoft.com/office/drawing/2014/chart" uri="{C3380CC4-5D6E-409C-BE32-E72D297353CC}">
                  <c16:uniqueId val="{00000006-2071-41AC-B384-A95CBE28DFC7}"/>
                </c:ext>
              </c:extLst>
            </c:dLbl>
            <c:dLbl>
              <c:idx val="19"/>
              <c:delete val="1"/>
              <c:extLst>
                <c:ext xmlns:c15="http://schemas.microsoft.com/office/drawing/2012/chart" uri="{CE6537A1-D6FC-4f65-9D91-7224C49458BB}"/>
                <c:ext xmlns:c16="http://schemas.microsoft.com/office/drawing/2014/chart" uri="{C3380CC4-5D6E-409C-BE32-E72D297353CC}">
                  <c16:uniqueId val="{00000007-2071-41AC-B384-A95CBE28DFC7}"/>
                </c:ext>
              </c:extLst>
            </c:dLbl>
            <c:dLbl>
              <c:idx val="23"/>
              <c:delete val="1"/>
              <c:extLst>
                <c:ext xmlns:c15="http://schemas.microsoft.com/office/drawing/2012/chart" uri="{CE6537A1-D6FC-4f65-9D91-7224C49458BB}"/>
                <c:ext xmlns:c16="http://schemas.microsoft.com/office/drawing/2014/chart" uri="{C3380CC4-5D6E-409C-BE32-E72D297353CC}">
                  <c16:uniqueId val="{00000008-2071-41AC-B384-A95CBE28DFC7}"/>
                </c:ext>
              </c:extLst>
            </c:dLbl>
            <c:dLbl>
              <c:idx val="25"/>
              <c:delete val="1"/>
              <c:extLst>
                <c:ext xmlns:c15="http://schemas.microsoft.com/office/drawing/2012/chart" uri="{CE6537A1-D6FC-4f65-9D91-7224C49458BB}"/>
                <c:ext xmlns:c16="http://schemas.microsoft.com/office/drawing/2014/chart" uri="{C3380CC4-5D6E-409C-BE32-E72D297353CC}">
                  <c16:uniqueId val="{00000009-2071-41AC-B384-A95CBE28DFC7}"/>
                </c:ext>
              </c:extLst>
            </c:dLbl>
            <c:dLbl>
              <c:idx val="27"/>
              <c:delete val="1"/>
              <c:extLst>
                <c:ext xmlns:c15="http://schemas.microsoft.com/office/drawing/2012/chart" uri="{CE6537A1-D6FC-4f65-9D91-7224C49458BB}"/>
                <c:ext xmlns:c16="http://schemas.microsoft.com/office/drawing/2014/chart" uri="{C3380CC4-5D6E-409C-BE32-E72D297353CC}">
                  <c16:uniqueId val="{0000000A-2071-41AC-B384-A95CBE28DFC7}"/>
                </c:ext>
              </c:extLst>
            </c:dLbl>
            <c:dLbl>
              <c:idx val="30"/>
              <c:delete val="1"/>
              <c:extLst>
                <c:ext xmlns:c15="http://schemas.microsoft.com/office/drawing/2012/chart" uri="{CE6537A1-D6FC-4f65-9D91-7224C49458BB}"/>
                <c:ext xmlns:c16="http://schemas.microsoft.com/office/drawing/2014/chart" uri="{C3380CC4-5D6E-409C-BE32-E72D297353CC}">
                  <c16:uniqueId val="{0000000B-2071-41AC-B384-A95CBE28DFC7}"/>
                </c:ext>
              </c:extLst>
            </c:dLbl>
            <c:dLbl>
              <c:idx val="31"/>
              <c:delete val="1"/>
              <c:extLst>
                <c:ext xmlns:c15="http://schemas.microsoft.com/office/drawing/2012/chart" uri="{CE6537A1-D6FC-4f65-9D91-7224C49458BB}"/>
                <c:ext xmlns:c16="http://schemas.microsoft.com/office/drawing/2014/chart" uri="{C3380CC4-5D6E-409C-BE32-E72D297353CC}">
                  <c16:uniqueId val="{0000000C-2071-41AC-B384-A95CBE28DFC7}"/>
                </c:ext>
              </c:extLst>
            </c:dLbl>
            <c:spPr>
              <a:noFill/>
              <a:ln>
                <a:noFill/>
              </a:ln>
              <a:effectLst/>
            </c:spPr>
            <c:txPr>
              <a:bodyPr rot="0" vert="horz"/>
              <a:lstStyle/>
              <a:p>
                <a:pPr>
                  <a:defRPr>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E$17:$E$49</c:f>
              <c:numCache>
                <c:formatCode>0%</c:formatCode>
                <c:ptCount val="33"/>
                <c:pt idx="0">
                  <c:v>0.14794616605692013</c:v>
                </c:pt>
                <c:pt idx="1">
                  <c:v>0.1115044143878714</c:v>
                </c:pt>
                <c:pt idx="2">
                  <c:v>0.11322230481980222</c:v>
                </c:pt>
                <c:pt idx="3">
                  <c:v>2.9357190328520577E-3</c:v>
                </c:pt>
                <c:pt idx="4">
                  <c:v>0.18465555560831581</c:v>
                </c:pt>
                <c:pt idx="5">
                  <c:v>0.12882683026010811</c:v>
                </c:pt>
                <c:pt idx="6">
                  <c:v>0.13159857924992147</c:v>
                </c:pt>
                <c:pt idx="7">
                  <c:v>0.15302665921467784</c:v>
                </c:pt>
                <c:pt idx="8">
                  <c:v>-0.24435685658172057</c:v>
                </c:pt>
                <c:pt idx="9">
                  <c:v>-0.79773795209444009</c:v>
                </c:pt>
                <c:pt idx="10">
                  <c:v>-0.46054187047686845</c:v>
                </c:pt>
                <c:pt idx="11">
                  <c:v>-0.15448065992942539</c:v>
                </c:pt>
                <c:pt idx="12">
                  <c:v>-3.8023388480665998E-2</c:v>
                </c:pt>
                <c:pt idx="13">
                  <c:v>1.4418016313607174E-2</c:v>
                </c:pt>
                <c:pt idx="14">
                  <c:v>0.15078081146744804</c:v>
                </c:pt>
                <c:pt idx="15">
                  <c:v>0.23276879186867516</c:v>
                </c:pt>
                <c:pt idx="16">
                  <c:v>9.5176071330742795E-2</c:v>
                </c:pt>
                <c:pt idx="17">
                  <c:v>0.17335293755715497</c:v>
                </c:pt>
                <c:pt idx="18">
                  <c:v>0.12984319390530286</c:v>
                </c:pt>
                <c:pt idx="19">
                  <c:v>0.14495042537773672</c:v>
                </c:pt>
                <c:pt idx="20">
                  <c:v>0.76326090326209028</c:v>
                </c:pt>
                <c:pt idx="22">
                  <c:v>0.47137080978164958</c:v>
                </c:pt>
                <c:pt idx="23">
                  <c:v>0.35389085325229686</c:v>
                </c:pt>
                <c:pt idx="24">
                  <c:v>0.31566739528849275</c:v>
                </c:pt>
                <c:pt idx="25">
                  <c:v>0.30490520904326046</c:v>
                </c:pt>
                <c:pt idx="26">
                  <c:v>0.15609631041597516</c:v>
                </c:pt>
                <c:pt idx="27">
                  <c:v>0.14138932910723723</c:v>
                </c:pt>
                <c:pt idx="28">
                  <c:v>7.3775216138328492E-2</c:v>
                </c:pt>
                <c:pt idx="29">
                  <c:v>0.13382007822685793</c:v>
                </c:pt>
                <c:pt idx="30">
                  <c:v>0.11457671957671978</c:v>
                </c:pt>
                <c:pt idx="31">
                  <c:v>0.10297184567257567</c:v>
                </c:pt>
                <c:pt idx="32">
                  <c:v>0.11788048552754438</c:v>
                </c:pt>
              </c:numCache>
            </c:numRef>
          </c:val>
          <c:smooth val="1"/>
          <c:extLst>
            <c:ext xmlns:c16="http://schemas.microsoft.com/office/drawing/2014/chart" uri="{C3380CC4-5D6E-409C-BE32-E72D297353CC}">
              <c16:uniqueId val="{0000000D-2071-41AC-B384-A95CBE28DFC7}"/>
            </c:ext>
          </c:extLst>
        </c:ser>
        <c:dLbls>
          <c:showLegendKey val="0"/>
          <c:showVal val="1"/>
          <c:showCatName val="0"/>
          <c:showSerName val="0"/>
          <c:showPercent val="0"/>
          <c:showBubbleSize val="0"/>
        </c:dLbls>
        <c:marker val="1"/>
        <c:smooth val="0"/>
        <c:axId val="1401185456"/>
        <c:axId val="1401202320"/>
      </c:lineChart>
      <c:dateAx>
        <c:axId val="140119307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vert="horz"/>
          <a:lstStyle/>
          <a:p>
            <a:pPr>
              <a:defRPr/>
            </a:pPr>
            <a:endParaRPr lang="en-US"/>
          </a:p>
        </c:txPr>
        <c:crossAx val="1401202864"/>
        <c:crosses val="autoZero"/>
        <c:auto val="1"/>
        <c:lblOffset val="100"/>
        <c:baseTimeUnit val="months"/>
        <c:majorUnit val="1"/>
        <c:majorTimeUnit val="months"/>
      </c:dateAx>
      <c:valAx>
        <c:axId val="1401202864"/>
        <c:scaling>
          <c:orientation val="minMax"/>
        </c:scaling>
        <c:delete val="0"/>
        <c:axPos val="l"/>
        <c:numFmt formatCode="_ * #,##0_ ;_ * \-#,##0_ ;_ * &quot;-&quot;??_ ;_ @_ " sourceLinked="1"/>
        <c:majorTickMark val="none"/>
        <c:minorTickMark val="none"/>
        <c:tickLblPos val="nextTo"/>
        <c:spPr>
          <a:noFill/>
          <a:ln>
            <a:noFill/>
          </a:ln>
          <a:effectLst/>
        </c:spPr>
        <c:txPr>
          <a:bodyPr rot="-60000000" vert="horz"/>
          <a:lstStyle/>
          <a:p>
            <a:pPr>
              <a:defRPr/>
            </a:pPr>
            <a:endParaRPr lang="en-US"/>
          </a:p>
        </c:txPr>
        <c:crossAx val="1401193072"/>
        <c:crosses val="autoZero"/>
        <c:crossBetween val="between"/>
      </c:valAx>
      <c:valAx>
        <c:axId val="1401202320"/>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185456"/>
        <c:crosses val="max"/>
        <c:crossBetween val="between"/>
      </c:valAx>
      <c:dateAx>
        <c:axId val="1401185456"/>
        <c:scaling>
          <c:orientation val="minMax"/>
        </c:scaling>
        <c:delete val="1"/>
        <c:axPos val="b"/>
        <c:numFmt formatCode="mmm\-yy" sourceLinked="1"/>
        <c:majorTickMark val="out"/>
        <c:minorTickMark val="none"/>
        <c:tickLblPos val="nextTo"/>
        <c:crossAx val="1401202320"/>
        <c:crosses val="autoZero"/>
        <c:auto val="1"/>
        <c:lblOffset val="100"/>
        <c:baseTimeUnit val="month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way bill_charts (2)'!$F$1</c:f>
              <c:strCache>
                <c:ptCount val="1"/>
                <c:pt idx="0">
                  <c:v>Inter State E-way bills generated (millions)</c:v>
                </c:pt>
              </c:strCache>
            </c:strRef>
          </c:tx>
          <c:spPr>
            <a:solidFill>
              <a:schemeClr val="bg1">
                <a:lumMod val="85000"/>
              </a:schemeClr>
            </a:solidFill>
            <a:ln>
              <a:noFill/>
            </a:ln>
            <a:effectLst/>
          </c:spPr>
          <c:invertIfNegative val="0"/>
          <c:dLbls>
            <c:spPr>
              <a:noFill/>
              <a:ln>
                <a:noFill/>
              </a:ln>
              <a:effectLst/>
            </c:spPr>
            <c:txPr>
              <a:bodyPr rot="-5400000"/>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F$17:$F$49</c:f>
              <c:numCache>
                <c:formatCode>_ * #,##0_ ;_ * \-#,##0_ ;_ * "-"??_ ;_ @_ </c:formatCode>
                <c:ptCount val="33"/>
                <c:pt idx="0">
                  <c:v>21.144303000000001</c:v>
                </c:pt>
                <c:pt idx="1">
                  <c:v>21.182768999999997</c:v>
                </c:pt>
                <c:pt idx="2">
                  <c:v>22.322188000000001</c:v>
                </c:pt>
                <c:pt idx="3">
                  <c:v>22.159777000000002</c:v>
                </c:pt>
                <c:pt idx="4">
                  <c:v>21.701746000000004</c:v>
                </c:pt>
                <c:pt idx="5">
                  <c:v>22.709599999999995</c:v>
                </c:pt>
                <c:pt idx="6">
                  <c:v>23.466682999999996</c:v>
                </c:pt>
                <c:pt idx="7">
                  <c:v>23.682062999999999</c:v>
                </c:pt>
                <c:pt idx="8">
                  <c:v>16.362916000000002</c:v>
                </c:pt>
                <c:pt idx="9">
                  <c:v>2.4432139999999993</c:v>
                </c:pt>
                <c:pt idx="10">
                  <c:v>8.3997659999999996</c:v>
                </c:pt>
                <c:pt idx="11">
                  <c:v>14.815816000000002</c:v>
                </c:pt>
                <c:pt idx="12" formatCode="0">
                  <c:v>18.521609000000002</c:v>
                </c:pt>
                <c:pt idx="13" formatCode="0">
                  <c:v>18.970984999999999</c:v>
                </c:pt>
                <c:pt idx="14" formatCode="0">
                  <c:v>22.817374999999998</c:v>
                </c:pt>
                <c:pt idx="15" formatCode="0">
                  <c:v>26.32</c:v>
                </c:pt>
                <c:pt idx="16" formatCode="0">
                  <c:v>22.9</c:v>
                </c:pt>
                <c:pt idx="17" formatCode="0">
                  <c:v>25.84</c:v>
                </c:pt>
                <c:pt idx="18" formatCode="0">
                  <c:v>25.06</c:v>
                </c:pt>
                <c:pt idx="19" formatCode="0">
                  <c:v>25.47</c:v>
                </c:pt>
                <c:pt idx="20" formatCode="0">
                  <c:v>28.388000000000002</c:v>
                </c:pt>
                <c:pt idx="21" formatCode="0">
                  <c:v>22.98</c:v>
                </c:pt>
                <c:pt idx="22" formatCode="0">
                  <c:v>14.83</c:v>
                </c:pt>
                <c:pt idx="23" formatCode="0">
                  <c:v>20.69</c:v>
                </c:pt>
                <c:pt idx="24" formatCode="0">
                  <c:v>24.896999999999998</c:v>
                </c:pt>
                <c:pt idx="25" formatCode="0">
                  <c:v>26.073285714285714</c:v>
                </c:pt>
                <c:pt idx="26" formatCode="0">
                  <c:v>27.91</c:v>
                </c:pt>
                <c:pt idx="27" formatCode="0">
                  <c:v>30.292999999999999</c:v>
                </c:pt>
                <c:pt idx="28" formatCode="0">
                  <c:v>23.890999999999998</c:v>
                </c:pt>
                <c:pt idx="29" formatCode="0">
                  <c:v>28.152000000000001</c:v>
                </c:pt>
                <c:pt idx="30" formatCode="0">
                  <c:v>26.710999999999999</c:v>
                </c:pt>
                <c:pt idx="31" formatCode="0">
                  <c:v>26.83</c:v>
                </c:pt>
                <c:pt idx="32" formatCode="0">
                  <c:v>30.27</c:v>
                </c:pt>
              </c:numCache>
            </c:numRef>
          </c:val>
          <c:extLst>
            <c:ext xmlns:c16="http://schemas.microsoft.com/office/drawing/2014/chart" uri="{C3380CC4-5D6E-409C-BE32-E72D297353CC}">
              <c16:uniqueId val="{00000000-3633-4890-AA86-6CDD709AD966}"/>
            </c:ext>
          </c:extLst>
        </c:ser>
        <c:dLbls>
          <c:showLegendKey val="0"/>
          <c:showVal val="1"/>
          <c:showCatName val="0"/>
          <c:showSerName val="0"/>
          <c:showPercent val="0"/>
          <c:showBubbleSize val="0"/>
        </c:dLbls>
        <c:gapWidth val="75"/>
        <c:axId val="1401212656"/>
        <c:axId val="1401194160"/>
      </c:barChart>
      <c:lineChart>
        <c:grouping val="standard"/>
        <c:varyColors val="0"/>
        <c:ser>
          <c:idx val="1"/>
          <c:order val="1"/>
          <c:tx>
            <c:strRef>
              <c:f>'E-way bill_charts (2)'!$G$1</c:f>
              <c:strCache>
                <c:ptCount val="1"/>
                <c:pt idx="0">
                  <c:v>Y-o-Y growth</c:v>
                </c:pt>
              </c:strCache>
            </c:strRef>
          </c:tx>
          <c:spPr>
            <a:ln w="28575" cap="rnd">
              <a:solidFill>
                <a:srgbClr val="FF0000"/>
              </a:solidFill>
              <a:round/>
            </a:ln>
            <a:effectLst/>
          </c:spPr>
          <c:marker>
            <c:symbol val="square"/>
            <c:size val="5"/>
            <c:spPr>
              <a:solidFill>
                <a:srgbClr val="FF0000"/>
              </a:solidFill>
              <a:ln w="9525">
                <a:solidFill>
                  <a:srgbClr val="FF0000"/>
                </a:solidFill>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01-3633-4890-AA86-6CDD709AD966}"/>
                </c:ext>
              </c:extLst>
            </c:dLbl>
            <c:dLbl>
              <c:idx val="6"/>
              <c:delete val="1"/>
              <c:extLst>
                <c:ext xmlns:c15="http://schemas.microsoft.com/office/drawing/2012/chart" uri="{CE6537A1-D6FC-4f65-9D91-7224C49458BB}"/>
                <c:ext xmlns:c16="http://schemas.microsoft.com/office/drawing/2014/chart" uri="{C3380CC4-5D6E-409C-BE32-E72D297353CC}">
                  <c16:uniqueId val="{00000002-3633-4890-AA86-6CDD709AD966}"/>
                </c:ext>
              </c:extLst>
            </c:dLbl>
            <c:dLbl>
              <c:idx val="12"/>
              <c:delete val="1"/>
              <c:extLst>
                <c:ext xmlns:c15="http://schemas.microsoft.com/office/drawing/2012/chart" uri="{CE6537A1-D6FC-4f65-9D91-7224C49458BB}"/>
                <c:ext xmlns:c16="http://schemas.microsoft.com/office/drawing/2014/chart" uri="{C3380CC4-5D6E-409C-BE32-E72D297353CC}">
                  <c16:uniqueId val="{00000003-3633-4890-AA86-6CDD709AD966}"/>
                </c:ext>
              </c:extLst>
            </c:dLbl>
            <c:dLbl>
              <c:idx val="13"/>
              <c:delete val="1"/>
              <c:extLst>
                <c:ext xmlns:c15="http://schemas.microsoft.com/office/drawing/2012/chart" uri="{CE6537A1-D6FC-4f65-9D91-7224C49458BB}"/>
                <c:ext xmlns:c16="http://schemas.microsoft.com/office/drawing/2014/chart" uri="{C3380CC4-5D6E-409C-BE32-E72D297353CC}">
                  <c16:uniqueId val="{00000004-3633-4890-AA86-6CDD709AD966}"/>
                </c:ext>
              </c:extLst>
            </c:dLbl>
            <c:dLbl>
              <c:idx val="16"/>
              <c:delete val="1"/>
              <c:extLst>
                <c:ext xmlns:c15="http://schemas.microsoft.com/office/drawing/2012/chart" uri="{CE6537A1-D6FC-4f65-9D91-7224C49458BB}"/>
                <c:ext xmlns:c16="http://schemas.microsoft.com/office/drawing/2014/chart" uri="{C3380CC4-5D6E-409C-BE32-E72D297353CC}">
                  <c16:uniqueId val="{00000005-3633-4890-AA86-6CDD709AD966}"/>
                </c:ext>
              </c:extLst>
            </c:dLbl>
            <c:dLbl>
              <c:idx val="18"/>
              <c:delete val="1"/>
              <c:extLst>
                <c:ext xmlns:c15="http://schemas.microsoft.com/office/drawing/2012/chart" uri="{CE6537A1-D6FC-4f65-9D91-7224C49458BB}"/>
                <c:ext xmlns:c16="http://schemas.microsoft.com/office/drawing/2014/chart" uri="{C3380CC4-5D6E-409C-BE32-E72D297353CC}">
                  <c16:uniqueId val="{00000006-3633-4890-AA86-6CDD709AD966}"/>
                </c:ext>
              </c:extLst>
            </c:dLbl>
            <c:dLbl>
              <c:idx val="23"/>
              <c:delete val="1"/>
              <c:extLst>
                <c:ext xmlns:c15="http://schemas.microsoft.com/office/drawing/2012/chart" uri="{CE6537A1-D6FC-4f65-9D91-7224C49458BB}"/>
                <c:ext xmlns:c16="http://schemas.microsoft.com/office/drawing/2014/chart" uri="{C3380CC4-5D6E-409C-BE32-E72D297353CC}">
                  <c16:uniqueId val="{00000007-3633-4890-AA86-6CDD709AD966}"/>
                </c:ext>
              </c:extLst>
            </c:dLbl>
            <c:dLbl>
              <c:idx val="25"/>
              <c:delete val="1"/>
              <c:extLst>
                <c:ext xmlns:c15="http://schemas.microsoft.com/office/drawing/2012/chart" uri="{CE6537A1-D6FC-4f65-9D91-7224C49458BB}"/>
                <c:ext xmlns:c16="http://schemas.microsoft.com/office/drawing/2014/chart" uri="{C3380CC4-5D6E-409C-BE32-E72D297353CC}">
                  <c16:uniqueId val="{00000008-3633-4890-AA86-6CDD709AD966}"/>
                </c:ext>
              </c:extLst>
            </c:dLbl>
            <c:dLbl>
              <c:idx val="26"/>
              <c:delete val="1"/>
              <c:extLst>
                <c:ext xmlns:c15="http://schemas.microsoft.com/office/drawing/2012/chart" uri="{CE6537A1-D6FC-4f65-9D91-7224C49458BB}"/>
                <c:ext xmlns:c16="http://schemas.microsoft.com/office/drawing/2014/chart" uri="{C3380CC4-5D6E-409C-BE32-E72D297353CC}">
                  <c16:uniqueId val="{00000009-3633-4890-AA86-6CDD709AD966}"/>
                </c:ext>
              </c:extLst>
            </c:dLbl>
            <c:dLbl>
              <c:idx val="29"/>
              <c:delete val="1"/>
              <c:extLst>
                <c:ext xmlns:c15="http://schemas.microsoft.com/office/drawing/2012/chart" uri="{CE6537A1-D6FC-4f65-9D91-7224C49458BB}"/>
                <c:ext xmlns:c16="http://schemas.microsoft.com/office/drawing/2014/chart" uri="{C3380CC4-5D6E-409C-BE32-E72D297353CC}">
                  <c16:uniqueId val="{0000000A-3633-4890-AA86-6CDD709AD966}"/>
                </c:ext>
              </c:extLst>
            </c:dLbl>
            <c:dLbl>
              <c:idx val="31"/>
              <c:delete val="1"/>
              <c:extLst>
                <c:ext xmlns:c15="http://schemas.microsoft.com/office/drawing/2012/chart" uri="{CE6537A1-D6FC-4f65-9D91-7224C49458BB}"/>
                <c:ext xmlns:c16="http://schemas.microsoft.com/office/drawing/2014/chart" uri="{C3380CC4-5D6E-409C-BE32-E72D297353CC}">
                  <c16:uniqueId val="{0000000B-3633-4890-AA86-6CDD709AD966}"/>
                </c:ext>
              </c:extLst>
            </c:dLbl>
            <c:spPr>
              <a:noFill/>
              <a:ln>
                <a:noFill/>
              </a:ln>
              <a:effectLst/>
            </c:spPr>
            <c:txPr>
              <a:bodyPr rot="0" vert="horz"/>
              <a:lstStyle/>
              <a:p>
                <a:pPr>
                  <a:defRPr>
                    <a:solidFill>
                      <a:srgbClr val="FF0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way bill_charts (2)'!$C$17:$C$49</c:f>
              <c:numCache>
                <c:formatCode>mmm\-yy</c:formatCode>
                <c:ptCount val="33"/>
                <c:pt idx="0">
                  <c:v>43647</c:v>
                </c:pt>
                <c:pt idx="1">
                  <c:v>43678</c:v>
                </c:pt>
                <c:pt idx="2">
                  <c:v>43709</c:v>
                </c:pt>
                <c:pt idx="3">
                  <c:v>43739</c:v>
                </c:pt>
                <c:pt idx="4">
                  <c:v>43770</c:v>
                </c:pt>
                <c:pt idx="5">
                  <c:v>43800</c:v>
                </c:pt>
                <c:pt idx="6">
                  <c:v>43831</c:v>
                </c:pt>
                <c:pt idx="7">
                  <c:v>43862</c:v>
                </c:pt>
                <c:pt idx="8">
                  <c:v>43891</c:v>
                </c:pt>
                <c:pt idx="9">
                  <c:v>43922</c:v>
                </c:pt>
                <c:pt idx="10">
                  <c:v>43952</c:v>
                </c:pt>
                <c:pt idx="11">
                  <c:v>43983</c:v>
                </c:pt>
                <c:pt idx="12">
                  <c:v>44013</c:v>
                </c:pt>
                <c:pt idx="13">
                  <c:v>44044</c:v>
                </c:pt>
                <c:pt idx="14">
                  <c:v>44075</c:v>
                </c:pt>
                <c:pt idx="15">
                  <c:v>44105</c:v>
                </c:pt>
                <c:pt idx="16">
                  <c:v>44136</c:v>
                </c:pt>
                <c:pt idx="17">
                  <c:v>44166</c:v>
                </c:pt>
                <c:pt idx="18">
                  <c:v>44197</c:v>
                </c:pt>
                <c:pt idx="19">
                  <c:v>44228</c:v>
                </c:pt>
                <c:pt idx="20">
                  <c:v>44256</c:v>
                </c:pt>
                <c:pt idx="21">
                  <c:v>44287</c:v>
                </c:pt>
                <c:pt idx="22">
                  <c:v>44317</c:v>
                </c:pt>
                <c:pt idx="23">
                  <c:v>44348</c:v>
                </c:pt>
                <c:pt idx="24">
                  <c:v>44378</c:v>
                </c:pt>
                <c:pt idx="25">
                  <c:v>44409</c:v>
                </c:pt>
                <c:pt idx="26">
                  <c:v>44440</c:v>
                </c:pt>
                <c:pt idx="27">
                  <c:v>44470</c:v>
                </c:pt>
                <c:pt idx="28">
                  <c:v>44501</c:v>
                </c:pt>
                <c:pt idx="29">
                  <c:v>44531</c:v>
                </c:pt>
                <c:pt idx="30">
                  <c:v>44562</c:v>
                </c:pt>
                <c:pt idx="31">
                  <c:v>44593</c:v>
                </c:pt>
                <c:pt idx="32">
                  <c:v>44621</c:v>
                </c:pt>
              </c:numCache>
            </c:numRef>
          </c:cat>
          <c:val>
            <c:numRef>
              <c:f>'E-way bill_charts (2)'!$G$17:$G$49</c:f>
              <c:numCache>
                <c:formatCode>0%</c:formatCode>
                <c:ptCount val="33"/>
                <c:pt idx="0">
                  <c:v>5.3753954635472612E-2</c:v>
                </c:pt>
                <c:pt idx="1">
                  <c:v>5.5670957982378866E-2</c:v>
                </c:pt>
                <c:pt idx="2">
                  <c:v>0.11245539193779464</c:v>
                </c:pt>
                <c:pt idx="3">
                  <c:v>-3.1760582393131398E-2</c:v>
                </c:pt>
                <c:pt idx="4">
                  <c:v>0.18480279097425467</c:v>
                </c:pt>
                <c:pt idx="5">
                  <c:v>8.0151815609747601E-2</c:v>
                </c:pt>
                <c:pt idx="6">
                  <c:v>9.3903416351221791E-2</c:v>
                </c:pt>
                <c:pt idx="7">
                  <c:v>0.12886049886806794</c:v>
                </c:pt>
                <c:pt idx="8">
                  <c:v>-0.28089264871454112</c:v>
                </c:pt>
                <c:pt idx="9">
                  <c:v>-0.88913748715073992</c:v>
                </c:pt>
                <c:pt idx="10">
                  <c:v>-0.62815242562929874</c:v>
                </c:pt>
                <c:pt idx="11">
                  <c:v>-0.26092260312916549</c:v>
                </c:pt>
                <c:pt idx="12">
                  <c:v>-0.12403785549232804</c:v>
                </c:pt>
                <c:pt idx="13">
                  <c:v>-0.10441430013233866</c:v>
                </c:pt>
                <c:pt idx="14">
                  <c:v>2.2183622859909491E-2</c:v>
                </c:pt>
                <c:pt idx="15">
                  <c:v>0.18773758418236786</c:v>
                </c:pt>
                <c:pt idx="16">
                  <c:v>5.5214635725622907E-2</c:v>
                </c:pt>
                <c:pt idx="17">
                  <c:v>0.13784478810723244</c:v>
                </c:pt>
                <c:pt idx="18">
                  <c:v>6.7896983992156157E-2</c:v>
                </c:pt>
                <c:pt idx="19">
                  <c:v>7.5497518945034425E-2</c:v>
                </c:pt>
                <c:pt idx="20">
                  <c:v>0.73489859631376198</c:v>
                </c:pt>
                <c:pt idx="22">
                  <c:v>0.76552537296872325</c:v>
                </c:pt>
                <c:pt idx="23">
                  <c:v>0.39648062583930566</c:v>
                </c:pt>
                <c:pt idx="24">
                  <c:v>0.34421366955754196</c:v>
                </c:pt>
                <c:pt idx="25">
                  <c:v>0.37437701386015099</c:v>
                </c:pt>
                <c:pt idx="26">
                  <c:v>0.22319066062594861</c:v>
                </c:pt>
                <c:pt idx="27">
                  <c:v>0.1509498480243161</c:v>
                </c:pt>
                <c:pt idx="28">
                  <c:v>4.3275109170305637E-2</c:v>
                </c:pt>
                <c:pt idx="29">
                  <c:v>8.9473684210526372E-2</c:v>
                </c:pt>
                <c:pt idx="30">
                  <c:v>6.5881883479648851E-2</c:v>
                </c:pt>
                <c:pt idx="31">
                  <c:v>5.3396152336081748E-2</c:v>
                </c:pt>
                <c:pt idx="32">
                  <c:v>6.6295617866704237E-2</c:v>
                </c:pt>
              </c:numCache>
            </c:numRef>
          </c:val>
          <c:smooth val="1"/>
          <c:extLst>
            <c:ext xmlns:c16="http://schemas.microsoft.com/office/drawing/2014/chart" uri="{C3380CC4-5D6E-409C-BE32-E72D297353CC}">
              <c16:uniqueId val="{0000000C-3633-4890-AA86-6CDD709AD966}"/>
            </c:ext>
          </c:extLst>
        </c:ser>
        <c:dLbls>
          <c:showLegendKey val="0"/>
          <c:showVal val="1"/>
          <c:showCatName val="0"/>
          <c:showSerName val="0"/>
          <c:showPercent val="0"/>
          <c:showBubbleSize val="0"/>
        </c:dLbls>
        <c:marker val="1"/>
        <c:smooth val="0"/>
        <c:axId val="1401192528"/>
        <c:axId val="1401191984"/>
      </c:lineChart>
      <c:dateAx>
        <c:axId val="1401212656"/>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5400000" vert="horz"/>
          <a:lstStyle/>
          <a:p>
            <a:pPr>
              <a:defRPr/>
            </a:pPr>
            <a:endParaRPr lang="en-US"/>
          </a:p>
        </c:txPr>
        <c:crossAx val="1401194160"/>
        <c:crosses val="autoZero"/>
        <c:auto val="1"/>
        <c:lblOffset val="100"/>
        <c:baseTimeUnit val="months"/>
        <c:majorUnit val="1"/>
        <c:majorTimeUnit val="months"/>
      </c:dateAx>
      <c:valAx>
        <c:axId val="1401194160"/>
        <c:scaling>
          <c:orientation val="minMax"/>
        </c:scaling>
        <c:delete val="0"/>
        <c:axPos val="l"/>
        <c:numFmt formatCode="_ * #,##0_ ;_ * \-#,##0_ ;_ * &quot;-&quot;??_ ;_ @_ " sourceLinked="1"/>
        <c:majorTickMark val="none"/>
        <c:minorTickMark val="none"/>
        <c:tickLblPos val="nextTo"/>
        <c:spPr>
          <a:noFill/>
          <a:ln>
            <a:noFill/>
          </a:ln>
          <a:effectLst/>
        </c:spPr>
        <c:txPr>
          <a:bodyPr rot="-60000000" vert="horz"/>
          <a:lstStyle/>
          <a:p>
            <a:pPr>
              <a:defRPr/>
            </a:pPr>
            <a:endParaRPr lang="en-US"/>
          </a:p>
        </c:txPr>
        <c:crossAx val="1401212656"/>
        <c:crosses val="autoZero"/>
        <c:crossBetween val="between"/>
      </c:valAx>
      <c:valAx>
        <c:axId val="1401191984"/>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192528"/>
        <c:crosses val="max"/>
        <c:crossBetween val="between"/>
      </c:valAx>
      <c:dateAx>
        <c:axId val="1401192528"/>
        <c:scaling>
          <c:orientation val="minMax"/>
        </c:scaling>
        <c:delete val="1"/>
        <c:axPos val="b"/>
        <c:numFmt formatCode="mmm\-yy" sourceLinked="1"/>
        <c:majorTickMark val="out"/>
        <c:minorTickMark val="none"/>
        <c:tickLblPos val="nextTo"/>
        <c:crossAx val="1401191984"/>
        <c:crosses val="autoZero"/>
        <c:auto val="1"/>
        <c:lblOffset val="100"/>
        <c:baseTimeUnit val="month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nsumer Confidence Index'!$D$7</c:f>
              <c:strCache>
                <c:ptCount val="1"/>
                <c:pt idx="0">
                  <c:v>Current Situation Index</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nsumer Confidence Index'!$B$34:$C$57</c:f>
              <c:multiLvlStrCache>
                <c:ptCount val="24"/>
                <c:lvl>
                  <c:pt idx="0">
                    <c:v>May-18</c:v>
                  </c:pt>
                  <c:pt idx="1">
                    <c:v>Jun-18</c:v>
                  </c:pt>
                  <c:pt idx="2">
                    <c:v>Sep-18</c:v>
                  </c:pt>
                  <c:pt idx="3">
                    <c:v>Nov-18</c:v>
                  </c:pt>
                  <c:pt idx="4">
                    <c:v>Dec-18</c:v>
                  </c:pt>
                  <c:pt idx="5">
                    <c:v>Mar-19</c:v>
                  </c:pt>
                  <c:pt idx="6">
                    <c:v>May-19</c:v>
                  </c:pt>
                  <c:pt idx="7">
                    <c:v>Jul-19</c:v>
                  </c:pt>
                  <c:pt idx="8">
                    <c:v>Sep-19</c:v>
                  </c:pt>
                  <c:pt idx="9">
                    <c:v>Nov-19</c:v>
                  </c:pt>
                  <c:pt idx="10">
                    <c:v>Jan-20</c:v>
                  </c:pt>
                  <c:pt idx="11">
                    <c:v>Mar-20</c:v>
                  </c:pt>
                  <c:pt idx="12">
                    <c:v>May-20</c:v>
                  </c:pt>
                  <c:pt idx="13">
                    <c:v>Jul-20</c:v>
                  </c:pt>
                  <c:pt idx="14">
                    <c:v>Sep-20</c:v>
                  </c:pt>
                  <c:pt idx="15">
                    <c:v>Nov-20</c:v>
                  </c:pt>
                  <c:pt idx="16">
                    <c:v>Jan-21</c:v>
                  </c:pt>
                  <c:pt idx="17">
                    <c:v>Mar-21</c:v>
                  </c:pt>
                  <c:pt idx="18">
                    <c:v>May-21</c:v>
                  </c:pt>
                  <c:pt idx="19">
                    <c:v>Jul-21</c:v>
                  </c:pt>
                  <c:pt idx="20">
                    <c:v>Sep-21</c:v>
                  </c:pt>
                  <c:pt idx="21">
                    <c:v>Nov-21</c:v>
                  </c:pt>
                  <c:pt idx="22">
                    <c:v>Jan-22</c:v>
                  </c:pt>
                  <c:pt idx="23">
                    <c:v>Mar-22</c:v>
                  </c:pt>
                </c:lvl>
                <c:lvl>
                  <c:pt idx="0">
                    <c:v>FY19</c:v>
                  </c:pt>
                  <c:pt idx="6">
                    <c:v>FY20</c:v>
                  </c:pt>
                  <c:pt idx="12">
                    <c:v>FY21</c:v>
                  </c:pt>
                  <c:pt idx="18">
                    <c:v>FY22</c:v>
                  </c:pt>
                </c:lvl>
              </c:multiLvlStrCache>
            </c:multiLvlStrRef>
          </c:cat>
          <c:val>
            <c:numRef>
              <c:f>'Consumer Confidence Index'!$D$34:$D$57</c:f>
              <c:numCache>
                <c:formatCode>0</c:formatCode>
                <c:ptCount val="24"/>
                <c:pt idx="0">
                  <c:v>94.22</c:v>
                </c:pt>
                <c:pt idx="1">
                  <c:v>98.25</c:v>
                </c:pt>
                <c:pt idx="2">
                  <c:v>94.76</c:v>
                </c:pt>
                <c:pt idx="3">
                  <c:v>93.9</c:v>
                </c:pt>
                <c:pt idx="4">
                  <c:v>96.7</c:v>
                </c:pt>
                <c:pt idx="5">
                  <c:v>104.56</c:v>
                </c:pt>
                <c:pt idx="6">
                  <c:v>97.34</c:v>
                </c:pt>
                <c:pt idx="7">
                  <c:v>95.74</c:v>
                </c:pt>
                <c:pt idx="8">
                  <c:v>89.4</c:v>
                </c:pt>
                <c:pt idx="9">
                  <c:v>85.7</c:v>
                </c:pt>
                <c:pt idx="10">
                  <c:v>83.7</c:v>
                </c:pt>
                <c:pt idx="11">
                  <c:v>85.6</c:v>
                </c:pt>
                <c:pt idx="12">
                  <c:v>63.7</c:v>
                </c:pt>
                <c:pt idx="13">
                  <c:v>53.8</c:v>
                </c:pt>
                <c:pt idx="14">
                  <c:v>49.9</c:v>
                </c:pt>
                <c:pt idx="15">
                  <c:v>52.3</c:v>
                </c:pt>
                <c:pt idx="16">
                  <c:v>55.5</c:v>
                </c:pt>
                <c:pt idx="17">
                  <c:v>53.1</c:v>
                </c:pt>
                <c:pt idx="18">
                  <c:v>48.5</c:v>
                </c:pt>
                <c:pt idx="19">
                  <c:v>48.6</c:v>
                </c:pt>
                <c:pt idx="20">
                  <c:v>57.7</c:v>
                </c:pt>
                <c:pt idx="21">
                  <c:v>62.3</c:v>
                </c:pt>
                <c:pt idx="22">
                  <c:v>63.7</c:v>
                </c:pt>
                <c:pt idx="23">
                  <c:v>71.7</c:v>
                </c:pt>
              </c:numCache>
            </c:numRef>
          </c:val>
          <c:smooth val="0"/>
          <c:extLst>
            <c:ext xmlns:c16="http://schemas.microsoft.com/office/drawing/2014/chart" uri="{C3380CC4-5D6E-409C-BE32-E72D297353CC}">
              <c16:uniqueId val="{00000000-0541-4FDE-9464-777B79D3C4B4}"/>
            </c:ext>
          </c:extLst>
        </c:ser>
        <c:ser>
          <c:idx val="1"/>
          <c:order val="1"/>
          <c:tx>
            <c:strRef>
              <c:f>'Consumer Confidence Index'!$E$7</c:f>
              <c:strCache>
                <c:ptCount val="1"/>
                <c:pt idx="0">
                  <c:v>Future Expectation Index</c:v>
                </c:pt>
              </c:strCache>
            </c:strRef>
          </c:tx>
          <c:spPr>
            <a:ln w="28575" cap="rnd">
              <a:solidFill>
                <a:schemeClr val="accent6">
                  <a:lumMod val="75000"/>
                </a:schemeClr>
              </a:solidFill>
              <a:round/>
            </a:ln>
            <a:effectLst/>
          </c:spPr>
          <c:marker>
            <c:symbol val="circle"/>
            <c:size val="5"/>
            <c:spPr>
              <a:solidFill>
                <a:schemeClr val="accent6">
                  <a:lumMod val="75000"/>
                </a:schemeClr>
              </a:solidFill>
              <a:ln w="9525">
                <a:solidFill>
                  <a:schemeClr val="accent6">
                    <a:lumMod val="75000"/>
                  </a:schemeClr>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onsumer Confidence Index'!$B$34:$C$57</c:f>
              <c:multiLvlStrCache>
                <c:ptCount val="24"/>
                <c:lvl>
                  <c:pt idx="0">
                    <c:v>May-18</c:v>
                  </c:pt>
                  <c:pt idx="1">
                    <c:v>Jun-18</c:v>
                  </c:pt>
                  <c:pt idx="2">
                    <c:v>Sep-18</c:v>
                  </c:pt>
                  <c:pt idx="3">
                    <c:v>Nov-18</c:v>
                  </c:pt>
                  <c:pt idx="4">
                    <c:v>Dec-18</c:v>
                  </c:pt>
                  <c:pt idx="5">
                    <c:v>Mar-19</c:v>
                  </c:pt>
                  <c:pt idx="6">
                    <c:v>May-19</c:v>
                  </c:pt>
                  <c:pt idx="7">
                    <c:v>Jul-19</c:v>
                  </c:pt>
                  <c:pt idx="8">
                    <c:v>Sep-19</c:v>
                  </c:pt>
                  <c:pt idx="9">
                    <c:v>Nov-19</c:v>
                  </c:pt>
                  <c:pt idx="10">
                    <c:v>Jan-20</c:v>
                  </c:pt>
                  <c:pt idx="11">
                    <c:v>Mar-20</c:v>
                  </c:pt>
                  <c:pt idx="12">
                    <c:v>May-20</c:v>
                  </c:pt>
                  <c:pt idx="13">
                    <c:v>Jul-20</c:v>
                  </c:pt>
                  <c:pt idx="14">
                    <c:v>Sep-20</c:v>
                  </c:pt>
                  <c:pt idx="15">
                    <c:v>Nov-20</c:v>
                  </c:pt>
                  <c:pt idx="16">
                    <c:v>Jan-21</c:v>
                  </c:pt>
                  <c:pt idx="17">
                    <c:v>Mar-21</c:v>
                  </c:pt>
                  <c:pt idx="18">
                    <c:v>May-21</c:v>
                  </c:pt>
                  <c:pt idx="19">
                    <c:v>Jul-21</c:v>
                  </c:pt>
                  <c:pt idx="20">
                    <c:v>Sep-21</c:v>
                  </c:pt>
                  <c:pt idx="21">
                    <c:v>Nov-21</c:v>
                  </c:pt>
                  <c:pt idx="22">
                    <c:v>Jan-22</c:v>
                  </c:pt>
                  <c:pt idx="23">
                    <c:v>Mar-22</c:v>
                  </c:pt>
                </c:lvl>
                <c:lvl>
                  <c:pt idx="0">
                    <c:v>FY19</c:v>
                  </c:pt>
                  <c:pt idx="6">
                    <c:v>FY20</c:v>
                  </c:pt>
                  <c:pt idx="12">
                    <c:v>FY21</c:v>
                  </c:pt>
                  <c:pt idx="18">
                    <c:v>FY22</c:v>
                  </c:pt>
                </c:lvl>
              </c:multiLvlStrCache>
            </c:multiLvlStrRef>
          </c:cat>
          <c:val>
            <c:numRef>
              <c:f>'Consumer Confidence Index'!$E$34:$E$57</c:f>
              <c:numCache>
                <c:formatCode>0</c:formatCode>
                <c:ptCount val="24"/>
                <c:pt idx="0">
                  <c:v>119.34</c:v>
                </c:pt>
                <c:pt idx="1">
                  <c:v>119.76</c:v>
                </c:pt>
                <c:pt idx="2">
                  <c:v>121.06</c:v>
                </c:pt>
                <c:pt idx="3">
                  <c:v>120</c:v>
                </c:pt>
                <c:pt idx="4">
                  <c:v>128.94</c:v>
                </c:pt>
                <c:pt idx="5">
                  <c:v>133.44</c:v>
                </c:pt>
                <c:pt idx="6">
                  <c:v>128.41999999999999</c:v>
                </c:pt>
                <c:pt idx="7">
                  <c:v>124.78</c:v>
                </c:pt>
                <c:pt idx="8">
                  <c:v>118</c:v>
                </c:pt>
                <c:pt idx="9">
                  <c:v>114.5</c:v>
                </c:pt>
                <c:pt idx="10">
                  <c:v>115.1</c:v>
                </c:pt>
                <c:pt idx="11">
                  <c:v>115.2</c:v>
                </c:pt>
                <c:pt idx="12">
                  <c:v>97.9</c:v>
                </c:pt>
                <c:pt idx="13">
                  <c:v>105.4</c:v>
                </c:pt>
                <c:pt idx="14">
                  <c:v>115.9</c:v>
                </c:pt>
                <c:pt idx="15">
                  <c:v>115.9</c:v>
                </c:pt>
                <c:pt idx="16">
                  <c:v>117</c:v>
                </c:pt>
                <c:pt idx="17">
                  <c:v>108.8</c:v>
                </c:pt>
                <c:pt idx="18">
                  <c:v>96.4</c:v>
                </c:pt>
                <c:pt idx="19">
                  <c:v>104</c:v>
                </c:pt>
                <c:pt idx="20">
                  <c:v>107</c:v>
                </c:pt>
                <c:pt idx="21">
                  <c:v>109.6</c:v>
                </c:pt>
                <c:pt idx="22">
                  <c:v>103</c:v>
                </c:pt>
                <c:pt idx="23">
                  <c:v>115.2</c:v>
                </c:pt>
              </c:numCache>
            </c:numRef>
          </c:val>
          <c:smooth val="0"/>
          <c:extLst>
            <c:ext xmlns:c16="http://schemas.microsoft.com/office/drawing/2014/chart" uri="{C3380CC4-5D6E-409C-BE32-E72D297353CC}">
              <c16:uniqueId val="{00000001-0541-4FDE-9464-777B79D3C4B4}"/>
            </c:ext>
          </c:extLst>
        </c:ser>
        <c:dLbls>
          <c:dLblPos val="t"/>
          <c:showLegendKey val="0"/>
          <c:showVal val="1"/>
          <c:showCatName val="0"/>
          <c:showSerName val="0"/>
          <c:showPercent val="0"/>
          <c:showBubbleSize val="0"/>
        </c:dLbls>
        <c:marker val="1"/>
        <c:smooth val="0"/>
        <c:axId val="111253760"/>
        <c:axId val="111259648"/>
      </c:lineChart>
      <c:catAx>
        <c:axId val="111253760"/>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1259648"/>
        <c:crosses val="autoZero"/>
        <c:auto val="1"/>
        <c:lblAlgn val="ctr"/>
        <c:lblOffset val="100"/>
        <c:noMultiLvlLbl val="0"/>
      </c:catAx>
      <c:valAx>
        <c:axId val="111259648"/>
        <c:scaling>
          <c:orientation val="minMax"/>
        </c:scaling>
        <c:delete val="0"/>
        <c:axPos val="l"/>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125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L$7</c:f>
              <c:strCache>
                <c:ptCount val="1"/>
                <c:pt idx="0">
                  <c:v>Houses completed in '000s (inluding backlogs)</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M$6:$T$6</c:f>
              <c:strCache>
                <c:ptCount val="8"/>
                <c:pt idx="0">
                  <c:v>FY18</c:v>
                </c:pt>
                <c:pt idx="1">
                  <c:v>FY19</c:v>
                </c:pt>
                <c:pt idx="2">
                  <c:v>FY20</c:v>
                </c:pt>
                <c:pt idx="3">
                  <c:v>FY21</c:v>
                </c:pt>
                <c:pt idx="4">
                  <c:v>Q1FY22</c:v>
                </c:pt>
                <c:pt idx="5">
                  <c:v>Q2FY22</c:v>
                </c:pt>
                <c:pt idx="6">
                  <c:v>Q3FY22</c:v>
                </c:pt>
                <c:pt idx="7">
                  <c:v>Q4FY22</c:v>
                </c:pt>
              </c:strCache>
            </c:strRef>
          </c:cat>
          <c:val>
            <c:numRef>
              <c:f>Sheet2!$M$7:$T$7</c:f>
              <c:numCache>
                <c:formatCode>_ * #,##0_ ;_ * \-#,##0_ ;_ * "-"??_ ;_ @_ </c:formatCode>
                <c:ptCount val="8"/>
                <c:pt idx="0">
                  <c:v>4454.5119999999997</c:v>
                </c:pt>
                <c:pt idx="1">
                  <c:v>4733.3710000000001</c:v>
                </c:pt>
                <c:pt idx="2">
                  <c:v>2191.8110000000001</c:v>
                </c:pt>
                <c:pt idx="3">
                  <c:v>3527.1590000000001</c:v>
                </c:pt>
                <c:pt idx="4">
                  <c:v>907.13499999999999</c:v>
                </c:pt>
                <c:pt idx="5">
                  <c:v>1198.865</c:v>
                </c:pt>
                <c:pt idx="6">
                  <c:v>997.17</c:v>
                </c:pt>
                <c:pt idx="7" formatCode="_(* #,##0_);_(* \(#,##0\);_(* &quot;-&quot;??_);_(@_)">
                  <c:v>858.74699999999996</c:v>
                </c:pt>
              </c:numCache>
            </c:numRef>
          </c:val>
          <c:extLst>
            <c:ext xmlns:c16="http://schemas.microsoft.com/office/drawing/2014/chart" uri="{C3380CC4-5D6E-409C-BE32-E72D297353CC}">
              <c16:uniqueId val="{00000000-766C-4DA7-A8B0-63E2262B98E4}"/>
            </c:ext>
          </c:extLst>
        </c:ser>
        <c:dLbls>
          <c:showLegendKey val="0"/>
          <c:showVal val="1"/>
          <c:showCatName val="0"/>
          <c:showSerName val="0"/>
          <c:showPercent val="0"/>
          <c:showBubbleSize val="0"/>
        </c:dLbls>
        <c:gapWidth val="75"/>
        <c:axId val="-446886288"/>
        <c:axId val="-446885744"/>
      </c:barChart>
      <c:catAx>
        <c:axId val="-446886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46885744"/>
        <c:crosses val="autoZero"/>
        <c:auto val="1"/>
        <c:lblAlgn val="ctr"/>
        <c:lblOffset val="100"/>
        <c:noMultiLvlLbl val="0"/>
      </c:catAx>
      <c:valAx>
        <c:axId val="-446885744"/>
        <c:scaling>
          <c:orientation val="minMax"/>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46886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9!$I$7</c:f>
              <c:strCache>
                <c:ptCount val="1"/>
                <c:pt idx="0">
                  <c:v>Houses constructed per quarter ('000s)</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9!$G$12:$G$27</c:f>
              <c:strCache>
                <c:ptCount val="16"/>
                <c:pt idx="0">
                  <c:v>Q1FY19</c:v>
                </c:pt>
                <c:pt idx="1">
                  <c:v>Q2FY19</c:v>
                </c:pt>
                <c:pt idx="2">
                  <c:v>Q3FY19</c:v>
                </c:pt>
                <c:pt idx="3">
                  <c:v>Q4FY19</c:v>
                </c:pt>
                <c:pt idx="4">
                  <c:v>Q1FY20</c:v>
                </c:pt>
                <c:pt idx="5">
                  <c:v>Q2FY20</c:v>
                </c:pt>
                <c:pt idx="6">
                  <c:v>Q3FY20</c:v>
                </c:pt>
                <c:pt idx="7">
                  <c:v>Q4FY20</c:v>
                </c:pt>
                <c:pt idx="8">
                  <c:v>Q1FY21</c:v>
                </c:pt>
                <c:pt idx="9">
                  <c:v>Q2FY21</c:v>
                </c:pt>
                <c:pt idx="10">
                  <c:v>Q3FY21</c:v>
                </c:pt>
                <c:pt idx="11">
                  <c:v>Q4FY21</c:v>
                </c:pt>
                <c:pt idx="12">
                  <c:v>Q1FY22</c:v>
                </c:pt>
                <c:pt idx="13">
                  <c:v>Q2FY22</c:v>
                </c:pt>
                <c:pt idx="14">
                  <c:v>Q3FY22</c:v>
                </c:pt>
                <c:pt idx="15">
                  <c:v>Q4FY22</c:v>
                </c:pt>
              </c:strCache>
            </c:strRef>
          </c:cat>
          <c:val>
            <c:numRef>
              <c:f>Sheet9!$I$12:$I$27</c:f>
              <c:numCache>
                <c:formatCode>_(* #,##0_);_(* \(#,##0\);_(* "-"??_);_(@_)</c:formatCode>
                <c:ptCount val="16"/>
                <c:pt idx="0">
                  <c:v>376.00200000000001</c:v>
                </c:pt>
                <c:pt idx="1">
                  <c:v>159.47299999999996</c:v>
                </c:pt>
                <c:pt idx="2">
                  <c:v>423.58799999999997</c:v>
                </c:pt>
                <c:pt idx="3">
                  <c:v>546.24199999999996</c:v>
                </c:pt>
                <c:pt idx="4">
                  <c:v>702.53400000000011</c:v>
                </c:pt>
                <c:pt idx="5">
                  <c:v>108.73599999999988</c:v>
                </c:pt>
                <c:pt idx="6">
                  <c:v>348.48700000000008</c:v>
                </c:pt>
                <c:pt idx="7">
                  <c:v>150.86400000000003</c:v>
                </c:pt>
                <c:pt idx="8">
                  <c:v>233</c:v>
                </c:pt>
                <c:pt idx="9">
                  <c:v>317</c:v>
                </c:pt>
                <c:pt idx="10">
                  <c:v>279</c:v>
                </c:pt>
                <c:pt idx="11">
                  <c:v>456</c:v>
                </c:pt>
                <c:pt idx="12">
                  <c:v>503</c:v>
                </c:pt>
                <c:pt idx="13">
                  <c:v>79</c:v>
                </c:pt>
                <c:pt idx="14">
                  <c:v>229</c:v>
                </c:pt>
                <c:pt idx="15">
                  <c:v>489</c:v>
                </c:pt>
              </c:numCache>
            </c:numRef>
          </c:val>
          <c:extLst>
            <c:ext xmlns:c16="http://schemas.microsoft.com/office/drawing/2014/chart" uri="{C3380CC4-5D6E-409C-BE32-E72D297353CC}">
              <c16:uniqueId val="{00000000-884A-4050-8869-520A68538C98}"/>
            </c:ext>
          </c:extLst>
        </c:ser>
        <c:dLbls>
          <c:showLegendKey val="0"/>
          <c:showVal val="1"/>
          <c:showCatName val="0"/>
          <c:showSerName val="0"/>
          <c:showPercent val="0"/>
          <c:showBubbleSize val="0"/>
        </c:dLbls>
        <c:gapWidth val="75"/>
        <c:axId val="-1072390768"/>
        <c:axId val="-1072390224"/>
      </c:barChart>
      <c:catAx>
        <c:axId val="-107239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2390224"/>
        <c:crosses val="autoZero"/>
        <c:auto val="1"/>
        <c:lblAlgn val="ctr"/>
        <c:lblOffset val="100"/>
        <c:noMultiLvlLbl val="0"/>
      </c:catAx>
      <c:valAx>
        <c:axId val="-1072390224"/>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23907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NREGA_expenditure!$H$3</c:f>
              <c:strCache>
                <c:ptCount val="1"/>
                <c:pt idx="0">
                  <c:v>Expenditure on wages under MNREGA (INR bn)</c:v>
                </c:pt>
              </c:strCache>
            </c:strRef>
          </c:tx>
          <c:spPr>
            <a:solidFill>
              <a:schemeClr val="bg2"/>
            </a:solidFill>
            <a:ln>
              <a:noFill/>
            </a:ln>
            <a:effectLst/>
          </c:spPr>
          <c:invertIfNegative val="0"/>
          <c:cat>
            <c:multiLvlStrRef>
              <c:f>MNREGA_expenditure!$F$16:$G$63</c:f>
              <c:multiLvlStrCache>
                <c:ptCount val="48"/>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pt idx="46">
                    <c:v>Feb</c:v>
                  </c:pt>
                  <c:pt idx="47">
                    <c:v>Mar</c:v>
                  </c:pt>
                </c:lvl>
                <c:lvl>
                  <c:pt idx="0">
                    <c:v>FY19</c:v>
                  </c:pt>
                  <c:pt idx="12">
                    <c:v>FY20</c:v>
                  </c:pt>
                  <c:pt idx="24">
                    <c:v>FY21</c:v>
                  </c:pt>
                  <c:pt idx="36">
                    <c:v>FY22</c:v>
                  </c:pt>
                </c:lvl>
              </c:multiLvlStrCache>
            </c:multiLvlStrRef>
          </c:cat>
          <c:val>
            <c:numRef>
              <c:f>MNREGA_expenditure!$H$16:$H$63</c:f>
              <c:numCache>
                <c:formatCode>_ * #,##0_ ;_ * \-#,##0_ ;_ * "-"??_ ;_ @_ </c:formatCode>
                <c:ptCount val="48"/>
                <c:pt idx="0">
                  <c:v>36.271885476000001</c:v>
                </c:pt>
                <c:pt idx="1">
                  <c:v>52.575182765999998</c:v>
                </c:pt>
                <c:pt idx="2">
                  <c:v>50.715393958999996</c:v>
                </c:pt>
                <c:pt idx="3">
                  <c:v>37.178248934999999</c:v>
                </c:pt>
                <c:pt idx="4">
                  <c:v>31.288125551</c:v>
                </c:pt>
                <c:pt idx="5">
                  <c:v>29.80288195</c:v>
                </c:pt>
                <c:pt idx="6">
                  <c:v>35.647042865000003</c:v>
                </c:pt>
                <c:pt idx="7">
                  <c:v>37.281853193000003</c:v>
                </c:pt>
                <c:pt idx="8">
                  <c:v>43.821130091000001</c:v>
                </c:pt>
                <c:pt idx="9">
                  <c:v>46.137004916000002</c:v>
                </c:pt>
                <c:pt idx="10">
                  <c:v>43.001559145000002</c:v>
                </c:pt>
                <c:pt idx="11">
                  <c:v>36.163445107999998</c:v>
                </c:pt>
                <c:pt idx="12">
                  <c:v>47.809138492000002</c:v>
                </c:pt>
                <c:pt idx="13">
                  <c:v>64.673654666999994</c:v>
                </c:pt>
                <c:pt idx="14">
                  <c:v>56.840661202</c:v>
                </c:pt>
                <c:pt idx="15">
                  <c:v>35.893955157000001</c:v>
                </c:pt>
                <c:pt idx="16">
                  <c:v>28.902785775000002</c:v>
                </c:pt>
                <c:pt idx="17">
                  <c:v>27.742544723999998</c:v>
                </c:pt>
                <c:pt idx="18">
                  <c:v>26.453691745</c:v>
                </c:pt>
                <c:pt idx="19">
                  <c:v>31.849565895000001</c:v>
                </c:pt>
                <c:pt idx="20">
                  <c:v>37.787203067</c:v>
                </c:pt>
                <c:pt idx="21">
                  <c:v>42.550793943999999</c:v>
                </c:pt>
                <c:pt idx="22">
                  <c:v>49.074726343999998</c:v>
                </c:pt>
                <c:pt idx="23">
                  <c:v>33.72293122</c:v>
                </c:pt>
                <c:pt idx="24">
                  <c:v>27.798938739</c:v>
                </c:pt>
                <c:pt idx="25">
                  <c:v>110.85717354099999</c:v>
                </c:pt>
                <c:pt idx="26">
                  <c:v>126.840737334</c:v>
                </c:pt>
                <c:pt idx="27">
                  <c:v>78.200035768999996</c:v>
                </c:pt>
                <c:pt idx="28">
                  <c:v>52.834457473999997</c:v>
                </c:pt>
                <c:pt idx="29">
                  <c:v>53.750830004000001</c:v>
                </c:pt>
                <c:pt idx="30">
                  <c:v>56.184377206999997</c:v>
                </c:pt>
                <c:pt idx="31">
                  <c:v>50.392231738</c:v>
                </c:pt>
                <c:pt idx="32">
                  <c:v>59.974064875000003</c:v>
                </c:pt>
                <c:pt idx="33">
                  <c:v>56.643025551000001</c:v>
                </c:pt>
                <c:pt idx="34">
                  <c:v>62.318304298999998</c:v>
                </c:pt>
                <c:pt idx="35">
                  <c:v>52.116758695000001</c:v>
                </c:pt>
                <c:pt idx="36">
                  <c:v>69.246122980999999</c:v>
                </c:pt>
                <c:pt idx="37">
                  <c:v>75.949112416000006</c:v>
                </c:pt>
                <c:pt idx="38">
                  <c:v>93.545200176999998</c:v>
                </c:pt>
                <c:pt idx="39">
                  <c:v>78.878234155000001</c:v>
                </c:pt>
                <c:pt idx="40">
                  <c:v>58.943424809</c:v>
                </c:pt>
                <c:pt idx="41">
                  <c:v>59.97910821</c:v>
                </c:pt>
                <c:pt idx="42">
                  <c:v>48.371622283000001</c:v>
                </c:pt>
                <c:pt idx="43">
                  <c:v>49.212807349999999</c:v>
                </c:pt>
                <c:pt idx="44">
                  <c:v>62.550717450999997</c:v>
                </c:pt>
                <c:pt idx="45">
                  <c:v>55.904757732999997</c:v>
                </c:pt>
                <c:pt idx="46">
                  <c:v>54.452989146999997</c:v>
                </c:pt>
                <c:pt idx="47">
                  <c:v>44.272747270000004</c:v>
                </c:pt>
              </c:numCache>
            </c:numRef>
          </c:val>
          <c:extLst>
            <c:ext xmlns:c16="http://schemas.microsoft.com/office/drawing/2014/chart" uri="{C3380CC4-5D6E-409C-BE32-E72D297353CC}">
              <c16:uniqueId val="{00000000-F479-40C1-B440-574B58CAA414}"/>
            </c:ext>
          </c:extLst>
        </c:ser>
        <c:dLbls>
          <c:showLegendKey val="0"/>
          <c:showVal val="0"/>
          <c:showCatName val="0"/>
          <c:showSerName val="0"/>
          <c:showPercent val="0"/>
          <c:showBubbleSize val="0"/>
        </c:dLbls>
        <c:gapWidth val="75"/>
        <c:axId val="-98152096"/>
        <c:axId val="-98151008"/>
      </c:barChart>
      <c:lineChart>
        <c:grouping val="standard"/>
        <c:varyColors val="0"/>
        <c:ser>
          <c:idx val="1"/>
          <c:order val="1"/>
          <c:tx>
            <c:strRef>
              <c:f>MNREGA_expenditure!$I$3</c:f>
              <c:strCache>
                <c:ptCount val="1"/>
                <c:pt idx="0">
                  <c:v>% growth y-o-y</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MNREGA_expenditure!$F$16:$G$63</c:f>
              <c:multiLvlStrCache>
                <c:ptCount val="48"/>
                <c:lvl>
                  <c:pt idx="0">
                    <c:v>Apr</c:v>
                  </c:pt>
                  <c:pt idx="1">
                    <c:v>May</c:v>
                  </c:pt>
                  <c:pt idx="2">
                    <c:v>Jun</c:v>
                  </c:pt>
                  <c:pt idx="3">
                    <c:v>Jul</c:v>
                  </c:pt>
                  <c:pt idx="4">
                    <c:v>Aug</c:v>
                  </c:pt>
                  <c:pt idx="5">
                    <c:v>Sep</c:v>
                  </c:pt>
                  <c:pt idx="6">
                    <c:v>Oct</c:v>
                  </c:pt>
                  <c:pt idx="7">
                    <c:v>Nov</c:v>
                  </c:pt>
                  <c:pt idx="8">
                    <c:v>Dec</c:v>
                  </c:pt>
                  <c:pt idx="9">
                    <c:v>Jan</c:v>
                  </c:pt>
                  <c:pt idx="10">
                    <c:v>Feb</c:v>
                  </c:pt>
                  <c:pt idx="11">
                    <c:v>Mar</c:v>
                  </c:pt>
                  <c:pt idx="12">
                    <c:v>Apr</c:v>
                  </c:pt>
                  <c:pt idx="13">
                    <c:v>May</c:v>
                  </c:pt>
                  <c:pt idx="14">
                    <c:v>Jun</c:v>
                  </c:pt>
                  <c:pt idx="15">
                    <c:v>Jul</c:v>
                  </c:pt>
                  <c:pt idx="16">
                    <c:v>Aug</c:v>
                  </c:pt>
                  <c:pt idx="17">
                    <c:v>Sep</c:v>
                  </c:pt>
                  <c:pt idx="18">
                    <c:v>Oct</c:v>
                  </c:pt>
                  <c:pt idx="19">
                    <c:v>Nov</c:v>
                  </c:pt>
                  <c:pt idx="20">
                    <c:v>Dec</c:v>
                  </c:pt>
                  <c:pt idx="21">
                    <c:v>Jan</c:v>
                  </c:pt>
                  <c:pt idx="22">
                    <c:v>Feb</c:v>
                  </c:pt>
                  <c:pt idx="23">
                    <c:v>Mar</c:v>
                  </c:pt>
                  <c:pt idx="24">
                    <c:v>Apr</c:v>
                  </c:pt>
                  <c:pt idx="25">
                    <c:v>May</c:v>
                  </c:pt>
                  <c:pt idx="26">
                    <c:v>Jun</c:v>
                  </c:pt>
                  <c:pt idx="27">
                    <c:v>Jul</c:v>
                  </c:pt>
                  <c:pt idx="28">
                    <c:v>Aug</c:v>
                  </c:pt>
                  <c:pt idx="29">
                    <c:v>Sep</c:v>
                  </c:pt>
                  <c:pt idx="30">
                    <c:v>Oct</c:v>
                  </c:pt>
                  <c:pt idx="31">
                    <c:v>Nov</c:v>
                  </c:pt>
                  <c:pt idx="32">
                    <c:v>Dec</c:v>
                  </c:pt>
                  <c:pt idx="33">
                    <c:v>Jan</c:v>
                  </c:pt>
                  <c:pt idx="34">
                    <c:v>Feb</c:v>
                  </c:pt>
                  <c:pt idx="35">
                    <c:v>Mar</c:v>
                  </c:pt>
                  <c:pt idx="36">
                    <c:v>Apr</c:v>
                  </c:pt>
                  <c:pt idx="37">
                    <c:v>May</c:v>
                  </c:pt>
                  <c:pt idx="38">
                    <c:v>Jun</c:v>
                  </c:pt>
                  <c:pt idx="39">
                    <c:v>Jul</c:v>
                  </c:pt>
                  <c:pt idx="40">
                    <c:v>Aug</c:v>
                  </c:pt>
                  <c:pt idx="41">
                    <c:v>Sep</c:v>
                  </c:pt>
                  <c:pt idx="42">
                    <c:v>Oct</c:v>
                  </c:pt>
                  <c:pt idx="43">
                    <c:v>Nov</c:v>
                  </c:pt>
                  <c:pt idx="44">
                    <c:v>Dec</c:v>
                  </c:pt>
                  <c:pt idx="45">
                    <c:v>Jan</c:v>
                  </c:pt>
                  <c:pt idx="46">
                    <c:v>Feb</c:v>
                  </c:pt>
                  <c:pt idx="47">
                    <c:v>Mar</c:v>
                  </c:pt>
                </c:lvl>
                <c:lvl>
                  <c:pt idx="0">
                    <c:v>FY19</c:v>
                  </c:pt>
                  <c:pt idx="12">
                    <c:v>FY20</c:v>
                  </c:pt>
                  <c:pt idx="24">
                    <c:v>FY21</c:v>
                  </c:pt>
                  <c:pt idx="36">
                    <c:v>FY22</c:v>
                  </c:pt>
                </c:lvl>
              </c:multiLvlStrCache>
            </c:multiLvlStrRef>
          </c:cat>
          <c:val>
            <c:numRef>
              <c:f>MNREGA_expenditure!$I$16:$I$63</c:f>
              <c:numCache>
                <c:formatCode>0%</c:formatCode>
                <c:ptCount val="48"/>
                <c:pt idx="0">
                  <c:v>9.3529603220455781E-2</c:v>
                </c:pt>
                <c:pt idx="1">
                  <c:v>-0.12539363575184659</c:v>
                </c:pt>
                <c:pt idx="2">
                  <c:v>-8.775516750145107E-2</c:v>
                </c:pt>
                <c:pt idx="3">
                  <c:v>0.14453589144157819</c:v>
                </c:pt>
                <c:pt idx="4">
                  <c:v>0.2892814993978674</c:v>
                </c:pt>
                <c:pt idx="5">
                  <c:v>0.46655781711331334</c:v>
                </c:pt>
                <c:pt idx="6">
                  <c:v>0.59526739989272204</c:v>
                </c:pt>
                <c:pt idx="7">
                  <c:v>0.68014163165539299</c:v>
                </c:pt>
                <c:pt idx="8">
                  <c:v>0.58657179627593004</c:v>
                </c:pt>
                <c:pt idx="9">
                  <c:v>0.44082306659235426</c:v>
                </c:pt>
                <c:pt idx="10">
                  <c:v>0.24473267830342982</c:v>
                </c:pt>
                <c:pt idx="11">
                  <c:v>0.15296878868474839</c:v>
                </c:pt>
                <c:pt idx="12">
                  <c:v>0.31807701376962738</c:v>
                </c:pt>
                <c:pt idx="13">
                  <c:v>0.23011754338254042</c:v>
                </c:pt>
                <c:pt idx="14">
                  <c:v>0.12077727815644845</c:v>
                </c:pt>
                <c:pt idx="15">
                  <c:v>-3.4544224507328858E-2</c:v>
                </c:pt>
                <c:pt idx="16">
                  <c:v>-7.6237861296991616E-2</c:v>
                </c:pt>
                <c:pt idx="17">
                  <c:v>-6.9132147335838501E-2</c:v>
                </c:pt>
                <c:pt idx="18">
                  <c:v>-0.25789940430168135</c:v>
                </c:pt>
                <c:pt idx="19">
                  <c:v>-0.14570861780604727</c:v>
                </c:pt>
                <c:pt idx="20">
                  <c:v>-0.13769446409688213</c:v>
                </c:pt>
                <c:pt idx="21">
                  <c:v>-7.772960075170221E-2</c:v>
                </c:pt>
                <c:pt idx="22">
                  <c:v>0.14123132555546314</c:v>
                </c:pt>
                <c:pt idx="23">
                  <c:v>-6.748565798174222E-2</c:v>
                </c:pt>
                <c:pt idx="24">
                  <c:v>-0.41854340789571742</c:v>
                </c:pt>
                <c:pt idx="25">
                  <c:v>0.71410095983898891</c:v>
                </c:pt>
                <c:pt idx="26">
                  <c:v>1.2315141071852445</c:v>
                </c:pt>
                <c:pt idx="27">
                  <c:v>1.1786408164537283</c:v>
                </c:pt>
                <c:pt idx="28">
                  <c:v>0.82800571146675206</c:v>
                </c:pt>
                <c:pt idx="29">
                  <c:v>0.9374873696247592</c:v>
                </c:pt>
                <c:pt idx="30">
                  <c:v>1.1238766123302764</c:v>
                </c:pt>
                <c:pt idx="31">
                  <c:v>0.58219524574151182</c:v>
                </c:pt>
                <c:pt idx="32">
                  <c:v>0.58715279267059706</c:v>
                </c:pt>
                <c:pt idx="33">
                  <c:v>0.33118610255654501</c:v>
                </c:pt>
                <c:pt idx="34">
                  <c:v>0.26986554875856572</c:v>
                </c:pt>
                <c:pt idx="35">
                  <c:v>0.54543975892852425</c:v>
                </c:pt>
                <c:pt idx="36">
                  <c:v>1.4909628252769394</c:v>
                </c:pt>
                <c:pt idx="37">
                  <c:v>-0.31489221680443991</c:v>
                </c:pt>
                <c:pt idx="38">
                  <c:v>-0.26249876701146424</c:v>
                </c:pt>
                <c:pt idx="39">
                  <c:v>8.6726096648264139E-3</c:v>
                </c:pt>
                <c:pt idx="40">
                  <c:v>0.11562468182826047</c:v>
                </c:pt>
                <c:pt idx="41">
                  <c:v>0.11587315406174215</c:v>
                </c:pt>
                <c:pt idx="42">
                  <c:v>-0.13905564700335604</c:v>
                </c:pt>
                <c:pt idx="43">
                  <c:v>-2.3404884985687491E-2</c:v>
                </c:pt>
                <c:pt idx="44">
                  <c:v>4.2962780351312624E-2</c:v>
                </c:pt>
                <c:pt idx="45">
                  <c:v>-1.3033693218510778E-2</c:v>
                </c:pt>
                <c:pt idx="46">
                  <c:v>-0.12621195715247047</c:v>
                </c:pt>
                <c:pt idx="47">
                  <c:v>-0.15050842802609943</c:v>
                </c:pt>
              </c:numCache>
            </c:numRef>
          </c:val>
          <c:smooth val="1"/>
          <c:extLst>
            <c:ext xmlns:c16="http://schemas.microsoft.com/office/drawing/2014/chart" uri="{C3380CC4-5D6E-409C-BE32-E72D297353CC}">
              <c16:uniqueId val="{00000001-F479-40C1-B440-574B58CAA414}"/>
            </c:ext>
          </c:extLst>
        </c:ser>
        <c:dLbls>
          <c:showLegendKey val="0"/>
          <c:showVal val="0"/>
          <c:showCatName val="0"/>
          <c:showSerName val="0"/>
          <c:showPercent val="0"/>
          <c:showBubbleSize val="0"/>
        </c:dLbls>
        <c:marker val="1"/>
        <c:smooth val="0"/>
        <c:axId val="-1865643296"/>
        <c:axId val="-98154816"/>
      </c:lineChart>
      <c:catAx>
        <c:axId val="-98152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1008"/>
        <c:crosses val="autoZero"/>
        <c:auto val="1"/>
        <c:lblAlgn val="ctr"/>
        <c:lblOffset val="100"/>
        <c:noMultiLvlLbl val="0"/>
      </c:catAx>
      <c:valAx>
        <c:axId val="-98151008"/>
        <c:scaling>
          <c:orientation val="minMax"/>
        </c:scaling>
        <c:delete val="0"/>
        <c:axPos val="l"/>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2096"/>
        <c:crosses val="autoZero"/>
        <c:crossBetween val="between"/>
      </c:valAx>
      <c:valAx>
        <c:axId val="-9815481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65643296"/>
        <c:crosses val="max"/>
        <c:crossBetween val="between"/>
      </c:valAx>
      <c:catAx>
        <c:axId val="-1865643296"/>
        <c:scaling>
          <c:orientation val="minMax"/>
        </c:scaling>
        <c:delete val="1"/>
        <c:axPos val="b"/>
        <c:numFmt formatCode="General" sourceLinked="1"/>
        <c:majorTickMark val="out"/>
        <c:minorTickMark val="none"/>
        <c:tickLblPos val="nextTo"/>
        <c:crossAx val="-981548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800">
          <a:latin typeface="Arial" panose="020B0604020202020204" pitchFamily="34" charset="0"/>
          <a:cs typeface="Arial" panose="020B0604020202020204" pitchFamily="34" charset="0"/>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Mnrega allocation'!$D$2</c:f>
              <c:strCache>
                <c:ptCount val="1"/>
                <c:pt idx="0">
                  <c:v>Budget Allocation</c:v>
                </c:pt>
              </c:strCache>
            </c:strRef>
          </c:tx>
          <c:spPr>
            <a:solidFill>
              <a:schemeClr val="bg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nrega allocation'!$C$3:$C$10</c:f>
              <c:strCache>
                <c:ptCount val="8"/>
                <c:pt idx="0">
                  <c:v>FY16</c:v>
                </c:pt>
                <c:pt idx="1">
                  <c:v>FY17</c:v>
                </c:pt>
                <c:pt idx="2">
                  <c:v>FY18</c:v>
                </c:pt>
                <c:pt idx="3">
                  <c:v>FY19</c:v>
                </c:pt>
                <c:pt idx="4">
                  <c:v>FY20</c:v>
                </c:pt>
                <c:pt idx="5">
                  <c:v>FY21</c:v>
                </c:pt>
                <c:pt idx="6">
                  <c:v>FY22</c:v>
                </c:pt>
                <c:pt idx="7">
                  <c:v>FY23</c:v>
                </c:pt>
              </c:strCache>
            </c:strRef>
          </c:cat>
          <c:val>
            <c:numRef>
              <c:f>'Mnrega allocation'!$D$3:$D$10</c:f>
              <c:numCache>
                <c:formatCode>#,##0</c:formatCode>
                <c:ptCount val="8"/>
                <c:pt idx="0">
                  <c:v>33700</c:v>
                </c:pt>
                <c:pt idx="1">
                  <c:v>38500</c:v>
                </c:pt>
                <c:pt idx="2">
                  <c:v>48000</c:v>
                </c:pt>
                <c:pt idx="3">
                  <c:v>55000</c:v>
                </c:pt>
                <c:pt idx="4">
                  <c:v>60000</c:v>
                </c:pt>
                <c:pt idx="5">
                  <c:v>111500</c:v>
                </c:pt>
                <c:pt idx="6">
                  <c:v>98000</c:v>
                </c:pt>
                <c:pt idx="7">
                  <c:v>73000</c:v>
                </c:pt>
              </c:numCache>
            </c:numRef>
          </c:val>
          <c:extLst>
            <c:ext xmlns:c16="http://schemas.microsoft.com/office/drawing/2014/chart" uri="{C3380CC4-5D6E-409C-BE32-E72D297353CC}">
              <c16:uniqueId val="{00000000-F568-4CF3-AA70-107A298CC01C}"/>
            </c:ext>
          </c:extLst>
        </c:ser>
        <c:ser>
          <c:idx val="1"/>
          <c:order val="1"/>
          <c:tx>
            <c:strRef>
              <c:f>'Mnrega allocation'!$E$2</c:f>
              <c:strCache>
                <c:ptCount val="1"/>
                <c:pt idx="0">
                  <c:v>Actual Expenditure</c:v>
                </c:pt>
              </c:strCache>
            </c:strRef>
          </c:tx>
          <c:spPr>
            <a:solidFill>
              <a:schemeClr val="tx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nrega allocation'!$C$3:$C$10</c:f>
              <c:strCache>
                <c:ptCount val="8"/>
                <c:pt idx="0">
                  <c:v>FY16</c:v>
                </c:pt>
                <c:pt idx="1">
                  <c:v>FY17</c:v>
                </c:pt>
                <c:pt idx="2">
                  <c:v>FY18</c:v>
                </c:pt>
                <c:pt idx="3">
                  <c:v>FY19</c:v>
                </c:pt>
                <c:pt idx="4">
                  <c:v>FY20</c:v>
                </c:pt>
                <c:pt idx="5">
                  <c:v>FY21</c:v>
                </c:pt>
                <c:pt idx="6">
                  <c:v>FY22</c:v>
                </c:pt>
                <c:pt idx="7">
                  <c:v>FY23</c:v>
                </c:pt>
              </c:strCache>
            </c:strRef>
          </c:cat>
          <c:val>
            <c:numRef>
              <c:f>'Mnrega allocation'!$E$3:$E$10</c:f>
              <c:numCache>
                <c:formatCode>#,##0</c:formatCode>
                <c:ptCount val="8"/>
                <c:pt idx="0">
                  <c:v>37341</c:v>
                </c:pt>
                <c:pt idx="1">
                  <c:v>48215</c:v>
                </c:pt>
                <c:pt idx="2">
                  <c:v>55166</c:v>
                </c:pt>
                <c:pt idx="3">
                  <c:v>61815</c:v>
                </c:pt>
                <c:pt idx="4">
                  <c:v>71687</c:v>
                </c:pt>
                <c:pt idx="5">
                  <c:v>111170</c:v>
                </c:pt>
                <c:pt idx="6">
                  <c:v>106290</c:v>
                </c:pt>
              </c:numCache>
            </c:numRef>
          </c:val>
          <c:extLst>
            <c:ext xmlns:c16="http://schemas.microsoft.com/office/drawing/2014/chart" uri="{C3380CC4-5D6E-409C-BE32-E72D297353CC}">
              <c16:uniqueId val="{00000001-F568-4CF3-AA70-107A298CC01C}"/>
            </c:ext>
          </c:extLst>
        </c:ser>
        <c:dLbls>
          <c:showLegendKey val="0"/>
          <c:showVal val="0"/>
          <c:showCatName val="0"/>
          <c:showSerName val="0"/>
          <c:showPercent val="0"/>
          <c:showBubbleSize val="0"/>
        </c:dLbls>
        <c:gapWidth val="75"/>
        <c:axId val="-98149920"/>
        <c:axId val="-98152640"/>
      </c:barChart>
      <c:scatterChart>
        <c:scatterStyle val="lineMarker"/>
        <c:varyColors val="0"/>
        <c:ser>
          <c:idx val="2"/>
          <c:order val="2"/>
          <c:tx>
            <c:strRef>
              <c:f>'Mnrega allocation'!$F$2</c:f>
              <c:strCache>
                <c:ptCount val="1"/>
                <c:pt idx="0">
                  <c:v>% utilisation of budget allocation</c:v>
                </c:pt>
              </c:strCache>
            </c:strRef>
          </c:tx>
          <c:spPr>
            <a:ln w="25400" cap="rnd">
              <a:noFill/>
              <a:round/>
            </a:ln>
            <a:effectLst/>
          </c:spPr>
          <c:marker>
            <c:symbol val="triangle"/>
            <c:size val="9"/>
            <c:spPr>
              <a:solidFill>
                <a:schemeClr val="accent3"/>
              </a:solidFill>
              <a:ln w="9525">
                <a:solidFill>
                  <a:schemeClr val="accent3"/>
                </a:solidFill>
                <a:miter lim="800000"/>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strRef>
              <c:f>'Mnrega allocation'!$C$3:$C$10</c:f>
              <c:strCache>
                <c:ptCount val="8"/>
                <c:pt idx="0">
                  <c:v>FY16</c:v>
                </c:pt>
                <c:pt idx="1">
                  <c:v>FY17</c:v>
                </c:pt>
                <c:pt idx="2">
                  <c:v>FY18</c:v>
                </c:pt>
                <c:pt idx="3">
                  <c:v>FY19</c:v>
                </c:pt>
                <c:pt idx="4">
                  <c:v>FY20</c:v>
                </c:pt>
                <c:pt idx="5">
                  <c:v>FY21</c:v>
                </c:pt>
                <c:pt idx="6">
                  <c:v>FY22</c:v>
                </c:pt>
                <c:pt idx="7">
                  <c:v>FY23</c:v>
                </c:pt>
              </c:strCache>
            </c:strRef>
          </c:xVal>
          <c:yVal>
            <c:numRef>
              <c:f>'Mnrega allocation'!$F$3:$F$10</c:f>
              <c:numCache>
                <c:formatCode>0%</c:formatCode>
                <c:ptCount val="8"/>
                <c:pt idx="0">
                  <c:v>1.1080415430267063</c:v>
                </c:pt>
                <c:pt idx="1">
                  <c:v>1.2523376623376623</c:v>
                </c:pt>
                <c:pt idx="2">
                  <c:v>1.1492916666666666</c:v>
                </c:pt>
                <c:pt idx="3">
                  <c:v>1.123909090909091</c:v>
                </c:pt>
                <c:pt idx="4">
                  <c:v>1.1947833333333333</c:v>
                </c:pt>
                <c:pt idx="5">
                  <c:v>0.99704035874439467</c:v>
                </c:pt>
                <c:pt idx="6">
                  <c:v>1.0845918367346938</c:v>
                </c:pt>
              </c:numCache>
            </c:numRef>
          </c:yVal>
          <c:smooth val="0"/>
          <c:extLst>
            <c:ext xmlns:c16="http://schemas.microsoft.com/office/drawing/2014/chart" uri="{C3380CC4-5D6E-409C-BE32-E72D297353CC}">
              <c16:uniqueId val="{00000002-F568-4CF3-AA70-107A298CC01C}"/>
            </c:ext>
          </c:extLst>
        </c:ser>
        <c:dLbls>
          <c:showLegendKey val="0"/>
          <c:showVal val="0"/>
          <c:showCatName val="0"/>
          <c:showSerName val="0"/>
          <c:showPercent val="0"/>
          <c:showBubbleSize val="0"/>
        </c:dLbls>
        <c:axId val="-98156448"/>
        <c:axId val="-98149376"/>
      </c:scatterChart>
      <c:catAx>
        <c:axId val="-98149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2640"/>
        <c:crosses val="autoZero"/>
        <c:auto val="1"/>
        <c:lblAlgn val="ctr"/>
        <c:lblOffset val="100"/>
        <c:noMultiLvlLbl val="0"/>
      </c:catAx>
      <c:valAx>
        <c:axId val="-981526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49920"/>
        <c:crosses val="autoZero"/>
        <c:crossBetween val="between"/>
      </c:valAx>
      <c:valAx>
        <c:axId val="-9814937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98156448"/>
        <c:crosses val="max"/>
        <c:crossBetween val="midCat"/>
      </c:valAx>
      <c:valAx>
        <c:axId val="-98156448"/>
        <c:scaling>
          <c:orientation val="minMax"/>
        </c:scaling>
        <c:delete val="1"/>
        <c:axPos val="b"/>
        <c:numFmt formatCode="General" sourceLinked="1"/>
        <c:majorTickMark val="out"/>
        <c:minorTickMark val="none"/>
        <c:tickLblPos val="nextTo"/>
        <c:crossAx val="-9814937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84_Consumer_durables'!$B$8</c:f>
              <c:strCache>
                <c:ptCount val="1"/>
                <c:pt idx="0">
                  <c:v>FY18</c:v>
                </c:pt>
              </c:strCache>
            </c:strRef>
          </c:tx>
          <c:spPr>
            <a:solidFill>
              <a:schemeClr val="accent1"/>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84_Consumer_durables'!$C$4:$F$4</c:f>
              <c:strCache>
                <c:ptCount val="4"/>
                <c:pt idx="0">
                  <c:v>Room AC</c:v>
                </c:pt>
                <c:pt idx="1">
                  <c:v>Refrigerator</c:v>
                </c:pt>
                <c:pt idx="2">
                  <c:v>Washing Machine</c:v>
                </c:pt>
                <c:pt idx="3">
                  <c:v>Colour TV</c:v>
                </c:pt>
              </c:strCache>
            </c:strRef>
          </c:cat>
          <c:val>
            <c:numRef>
              <c:f>'84_Consumer_durables'!$C$8:$F$8</c:f>
              <c:numCache>
                <c:formatCode>0%</c:formatCode>
                <c:ptCount val="4"/>
                <c:pt idx="0">
                  <c:v>0.09</c:v>
                </c:pt>
                <c:pt idx="1">
                  <c:v>7.0000000000000007E-2</c:v>
                </c:pt>
                <c:pt idx="2">
                  <c:v>0.08</c:v>
                </c:pt>
                <c:pt idx="3">
                  <c:v>0.03</c:v>
                </c:pt>
              </c:numCache>
            </c:numRef>
          </c:val>
          <c:extLst>
            <c:ext xmlns:c16="http://schemas.microsoft.com/office/drawing/2014/chart" uri="{C3380CC4-5D6E-409C-BE32-E72D297353CC}">
              <c16:uniqueId val="{00000000-B614-4246-85EC-45EB8D09B737}"/>
            </c:ext>
          </c:extLst>
        </c:ser>
        <c:ser>
          <c:idx val="1"/>
          <c:order val="1"/>
          <c:tx>
            <c:strRef>
              <c:f>'84_Consumer_durables'!$B$9</c:f>
              <c:strCache>
                <c:ptCount val="1"/>
                <c:pt idx="0">
                  <c:v>FY19</c:v>
                </c:pt>
              </c:strCache>
            </c:strRef>
          </c:tx>
          <c:spPr>
            <a:solidFill>
              <a:schemeClr val="accent2"/>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84_Consumer_durables'!$C$4:$F$4</c:f>
              <c:strCache>
                <c:ptCount val="4"/>
                <c:pt idx="0">
                  <c:v>Room AC</c:v>
                </c:pt>
                <c:pt idx="1">
                  <c:v>Refrigerator</c:v>
                </c:pt>
                <c:pt idx="2">
                  <c:v>Washing Machine</c:v>
                </c:pt>
                <c:pt idx="3">
                  <c:v>Colour TV</c:v>
                </c:pt>
              </c:strCache>
            </c:strRef>
          </c:cat>
          <c:val>
            <c:numRef>
              <c:f>'84_Consumer_durables'!$C$9:$F$9</c:f>
              <c:numCache>
                <c:formatCode>0%</c:formatCode>
                <c:ptCount val="4"/>
                <c:pt idx="0">
                  <c:v>0</c:v>
                </c:pt>
                <c:pt idx="1">
                  <c:v>8.9430894308943021E-2</c:v>
                </c:pt>
                <c:pt idx="2">
                  <c:v>8.4745762711864403E-2</c:v>
                </c:pt>
                <c:pt idx="3">
                  <c:v>5.1094890510948954E-2</c:v>
                </c:pt>
              </c:numCache>
            </c:numRef>
          </c:val>
          <c:extLst>
            <c:ext xmlns:c16="http://schemas.microsoft.com/office/drawing/2014/chart" uri="{C3380CC4-5D6E-409C-BE32-E72D297353CC}">
              <c16:uniqueId val="{00000001-B614-4246-85EC-45EB8D09B737}"/>
            </c:ext>
          </c:extLst>
        </c:ser>
        <c:ser>
          <c:idx val="2"/>
          <c:order val="2"/>
          <c:tx>
            <c:strRef>
              <c:f>'84_Consumer_durables'!$B$10</c:f>
              <c:strCache>
                <c:ptCount val="1"/>
                <c:pt idx="0">
                  <c:v>FY20 </c:v>
                </c:pt>
              </c:strCache>
            </c:strRef>
          </c:tx>
          <c:spPr>
            <a:solidFill>
              <a:schemeClr val="accent3"/>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84_Consumer_durables'!$C$4:$F$4</c:f>
              <c:strCache>
                <c:ptCount val="4"/>
                <c:pt idx="0">
                  <c:v>Room AC</c:v>
                </c:pt>
                <c:pt idx="1">
                  <c:v>Refrigerator</c:v>
                </c:pt>
                <c:pt idx="2">
                  <c:v>Washing Machine</c:v>
                </c:pt>
                <c:pt idx="3">
                  <c:v>Colour TV</c:v>
                </c:pt>
              </c:strCache>
            </c:strRef>
          </c:cat>
          <c:val>
            <c:numRef>
              <c:f>'84_Consumer_durables'!$C$10:$F$10</c:f>
              <c:numCache>
                <c:formatCode>0%</c:formatCode>
                <c:ptCount val="4"/>
                <c:pt idx="0">
                  <c:v>0.125</c:v>
                </c:pt>
                <c:pt idx="1">
                  <c:v>0.1</c:v>
                </c:pt>
                <c:pt idx="2">
                  <c:v>0.06</c:v>
                </c:pt>
                <c:pt idx="3">
                  <c:v>0</c:v>
                </c:pt>
              </c:numCache>
            </c:numRef>
          </c:val>
          <c:extLst>
            <c:ext xmlns:c16="http://schemas.microsoft.com/office/drawing/2014/chart" uri="{C3380CC4-5D6E-409C-BE32-E72D297353CC}">
              <c16:uniqueId val="{00000002-B614-4246-85EC-45EB8D09B737}"/>
            </c:ext>
          </c:extLst>
        </c:ser>
        <c:ser>
          <c:idx val="3"/>
          <c:order val="3"/>
          <c:tx>
            <c:strRef>
              <c:f>'84_Consumer_durables'!$B$11</c:f>
              <c:strCache>
                <c:ptCount val="1"/>
                <c:pt idx="0">
                  <c:v>FY21</c:v>
                </c:pt>
              </c:strCache>
            </c:strRef>
          </c:tx>
          <c:spPr>
            <a:solidFill>
              <a:schemeClr val="accent4"/>
            </a:solidFill>
            <a:ln>
              <a:noFill/>
            </a:ln>
            <a:effectLst/>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84_Consumer_durables'!$C$4:$F$4</c:f>
              <c:strCache>
                <c:ptCount val="4"/>
                <c:pt idx="0">
                  <c:v>Room AC</c:v>
                </c:pt>
                <c:pt idx="1">
                  <c:v>Refrigerator</c:v>
                </c:pt>
                <c:pt idx="2">
                  <c:v>Washing Machine</c:v>
                </c:pt>
                <c:pt idx="3">
                  <c:v>Colour TV</c:v>
                </c:pt>
              </c:strCache>
            </c:strRef>
          </c:cat>
          <c:val>
            <c:numRef>
              <c:f>'84_Consumer_durables'!$C$11:$F$11</c:f>
              <c:numCache>
                <c:formatCode>0%</c:formatCode>
                <c:ptCount val="4"/>
                <c:pt idx="0">
                  <c:v>-0.26</c:v>
                </c:pt>
                <c:pt idx="1">
                  <c:v>-0.23</c:v>
                </c:pt>
                <c:pt idx="2">
                  <c:v>-0.17</c:v>
                </c:pt>
                <c:pt idx="3">
                  <c:v>-0.16</c:v>
                </c:pt>
              </c:numCache>
            </c:numRef>
          </c:val>
          <c:extLst>
            <c:ext xmlns:c16="http://schemas.microsoft.com/office/drawing/2014/chart" uri="{C3380CC4-5D6E-409C-BE32-E72D297353CC}">
              <c16:uniqueId val="{00000007-B614-4246-85EC-45EB8D09B737}"/>
            </c:ext>
          </c:extLst>
        </c:ser>
        <c:ser>
          <c:idx val="4"/>
          <c:order val="4"/>
          <c:tx>
            <c:strRef>
              <c:f>'84_Consumer_durables'!$B$12</c:f>
              <c:strCache>
                <c:ptCount val="1"/>
                <c:pt idx="0">
                  <c:v>FY22 E</c:v>
                </c:pt>
              </c:strCache>
            </c:strRef>
          </c:tx>
          <c:invertIfNegative val="0"/>
          <c:dLbls>
            <c:dLbl>
              <c:idx val="0"/>
              <c:tx>
                <c:rich>
                  <a:bodyPr/>
                  <a:lstStyle/>
                  <a:p>
                    <a:r>
                      <a:rPr lang="en-US"/>
                      <a:t>17-22%</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614-4246-85EC-45EB8D09B737}"/>
                </c:ext>
              </c:extLst>
            </c:dLbl>
            <c:dLbl>
              <c:idx val="1"/>
              <c:tx>
                <c:rich>
                  <a:bodyPr/>
                  <a:lstStyle/>
                  <a:p>
                    <a:r>
                      <a:rPr lang="en-US"/>
                      <a:t>11-1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614-4246-85EC-45EB8D09B737}"/>
                </c:ext>
              </c:extLst>
            </c:dLbl>
            <c:dLbl>
              <c:idx val="2"/>
              <c:tx>
                <c:rich>
                  <a:bodyPr/>
                  <a:lstStyle/>
                  <a:p>
                    <a:r>
                      <a:rPr lang="en-US"/>
                      <a:t>12-17%</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614-4246-85EC-45EB8D09B737}"/>
                </c:ext>
              </c:extLst>
            </c:dLbl>
            <c:dLbl>
              <c:idx val="3"/>
              <c:tx>
                <c:rich>
                  <a:bodyPr/>
                  <a:lstStyle/>
                  <a:p>
                    <a:r>
                      <a:rPr lang="en-US"/>
                      <a:t>10-1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614-4246-85EC-45EB8D09B737}"/>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84_Consumer_durables'!$C$4:$F$4</c:f>
              <c:strCache>
                <c:ptCount val="4"/>
                <c:pt idx="0">
                  <c:v>Room AC</c:v>
                </c:pt>
                <c:pt idx="1">
                  <c:v>Refrigerator</c:v>
                </c:pt>
                <c:pt idx="2">
                  <c:v>Washing Machine</c:v>
                </c:pt>
                <c:pt idx="3">
                  <c:v>Colour TV</c:v>
                </c:pt>
              </c:strCache>
            </c:strRef>
          </c:cat>
          <c:val>
            <c:numRef>
              <c:f>'84_Consumer_durables'!$C$12:$F$12</c:f>
              <c:numCache>
                <c:formatCode>0%</c:formatCode>
                <c:ptCount val="4"/>
                <c:pt idx="0">
                  <c:v>0.2</c:v>
                </c:pt>
                <c:pt idx="1">
                  <c:v>0.14000000000000001</c:v>
                </c:pt>
                <c:pt idx="2">
                  <c:v>0.15</c:v>
                </c:pt>
                <c:pt idx="3">
                  <c:v>0.125</c:v>
                </c:pt>
              </c:numCache>
            </c:numRef>
          </c:val>
          <c:extLst>
            <c:ext xmlns:c16="http://schemas.microsoft.com/office/drawing/2014/chart" uri="{C3380CC4-5D6E-409C-BE32-E72D297353CC}">
              <c16:uniqueId val="{00000008-B614-4246-85EC-45EB8D09B737}"/>
            </c:ext>
          </c:extLst>
        </c:ser>
        <c:ser>
          <c:idx val="5"/>
          <c:order val="5"/>
          <c:tx>
            <c:strRef>
              <c:f>'84_Consumer_durables'!$B$13</c:f>
              <c:strCache>
                <c:ptCount val="1"/>
                <c:pt idx="0">
                  <c:v>FY23P</c:v>
                </c:pt>
              </c:strCache>
            </c:strRef>
          </c:tx>
          <c:invertIfNegative val="0"/>
          <c:dLbls>
            <c:dLbl>
              <c:idx val="0"/>
              <c:tx>
                <c:rich>
                  <a:bodyPr/>
                  <a:lstStyle/>
                  <a:p>
                    <a:r>
                      <a:rPr lang="en-US"/>
                      <a:t>15-17%</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614-4246-85EC-45EB8D09B737}"/>
                </c:ext>
              </c:extLst>
            </c:dLbl>
            <c:dLbl>
              <c:idx val="1"/>
              <c:tx>
                <c:rich>
                  <a:bodyPr/>
                  <a:lstStyle/>
                  <a:p>
                    <a:r>
                      <a:rPr lang="en-US"/>
                      <a:t>12-1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614-4246-85EC-45EB8D09B737}"/>
                </c:ext>
              </c:extLst>
            </c:dLbl>
            <c:dLbl>
              <c:idx val="2"/>
              <c:tx>
                <c:rich>
                  <a:bodyPr/>
                  <a:lstStyle/>
                  <a:p>
                    <a:r>
                      <a:rPr lang="en-US"/>
                      <a:t>9-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614-4246-85EC-45EB8D09B737}"/>
                </c:ext>
              </c:extLst>
            </c:dLbl>
            <c:dLbl>
              <c:idx val="3"/>
              <c:tx>
                <c:rich>
                  <a:bodyPr/>
                  <a:lstStyle/>
                  <a:p>
                    <a:r>
                      <a:rPr lang="en-US"/>
                      <a:t>6-7%</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614-4246-85EC-45EB8D09B737}"/>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84_Consumer_durables'!$C$4:$F$4</c:f>
              <c:strCache>
                <c:ptCount val="4"/>
                <c:pt idx="0">
                  <c:v>Room AC</c:v>
                </c:pt>
                <c:pt idx="1">
                  <c:v>Refrigerator</c:v>
                </c:pt>
                <c:pt idx="2">
                  <c:v>Washing Machine</c:v>
                </c:pt>
                <c:pt idx="3">
                  <c:v>Colour TV</c:v>
                </c:pt>
              </c:strCache>
            </c:strRef>
          </c:cat>
          <c:val>
            <c:numRef>
              <c:f>'84_Consumer_durables'!$C$13:$F$13</c:f>
              <c:numCache>
                <c:formatCode>0%</c:formatCode>
                <c:ptCount val="4"/>
                <c:pt idx="0">
                  <c:v>0.16</c:v>
                </c:pt>
                <c:pt idx="1">
                  <c:v>0.125</c:v>
                </c:pt>
                <c:pt idx="2" formatCode="0.00%">
                  <c:v>9.5000000000000001E-2</c:v>
                </c:pt>
                <c:pt idx="3" formatCode="0.00%">
                  <c:v>6.5000000000000002E-2</c:v>
                </c:pt>
              </c:numCache>
            </c:numRef>
          </c:val>
          <c:extLst>
            <c:ext xmlns:c16="http://schemas.microsoft.com/office/drawing/2014/chart" uri="{C3380CC4-5D6E-409C-BE32-E72D297353CC}">
              <c16:uniqueId val="{00000009-B614-4246-85EC-45EB8D09B737}"/>
            </c:ext>
          </c:extLst>
        </c:ser>
        <c:dLbls>
          <c:dLblPos val="outEnd"/>
          <c:showLegendKey val="0"/>
          <c:showVal val="1"/>
          <c:showCatName val="0"/>
          <c:showSerName val="0"/>
          <c:showPercent val="0"/>
          <c:showBubbleSize val="0"/>
        </c:dLbls>
        <c:gapWidth val="219"/>
        <c:overlap val="-27"/>
        <c:axId val="165545856"/>
        <c:axId val="165547392"/>
      </c:barChart>
      <c:catAx>
        <c:axId val="165545856"/>
        <c:scaling>
          <c:orientation val="minMax"/>
        </c:scaling>
        <c:delete val="0"/>
        <c:axPos val="b"/>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65547392"/>
        <c:crosses val="autoZero"/>
        <c:auto val="1"/>
        <c:lblAlgn val="ctr"/>
        <c:lblOffset val="100"/>
        <c:noMultiLvlLbl val="0"/>
      </c:catAx>
      <c:valAx>
        <c:axId val="165547392"/>
        <c:scaling>
          <c:orientation val="minMax"/>
        </c:scaling>
        <c:delete val="0"/>
        <c:axPos val="l"/>
        <c:numFmt formatCode="0%" sourceLinked="1"/>
        <c:majorTickMark val="none"/>
        <c:minorTickMark val="none"/>
        <c:tickLblPos val="nextTo"/>
        <c:spPr>
          <a:noFill/>
          <a:ln>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655458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ailway!$C$6</c:f>
              <c:strCache>
                <c:ptCount val="1"/>
                <c:pt idx="0">
                  <c:v>Passengers carried (million)</c:v>
                </c:pt>
              </c:strCache>
            </c:strRef>
          </c:tx>
          <c:spPr>
            <a:solidFill>
              <a:schemeClr val="accent4"/>
            </a:solidFill>
            <a:ln>
              <a:noFill/>
            </a:ln>
            <a:effectLst/>
          </c:spPr>
          <c:invertIfNegative val="0"/>
          <c:cat>
            <c:strRef>
              <c:f>Railway!$B$7:$B$19</c:f>
              <c:strCache>
                <c:ptCount val="13"/>
                <c:pt idx="0">
                  <c:v>FY 10</c:v>
                </c:pt>
                <c:pt idx="1">
                  <c:v>FY 11</c:v>
                </c:pt>
                <c:pt idx="2">
                  <c:v>FY 12</c:v>
                </c:pt>
                <c:pt idx="3">
                  <c:v>FY 13</c:v>
                </c:pt>
                <c:pt idx="4">
                  <c:v>FY 14</c:v>
                </c:pt>
                <c:pt idx="5">
                  <c:v>FY 15</c:v>
                </c:pt>
                <c:pt idx="6">
                  <c:v>FY 16</c:v>
                </c:pt>
                <c:pt idx="7">
                  <c:v>FY 17</c:v>
                </c:pt>
                <c:pt idx="8">
                  <c:v>FY 18</c:v>
                </c:pt>
                <c:pt idx="9">
                  <c:v>FY 19</c:v>
                </c:pt>
                <c:pt idx="10">
                  <c:v>FY 20</c:v>
                </c:pt>
                <c:pt idx="11">
                  <c:v>FY21</c:v>
                </c:pt>
                <c:pt idx="12">
                  <c:v>FY22 (Apr-Feb)</c:v>
                </c:pt>
              </c:strCache>
            </c:strRef>
          </c:cat>
          <c:val>
            <c:numRef>
              <c:f>Railway!$C$7:$C$19</c:f>
              <c:numCache>
                <c:formatCode>General</c:formatCode>
                <c:ptCount val="13"/>
                <c:pt idx="0">
                  <c:v>3579</c:v>
                </c:pt>
                <c:pt idx="1">
                  <c:v>3433</c:v>
                </c:pt>
                <c:pt idx="2">
                  <c:v>3492</c:v>
                </c:pt>
                <c:pt idx="3">
                  <c:v>3556</c:v>
                </c:pt>
                <c:pt idx="4">
                  <c:v>3416</c:v>
                </c:pt>
                <c:pt idx="5">
                  <c:v>3242</c:v>
                </c:pt>
                <c:pt idx="6">
                  <c:v>3189</c:v>
                </c:pt>
                <c:pt idx="7">
                  <c:v>3126</c:v>
                </c:pt>
                <c:pt idx="8">
                  <c:v>3069</c:v>
                </c:pt>
                <c:pt idx="9">
                  <c:v>3053</c:v>
                </c:pt>
                <c:pt idx="10">
                  <c:v>2912</c:v>
                </c:pt>
                <c:pt idx="11">
                  <c:v>75.739999999999995</c:v>
                </c:pt>
                <c:pt idx="12">
                  <c:v>484.8</c:v>
                </c:pt>
              </c:numCache>
            </c:numRef>
          </c:val>
          <c:extLst>
            <c:ext xmlns:c16="http://schemas.microsoft.com/office/drawing/2014/chart" uri="{C3380CC4-5D6E-409C-BE32-E72D297353CC}">
              <c16:uniqueId val="{00000000-6E06-4BAB-B90F-3E9186ECAC3F}"/>
            </c:ext>
          </c:extLst>
        </c:ser>
        <c:dLbls>
          <c:showLegendKey val="0"/>
          <c:showVal val="0"/>
          <c:showCatName val="0"/>
          <c:showSerName val="0"/>
          <c:showPercent val="0"/>
          <c:showBubbleSize val="0"/>
        </c:dLbls>
        <c:gapWidth val="75"/>
        <c:axId val="165928960"/>
        <c:axId val="165930880"/>
      </c:barChart>
      <c:lineChart>
        <c:grouping val="standard"/>
        <c:varyColors val="0"/>
        <c:ser>
          <c:idx val="1"/>
          <c:order val="1"/>
          <c:tx>
            <c:strRef>
              <c:f>Railway!$D$6</c:f>
              <c:strCache>
                <c:ptCount val="1"/>
                <c:pt idx="0">
                  <c:v>% growth (y-o-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Railway!$B$7:$B$19</c:f>
              <c:strCache>
                <c:ptCount val="13"/>
                <c:pt idx="0">
                  <c:v>FY 10</c:v>
                </c:pt>
                <c:pt idx="1">
                  <c:v>FY 11</c:v>
                </c:pt>
                <c:pt idx="2">
                  <c:v>FY 12</c:v>
                </c:pt>
                <c:pt idx="3">
                  <c:v>FY 13</c:v>
                </c:pt>
                <c:pt idx="4">
                  <c:v>FY 14</c:v>
                </c:pt>
                <c:pt idx="5">
                  <c:v>FY 15</c:v>
                </c:pt>
                <c:pt idx="6">
                  <c:v>FY 16</c:v>
                </c:pt>
                <c:pt idx="7">
                  <c:v>FY 17</c:v>
                </c:pt>
                <c:pt idx="8">
                  <c:v>FY 18</c:v>
                </c:pt>
                <c:pt idx="9">
                  <c:v>FY 19</c:v>
                </c:pt>
                <c:pt idx="10">
                  <c:v>FY 20</c:v>
                </c:pt>
                <c:pt idx="11">
                  <c:v>FY21</c:v>
                </c:pt>
                <c:pt idx="12">
                  <c:v>FY22 (Apr-Feb)</c:v>
                </c:pt>
              </c:strCache>
            </c:strRef>
          </c:cat>
          <c:val>
            <c:numRef>
              <c:f>Railway!$D$7:$D$19</c:f>
              <c:numCache>
                <c:formatCode>0%</c:formatCode>
                <c:ptCount val="13"/>
                <c:pt idx="1">
                  <c:v>0.06</c:v>
                </c:pt>
                <c:pt idx="2">
                  <c:v>1.7186134576172352E-2</c:v>
                </c:pt>
                <c:pt idx="3">
                  <c:v>1.8327605956471871E-2</c:v>
                </c:pt>
                <c:pt idx="4">
                  <c:v>-3.9370078740157521E-2</c:v>
                </c:pt>
                <c:pt idx="5">
                  <c:v>-5.0936768149882905E-2</c:v>
                </c:pt>
                <c:pt idx="6">
                  <c:v>-1.6347933374460166E-2</c:v>
                </c:pt>
                <c:pt idx="7">
                  <c:v>-1.9755409219190945E-2</c:v>
                </c:pt>
                <c:pt idx="8">
                  <c:v>-1.8234165067178454E-2</c:v>
                </c:pt>
                <c:pt idx="9">
                  <c:v>-5.2134245682632363E-3</c:v>
                </c:pt>
                <c:pt idx="10">
                  <c:v>-4.6184081231575469E-2</c:v>
                </c:pt>
                <c:pt idx="11">
                  <c:v>-0.97399038461538456</c:v>
                </c:pt>
                <c:pt idx="12">
                  <c:v>12.594380688563513</c:v>
                </c:pt>
              </c:numCache>
            </c:numRef>
          </c:val>
          <c:smooth val="0"/>
          <c:extLst>
            <c:ext xmlns:c16="http://schemas.microsoft.com/office/drawing/2014/chart" uri="{C3380CC4-5D6E-409C-BE32-E72D297353CC}">
              <c16:uniqueId val="{00000001-6E06-4BAB-B90F-3E9186ECAC3F}"/>
            </c:ext>
          </c:extLst>
        </c:ser>
        <c:dLbls>
          <c:showLegendKey val="0"/>
          <c:showVal val="0"/>
          <c:showCatName val="0"/>
          <c:showSerName val="0"/>
          <c:showPercent val="0"/>
          <c:showBubbleSize val="0"/>
        </c:dLbls>
        <c:marker val="1"/>
        <c:smooth val="0"/>
        <c:axId val="165934208"/>
        <c:axId val="165932416"/>
      </c:lineChart>
      <c:catAx>
        <c:axId val="16592896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930880"/>
        <c:crosses val="autoZero"/>
        <c:auto val="1"/>
        <c:lblAlgn val="ctr"/>
        <c:lblOffset val="100"/>
        <c:noMultiLvlLbl val="0"/>
      </c:catAx>
      <c:valAx>
        <c:axId val="165930880"/>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928960"/>
        <c:crosses val="autoZero"/>
        <c:crossBetween val="between"/>
      </c:valAx>
      <c:valAx>
        <c:axId val="165932416"/>
        <c:scaling>
          <c:orientation val="minMax"/>
        </c:scaling>
        <c:delete val="0"/>
        <c:axPos val="r"/>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934208"/>
        <c:crosses val="max"/>
        <c:crossBetween val="between"/>
      </c:valAx>
      <c:catAx>
        <c:axId val="165934208"/>
        <c:scaling>
          <c:orientation val="minMax"/>
        </c:scaling>
        <c:delete val="1"/>
        <c:axPos val="b"/>
        <c:numFmt formatCode="General" sourceLinked="1"/>
        <c:majorTickMark val="out"/>
        <c:minorTickMark val="none"/>
        <c:tickLblPos val="nextTo"/>
        <c:crossAx val="1659324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solidFill>
        <a:schemeClr val="bg1"/>
      </a:solid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Rail freight'!$B$1</c:f>
              <c:strCache>
                <c:ptCount val="1"/>
                <c:pt idx="0">
                  <c:v>Rail Freight (BTKM)</c:v>
                </c:pt>
              </c:strCache>
            </c:strRef>
          </c:tx>
          <c:spPr>
            <a:solidFill>
              <a:schemeClr val="bg1">
                <a:lumMod val="85000"/>
              </a:schemeClr>
            </a:solidFill>
            <a:ln>
              <a:noFill/>
            </a:ln>
            <a:effectLst/>
          </c:spPr>
          <c:invertIfNegative val="0"/>
          <c:dLbls>
            <c:spPr>
              <a:noFill/>
              <a:ln>
                <a:noFill/>
              </a:ln>
              <a:effectLst/>
            </c:spPr>
            <c:txPr>
              <a:bodyPr rot="-5400000"/>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ail freight'!$A$23:$A$48</c:f>
              <c:numCache>
                <c:formatCode>mmm\-yy</c:formatCode>
                <c:ptCount val="26"/>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numCache>
            </c:numRef>
          </c:cat>
          <c:val>
            <c:numRef>
              <c:f>'Rail freight'!$C$23:$C$48</c:f>
              <c:numCache>
                <c:formatCode>_(* #,##0_);_(* \(#,##0\);_(* "-"??_);_(@_)</c:formatCode>
                <c:ptCount val="26"/>
                <c:pt idx="0">
                  <c:v>60.542000000000002</c:v>
                </c:pt>
                <c:pt idx="1">
                  <c:v>58.332000000000001</c:v>
                </c:pt>
                <c:pt idx="2">
                  <c:v>54.530999999999999</c:v>
                </c:pt>
                <c:pt idx="3">
                  <c:v>33.502000000000002</c:v>
                </c:pt>
                <c:pt idx="4">
                  <c:v>41.939</c:v>
                </c:pt>
                <c:pt idx="5">
                  <c:v>49.783000000000001</c:v>
                </c:pt>
                <c:pt idx="6">
                  <c:v>52.11</c:v>
                </c:pt>
                <c:pt idx="7">
                  <c:v>52.688000000000002</c:v>
                </c:pt>
                <c:pt idx="8">
                  <c:v>58.171999999999997</c:v>
                </c:pt>
                <c:pt idx="9">
                  <c:v>58.438000000000002</c:v>
                </c:pt>
                <c:pt idx="10">
                  <c:v>60</c:v>
                </c:pt>
                <c:pt idx="11">
                  <c:v>68</c:v>
                </c:pt>
                <c:pt idx="12">
                  <c:v>67.259</c:v>
                </c:pt>
                <c:pt idx="13">
                  <c:v>62.933</c:v>
                </c:pt>
                <c:pt idx="14">
                  <c:v>72.549000000000007</c:v>
                </c:pt>
                <c:pt idx="15">
                  <c:v>62.61</c:v>
                </c:pt>
                <c:pt idx="16">
                  <c:v>65.313000000000002</c:v>
                </c:pt>
                <c:pt idx="17">
                  <c:v>63.267000000000003</c:v>
                </c:pt>
                <c:pt idx="18">
                  <c:v>63.286999999999999</c:v>
                </c:pt>
                <c:pt idx="19">
                  <c:v>63.244</c:v>
                </c:pt>
                <c:pt idx="20">
                  <c:v>63.396000000000001</c:v>
                </c:pt>
                <c:pt idx="21">
                  <c:v>70.465000000000003</c:v>
                </c:pt>
                <c:pt idx="22">
                  <c:v>69.183000000000007</c:v>
                </c:pt>
                <c:pt idx="23">
                  <c:v>73.691000000000003</c:v>
                </c:pt>
                <c:pt idx="24">
                  <c:v>74.986999999999995</c:v>
                </c:pt>
                <c:pt idx="25">
                  <c:v>69.808000000000007</c:v>
                </c:pt>
              </c:numCache>
            </c:numRef>
          </c:val>
          <c:extLst>
            <c:ext xmlns:c16="http://schemas.microsoft.com/office/drawing/2014/chart" uri="{C3380CC4-5D6E-409C-BE32-E72D297353CC}">
              <c16:uniqueId val="{00000000-E0F3-4FF4-BFFD-F36247D2F209}"/>
            </c:ext>
          </c:extLst>
        </c:ser>
        <c:dLbls>
          <c:showLegendKey val="0"/>
          <c:showVal val="1"/>
          <c:showCatName val="0"/>
          <c:showSerName val="0"/>
          <c:showPercent val="0"/>
          <c:showBubbleSize val="0"/>
        </c:dLbls>
        <c:gapWidth val="75"/>
        <c:axId val="1401164240"/>
        <c:axId val="1401166416"/>
        <c:extLst/>
      </c:barChart>
      <c:lineChart>
        <c:grouping val="standard"/>
        <c:varyColors val="0"/>
        <c:ser>
          <c:idx val="2"/>
          <c:order val="1"/>
          <c:tx>
            <c:strRef>
              <c:f>'Rail freight'!$D$1</c:f>
              <c:strCache>
                <c:ptCount val="1"/>
                <c:pt idx="0">
                  <c:v>% growth y-o-y</c:v>
                </c:pt>
              </c:strCache>
            </c:strRef>
          </c:tx>
          <c:spPr>
            <a:ln w="28575" cap="rnd">
              <a:solidFill>
                <a:srgbClr val="C00000"/>
              </a:solidFill>
              <a:round/>
            </a:ln>
            <a:effectLst/>
          </c:spPr>
          <c:marker>
            <c:symbol val="none"/>
          </c:marker>
          <c:dLbls>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Rail freight'!$A$23:$A$48</c:f>
              <c:numCache>
                <c:formatCode>mmm\-yy</c:formatCode>
                <c:ptCount val="26"/>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pt idx="24">
                  <c:v>44562</c:v>
                </c:pt>
                <c:pt idx="25">
                  <c:v>44593</c:v>
                </c:pt>
              </c:numCache>
            </c:numRef>
          </c:cat>
          <c:val>
            <c:numRef>
              <c:f>'Rail freight'!$D$23:$D$48</c:f>
              <c:numCache>
                <c:formatCode>0%</c:formatCode>
                <c:ptCount val="26"/>
                <c:pt idx="0">
                  <c:v>-3.0583488118875346E-2</c:v>
                </c:pt>
                <c:pt idx="1">
                  <c:v>3.7437530012271791E-2</c:v>
                </c:pt>
                <c:pt idx="2">
                  <c:v>-0.18937119072394826</c:v>
                </c:pt>
                <c:pt idx="3">
                  <c:v>-0.40146141889839748</c:v>
                </c:pt>
                <c:pt idx="4">
                  <c:v>-0.28088134430727019</c:v>
                </c:pt>
                <c:pt idx="5">
                  <c:v>-0.11597471321518626</c:v>
                </c:pt>
                <c:pt idx="6">
                  <c:v>-7.6800425192665389E-2</c:v>
                </c:pt>
                <c:pt idx="7">
                  <c:v>1.3523131672597888E-2</c:v>
                </c:pt>
                <c:pt idx="8">
                  <c:v>0.17864451423361372</c:v>
                </c:pt>
                <c:pt idx="9">
                  <c:v>0.11048190939495295</c:v>
                </c:pt>
                <c:pt idx="10">
                  <c:v>7.6445576705717722E-2</c:v>
                </c:pt>
                <c:pt idx="11">
                  <c:v>0.13566143928386531</c:v>
                </c:pt>
                <c:pt idx="12">
                  <c:v>0.1109477717947871</c:v>
                </c:pt>
                <c:pt idx="13">
                  <c:v>7.8876088596310678E-2</c:v>
                </c:pt>
                <c:pt idx="14">
                  <c:v>0.33041756065357331</c:v>
                </c:pt>
                <c:pt idx="15">
                  <c:v>0.86884365112530593</c:v>
                </c:pt>
                <c:pt idx="16">
                  <c:v>0.55733326974892106</c:v>
                </c:pt>
                <c:pt idx="17">
                  <c:v>0.27085551292609922</c:v>
                </c:pt>
                <c:pt idx="18">
                  <c:v>0.21448858184609487</c:v>
                </c:pt>
                <c:pt idx="19">
                  <c:v>0.20034922563012447</c:v>
                </c:pt>
                <c:pt idx="20">
                  <c:v>8.9802654197895793E-2</c:v>
                </c:pt>
                <c:pt idx="21">
                  <c:v>0.20580786474554236</c:v>
                </c:pt>
                <c:pt idx="22">
                  <c:v>0.15304999999999991</c:v>
                </c:pt>
                <c:pt idx="23">
                  <c:v>8.3691176470588324E-2</c:v>
                </c:pt>
                <c:pt idx="24">
                  <c:v>0.11489912130718571</c:v>
                </c:pt>
                <c:pt idx="25">
                  <c:v>0.1092431633642128</c:v>
                </c:pt>
              </c:numCache>
            </c:numRef>
          </c:val>
          <c:smooth val="1"/>
          <c:extLst>
            <c:ext xmlns:c16="http://schemas.microsoft.com/office/drawing/2014/chart" uri="{C3380CC4-5D6E-409C-BE32-E72D297353CC}">
              <c16:uniqueId val="{00000001-E0F3-4FF4-BFFD-F36247D2F209}"/>
            </c:ext>
          </c:extLst>
        </c:ser>
        <c:dLbls>
          <c:showLegendKey val="0"/>
          <c:showVal val="1"/>
          <c:showCatName val="0"/>
          <c:showSerName val="0"/>
          <c:showPercent val="0"/>
          <c:showBubbleSize val="0"/>
        </c:dLbls>
        <c:marker val="1"/>
        <c:smooth val="0"/>
        <c:axId val="1401196336"/>
        <c:axId val="1401208848"/>
      </c:lineChart>
      <c:dateAx>
        <c:axId val="1401164240"/>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401166416"/>
        <c:crosses val="autoZero"/>
        <c:auto val="1"/>
        <c:lblOffset val="100"/>
        <c:baseTimeUnit val="months"/>
        <c:majorUnit val="1"/>
        <c:majorTimeUnit val="months"/>
      </c:dateAx>
      <c:valAx>
        <c:axId val="1401166416"/>
        <c:scaling>
          <c:orientation val="minMax"/>
        </c:scaling>
        <c:delete val="0"/>
        <c:axPos val="l"/>
        <c:numFmt formatCode="_(* #,##0_);_(* \(#,##0\);_(* &quot;-&quot;??_);_(@_)" sourceLinked="1"/>
        <c:majorTickMark val="none"/>
        <c:minorTickMark val="none"/>
        <c:tickLblPos val="nextTo"/>
        <c:spPr>
          <a:noFill/>
          <a:ln>
            <a:noFill/>
          </a:ln>
          <a:effectLst/>
        </c:spPr>
        <c:txPr>
          <a:bodyPr rot="-60000000" vert="horz"/>
          <a:lstStyle/>
          <a:p>
            <a:pPr>
              <a:defRPr/>
            </a:pPr>
            <a:endParaRPr lang="en-US"/>
          </a:p>
        </c:txPr>
        <c:crossAx val="1401164240"/>
        <c:crosses val="autoZero"/>
        <c:crossBetween val="between"/>
      </c:valAx>
      <c:valAx>
        <c:axId val="1401208848"/>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1401196336"/>
        <c:crosses val="max"/>
        <c:crossBetween val="between"/>
      </c:valAx>
      <c:dateAx>
        <c:axId val="1401196336"/>
        <c:scaling>
          <c:orientation val="minMax"/>
        </c:scaling>
        <c:delete val="1"/>
        <c:axPos val="b"/>
        <c:numFmt formatCode="mmm\-yy" sourceLinked="1"/>
        <c:majorTickMark val="out"/>
        <c:minorTickMark val="none"/>
        <c:tickLblPos val="nextTo"/>
        <c:crossAx val="1401208848"/>
        <c:crosses val="autoZero"/>
        <c:auto val="1"/>
        <c:lblOffset val="100"/>
        <c:baseTimeUnit val="months"/>
        <c:majorUnit val="1"/>
        <c:minorUnit val="1"/>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ailway!$P$11</c:f>
              <c:strCache>
                <c:ptCount val="1"/>
                <c:pt idx="0">
                  <c:v>Passengers carried (million)</c:v>
                </c:pt>
              </c:strCache>
            </c:strRef>
          </c:tx>
          <c:spPr>
            <a:solidFill>
              <a:schemeClr val="accent4"/>
            </a:solidFill>
            <a:ln>
              <a:noFill/>
            </a:ln>
            <a:effectLst/>
          </c:spPr>
          <c:invertIfNegative val="0"/>
          <c:cat>
            <c:strRef>
              <c:f>Railway!$O$12:$O$23</c:f>
              <c:strCache>
                <c:ptCount val="12"/>
                <c:pt idx="0">
                  <c:v>FY 11</c:v>
                </c:pt>
                <c:pt idx="1">
                  <c:v>FY 12</c:v>
                </c:pt>
                <c:pt idx="2">
                  <c:v>FY 13</c:v>
                </c:pt>
                <c:pt idx="3">
                  <c:v>FY 14</c:v>
                </c:pt>
                <c:pt idx="4">
                  <c:v>FY 15</c:v>
                </c:pt>
                <c:pt idx="5">
                  <c:v>FY 16</c:v>
                </c:pt>
                <c:pt idx="6">
                  <c:v>FY 17</c:v>
                </c:pt>
                <c:pt idx="7">
                  <c:v>FY 18</c:v>
                </c:pt>
                <c:pt idx="8">
                  <c:v>FY 19</c:v>
                </c:pt>
                <c:pt idx="9">
                  <c:v>FY 20</c:v>
                </c:pt>
                <c:pt idx="10">
                  <c:v>FY21</c:v>
                </c:pt>
                <c:pt idx="11">
                  <c:v>FY22 (Apr-Feb)</c:v>
                </c:pt>
              </c:strCache>
            </c:strRef>
          </c:cat>
          <c:val>
            <c:numRef>
              <c:f>Railway!$P$12:$P$23</c:f>
              <c:numCache>
                <c:formatCode>General</c:formatCode>
                <c:ptCount val="12"/>
                <c:pt idx="0">
                  <c:v>383</c:v>
                </c:pt>
                <c:pt idx="1">
                  <c:v>431</c:v>
                </c:pt>
                <c:pt idx="2">
                  <c:v>456</c:v>
                </c:pt>
                <c:pt idx="3">
                  <c:v>460</c:v>
                </c:pt>
                <c:pt idx="4">
                  <c:v>488</c:v>
                </c:pt>
                <c:pt idx="5">
                  <c:v>504</c:v>
                </c:pt>
                <c:pt idx="6">
                  <c:v>524</c:v>
                </c:pt>
                <c:pt idx="7">
                  <c:v>556</c:v>
                </c:pt>
                <c:pt idx="8">
                  <c:v>594</c:v>
                </c:pt>
                <c:pt idx="9">
                  <c:v>585</c:v>
                </c:pt>
                <c:pt idx="10">
                  <c:v>286.05</c:v>
                </c:pt>
                <c:pt idx="11">
                  <c:v>687.06</c:v>
                </c:pt>
              </c:numCache>
            </c:numRef>
          </c:val>
          <c:extLst>
            <c:ext xmlns:c16="http://schemas.microsoft.com/office/drawing/2014/chart" uri="{C3380CC4-5D6E-409C-BE32-E72D297353CC}">
              <c16:uniqueId val="{00000000-E768-4984-8484-BE0D1F7332B8}"/>
            </c:ext>
          </c:extLst>
        </c:ser>
        <c:dLbls>
          <c:showLegendKey val="0"/>
          <c:showVal val="0"/>
          <c:showCatName val="0"/>
          <c:showSerName val="0"/>
          <c:showPercent val="0"/>
          <c:showBubbleSize val="0"/>
        </c:dLbls>
        <c:gapWidth val="75"/>
        <c:axId val="165873152"/>
        <c:axId val="165875072"/>
      </c:barChart>
      <c:lineChart>
        <c:grouping val="standard"/>
        <c:varyColors val="0"/>
        <c:ser>
          <c:idx val="1"/>
          <c:order val="1"/>
          <c:tx>
            <c:strRef>
              <c:f>Railway!$Q$11</c:f>
              <c:strCache>
                <c:ptCount val="1"/>
                <c:pt idx="0">
                  <c:v>% growth (y-o-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Railway!$O$12:$O$23</c:f>
              <c:strCache>
                <c:ptCount val="12"/>
                <c:pt idx="0">
                  <c:v>FY 11</c:v>
                </c:pt>
                <c:pt idx="1">
                  <c:v>FY 12</c:v>
                </c:pt>
                <c:pt idx="2">
                  <c:v>FY 13</c:v>
                </c:pt>
                <c:pt idx="3">
                  <c:v>FY 14</c:v>
                </c:pt>
                <c:pt idx="4">
                  <c:v>FY 15</c:v>
                </c:pt>
                <c:pt idx="5">
                  <c:v>FY 16</c:v>
                </c:pt>
                <c:pt idx="6">
                  <c:v>FY 17</c:v>
                </c:pt>
                <c:pt idx="7">
                  <c:v>FY 18</c:v>
                </c:pt>
                <c:pt idx="8">
                  <c:v>FY 19</c:v>
                </c:pt>
                <c:pt idx="9">
                  <c:v>FY 20</c:v>
                </c:pt>
                <c:pt idx="10">
                  <c:v>FY21</c:v>
                </c:pt>
                <c:pt idx="11">
                  <c:v>FY22 (Apr-Feb)</c:v>
                </c:pt>
              </c:strCache>
            </c:strRef>
          </c:cat>
          <c:val>
            <c:numRef>
              <c:f>Railway!$Q$12:$Q$23</c:f>
              <c:numCache>
                <c:formatCode>0%</c:formatCode>
                <c:ptCount val="12"/>
                <c:pt idx="0">
                  <c:v>0.11</c:v>
                </c:pt>
                <c:pt idx="1">
                  <c:v>0.12532637075718012</c:v>
                </c:pt>
                <c:pt idx="2">
                  <c:v>5.8004640371229765E-2</c:v>
                </c:pt>
                <c:pt idx="3">
                  <c:v>8.7719298245614308E-3</c:v>
                </c:pt>
                <c:pt idx="4">
                  <c:v>6.0869565217391397E-2</c:v>
                </c:pt>
                <c:pt idx="5">
                  <c:v>3.2786885245901676E-2</c:v>
                </c:pt>
                <c:pt idx="6">
                  <c:v>3.9682539682539764E-2</c:v>
                </c:pt>
                <c:pt idx="7">
                  <c:v>6.1068702290076438E-2</c:v>
                </c:pt>
                <c:pt idx="8">
                  <c:v>6.8345323741007213E-2</c:v>
                </c:pt>
                <c:pt idx="9">
                  <c:v>-1.5151515151515138E-2</c:v>
                </c:pt>
                <c:pt idx="10" formatCode="0.00%">
                  <c:v>-0.51102564102564108</c:v>
                </c:pt>
                <c:pt idx="11" formatCode="0.00%">
                  <c:v>2.019114997583161</c:v>
                </c:pt>
              </c:numCache>
            </c:numRef>
          </c:val>
          <c:smooth val="0"/>
          <c:extLst>
            <c:ext xmlns:c16="http://schemas.microsoft.com/office/drawing/2014/chart" uri="{C3380CC4-5D6E-409C-BE32-E72D297353CC}">
              <c16:uniqueId val="{00000001-E768-4984-8484-BE0D1F7332B8}"/>
            </c:ext>
          </c:extLst>
        </c:ser>
        <c:dLbls>
          <c:showLegendKey val="0"/>
          <c:showVal val="0"/>
          <c:showCatName val="0"/>
          <c:showSerName val="0"/>
          <c:showPercent val="0"/>
          <c:showBubbleSize val="0"/>
        </c:dLbls>
        <c:marker val="1"/>
        <c:smooth val="0"/>
        <c:axId val="165882496"/>
        <c:axId val="165880960"/>
      </c:lineChart>
      <c:catAx>
        <c:axId val="1658731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875072"/>
        <c:crosses val="autoZero"/>
        <c:auto val="1"/>
        <c:lblAlgn val="ctr"/>
        <c:lblOffset val="100"/>
        <c:noMultiLvlLbl val="0"/>
      </c:catAx>
      <c:valAx>
        <c:axId val="165875072"/>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873152"/>
        <c:crosses val="autoZero"/>
        <c:crossBetween val="between"/>
      </c:valAx>
      <c:valAx>
        <c:axId val="165880960"/>
        <c:scaling>
          <c:orientation val="minMax"/>
        </c:scaling>
        <c:delete val="0"/>
        <c:axPos val="r"/>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65882496"/>
        <c:crosses val="max"/>
        <c:crossBetween val="between"/>
      </c:valAx>
      <c:catAx>
        <c:axId val="165882496"/>
        <c:scaling>
          <c:orientation val="minMax"/>
        </c:scaling>
        <c:delete val="1"/>
        <c:axPos val="b"/>
        <c:numFmt formatCode="General" sourceLinked="1"/>
        <c:majorTickMark val="out"/>
        <c:minorTickMark val="none"/>
        <c:tickLblPos val="nextTo"/>
        <c:crossAx val="1658809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ir traffic'!$H$1</c:f>
              <c:strCache>
                <c:ptCount val="1"/>
                <c:pt idx="0">
                  <c:v>Monthly Domestic Air  Passenger traffic (lakhs)</c:v>
                </c:pt>
              </c:strCache>
            </c:strRef>
          </c:tx>
          <c:spPr>
            <a:solidFill>
              <a:schemeClr val="bg2"/>
            </a:solidFill>
            <a:ln>
              <a:noFill/>
            </a:ln>
            <a:effectLst/>
          </c:spPr>
          <c:invertIfNegative val="0"/>
          <c:dLbls>
            <c:spPr>
              <a:noFill/>
              <a:ln>
                <a:noFill/>
              </a:ln>
              <a:effectLst/>
            </c:spPr>
            <c:txPr>
              <a:bodyPr rot="-5400000"/>
              <a:lstStyle/>
              <a:p>
                <a:pPr>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ir traffic'!$G$29:$G$51</c:f>
              <c:numCache>
                <c:formatCode>mmm\-yy</c:formatCode>
                <c:ptCount val="23"/>
                <c:pt idx="0">
                  <c:v>43922</c:v>
                </c:pt>
                <c:pt idx="1">
                  <c:v>43952</c:v>
                </c:pt>
                <c:pt idx="2">
                  <c:v>43983</c:v>
                </c:pt>
                <c:pt idx="3">
                  <c:v>44013</c:v>
                </c:pt>
                <c:pt idx="4">
                  <c:v>44044</c:v>
                </c:pt>
                <c:pt idx="5">
                  <c:v>44075</c:v>
                </c:pt>
                <c:pt idx="6">
                  <c:v>44105</c:v>
                </c:pt>
                <c:pt idx="7">
                  <c:v>44136</c:v>
                </c:pt>
                <c:pt idx="8">
                  <c:v>44166</c:v>
                </c:pt>
                <c:pt idx="9">
                  <c:v>44197</c:v>
                </c:pt>
                <c:pt idx="10">
                  <c:v>44228</c:v>
                </c:pt>
                <c:pt idx="11">
                  <c:v>44256</c:v>
                </c:pt>
                <c:pt idx="12">
                  <c:v>44287</c:v>
                </c:pt>
                <c:pt idx="13">
                  <c:v>44317</c:v>
                </c:pt>
                <c:pt idx="14">
                  <c:v>44348</c:v>
                </c:pt>
                <c:pt idx="15">
                  <c:v>44378</c:v>
                </c:pt>
                <c:pt idx="16">
                  <c:v>44409</c:v>
                </c:pt>
                <c:pt idx="17">
                  <c:v>44440</c:v>
                </c:pt>
                <c:pt idx="18">
                  <c:v>44470</c:v>
                </c:pt>
                <c:pt idx="19">
                  <c:v>44501</c:v>
                </c:pt>
                <c:pt idx="20">
                  <c:v>44531</c:v>
                </c:pt>
                <c:pt idx="21">
                  <c:v>44562</c:v>
                </c:pt>
                <c:pt idx="22">
                  <c:v>44593</c:v>
                </c:pt>
              </c:numCache>
            </c:numRef>
          </c:cat>
          <c:val>
            <c:numRef>
              <c:f>'Air traffic'!$H$29:$H$51</c:f>
              <c:numCache>
                <c:formatCode>0</c:formatCode>
                <c:ptCount val="23"/>
                <c:pt idx="0">
                  <c:v>0</c:v>
                </c:pt>
                <c:pt idx="1">
                  <c:v>2.81</c:v>
                </c:pt>
                <c:pt idx="2">
                  <c:v>19.84</c:v>
                </c:pt>
                <c:pt idx="3">
                  <c:v>21.07</c:v>
                </c:pt>
                <c:pt idx="4">
                  <c:v>28.32</c:v>
                </c:pt>
                <c:pt idx="5">
                  <c:v>39.43</c:v>
                </c:pt>
                <c:pt idx="6">
                  <c:v>52.71</c:v>
                </c:pt>
                <c:pt idx="7">
                  <c:v>63.54</c:v>
                </c:pt>
                <c:pt idx="8">
                  <c:v>73.27</c:v>
                </c:pt>
                <c:pt idx="9">
                  <c:v>77.34</c:v>
                </c:pt>
                <c:pt idx="10">
                  <c:v>78.27</c:v>
                </c:pt>
                <c:pt idx="11">
                  <c:v>78.22</c:v>
                </c:pt>
                <c:pt idx="12">
                  <c:v>57.25</c:v>
                </c:pt>
                <c:pt idx="13">
                  <c:v>21.15</c:v>
                </c:pt>
                <c:pt idx="14">
                  <c:v>31</c:v>
                </c:pt>
                <c:pt idx="15">
                  <c:v>50.07</c:v>
                </c:pt>
                <c:pt idx="16">
                  <c:v>67.010000000000005</c:v>
                </c:pt>
                <c:pt idx="17">
                  <c:v>71</c:v>
                </c:pt>
                <c:pt idx="18">
                  <c:v>89.85</c:v>
                </c:pt>
                <c:pt idx="19">
                  <c:v>105</c:v>
                </c:pt>
                <c:pt idx="20">
                  <c:v>111</c:v>
                </c:pt>
                <c:pt idx="21">
                  <c:v>64.08</c:v>
                </c:pt>
                <c:pt idx="22">
                  <c:v>76</c:v>
                </c:pt>
              </c:numCache>
            </c:numRef>
          </c:val>
          <c:extLst>
            <c:ext xmlns:c16="http://schemas.microsoft.com/office/drawing/2014/chart" uri="{C3380CC4-5D6E-409C-BE32-E72D297353CC}">
              <c16:uniqueId val="{00000000-5746-458E-A1D8-526726CAA92D}"/>
            </c:ext>
          </c:extLst>
        </c:ser>
        <c:dLbls>
          <c:showLegendKey val="0"/>
          <c:showVal val="1"/>
          <c:showCatName val="0"/>
          <c:showSerName val="0"/>
          <c:showPercent val="0"/>
          <c:showBubbleSize val="0"/>
        </c:dLbls>
        <c:gapWidth val="75"/>
        <c:axId val="-556489984"/>
        <c:axId val="-556491616"/>
      </c:barChart>
      <c:lineChart>
        <c:grouping val="standard"/>
        <c:varyColors val="0"/>
        <c:ser>
          <c:idx val="1"/>
          <c:order val="1"/>
          <c:tx>
            <c:strRef>
              <c:f>'Air traffic'!$I$1</c:f>
              <c:strCache>
                <c:ptCount val="1"/>
                <c:pt idx="0">
                  <c:v>y-o-y growth</c:v>
                </c:pt>
              </c:strCache>
            </c:strRef>
          </c:tx>
          <c:spPr>
            <a:ln w="28575" cap="rnd">
              <a:solidFill>
                <a:srgbClr val="C00000"/>
              </a:solidFill>
              <a:round/>
            </a:ln>
            <a:effectLst/>
          </c:spPr>
          <c:marker>
            <c:symbol val="none"/>
          </c:marker>
          <c:dLbls>
            <c:spPr>
              <a:noFill/>
              <a:ln>
                <a:noFill/>
              </a:ln>
              <a:effectLst/>
            </c:spPr>
            <c:txPr>
              <a:bodyPr rot="0" vert="horz"/>
              <a:lstStyle/>
              <a:p>
                <a:pPr>
                  <a:defRPr sz="700"/>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ir traffic'!$G$29:$G$51</c:f>
              <c:numCache>
                <c:formatCode>mmm\-yy</c:formatCode>
                <c:ptCount val="23"/>
                <c:pt idx="0">
                  <c:v>43922</c:v>
                </c:pt>
                <c:pt idx="1">
                  <c:v>43952</c:v>
                </c:pt>
                <c:pt idx="2">
                  <c:v>43983</c:v>
                </c:pt>
                <c:pt idx="3">
                  <c:v>44013</c:v>
                </c:pt>
                <c:pt idx="4">
                  <c:v>44044</c:v>
                </c:pt>
                <c:pt idx="5">
                  <c:v>44075</c:v>
                </c:pt>
                <c:pt idx="6">
                  <c:v>44105</c:v>
                </c:pt>
                <c:pt idx="7">
                  <c:v>44136</c:v>
                </c:pt>
                <c:pt idx="8">
                  <c:v>44166</c:v>
                </c:pt>
                <c:pt idx="9">
                  <c:v>44197</c:v>
                </c:pt>
                <c:pt idx="10">
                  <c:v>44228</c:v>
                </c:pt>
                <c:pt idx="11">
                  <c:v>44256</c:v>
                </c:pt>
                <c:pt idx="12">
                  <c:v>44287</c:v>
                </c:pt>
                <c:pt idx="13">
                  <c:v>44317</c:v>
                </c:pt>
                <c:pt idx="14">
                  <c:v>44348</c:v>
                </c:pt>
                <c:pt idx="15">
                  <c:v>44378</c:v>
                </c:pt>
                <c:pt idx="16">
                  <c:v>44409</c:v>
                </c:pt>
                <c:pt idx="17">
                  <c:v>44440</c:v>
                </c:pt>
                <c:pt idx="18">
                  <c:v>44470</c:v>
                </c:pt>
                <c:pt idx="19">
                  <c:v>44501</c:v>
                </c:pt>
                <c:pt idx="20">
                  <c:v>44531</c:v>
                </c:pt>
                <c:pt idx="21">
                  <c:v>44562</c:v>
                </c:pt>
                <c:pt idx="22">
                  <c:v>44593</c:v>
                </c:pt>
              </c:numCache>
            </c:numRef>
          </c:cat>
          <c:val>
            <c:numRef>
              <c:f>'Air traffic'!$I$29:$I$51</c:f>
              <c:numCache>
                <c:formatCode>0%</c:formatCode>
                <c:ptCount val="23"/>
                <c:pt idx="0">
                  <c:v>-1</c:v>
                </c:pt>
                <c:pt idx="1">
                  <c:v>-0.97694264380077134</c:v>
                </c:pt>
                <c:pt idx="2">
                  <c:v>-0.83501039501039498</c:v>
                </c:pt>
                <c:pt idx="3">
                  <c:v>-0.82301553968920627</c:v>
                </c:pt>
                <c:pt idx="4">
                  <c:v>-0.75985754261002292</c:v>
                </c:pt>
                <c:pt idx="5">
                  <c:v>-0.65811150611289349</c:v>
                </c:pt>
                <c:pt idx="6">
                  <c:v>-0.57202013640792471</c:v>
                </c:pt>
                <c:pt idx="7">
                  <c:v>-0.50922993743724421</c:v>
                </c:pt>
                <c:pt idx="8">
                  <c:v>-0.43716392687048711</c:v>
                </c:pt>
                <c:pt idx="9">
                  <c:v>-0.39497770476413985</c:v>
                </c:pt>
                <c:pt idx="10">
                  <c:v>-0.36715717981888751</c:v>
                </c:pt>
                <c:pt idx="11">
                  <c:v>7.7299665034784582E-3</c:v>
                </c:pt>
                <c:pt idx="14">
                  <c:v>0.5625</c:v>
                </c:pt>
                <c:pt idx="15">
                  <c:v>1.3763644992880875</c:v>
                </c:pt>
                <c:pt idx="16">
                  <c:v>1.3661723163841808</c:v>
                </c:pt>
                <c:pt idx="17">
                  <c:v>0.80065939639868122</c:v>
                </c:pt>
                <c:pt idx="18">
                  <c:v>0.7046101309049515</c:v>
                </c:pt>
                <c:pt idx="19">
                  <c:v>0.6525023607176581</c:v>
                </c:pt>
                <c:pt idx="20">
                  <c:v>0.51494472498976407</c:v>
                </c:pt>
                <c:pt idx="21">
                  <c:v>-0.17145073700543068</c:v>
                </c:pt>
                <c:pt idx="22">
                  <c:v>-2.9002171968825818E-2</c:v>
                </c:pt>
              </c:numCache>
            </c:numRef>
          </c:val>
          <c:smooth val="1"/>
          <c:extLst>
            <c:ext xmlns:c16="http://schemas.microsoft.com/office/drawing/2014/chart" uri="{C3380CC4-5D6E-409C-BE32-E72D297353CC}">
              <c16:uniqueId val="{00000001-5746-458E-A1D8-526726CAA92D}"/>
            </c:ext>
          </c:extLst>
        </c:ser>
        <c:dLbls>
          <c:showLegendKey val="0"/>
          <c:showVal val="1"/>
          <c:showCatName val="0"/>
          <c:showSerName val="0"/>
          <c:showPercent val="0"/>
          <c:showBubbleSize val="0"/>
        </c:dLbls>
        <c:marker val="1"/>
        <c:smooth val="0"/>
        <c:axId val="-541264704"/>
        <c:axId val="-556491072"/>
      </c:lineChart>
      <c:dateAx>
        <c:axId val="-55648998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556491616"/>
        <c:crosses val="autoZero"/>
        <c:auto val="1"/>
        <c:lblOffset val="100"/>
        <c:baseTimeUnit val="months"/>
        <c:majorUnit val="1"/>
        <c:majorTimeUnit val="months"/>
      </c:dateAx>
      <c:valAx>
        <c:axId val="-556491616"/>
        <c:scaling>
          <c:orientation val="minMax"/>
        </c:scaling>
        <c:delete val="0"/>
        <c:axPos val="l"/>
        <c:numFmt formatCode="0" sourceLinked="1"/>
        <c:majorTickMark val="none"/>
        <c:minorTickMark val="none"/>
        <c:tickLblPos val="nextTo"/>
        <c:spPr>
          <a:noFill/>
          <a:ln>
            <a:noFill/>
          </a:ln>
          <a:effectLst/>
        </c:spPr>
        <c:txPr>
          <a:bodyPr rot="-60000000" vert="horz"/>
          <a:lstStyle/>
          <a:p>
            <a:pPr>
              <a:defRPr/>
            </a:pPr>
            <a:endParaRPr lang="en-US"/>
          </a:p>
        </c:txPr>
        <c:crossAx val="-556489984"/>
        <c:crosses val="autoZero"/>
        <c:crossBetween val="between"/>
      </c:valAx>
      <c:valAx>
        <c:axId val="-556491072"/>
        <c:scaling>
          <c:orientation val="minMax"/>
        </c:scaling>
        <c:delete val="0"/>
        <c:axPos val="r"/>
        <c:numFmt formatCode="0%" sourceLinked="1"/>
        <c:majorTickMark val="out"/>
        <c:minorTickMark val="none"/>
        <c:tickLblPos val="nextTo"/>
        <c:spPr>
          <a:noFill/>
          <a:ln>
            <a:noFill/>
          </a:ln>
          <a:effectLst/>
        </c:spPr>
        <c:txPr>
          <a:bodyPr rot="-60000000" vert="horz"/>
          <a:lstStyle/>
          <a:p>
            <a:pPr>
              <a:defRPr/>
            </a:pPr>
            <a:endParaRPr lang="en-US"/>
          </a:p>
        </c:txPr>
        <c:crossAx val="-541264704"/>
        <c:crosses val="max"/>
        <c:crossBetween val="between"/>
      </c:valAx>
      <c:dateAx>
        <c:axId val="-541264704"/>
        <c:scaling>
          <c:orientation val="minMax"/>
        </c:scaling>
        <c:delete val="1"/>
        <c:axPos val="b"/>
        <c:numFmt formatCode="mmm\-yy" sourceLinked="1"/>
        <c:majorTickMark val="out"/>
        <c:minorTickMark val="none"/>
        <c:tickLblPos val="nextTo"/>
        <c:crossAx val="-556491072"/>
        <c:crosses val="autoZero"/>
        <c:auto val="1"/>
        <c:lblOffset val="100"/>
        <c:baseTimeUnit val="months"/>
      </c:date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Air traffic'!$O$22</c:f>
              <c:strCache>
                <c:ptCount val="1"/>
                <c:pt idx="0">
                  <c:v>Domestic passenger traffic</c:v>
                </c:pt>
              </c:strCache>
            </c:strRef>
          </c:tx>
          <c:spPr>
            <a:solidFill>
              <a:schemeClr val="accent4"/>
            </a:solidFill>
          </c:spPr>
          <c:invertIfNegative val="0"/>
          <c:dLbls>
            <c:dLbl>
              <c:idx val="8"/>
              <c:tx>
                <c:rich>
                  <a:bodyPr/>
                  <a:lstStyle/>
                  <a:p>
                    <a:r>
                      <a:rPr lang="en-US"/>
                      <a:t>130-1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7E3-49CA-A224-A65A087E5273}"/>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ir traffic'!$N$23:$N$31</c:f>
              <c:strCache>
                <c:ptCount val="9"/>
                <c:pt idx="0">
                  <c:v>FY 15</c:v>
                </c:pt>
                <c:pt idx="1">
                  <c:v>FY 16</c:v>
                </c:pt>
                <c:pt idx="2">
                  <c:v>FY 17</c:v>
                </c:pt>
                <c:pt idx="3">
                  <c:v>FY 18</c:v>
                </c:pt>
                <c:pt idx="4">
                  <c:v>FY 19</c:v>
                </c:pt>
                <c:pt idx="5">
                  <c:v>FY 20</c:v>
                </c:pt>
                <c:pt idx="6">
                  <c:v>FY 21</c:v>
                </c:pt>
                <c:pt idx="7">
                  <c:v>FY 22P</c:v>
                </c:pt>
                <c:pt idx="8">
                  <c:v>FY 23P</c:v>
                </c:pt>
              </c:strCache>
            </c:strRef>
          </c:cat>
          <c:val>
            <c:numRef>
              <c:f>'Air traffic'!$O$23:$O$31</c:f>
              <c:numCache>
                <c:formatCode>0</c:formatCode>
                <c:ptCount val="9"/>
                <c:pt idx="0">
                  <c:v>70</c:v>
                </c:pt>
                <c:pt idx="1">
                  <c:v>85</c:v>
                </c:pt>
                <c:pt idx="2">
                  <c:v>104</c:v>
                </c:pt>
                <c:pt idx="3">
                  <c:v>123</c:v>
                </c:pt>
                <c:pt idx="4">
                  <c:v>140</c:v>
                </c:pt>
                <c:pt idx="5">
                  <c:v>142</c:v>
                </c:pt>
                <c:pt idx="6" formatCode="General">
                  <c:v>54</c:v>
                </c:pt>
                <c:pt idx="7" formatCode="General">
                  <c:v>82.2</c:v>
                </c:pt>
                <c:pt idx="8" formatCode="General">
                  <c:v>140</c:v>
                </c:pt>
              </c:numCache>
            </c:numRef>
          </c:val>
          <c:extLst>
            <c:ext xmlns:c16="http://schemas.microsoft.com/office/drawing/2014/chart" uri="{C3380CC4-5D6E-409C-BE32-E72D297353CC}">
              <c16:uniqueId val="{00000000-47E3-49CA-A224-A65A087E5273}"/>
            </c:ext>
          </c:extLst>
        </c:ser>
        <c:ser>
          <c:idx val="1"/>
          <c:order val="1"/>
          <c:tx>
            <c:strRef>
              <c:f>'Air traffic'!$P$22</c:f>
              <c:strCache>
                <c:ptCount val="1"/>
                <c:pt idx="0">
                  <c:v>International passenger traffic</c:v>
                </c:pt>
              </c:strCache>
            </c:strRef>
          </c:tx>
          <c:spPr>
            <a:solidFill>
              <a:schemeClr val="bg1">
                <a:lumMod val="50000"/>
              </a:schemeClr>
            </a:solidFill>
          </c:spPr>
          <c:invertIfNegative val="0"/>
          <c:dLbls>
            <c:dLbl>
              <c:idx val="8"/>
              <c:tx>
                <c:rich>
                  <a:bodyPr/>
                  <a:lstStyle/>
                  <a:p>
                    <a:r>
                      <a:rPr lang="en-US"/>
                      <a:t>40-5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7E3-49CA-A224-A65A087E5273}"/>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ir traffic'!$N$23:$N$31</c:f>
              <c:strCache>
                <c:ptCount val="9"/>
                <c:pt idx="0">
                  <c:v>FY 15</c:v>
                </c:pt>
                <c:pt idx="1">
                  <c:v>FY 16</c:v>
                </c:pt>
                <c:pt idx="2">
                  <c:v>FY 17</c:v>
                </c:pt>
                <c:pt idx="3">
                  <c:v>FY 18</c:v>
                </c:pt>
                <c:pt idx="4">
                  <c:v>FY 19</c:v>
                </c:pt>
                <c:pt idx="5">
                  <c:v>FY 20</c:v>
                </c:pt>
                <c:pt idx="6">
                  <c:v>FY 21</c:v>
                </c:pt>
                <c:pt idx="7">
                  <c:v>FY 22P</c:v>
                </c:pt>
                <c:pt idx="8">
                  <c:v>FY 23P</c:v>
                </c:pt>
              </c:strCache>
            </c:strRef>
          </c:cat>
          <c:val>
            <c:numRef>
              <c:f>'Air traffic'!$P$23:$P$31</c:f>
              <c:numCache>
                <c:formatCode>General</c:formatCode>
                <c:ptCount val="9"/>
                <c:pt idx="0">
                  <c:v>51</c:v>
                </c:pt>
                <c:pt idx="1">
                  <c:v>55</c:v>
                </c:pt>
                <c:pt idx="2">
                  <c:v>59</c:v>
                </c:pt>
                <c:pt idx="3">
                  <c:v>65</c:v>
                </c:pt>
                <c:pt idx="4">
                  <c:v>69</c:v>
                </c:pt>
                <c:pt idx="5">
                  <c:v>67</c:v>
                </c:pt>
                <c:pt idx="6">
                  <c:v>10.4</c:v>
                </c:pt>
                <c:pt idx="7">
                  <c:v>22</c:v>
                </c:pt>
                <c:pt idx="8">
                  <c:v>45</c:v>
                </c:pt>
              </c:numCache>
            </c:numRef>
          </c:val>
          <c:extLst>
            <c:ext xmlns:c16="http://schemas.microsoft.com/office/drawing/2014/chart" uri="{C3380CC4-5D6E-409C-BE32-E72D297353CC}">
              <c16:uniqueId val="{00000001-47E3-49CA-A224-A65A087E5273}"/>
            </c:ext>
          </c:extLst>
        </c:ser>
        <c:dLbls>
          <c:showLegendKey val="0"/>
          <c:showVal val="0"/>
          <c:showCatName val="0"/>
          <c:showSerName val="0"/>
          <c:showPercent val="0"/>
          <c:showBubbleSize val="0"/>
        </c:dLbls>
        <c:gapWidth val="150"/>
        <c:axId val="-541261984"/>
        <c:axId val="-541265248"/>
      </c:barChart>
      <c:catAx>
        <c:axId val="-541261984"/>
        <c:scaling>
          <c:orientation val="minMax"/>
        </c:scaling>
        <c:delete val="0"/>
        <c:axPos val="b"/>
        <c:numFmt formatCode="General" sourceLinked="0"/>
        <c:majorTickMark val="out"/>
        <c:minorTickMark val="none"/>
        <c:tickLblPos val="nextTo"/>
        <c:crossAx val="-541265248"/>
        <c:crosses val="autoZero"/>
        <c:auto val="1"/>
        <c:lblAlgn val="ctr"/>
        <c:lblOffset val="100"/>
        <c:noMultiLvlLbl val="0"/>
      </c:catAx>
      <c:valAx>
        <c:axId val="-541265248"/>
        <c:scaling>
          <c:orientation val="minMax"/>
        </c:scaling>
        <c:delete val="0"/>
        <c:axPos val="l"/>
        <c:numFmt formatCode="0" sourceLinked="1"/>
        <c:majorTickMark val="out"/>
        <c:minorTickMark val="none"/>
        <c:tickLblPos val="nextTo"/>
        <c:crossAx val="-541261984"/>
        <c:crosses val="autoZero"/>
        <c:crossBetween val="between"/>
      </c:valAx>
    </c:plotArea>
    <c:legend>
      <c:legendPos val="b"/>
      <c:overlay val="0"/>
    </c:legend>
    <c:plotVisOnly val="1"/>
    <c:dispBlanksAs val="gap"/>
    <c:showDLblsOverMax val="0"/>
  </c:chart>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Google trends'!$O$1</c:f>
              <c:strCache>
                <c:ptCount val="1"/>
                <c:pt idx="0">
                  <c:v>Enquiries for travel by bus</c:v>
                </c:pt>
              </c:strCache>
            </c:strRef>
          </c:tx>
          <c:spPr>
            <a:ln w="38100" cap="flat" cmpd="dbl" algn="ctr">
              <a:solidFill>
                <a:schemeClr val="accent1"/>
              </a:solidFill>
              <a:miter lim="800000"/>
            </a:ln>
            <a:effectLst/>
          </c:spPr>
          <c:marker>
            <c:symbol val="none"/>
          </c:marker>
          <c:cat>
            <c:numRef>
              <c:f>'Google trends'!$A$2:$A$118</c:f>
              <c:numCache>
                <c:formatCode>m/d/yyyy</c:formatCode>
                <c:ptCount val="117"/>
                <c:pt idx="0">
                  <c:v>43842</c:v>
                </c:pt>
                <c:pt idx="1">
                  <c:v>43849</c:v>
                </c:pt>
                <c:pt idx="2">
                  <c:v>43856</c:v>
                </c:pt>
                <c:pt idx="3">
                  <c:v>43863</c:v>
                </c:pt>
                <c:pt idx="4">
                  <c:v>43870</c:v>
                </c:pt>
                <c:pt idx="5">
                  <c:v>43877</c:v>
                </c:pt>
                <c:pt idx="6">
                  <c:v>43884</c:v>
                </c:pt>
                <c:pt idx="7">
                  <c:v>43891</c:v>
                </c:pt>
                <c:pt idx="8">
                  <c:v>43898</c:v>
                </c:pt>
                <c:pt idx="9">
                  <c:v>43905</c:v>
                </c:pt>
                <c:pt idx="10">
                  <c:v>43912</c:v>
                </c:pt>
                <c:pt idx="11">
                  <c:v>43919</c:v>
                </c:pt>
                <c:pt idx="12">
                  <c:v>43926</c:v>
                </c:pt>
                <c:pt idx="13">
                  <c:v>43933</c:v>
                </c:pt>
                <c:pt idx="14">
                  <c:v>43940</c:v>
                </c:pt>
                <c:pt idx="15">
                  <c:v>43947</c:v>
                </c:pt>
                <c:pt idx="16">
                  <c:v>43954</c:v>
                </c:pt>
                <c:pt idx="17">
                  <c:v>43961</c:v>
                </c:pt>
                <c:pt idx="18">
                  <c:v>43968</c:v>
                </c:pt>
                <c:pt idx="19">
                  <c:v>43975</c:v>
                </c:pt>
                <c:pt idx="20">
                  <c:v>43982</c:v>
                </c:pt>
                <c:pt idx="21">
                  <c:v>43989</c:v>
                </c:pt>
                <c:pt idx="22">
                  <c:v>43996</c:v>
                </c:pt>
                <c:pt idx="23">
                  <c:v>44003</c:v>
                </c:pt>
                <c:pt idx="24">
                  <c:v>44010</c:v>
                </c:pt>
                <c:pt idx="25">
                  <c:v>44017</c:v>
                </c:pt>
                <c:pt idx="26">
                  <c:v>44024</c:v>
                </c:pt>
                <c:pt idx="27">
                  <c:v>44031</c:v>
                </c:pt>
                <c:pt idx="28">
                  <c:v>44038</c:v>
                </c:pt>
                <c:pt idx="29">
                  <c:v>44045</c:v>
                </c:pt>
                <c:pt idx="30">
                  <c:v>44052</c:v>
                </c:pt>
                <c:pt idx="31">
                  <c:v>44059</c:v>
                </c:pt>
                <c:pt idx="32">
                  <c:v>44066</c:v>
                </c:pt>
                <c:pt idx="33">
                  <c:v>44073</c:v>
                </c:pt>
                <c:pt idx="34">
                  <c:v>44080</c:v>
                </c:pt>
                <c:pt idx="35">
                  <c:v>44087</c:v>
                </c:pt>
                <c:pt idx="36">
                  <c:v>44094</c:v>
                </c:pt>
                <c:pt idx="37">
                  <c:v>44101</c:v>
                </c:pt>
                <c:pt idx="38">
                  <c:v>44108</c:v>
                </c:pt>
                <c:pt idx="39">
                  <c:v>44115</c:v>
                </c:pt>
                <c:pt idx="40">
                  <c:v>44122</c:v>
                </c:pt>
                <c:pt idx="41">
                  <c:v>44129</c:v>
                </c:pt>
                <c:pt idx="42">
                  <c:v>44136</c:v>
                </c:pt>
                <c:pt idx="43">
                  <c:v>44143</c:v>
                </c:pt>
                <c:pt idx="44">
                  <c:v>44150</c:v>
                </c:pt>
                <c:pt idx="45">
                  <c:v>44157</c:v>
                </c:pt>
                <c:pt idx="46">
                  <c:v>44164</c:v>
                </c:pt>
                <c:pt idx="47">
                  <c:v>44171</c:v>
                </c:pt>
                <c:pt idx="48">
                  <c:v>44178</c:v>
                </c:pt>
                <c:pt idx="49">
                  <c:v>44185</c:v>
                </c:pt>
                <c:pt idx="50">
                  <c:v>44192</c:v>
                </c:pt>
                <c:pt idx="51">
                  <c:v>44199</c:v>
                </c:pt>
                <c:pt idx="52">
                  <c:v>44206</c:v>
                </c:pt>
                <c:pt idx="53">
                  <c:v>44213</c:v>
                </c:pt>
                <c:pt idx="54">
                  <c:v>44220</c:v>
                </c:pt>
                <c:pt idx="55">
                  <c:v>44227</c:v>
                </c:pt>
                <c:pt idx="56">
                  <c:v>44234</c:v>
                </c:pt>
                <c:pt idx="57">
                  <c:v>44241</c:v>
                </c:pt>
                <c:pt idx="58">
                  <c:v>44248</c:v>
                </c:pt>
                <c:pt idx="59">
                  <c:v>44255</c:v>
                </c:pt>
                <c:pt idx="60">
                  <c:v>44262</c:v>
                </c:pt>
                <c:pt idx="61">
                  <c:v>44269</c:v>
                </c:pt>
                <c:pt idx="62">
                  <c:v>44276</c:v>
                </c:pt>
                <c:pt idx="63">
                  <c:v>44283</c:v>
                </c:pt>
                <c:pt idx="64">
                  <c:v>44290</c:v>
                </c:pt>
                <c:pt idx="65">
                  <c:v>44297</c:v>
                </c:pt>
                <c:pt idx="66">
                  <c:v>44304</c:v>
                </c:pt>
                <c:pt idx="67">
                  <c:v>44311</c:v>
                </c:pt>
                <c:pt idx="68">
                  <c:v>44318</c:v>
                </c:pt>
                <c:pt idx="69">
                  <c:v>44325</c:v>
                </c:pt>
                <c:pt idx="70">
                  <c:v>44332</c:v>
                </c:pt>
                <c:pt idx="71">
                  <c:v>44339</c:v>
                </c:pt>
                <c:pt idx="72">
                  <c:v>44346</c:v>
                </c:pt>
                <c:pt idx="73">
                  <c:v>44353</c:v>
                </c:pt>
                <c:pt idx="74">
                  <c:v>44360</c:v>
                </c:pt>
                <c:pt idx="75">
                  <c:v>44367</c:v>
                </c:pt>
                <c:pt idx="76">
                  <c:v>44374</c:v>
                </c:pt>
                <c:pt idx="77">
                  <c:v>44381</c:v>
                </c:pt>
                <c:pt idx="78">
                  <c:v>44388</c:v>
                </c:pt>
                <c:pt idx="79">
                  <c:v>44395</c:v>
                </c:pt>
                <c:pt idx="80">
                  <c:v>44402</c:v>
                </c:pt>
                <c:pt idx="81">
                  <c:v>44409</c:v>
                </c:pt>
                <c:pt idx="82">
                  <c:v>44416</c:v>
                </c:pt>
                <c:pt idx="83">
                  <c:v>44423</c:v>
                </c:pt>
                <c:pt idx="84">
                  <c:v>44430</c:v>
                </c:pt>
                <c:pt idx="85">
                  <c:v>44437</c:v>
                </c:pt>
                <c:pt idx="86">
                  <c:v>44444</c:v>
                </c:pt>
                <c:pt idx="87">
                  <c:v>44451</c:v>
                </c:pt>
                <c:pt idx="88">
                  <c:v>44458</c:v>
                </c:pt>
                <c:pt idx="89">
                  <c:v>44465</c:v>
                </c:pt>
                <c:pt idx="90">
                  <c:v>44472</c:v>
                </c:pt>
                <c:pt idx="91">
                  <c:v>44479</c:v>
                </c:pt>
                <c:pt idx="92">
                  <c:v>44486</c:v>
                </c:pt>
                <c:pt idx="93">
                  <c:v>44493</c:v>
                </c:pt>
                <c:pt idx="94">
                  <c:v>44500</c:v>
                </c:pt>
                <c:pt idx="95">
                  <c:v>44507</c:v>
                </c:pt>
                <c:pt idx="96">
                  <c:v>44514</c:v>
                </c:pt>
                <c:pt idx="97">
                  <c:v>44521</c:v>
                </c:pt>
                <c:pt idx="98">
                  <c:v>44528</c:v>
                </c:pt>
                <c:pt idx="99">
                  <c:v>44535</c:v>
                </c:pt>
                <c:pt idx="100">
                  <c:v>44542</c:v>
                </c:pt>
                <c:pt idx="101">
                  <c:v>44549</c:v>
                </c:pt>
                <c:pt idx="102">
                  <c:v>44556</c:v>
                </c:pt>
                <c:pt idx="103">
                  <c:v>44563</c:v>
                </c:pt>
                <c:pt idx="104">
                  <c:v>44570</c:v>
                </c:pt>
                <c:pt idx="105">
                  <c:v>44577</c:v>
                </c:pt>
                <c:pt idx="106">
                  <c:v>44584</c:v>
                </c:pt>
                <c:pt idx="107">
                  <c:v>44591</c:v>
                </c:pt>
                <c:pt idx="108">
                  <c:v>44598</c:v>
                </c:pt>
                <c:pt idx="109">
                  <c:v>44605</c:v>
                </c:pt>
                <c:pt idx="110">
                  <c:v>44612</c:v>
                </c:pt>
                <c:pt idx="111">
                  <c:v>44619</c:v>
                </c:pt>
                <c:pt idx="112">
                  <c:v>44626</c:v>
                </c:pt>
                <c:pt idx="113">
                  <c:v>44633</c:v>
                </c:pt>
                <c:pt idx="114">
                  <c:v>44640</c:v>
                </c:pt>
                <c:pt idx="115">
                  <c:v>44647</c:v>
                </c:pt>
                <c:pt idx="116">
                  <c:v>44654</c:v>
                </c:pt>
              </c:numCache>
            </c:numRef>
          </c:cat>
          <c:val>
            <c:numRef>
              <c:f>'Google trends'!$O$2:$O$118</c:f>
              <c:numCache>
                <c:formatCode>General</c:formatCode>
                <c:ptCount val="117"/>
                <c:pt idx="0">
                  <c:v>80</c:v>
                </c:pt>
                <c:pt idx="1">
                  <c:v>77</c:v>
                </c:pt>
                <c:pt idx="2">
                  <c:v>77</c:v>
                </c:pt>
                <c:pt idx="3">
                  <c:v>87</c:v>
                </c:pt>
                <c:pt idx="4">
                  <c:v>75</c:v>
                </c:pt>
                <c:pt idx="5">
                  <c:v>99</c:v>
                </c:pt>
                <c:pt idx="6">
                  <c:v>84</c:v>
                </c:pt>
                <c:pt idx="7">
                  <c:v>84</c:v>
                </c:pt>
                <c:pt idx="8">
                  <c:v>75</c:v>
                </c:pt>
                <c:pt idx="9">
                  <c:v>61</c:v>
                </c:pt>
                <c:pt idx="10">
                  <c:v>63</c:v>
                </c:pt>
                <c:pt idx="11">
                  <c:v>35</c:v>
                </c:pt>
                <c:pt idx="12">
                  <c:v>43</c:v>
                </c:pt>
                <c:pt idx="13">
                  <c:v>31</c:v>
                </c:pt>
                <c:pt idx="14">
                  <c:v>26</c:v>
                </c:pt>
                <c:pt idx="15">
                  <c:v>61</c:v>
                </c:pt>
                <c:pt idx="16">
                  <c:v>78</c:v>
                </c:pt>
                <c:pt idx="17">
                  <c:v>92</c:v>
                </c:pt>
                <c:pt idx="18">
                  <c:v>89</c:v>
                </c:pt>
                <c:pt idx="19">
                  <c:v>53</c:v>
                </c:pt>
                <c:pt idx="20">
                  <c:v>74</c:v>
                </c:pt>
                <c:pt idx="21">
                  <c:v>72</c:v>
                </c:pt>
                <c:pt idx="22">
                  <c:v>56</c:v>
                </c:pt>
                <c:pt idx="23">
                  <c:v>60</c:v>
                </c:pt>
                <c:pt idx="24">
                  <c:v>51</c:v>
                </c:pt>
                <c:pt idx="25">
                  <c:v>49</c:v>
                </c:pt>
                <c:pt idx="26">
                  <c:v>45</c:v>
                </c:pt>
                <c:pt idx="27">
                  <c:v>51</c:v>
                </c:pt>
                <c:pt idx="28">
                  <c:v>43</c:v>
                </c:pt>
                <c:pt idx="29">
                  <c:v>54</c:v>
                </c:pt>
                <c:pt idx="30">
                  <c:v>53</c:v>
                </c:pt>
                <c:pt idx="31">
                  <c:v>68</c:v>
                </c:pt>
                <c:pt idx="32">
                  <c:v>74</c:v>
                </c:pt>
                <c:pt idx="33">
                  <c:v>79</c:v>
                </c:pt>
                <c:pt idx="34">
                  <c:v>67</c:v>
                </c:pt>
                <c:pt idx="35">
                  <c:v>72</c:v>
                </c:pt>
                <c:pt idx="36">
                  <c:v>63</c:v>
                </c:pt>
                <c:pt idx="37">
                  <c:v>74</c:v>
                </c:pt>
                <c:pt idx="38">
                  <c:v>64</c:v>
                </c:pt>
                <c:pt idx="39">
                  <c:v>66</c:v>
                </c:pt>
                <c:pt idx="40">
                  <c:v>61</c:v>
                </c:pt>
                <c:pt idx="41">
                  <c:v>68</c:v>
                </c:pt>
                <c:pt idx="42">
                  <c:v>70</c:v>
                </c:pt>
                <c:pt idx="43">
                  <c:v>81</c:v>
                </c:pt>
                <c:pt idx="44">
                  <c:v>100</c:v>
                </c:pt>
                <c:pt idx="45">
                  <c:v>83</c:v>
                </c:pt>
                <c:pt idx="46">
                  <c:v>81</c:v>
                </c:pt>
                <c:pt idx="47">
                  <c:v>86</c:v>
                </c:pt>
                <c:pt idx="48">
                  <c:v>83</c:v>
                </c:pt>
                <c:pt idx="49">
                  <c:v>95</c:v>
                </c:pt>
                <c:pt idx="50">
                  <c:v>81</c:v>
                </c:pt>
                <c:pt idx="51">
                  <c:v>82</c:v>
                </c:pt>
                <c:pt idx="52">
                  <c:v>82</c:v>
                </c:pt>
                <c:pt idx="53">
                  <c:v>84</c:v>
                </c:pt>
                <c:pt idx="54">
                  <c:v>87</c:v>
                </c:pt>
                <c:pt idx="55">
                  <c:v>82</c:v>
                </c:pt>
                <c:pt idx="56">
                  <c:v>80</c:v>
                </c:pt>
                <c:pt idx="57">
                  <c:v>81</c:v>
                </c:pt>
                <c:pt idx="58">
                  <c:v>84</c:v>
                </c:pt>
                <c:pt idx="59">
                  <c:v>83</c:v>
                </c:pt>
                <c:pt idx="60">
                  <c:v>77</c:v>
                </c:pt>
                <c:pt idx="61">
                  <c:v>75</c:v>
                </c:pt>
                <c:pt idx="62">
                  <c:v>87</c:v>
                </c:pt>
                <c:pt idx="63">
                  <c:v>74</c:v>
                </c:pt>
                <c:pt idx="64">
                  <c:v>75</c:v>
                </c:pt>
                <c:pt idx="65">
                  <c:v>58</c:v>
                </c:pt>
                <c:pt idx="66">
                  <c:v>58</c:v>
                </c:pt>
                <c:pt idx="67">
                  <c:v>53</c:v>
                </c:pt>
                <c:pt idx="68">
                  <c:v>50</c:v>
                </c:pt>
                <c:pt idx="69">
                  <c:v>47</c:v>
                </c:pt>
                <c:pt idx="70">
                  <c:v>32</c:v>
                </c:pt>
                <c:pt idx="71">
                  <c:v>45</c:v>
                </c:pt>
                <c:pt idx="72">
                  <c:v>53</c:v>
                </c:pt>
                <c:pt idx="73">
                  <c:v>67</c:v>
                </c:pt>
                <c:pt idx="74">
                  <c:v>60</c:v>
                </c:pt>
                <c:pt idx="75">
                  <c:v>60</c:v>
                </c:pt>
                <c:pt idx="76">
                  <c:v>68</c:v>
                </c:pt>
                <c:pt idx="77">
                  <c:v>71</c:v>
                </c:pt>
                <c:pt idx="78">
                  <c:v>67</c:v>
                </c:pt>
                <c:pt idx="79">
                  <c:v>68</c:v>
                </c:pt>
                <c:pt idx="80">
                  <c:v>63</c:v>
                </c:pt>
                <c:pt idx="81">
                  <c:v>64</c:v>
                </c:pt>
                <c:pt idx="82">
                  <c:v>69</c:v>
                </c:pt>
                <c:pt idx="83">
                  <c:v>79</c:v>
                </c:pt>
                <c:pt idx="84">
                  <c:v>86</c:v>
                </c:pt>
                <c:pt idx="85">
                  <c:v>67</c:v>
                </c:pt>
                <c:pt idx="86">
                  <c:v>70</c:v>
                </c:pt>
                <c:pt idx="87">
                  <c:v>72</c:v>
                </c:pt>
                <c:pt idx="88">
                  <c:v>68</c:v>
                </c:pt>
                <c:pt idx="89">
                  <c:v>75</c:v>
                </c:pt>
                <c:pt idx="90">
                  <c:v>61</c:v>
                </c:pt>
                <c:pt idx="91">
                  <c:v>67</c:v>
                </c:pt>
                <c:pt idx="92">
                  <c:v>78</c:v>
                </c:pt>
                <c:pt idx="93">
                  <c:v>79</c:v>
                </c:pt>
                <c:pt idx="94">
                  <c:v>85</c:v>
                </c:pt>
                <c:pt idx="95">
                  <c:v>92</c:v>
                </c:pt>
                <c:pt idx="96">
                  <c:v>93</c:v>
                </c:pt>
                <c:pt idx="97">
                  <c:v>89</c:v>
                </c:pt>
                <c:pt idx="98">
                  <c:v>81</c:v>
                </c:pt>
                <c:pt idx="99">
                  <c:v>86</c:v>
                </c:pt>
                <c:pt idx="100">
                  <c:v>93</c:v>
                </c:pt>
                <c:pt idx="101">
                  <c:v>90</c:v>
                </c:pt>
                <c:pt idx="102">
                  <c:v>71</c:v>
                </c:pt>
                <c:pt idx="103">
                  <c:v>60</c:v>
                </c:pt>
                <c:pt idx="104">
                  <c:v>58</c:v>
                </c:pt>
                <c:pt idx="105">
                  <c:v>57</c:v>
                </c:pt>
                <c:pt idx="106">
                  <c:v>64</c:v>
                </c:pt>
                <c:pt idx="107">
                  <c:v>64</c:v>
                </c:pt>
                <c:pt idx="108">
                  <c:v>68</c:v>
                </c:pt>
                <c:pt idx="109">
                  <c:v>68</c:v>
                </c:pt>
                <c:pt idx="110">
                  <c:v>80</c:v>
                </c:pt>
                <c:pt idx="111">
                  <c:v>76</c:v>
                </c:pt>
                <c:pt idx="112">
                  <c:v>69</c:v>
                </c:pt>
                <c:pt idx="113">
                  <c:v>89</c:v>
                </c:pt>
                <c:pt idx="114">
                  <c:v>83</c:v>
                </c:pt>
                <c:pt idx="115">
                  <c:v>66</c:v>
                </c:pt>
                <c:pt idx="116">
                  <c:v>86</c:v>
                </c:pt>
              </c:numCache>
            </c:numRef>
          </c:val>
          <c:smooth val="0"/>
          <c:extLst>
            <c:ext xmlns:c16="http://schemas.microsoft.com/office/drawing/2014/chart" uri="{C3380CC4-5D6E-409C-BE32-E72D297353CC}">
              <c16:uniqueId val="{00000000-B222-4E70-83E6-604A99E1F320}"/>
            </c:ext>
          </c:extLst>
        </c:ser>
        <c:ser>
          <c:idx val="1"/>
          <c:order val="1"/>
          <c:tx>
            <c:strRef>
              <c:f>'Google trends'!$P$1</c:f>
              <c:strCache>
                <c:ptCount val="1"/>
                <c:pt idx="0">
                  <c:v>Enquiries for travel by rail</c:v>
                </c:pt>
              </c:strCache>
            </c:strRef>
          </c:tx>
          <c:spPr>
            <a:ln w="38100" cap="flat" cmpd="dbl" algn="ctr">
              <a:solidFill>
                <a:schemeClr val="accent2"/>
              </a:solidFill>
              <a:miter lim="800000"/>
            </a:ln>
            <a:effectLst/>
          </c:spPr>
          <c:marker>
            <c:symbol val="none"/>
          </c:marker>
          <c:cat>
            <c:numRef>
              <c:f>'Google trends'!$A$2:$A$118</c:f>
              <c:numCache>
                <c:formatCode>m/d/yyyy</c:formatCode>
                <c:ptCount val="117"/>
                <c:pt idx="0">
                  <c:v>43842</c:v>
                </c:pt>
                <c:pt idx="1">
                  <c:v>43849</c:v>
                </c:pt>
                <c:pt idx="2">
                  <c:v>43856</c:v>
                </c:pt>
                <c:pt idx="3">
                  <c:v>43863</c:v>
                </c:pt>
                <c:pt idx="4">
                  <c:v>43870</c:v>
                </c:pt>
                <c:pt idx="5">
                  <c:v>43877</c:v>
                </c:pt>
                <c:pt idx="6">
                  <c:v>43884</c:v>
                </c:pt>
                <c:pt idx="7">
                  <c:v>43891</c:v>
                </c:pt>
                <c:pt idx="8">
                  <c:v>43898</c:v>
                </c:pt>
                <c:pt idx="9">
                  <c:v>43905</c:v>
                </c:pt>
                <c:pt idx="10">
                  <c:v>43912</c:v>
                </c:pt>
                <c:pt idx="11">
                  <c:v>43919</c:v>
                </c:pt>
                <c:pt idx="12">
                  <c:v>43926</c:v>
                </c:pt>
                <c:pt idx="13">
                  <c:v>43933</c:v>
                </c:pt>
                <c:pt idx="14">
                  <c:v>43940</c:v>
                </c:pt>
                <c:pt idx="15">
                  <c:v>43947</c:v>
                </c:pt>
                <c:pt idx="16">
                  <c:v>43954</c:v>
                </c:pt>
                <c:pt idx="17">
                  <c:v>43961</c:v>
                </c:pt>
                <c:pt idx="18">
                  <c:v>43968</c:v>
                </c:pt>
                <c:pt idx="19">
                  <c:v>43975</c:v>
                </c:pt>
                <c:pt idx="20">
                  <c:v>43982</c:v>
                </c:pt>
                <c:pt idx="21">
                  <c:v>43989</c:v>
                </c:pt>
                <c:pt idx="22">
                  <c:v>43996</c:v>
                </c:pt>
                <c:pt idx="23">
                  <c:v>44003</c:v>
                </c:pt>
                <c:pt idx="24">
                  <c:v>44010</c:v>
                </c:pt>
                <c:pt idx="25">
                  <c:v>44017</c:v>
                </c:pt>
                <c:pt idx="26">
                  <c:v>44024</c:v>
                </c:pt>
                <c:pt idx="27">
                  <c:v>44031</c:v>
                </c:pt>
                <c:pt idx="28">
                  <c:v>44038</c:v>
                </c:pt>
                <c:pt idx="29">
                  <c:v>44045</c:v>
                </c:pt>
                <c:pt idx="30">
                  <c:v>44052</c:v>
                </c:pt>
                <c:pt idx="31">
                  <c:v>44059</c:v>
                </c:pt>
                <c:pt idx="32">
                  <c:v>44066</c:v>
                </c:pt>
                <c:pt idx="33">
                  <c:v>44073</c:v>
                </c:pt>
                <c:pt idx="34">
                  <c:v>44080</c:v>
                </c:pt>
                <c:pt idx="35">
                  <c:v>44087</c:v>
                </c:pt>
                <c:pt idx="36">
                  <c:v>44094</c:v>
                </c:pt>
                <c:pt idx="37">
                  <c:v>44101</c:v>
                </c:pt>
                <c:pt idx="38">
                  <c:v>44108</c:v>
                </c:pt>
                <c:pt idx="39">
                  <c:v>44115</c:v>
                </c:pt>
                <c:pt idx="40">
                  <c:v>44122</c:v>
                </c:pt>
                <c:pt idx="41">
                  <c:v>44129</c:v>
                </c:pt>
                <c:pt idx="42">
                  <c:v>44136</c:v>
                </c:pt>
                <c:pt idx="43">
                  <c:v>44143</c:v>
                </c:pt>
                <c:pt idx="44">
                  <c:v>44150</c:v>
                </c:pt>
                <c:pt idx="45">
                  <c:v>44157</c:v>
                </c:pt>
                <c:pt idx="46">
                  <c:v>44164</c:v>
                </c:pt>
                <c:pt idx="47">
                  <c:v>44171</c:v>
                </c:pt>
                <c:pt idx="48">
                  <c:v>44178</c:v>
                </c:pt>
                <c:pt idx="49">
                  <c:v>44185</c:v>
                </c:pt>
                <c:pt idx="50">
                  <c:v>44192</c:v>
                </c:pt>
                <c:pt idx="51">
                  <c:v>44199</c:v>
                </c:pt>
                <c:pt idx="52">
                  <c:v>44206</c:v>
                </c:pt>
                <c:pt idx="53">
                  <c:v>44213</c:v>
                </c:pt>
                <c:pt idx="54">
                  <c:v>44220</c:v>
                </c:pt>
                <c:pt idx="55">
                  <c:v>44227</c:v>
                </c:pt>
                <c:pt idx="56">
                  <c:v>44234</c:v>
                </c:pt>
                <c:pt idx="57">
                  <c:v>44241</c:v>
                </c:pt>
                <c:pt idx="58">
                  <c:v>44248</c:v>
                </c:pt>
                <c:pt idx="59">
                  <c:v>44255</c:v>
                </c:pt>
                <c:pt idx="60">
                  <c:v>44262</c:v>
                </c:pt>
                <c:pt idx="61">
                  <c:v>44269</c:v>
                </c:pt>
                <c:pt idx="62">
                  <c:v>44276</c:v>
                </c:pt>
                <c:pt idx="63">
                  <c:v>44283</c:v>
                </c:pt>
                <c:pt idx="64">
                  <c:v>44290</c:v>
                </c:pt>
                <c:pt idx="65">
                  <c:v>44297</c:v>
                </c:pt>
                <c:pt idx="66">
                  <c:v>44304</c:v>
                </c:pt>
                <c:pt idx="67">
                  <c:v>44311</c:v>
                </c:pt>
                <c:pt idx="68">
                  <c:v>44318</c:v>
                </c:pt>
                <c:pt idx="69">
                  <c:v>44325</c:v>
                </c:pt>
                <c:pt idx="70">
                  <c:v>44332</c:v>
                </c:pt>
                <c:pt idx="71">
                  <c:v>44339</c:v>
                </c:pt>
                <c:pt idx="72">
                  <c:v>44346</c:v>
                </c:pt>
                <c:pt idx="73">
                  <c:v>44353</c:v>
                </c:pt>
                <c:pt idx="74">
                  <c:v>44360</c:v>
                </c:pt>
                <c:pt idx="75">
                  <c:v>44367</c:v>
                </c:pt>
                <c:pt idx="76">
                  <c:v>44374</c:v>
                </c:pt>
                <c:pt idx="77">
                  <c:v>44381</c:v>
                </c:pt>
                <c:pt idx="78">
                  <c:v>44388</c:v>
                </c:pt>
                <c:pt idx="79">
                  <c:v>44395</c:v>
                </c:pt>
                <c:pt idx="80">
                  <c:v>44402</c:v>
                </c:pt>
                <c:pt idx="81">
                  <c:v>44409</c:v>
                </c:pt>
                <c:pt idx="82">
                  <c:v>44416</c:v>
                </c:pt>
                <c:pt idx="83">
                  <c:v>44423</c:v>
                </c:pt>
                <c:pt idx="84">
                  <c:v>44430</c:v>
                </c:pt>
                <c:pt idx="85">
                  <c:v>44437</c:v>
                </c:pt>
                <c:pt idx="86">
                  <c:v>44444</c:v>
                </c:pt>
                <c:pt idx="87">
                  <c:v>44451</c:v>
                </c:pt>
                <c:pt idx="88">
                  <c:v>44458</c:v>
                </c:pt>
                <c:pt idx="89">
                  <c:v>44465</c:v>
                </c:pt>
                <c:pt idx="90">
                  <c:v>44472</c:v>
                </c:pt>
                <c:pt idx="91">
                  <c:v>44479</c:v>
                </c:pt>
                <c:pt idx="92">
                  <c:v>44486</c:v>
                </c:pt>
                <c:pt idx="93">
                  <c:v>44493</c:v>
                </c:pt>
                <c:pt idx="94">
                  <c:v>44500</c:v>
                </c:pt>
                <c:pt idx="95">
                  <c:v>44507</c:v>
                </c:pt>
                <c:pt idx="96">
                  <c:v>44514</c:v>
                </c:pt>
                <c:pt idx="97">
                  <c:v>44521</c:v>
                </c:pt>
                <c:pt idx="98">
                  <c:v>44528</c:v>
                </c:pt>
                <c:pt idx="99">
                  <c:v>44535</c:v>
                </c:pt>
                <c:pt idx="100">
                  <c:v>44542</c:v>
                </c:pt>
                <c:pt idx="101">
                  <c:v>44549</c:v>
                </c:pt>
                <c:pt idx="102">
                  <c:v>44556</c:v>
                </c:pt>
                <c:pt idx="103">
                  <c:v>44563</c:v>
                </c:pt>
                <c:pt idx="104">
                  <c:v>44570</c:v>
                </c:pt>
                <c:pt idx="105">
                  <c:v>44577</c:v>
                </c:pt>
                <c:pt idx="106">
                  <c:v>44584</c:v>
                </c:pt>
                <c:pt idx="107">
                  <c:v>44591</c:v>
                </c:pt>
                <c:pt idx="108">
                  <c:v>44598</c:v>
                </c:pt>
                <c:pt idx="109">
                  <c:v>44605</c:v>
                </c:pt>
                <c:pt idx="110">
                  <c:v>44612</c:v>
                </c:pt>
                <c:pt idx="111">
                  <c:v>44619</c:v>
                </c:pt>
                <c:pt idx="112">
                  <c:v>44626</c:v>
                </c:pt>
                <c:pt idx="113">
                  <c:v>44633</c:v>
                </c:pt>
                <c:pt idx="114">
                  <c:v>44640</c:v>
                </c:pt>
                <c:pt idx="115">
                  <c:v>44647</c:v>
                </c:pt>
                <c:pt idx="116">
                  <c:v>44654</c:v>
                </c:pt>
              </c:numCache>
            </c:numRef>
          </c:cat>
          <c:val>
            <c:numRef>
              <c:f>'Google trends'!$P$2:$P$118</c:f>
              <c:numCache>
                <c:formatCode>General</c:formatCode>
                <c:ptCount val="117"/>
                <c:pt idx="0">
                  <c:v>49</c:v>
                </c:pt>
                <c:pt idx="1">
                  <c:v>43</c:v>
                </c:pt>
                <c:pt idx="2">
                  <c:v>43</c:v>
                </c:pt>
                <c:pt idx="3">
                  <c:v>50</c:v>
                </c:pt>
                <c:pt idx="4">
                  <c:v>44</c:v>
                </c:pt>
                <c:pt idx="5">
                  <c:v>58</c:v>
                </c:pt>
                <c:pt idx="6">
                  <c:v>51</c:v>
                </c:pt>
                <c:pt idx="7">
                  <c:v>47</c:v>
                </c:pt>
                <c:pt idx="8">
                  <c:v>57</c:v>
                </c:pt>
                <c:pt idx="9">
                  <c:v>57</c:v>
                </c:pt>
                <c:pt idx="10">
                  <c:v>23</c:v>
                </c:pt>
                <c:pt idx="11">
                  <c:v>16</c:v>
                </c:pt>
                <c:pt idx="12">
                  <c:v>22</c:v>
                </c:pt>
                <c:pt idx="13">
                  <c:v>21</c:v>
                </c:pt>
                <c:pt idx="14">
                  <c:v>23</c:v>
                </c:pt>
                <c:pt idx="15">
                  <c:v>39</c:v>
                </c:pt>
                <c:pt idx="16">
                  <c:v>54</c:v>
                </c:pt>
                <c:pt idx="17">
                  <c:v>82</c:v>
                </c:pt>
                <c:pt idx="18">
                  <c:v>73</c:v>
                </c:pt>
                <c:pt idx="19">
                  <c:v>66</c:v>
                </c:pt>
                <c:pt idx="20">
                  <c:v>74</c:v>
                </c:pt>
                <c:pt idx="21">
                  <c:v>55</c:v>
                </c:pt>
                <c:pt idx="22">
                  <c:v>50</c:v>
                </c:pt>
                <c:pt idx="23">
                  <c:v>42</c:v>
                </c:pt>
                <c:pt idx="24">
                  <c:v>48</c:v>
                </c:pt>
                <c:pt idx="25">
                  <c:v>39</c:v>
                </c:pt>
                <c:pt idx="26">
                  <c:v>39</c:v>
                </c:pt>
                <c:pt idx="27">
                  <c:v>36</c:v>
                </c:pt>
                <c:pt idx="28">
                  <c:v>43</c:v>
                </c:pt>
                <c:pt idx="29">
                  <c:v>38</c:v>
                </c:pt>
                <c:pt idx="30">
                  <c:v>37</c:v>
                </c:pt>
                <c:pt idx="31">
                  <c:v>40</c:v>
                </c:pt>
                <c:pt idx="32">
                  <c:v>38</c:v>
                </c:pt>
                <c:pt idx="33">
                  <c:v>43</c:v>
                </c:pt>
                <c:pt idx="34">
                  <c:v>48</c:v>
                </c:pt>
                <c:pt idx="35">
                  <c:v>41</c:v>
                </c:pt>
                <c:pt idx="36">
                  <c:v>39</c:v>
                </c:pt>
                <c:pt idx="37">
                  <c:v>45</c:v>
                </c:pt>
                <c:pt idx="38">
                  <c:v>47</c:v>
                </c:pt>
                <c:pt idx="39">
                  <c:v>45</c:v>
                </c:pt>
                <c:pt idx="40">
                  <c:v>42</c:v>
                </c:pt>
                <c:pt idx="41">
                  <c:v>39</c:v>
                </c:pt>
                <c:pt idx="42">
                  <c:v>52</c:v>
                </c:pt>
                <c:pt idx="43">
                  <c:v>43</c:v>
                </c:pt>
                <c:pt idx="44">
                  <c:v>56</c:v>
                </c:pt>
                <c:pt idx="45">
                  <c:v>61</c:v>
                </c:pt>
                <c:pt idx="46">
                  <c:v>61</c:v>
                </c:pt>
                <c:pt idx="47">
                  <c:v>52</c:v>
                </c:pt>
                <c:pt idx="48">
                  <c:v>52</c:v>
                </c:pt>
                <c:pt idx="49">
                  <c:v>55</c:v>
                </c:pt>
                <c:pt idx="50">
                  <c:v>48</c:v>
                </c:pt>
                <c:pt idx="51">
                  <c:v>60</c:v>
                </c:pt>
                <c:pt idx="52">
                  <c:v>57</c:v>
                </c:pt>
                <c:pt idx="53">
                  <c:v>61</c:v>
                </c:pt>
                <c:pt idx="54">
                  <c:v>60</c:v>
                </c:pt>
                <c:pt idx="55">
                  <c:v>60</c:v>
                </c:pt>
                <c:pt idx="56">
                  <c:v>53</c:v>
                </c:pt>
                <c:pt idx="57">
                  <c:v>56</c:v>
                </c:pt>
                <c:pt idx="58">
                  <c:v>66</c:v>
                </c:pt>
                <c:pt idx="59">
                  <c:v>59</c:v>
                </c:pt>
                <c:pt idx="60">
                  <c:v>64</c:v>
                </c:pt>
                <c:pt idx="61">
                  <c:v>67</c:v>
                </c:pt>
                <c:pt idx="62">
                  <c:v>73</c:v>
                </c:pt>
                <c:pt idx="63">
                  <c:v>72</c:v>
                </c:pt>
                <c:pt idx="64">
                  <c:v>70</c:v>
                </c:pt>
                <c:pt idx="65">
                  <c:v>74</c:v>
                </c:pt>
                <c:pt idx="66">
                  <c:v>77</c:v>
                </c:pt>
                <c:pt idx="67">
                  <c:v>66</c:v>
                </c:pt>
                <c:pt idx="68">
                  <c:v>74</c:v>
                </c:pt>
                <c:pt idx="69">
                  <c:v>76</c:v>
                </c:pt>
                <c:pt idx="70">
                  <c:v>72</c:v>
                </c:pt>
                <c:pt idx="71">
                  <c:v>68</c:v>
                </c:pt>
                <c:pt idx="72">
                  <c:v>76</c:v>
                </c:pt>
                <c:pt idx="73">
                  <c:v>86</c:v>
                </c:pt>
                <c:pt idx="74">
                  <c:v>89</c:v>
                </c:pt>
                <c:pt idx="75">
                  <c:v>77</c:v>
                </c:pt>
                <c:pt idx="76">
                  <c:v>100</c:v>
                </c:pt>
                <c:pt idx="77">
                  <c:v>84</c:v>
                </c:pt>
                <c:pt idx="78">
                  <c:v>84</c:v>
                </c:pt>
                <c:pt idx="79">
                  <c:v>77</c:v>
                </c:pt>
                <c:pt idx="80">
                  <c:v>64</c:v>
                </c:pt>
                <c:pt idx="81">
                  <c:v>76</c:v>
                </c:pt>
                <c:pt idx="82">
                  <c:v>83</c:v>
                </c:pt>
                <c:pt idx="83">
                  <c:v>85</c:v>
                </c:pt>
                <c:pt idx="84">
                  <c:v>82</c:v>
                </c:pt>
                <c:pt idx="85">
                  <c:v>73</c:v>
                </c:pt>
                <c:pt idx="86">
                  <c:v>69</c:v>
                </c:pt>
                <c:pt idx="87">
                  <c:v>59</c:v>
                </c:pt>
                <c:pt idx="88">
                  <c:v>66</c:v>
                </c:pt>
                <c:pt idx="89">
                  <c:v>63</c:v>
                </c:pt>
                <c:pt idx="90">
                  <c:v>61</c:v>
                </c:pt>
                <c:pt idx="91">
                  <c:v>59</c:v>
                </c:pt>
                <c:pt idx="92">
                  <c:v>68</c:v>
                </c:pt>
                <c:pt idx="93">
                  <c:v>71</c:v>
                </c:pt>
                <c:pt idx="94">
                  <c:v>62</c:v>
                </c:pt>
                <c:pt idx="95">
                  <c:v>80</c:v>
                </c:pt>
                <c:pt idx="96">
                  <c:v>74</c:v>
                </c:pt>
                <c:pt idx="97">
                  <c:v>70</c:v>
                </c:pt>
                <c:pt idx="98">
                  <c:v>80</c:v>
                </c:pt>
                <c:pt idx="99">
                  <c:v>77</c:v>
                </c:pt>
                <c:pt idx="100">
                  <c:v>86</c:v>
                </c:pt>
                <c:pt idx="101">
                  <c:v>72</c:v>
                </c:pt>
                <c:pt idx="102">
                  <c:v>62</c:v>
                </c:pt>
                <c:pt idx="103">
                  <c:v>70</c:v>
                </c:pt>
                <c:pt idx="104">
                  <c:v>61</c:v>
                </c:pt>
                <c:pt idx="105">
                  <c:v>50</c:v>
                </c:pt>
                <c:pt idx="106">
                  <c:v>56</c:v>
                </c:pt>
                <c:pt idx="107">
                  <c:v>53</c:v>
                </c:pt>
                <c:pt idx="108">
                  <c:v>51</c:v>
                </c:pt>
                <c:pt idx="109">
                  <c:v>51</c:v>
                </c:pt>
                <c:pt idx="110">
                  <c:v>62</c:v>
                </c:pt>
                <c:pt idx="111">
                  <c:v>59</c:v>
                </c:pt>
                <c:pt idx="112">
                  <c:v>61</c:v>
                </c:pt>
                <c:pt idx="113">
                  <c:v>65</c:v>
                </c:pt>
                <c:pt idx="114">
                  <c:v>61</c:v>
                </c:pt>
                <c:pt idx="115">
                  <c:v>58</c:v>
                </c:pt>
                <c:pt idx="116">
                  <c:v>64</c:v>
                </c:pt>
              </c:numCache>
            </c:numRef>
          </c:val>
          <c:smooth val="0"/>
          <c:extLst>
            <c:ext xmlns:c16="http://schemas.microsoft.com/office/drawing/2014/chart" uri="{C3380CC4-5D6E-409C-BE32-E72D297353CC}">
              <c16:uniqueId val="{00000001-B222-4E70-83E6-604A99E1F320}"/>
            </c:ext>
          </c:extLst>
        </c:ser>
        <c:ser>
          <c:idx val="2"/>
          <c:order val="2"/>
          <c:tx>
            <c:strRef>
              <c:f>'Google trends'!$Q$1</c:f>
              <c:strCache>
                <c:ptCount val="1"/>
                <c:pt idx="0">
                  <c:v>Enquiries for travel by air</c:v>
                </c:pt>
              </c:strCache>
            </c:strRef>
          </c:tx>
          <c:spPr>
            <a:ln w="38100" cap="flat" cmpd="dbl" algn="ctr">
              <a:solidFill>
                <a:schemeClr val="accent3"/>
              </a:solidFill>
              <a:miter lim="800000"/>
            </a:ln>
            <a:effectLst/>
          </c:spPr>
          <c:marker>
            <c:symbol val="none"/>
          </c:marker>
          <c:cat>
            <c:numRef>
              <c:f>'Google trends'!$A$2:$A$118</c:f>
              <c:numCache>
                <c:formatCode>m/d/yyyy</c:formatCode>
                <c:ptCount val="117"/>
                <c:pt idx="0">
                  <c:v>43842</c:v>
                </c:pt>
                <c:pt idx="1">
                  <c:v>43849</c:v>
                </c:pt>
                <c:pt idx="2">
                  <c:v>43856</c:v>
                </c:pt>
                <c:pt idx="3">
                  <c:v>43863</c:v>
                </c:pt>
                <c:pt idx="4">
                  <c:v>43870</c:v>
                </c:pt>
                <c:pt idx="5">
                  <c:v>43877</c:v>
                </c:pt>
                <c:pt idx="6">
                  <c:v>43884</c:v>
                </c:pt>
                <c:pt idx="7">
                  <c:v>43891</c:v>
                </c:pt>
                <c:pt idx="8">
                  <c:v>43898</c:v>
                </c:pt>
                <c:pt idx="9">
                  <c:v>43905</c:v>
                </c:pt>
                <c:pt idx="10">
                  <c:v>43912</c:v>
                </c:pt>
                <c:pt idx="11">
                  <c:v>43919</c:v>
                </c:pt>
                <c:pt idx="12">
                  <c:v>43926</c:v>
                </c:pt>
                <c:pt idx="13">
                  <c:v>43933</c:v>
                </c:pt>
                <c:pt idx="14">
                  <c:v>43940</c:v>
                </c:pt>
                <c:pt idx="15">
                  <c:v>43947</c:v>
                </c:pt>
                <c:pt idx="16">
                  <c:v>43954</c:v>
                </c:pt>
                <c:pt idx="17">
                  <c:v>43961</c:v>
                </c:pt>
                <c:pt idx="18">
                  <c:v>43968</c:v>
                </c:pt>
                <c:pt idx="19">
                  <c:v>43975</c:v>
                </c:pt>
                <c:pt idx="20">
                  <c:v>43982</c:v>
                </c:pt>
                <c:pt idx="21">
                  <c:v>43989</c:v>
                </c:pt>
                <c:pt idx="22">
                  <c:v>43996</c:v>
                </c:pt>
                <c:pt idx="23">
                  <c:v>44003</c:v>
                </c:pt>
                <c:pt idx="24">
                  <c:v>44010</c:v>
                </c:pt>
                <c:pt idx="25">
                  <c:v>44017</c:v>
                </c:pt>
                <c:pt idx="26">
                  <c:v>44024</c:v>
                </c:pt>
                <c:pt idx="27">
                  <c:v>44031</c:v>
                </c:pt>
                <c:pt idx="28">
                  <c:v>44038</c:v>
                </c:pt>
                <c:pt idx="29">
                  <c:v>44045</c:v>
                </c:pt>
                <c:pt idx="30">
                  <c:v>44052</c:v>
                </c:pt>
                <c:pt idx="31">
                  <c:v>44059</c:v>
                </c:pt>
                <c:pt idx="32">
                  <c:v>44066</c:v>
                </c:pt>
                <c:pt idx="33">
                  <c:v>44073</c:v>
                </c:pt>
                <c:pt idx="34">
                  <c:v>44080</c:v>
                </c:pt>
                <c:pt idx="35">
                  <c:v>44087</c:v>
                </c:pt>
                <c:pt idx="36">
                  <c:v>44094</c:v>
                </c:pt>
                <c:pt idx="37">
                  <c:v>44101</c:v>
                </c:pt>
                <c:pt idx="38">
                  <c:v>44108</c:v>
                </c:pt>
                <c:pt idx="39">
                  <c:v>44115</c:v>
                </c:pt>
                <c:pt idx="40">
                  <c:v>44122</c:v>
                </c:pt>
                <c:pt idx="41">
                  <c:v>44129</c:v>
                </c:pt>
                <c:pt idx="42">
                  <c:v>44136</c:v>
                </c:pt>
                <c:pt idx="43">
                  <c:v>44143</c:v>
                </c:pt>
                <c:pt idx="44">
                  <c:v>44150</c:v>
                </c:pt>
                <c:pt idx="45">
                  <c:v>44157</c:v>
                </c:pt>
                <c:pt idx="46">
                  <c:v>44164</c:v>
                </c:pt>
                <c:pt idx="47">
                  <c:v>44171</c:v>
                </c:pt>
                <c:pt idx="48">
                  <c:v>44178</c:v>
                </c:pt>
                <c:pt idx="49">
                  <c:v>44185</c:v>
                </c:pt>
                <c:pt idx="50">
                  <c:v>44192</c:v>
                </c:pt>
                <c:pt idx="51">
                  <c:v>44199</c:v>
                </c:pt>
                <c:pt idx="52">
                  <c:v>44206</c:v>
                </c:pt>
                <c:pt idx="53">
                  <c:v>44213</c:v>
                </c:pt>
                <c:pt idx="54">
                  <c:v>44220</c:v>
                </c:pt>
                <c:pt idx="55">
                  <c:v>44227</c:v>
                </c:pt>
                <c:pt idx="56">
                  <c:v>44234</c:v>
                </c:pt>
                <c:pt idx="57">
                  <c:v>44241</c:v>
                </c:pt>
                <c:pt idx="58">
                  <c:v>44248</c:v>
                </c:pt>
                <c:pt idx="59">
                  <c:v>44255</c:v>
                </c:pt>
                <c:pt idx="60">
                  <c:v>44262</c:v>
                </c:pt>
                <c:pt idx="61">
                  <c:v>44269</c:v>
                </c:pt>
                <c:pt idx="62">
                  <c:v>44276</c:v>
                </c:pt>
                <c:pt idx="63">
                  <c:v>44283</c:v>
                </c:pt>
                <c:pt idx="64">
                  <c:v>44290</c:v>
                </c:pt>
                <c:pt idx="65">
                  <c:v>44297</c:v>
                </c:pt>
                <c:pt idx="66">
                  <c:v>44304</c:v>
                </c:pt>
                <c:pt idx="67">
                  <c:v>44311</c:v>
                </c:pt>
                <c:pt idx="68">
                  <c:v>44318</c:v>
                </c:pt>
                <c:pt idx="69">
                  <c:v>44325</c:v>
                </c:pt>
                <c:pt idx="70">
                  <c:v>44332</c:v>
                </c:pt>
                <c:pt idx="71">
                  <c:v>44339</c:v>
                </c:pt>
                <c:pt idx="72">
                  <c:v>44346</c:v>
                </c:pt>
                <c:pt idx="73">
                  <c:v>44353</c:v>
                </c:pt>
                <c:pt idx="74">
                  <c:v>44360</c:v>
                </c:pt>
                <c:pt idx="75">
                  <c:v>44367</c:v>
                </c:pt>
                <c:pt idx="76">
                  <c:v>44374</c:v>
                </c:pt>
                <c:pt idx="77">
                  <c:v>44381</c:v>
                </c:pt>
                <c:pt idx="78">
                  <c:v>44388</c:v>
                </c:pt>
                <c:pt idx="79">
                  <c:v>44395</c:v>
                </c:pt>
                <c:pt idx="80">
                  <c:v>44402</c:v>
                </c:pt>
                <c:pt idx="81">
                  <c:v>44409</c:v>
                </c:pt>
                <c:pt idx="82">
                  <c:v>44416</c:v>
                </c:pt>
                <c:pt idx="83">
                  <c:v>44423</c:v>
                </c:pt>
                <c:pt idx="84">
                  <c:v>44430</c:v>
                </c:pt>
                <c:pt idx="85">
                  <c:v>44437</c:v>
                </c:pt>
                <c:pt idx="86">
                  <c:v>44444</c:v>
                </c:pt>
                <c:pt idx="87">
                  <c:v>44451</c:v>
                </c:pt>
                <c:pt idx="88">
                  <c:v>44458</c:v>
                </c:pt>
                <c:pt idx="89">
                  <c:v>44465</c:v>
                </c:pt>
                <c:pt idx="90">
                  <c:v>44472</c:v>
                </c:pt>
                <c:pt idx="91">
                  <c:v>44479</c:v>
                </c:pt>
                <c:pt idx="92">
                  <c:v>44486</c:v>
                </c:pt>
                <c:pt idx="93">
                  <c:v>44493</c:v>
                </c:pt>
                <c:pt idx="94">
                  <c:v>44500</c:v>
                </c:pt>
                <c:pt idx="95">
                  <c:v>44507</c:v>
                </c:pt>
                <c:pt idx="96">
                  <c:v>44514</c:v>
                </c:pt>
                <c:pt idx="97">
                  <c:v>44521</c:v>
                </c:pt>
                <c:pt idx="98">
                  <c:v>44528</c:v>
                </c:pt>
                <c:pt idx="99">
                  <c:v>44535</c:v>
                </c:pt>
                <c:pt idx="100">
                  <c:v>44542</c:v>
                </c:pt>
                <c:pt idx="101">
                  <c:v>44549</c:v>
                </c:pt>
                <c:pt idx="102">
                  <c:v>44556</c:v>
                </c:pt>
                <c:pt idx="103">
                  <c:v>44563</c:v>
                </c:pt>
                <c:pt idx="104">
                  <c:v>44570</c:v>
                </c:pt>
                <c:pt idx="105">
                  <c:v>44577</c:v>
                </c:pt>
                <c:pt idx="106">
                  <c:v>44584</c:v>
                </c:pt>
                <c:pt idx="107">
                  <c:v>44591</c:v>
                </c:pt>
                <c:pt idx="108">
                  <c:v>44598</c:v>
                </c:pt>
                <c:pt idx="109">
                  <c:v>44605</c:v>
                </c:pt>
                <c:pt idx="110">
                  <c:v>44612</c:v>
                </c:pt>
                <c:pt idx="111">
                  <c:v>44619</c:v>
                </c:pt>
                <c:pt idx="112">
                  <c:v>44626</c:v>
                </c:pt>
                <c:pt idx="113">
                  <c:v>44633</c:v>
                </c:pt>
                <c:pt idx="114">
                  <c:v>44640</c:v>
                </c:pt>
                <c:pt idx="115">
                  <c:v>44647</c:v>
                </c:pt>
                <c:pt idx="116">
                  <c:v>44654</c:v>
                </c:pt>
              </c:numCache>
            </c:numRef>
          </c:cat>
          <c:val>
            <c:numRef>
              <c:f>'Google trends'!$Q$2:$Q$118</c:f>
              <c:numCache>
                <c:formatCode>General</c:formatCode>
                <c:ptCount val="117"/>
                <c:pt idx="0">
                  <c:v>16</c:v>
                </c:pt>
                <c:pt idx="1">
                  <c:v>19</c:v>
                </c:pt>
                <c:pt idx="2">
                  <c:v>20</c:v>
                </c:pt>
                <c:pt idx="3">
                  <c:v>19</c:v>
                </c:pt>
                <c:pt idx="4">
                  <c:v>19</c:v>
                </c:pt>
                <c:pt idx="5">
                  <c:v>22</c:v>
                </c:pt>
                <c:pt idx="6">
                  <c:v>23</c:v>
                </c:pt>
                <c:pt idx="7">
                  <c:v>24</c:v>
                </c:pt>
                <c:pt idx="8">
                  <c:v>32</c:v>
                </c:pt>
                <c:pt idx="9">
                  <c:v>34</c:v>
                </c:pt>
                <c:pt idx="10">
                  <c:v>21</c:v>
                </c:pt>
                <c:pt idx="11">
                  <c:v>15</c:v>
                </c:pt>
                <c:pt idx="12">
                  <c:v>13</c:v>
                </c:pt>
                <c:pt idx="13">
                  <c:v>19</c:v>
                </c:pt>
                <c:pt idx="14">
                  <c:v>18</c:v>
                </c:pt>
                <c:pt idx="15">
                  <c:v>21</c:v>
                </c:pt>
                <c:pt idx="16">
                  <c:v>25</c:v>
                </c:pt>
                <c:pt idx="17">
                  <c:v>33</c:v>
                </c:pt>
                <c:pt idx="18">
                  <c:v>71</c:v>
                </c:pt>
                <c:pt idx="19">
                  <c:v>100</c:v>
                </c:pt>
                <c:pt idx="20">
                  <c:v>79</c:v>
                </c:pt>
                <c:pt idx="21">
                  <c:v>63</c:v>
                </c:pt>
                <c:pt idx="22">
                  <c:v>45</c:v>
                </c:pt>
                <c:pt idx="23">
                  <c:v>46</c:v>
                </c:pt>
                <c:pt idx="24">
                  <c:v>49</c:v>
                </c:pt>
                <c:pt idx="25">
                  <c:v>47</c:v>
                </c:pt>
                <c:pt idx="26">
                  <c:v>40</c:v>
                </c:pt>
                <c:pt idx="27">
                  <c:v>41</c:v>
                </c:pt>
                <c:pt idx="28">
                  <c:v>43</c:v>
                </c:pt>
                <c:pt idx="29">
                  <c:v>41</c:v>
                </c:pt>
                <c:pt idx="30">
                  <c:v>44</c:v>
                </c:pt>
                <c:pt idx="31">
                  <c:v>41</c:v>
                </c:pt>
                <c:pt idx="32">
                  <c:v>41</c:v>
                </c:pt>
                <c:pt idx="33">
                  <c:v>44</c:v>
                </c:pt>
                <c:pt idx="34">
                  <c:v>42</c:v>
                </c:pt>
                <c:pt idx="35">
                  <c:v>37</c:v>
                </c:pt>
                <c:pt idx="36">
                  <c:v>35</c:v>
                </c:pt>
                <c:pt idx="37">
                  <c:v>35</c:v>
                </c:pt>
                <c:pt idx="38">
                  <c:v>31</c:v>
                </c:pt>
                <c:pt idx="39">
                  <c:v>41</c:v>
                </c:pt>
                <c:pt idx="40">
                  <c:v>32</c:v>
                </c:pt>
                <c:pt idx="41">
                  <c:v>28</c:v>
                </c:pt>
                <c:pt idx="42">
                  <c:v>30</c:v>
                </c:pt>
                <c:pt idx="43">
                  <c:v>26</c:v>
                </c:pt>
                <c:pt idx="44">
                  <c:v>33</c:v>
                </c:pt>
                <c:pt idx="45">
                  <c:v>50</c:v>
                </c:pt>
                <c:pt idx="46">
                  <c:v>40</c:v>
                </c:pt>
                <c:pt idx="47">
                  <c:v>35</c:v>
                </c:pt>
                <c:pt idx="48">
                  <c:v>33</c:v>
                </c:pt>
                <c:pt idx="49">
                  <c:v>32</c:v>
                </c:pt>
                <c:pt idx="50">
                  <c:v>32</c:v>
                </c:pt>
                <c:pt idx="51">
                  <c:v>35</c:v>
                </c:pt>
                <c:pt idx="52">
                  <c:v>32</c:v>
                </c:pt>
                <c:pt idx="53">
                  <c:v>36</c:v>
                </c:pt>
                <c:pt idx="54">
                  <c:v>40</c:v>
                </c:pt>
                <c:pt idx="55">
                  <c:v>29</c:v>
                </c:pt>
                <c:pt idx="56">
                  <c:v>30</c:v>
                </c:pt>
                <c:pt idx="57">
                  <c:v>32</c:v>
                </c:pt>
                <c:pt idx="58">
                  <c:v>41</c:v>
                </c:pt>
                <c:pt idx="59">
                  <c:v>42</c:v>
                </c:pt>
                <c:pt idx="60">
                  <c:v>41</c:v>
                </c:pt>
                <c:pt idx="61">
                  <c:v>43</c:v>
                </c:pt>
                <c:pt idx="62">
                  <c:v>44</c:v>
                </c:pt>
                <c:pt idx="63">
                  <c:v>44</c:v>
                </c:pt>
                <c:pt idx="64">
                  <c:v>52</c:v>
                </c:pt>
                <c:pt idx="65">
                  <c:v>51</c:v>
                </c:pt>
                <c:pt idx="66">
                  <c:v>63</c:v>
                </c:pt>
                <c:pt idx="67">
                  <c:v>53</c:v>
                </c:pt>
                <c:pt idx="68">
                  <c:v>50</c:v>
                </c:pt>
                <c:pt idx="69">
                  <c:v>48</c:v>
                </c:pt>
                <c:pt idx="70">
                  <c:v>41</c:v>
                </c:pt>
                <c:pt idx="71">
                  <c:v>38</c:v>
                </c:pt>
                <c:pt idx="72">
                  <c:v>44</c:v>
                </c:pt>
                <c:pt idx="73">
                  <c:v>45</c:v>
                </c:pt>
                <c:pt idx="74">
                  <c:v>50</c:v>
                </c:pt>
                <c:pt idx="75">
                  <c:v>46</c:v>
                </c:pt>
                <c:pt idx="76">
                  <c:v>51</c:v>
                </c:pt>
                <c:pt idx="77">
                  <c:v>48</c:v>
                </c:pt>
                <c:pt idx="78">
                  <c:v>47</c:v>
                </c:pt>
                <c:pt idx="79">
                  <c:v>38</c:v>
                </c:pt>
                <c:pt idx="80">
                  <c:v>46</c:v>
                </c:pt>
                <c:pt idx="81">
                  <c:v>47</c:v>
                </c:pt>
                <c:pt idx="82">
                  <c:v>49</c:v>
                </c:pt>
                <c:pt idx="83">
                  <c:v>45</c:v>
                </c:pt>
                <c:pt idx="84">
                  <c:v>39</c:v>
                </c:pt>
                <c:pt idx="85">
                  <c:v>44</c:v>
                </c:pt>
                <c:pt idx="86">
                  <c:v>35</c:v>
                </c:pt>
                <c:pt idx="87">
                  <c:v>33</c:v>
                </c:pt>
                <c:pt idx="88">
                  <c:v>38</c:v>
                </c:pt>
                <c:pt idx="89">
                  <c:v>36</c:v>
                </c:pt>
                <c:pt idx="90">
                  <c:v>42</c:v>
                </c:pt>
                <c:pt idx="91">
                  <c:v>35</c:v>
                </c:pt>
                <c:pt idx="92">
                  <c:v>34</c:v>
                </c:pt>
                <c:pt idx="93">
                  <c:v>36</c:v>
                </c:pt>
                <c:pt idx="94">
                  <c:v>33</c:v>
                </c:pt>
                <c:pt idx="95">
                  <c:v>38</c:v>
                </c:pt>
                <c:pt idx="96">
                  <c:v>39</c:v>
                </c:pt>
                <c:pt idx="97">
                  <c:v>38</c:v>
                </c:pt>
                <c:pt idx="98">
                  <c:v>61</c:v>
                </c:pt>
                <c:pt idx="99">
                  <c:v>58</c:v>
                </c:pt>
                <c:pt idx="100">
                  <c:v>51</c:v>
                </c:pt>
                <c:pt idx="101">
                  <c:v>42</c:v>
                </c:pt>
                <c:pt idx="102">
                  <c:v>34</c:v>
                </c:pt>
                <c:pt idx="103">
                  <c:v>38</c:v>
                </c:pt>
                <c:pt idx="104">
                  <c:v>38</c:v>
                </c:pt>
                <c:pt idx="105">
                  <c:v>43</c:v>
                </c:pt>
                <c:pt idx="106">
                  <c:v>39</c:v>
                </c:pt>
                <c:pt idx="107">
                  <c:v>39</c:v>
                </c:pt>
                <c:pt idx="108">
                  <c:v>40</c:v>
                </c:pt>
                <c:pt idx="109">
                  <c:v>40</c:v>
                </c:pt>
                <c:pt idx="110">
                  <c:v>35</c:v>
                </c:pt>
                <c:pt idx="111">
                  <c:v>36</c:v>
                </c:pt>
                <c:pt idx="112">
                  <c:v>33</c:v>
                </c:pt>
                <c:pt idx="113">
                  <c:v>30</c:v>
                </c:pt>
                <c:pt idx="114">
                  <c:v>31</c:v>
                </c:pt>
                <c:pt idx="115">
                  <c:v>26</c:v>
                </c:pt>
                <c:pt idx="116">
                  <c:v>28</c:v>
                </c:pt>
              </c:numCache>
            </c:numRef>
          </c:val>
          <c:smooth val="0"/>
          <c:extLst>
            <c:ext xmlns:c16="http://schemas.microsoft.com/office/drawing/2014/chart" uri="{C3380CC4-5D6E-409C-BE32-E72D297353CC}">
              <c16:uniqueId val="{00000002-B222-4E70-83E6-604A99E1F320}"/>
            </c:ext>
          </c:extLst>
        </c:ser>
        <c:dLbls>
          <c:showLegendKey val="0"/>
          <c:showVal val="0"/>
          <c:showCatName val="0"/>
          <c:showSerName val="0"/>
          <c:showPercent val="0"/>
          <c:showBubbleSize val="0"/>
        </c:dLbls>
        <c:smooth val="0"/>
        <c:axId val="1102402344"/>
        <c:axId val="1102394896"/>
      </c:lineChart>
      <c:dateAx>
        <c:axId val="1102402344"/>
        <c:scaling>
          <c:orientation val="minMax"/>
        </c:scaling>
        <c:delete val="0"/>
        <c:axPos val="b"/>
        <c:numFmt formatCode="m/d/yyyy" sourceLinked="1"/>
        <c:majorTickMark val="out"/>
        <c:minorTickMark val="none"/>
        <c:tickLblPos val="nextTo"/>
        <c:spPr>
          <a:noFill/>
          <a:ln w="3175" cap="flat" cmpd="sng" algn="ctr">
            <a:solidFill>
              <a:schemeClr val="tx1">
                <a:lumMod val="15000"/>
                <a:lumOff val="85000"/>
              </a:schemeClr>
            </a:solidFill>
            <a:round/>
            <a:tailEnd type="none" w="med" len="lg"/>
          </a:ln>
          <a:effectLst/>
        </c:spPr>
        <c:txPr>
          <a:bodyPr rot="-60000000" vert="horz"/>
          <a:lstStyle/>
          <a:p>
            <a:pPr>
              <a:defRPr/>
            </a:pPr>
            <a:endParaRPr lang="en-US"/>
          </a:p>
        </c:txPr>
        <c:crossAx val="1102394896"/>
        <c:crosses val="autoZero"/>
        <c:auto val="1"/>
        <c:lblOffset val="100"/>
        <c:baseTimeUnit val="days"/>
      </c:dateAx>
      <c:valAx>
        <c:axId val="1102394896"/>
        <c:scaling>
          <c:orientation val="minMax"/>
          <c:max val="100"/>
        </c:scaling>
        <c:delete val="0"/>
        <c:axPos val="l"/>
        <c:numFmt formatCode="General" sourceLinked="1"/>
        <c:majorTickMark val="none"/>
        <c:minorTickMark val="none"/>
        <c:tickLblPos val="nextTo"/>
        <c:spPr>
          <a:noFill/>
          <a:ln w="3175" cap="flat" cmpd="sng" algn="ctr">
            <a:solidFill>
              <a:schemeClr val="tx1">
                <a:lumMod val="15000"/>
                <a:lumOff val="85000"/>
              </a:schemeClr>
            </a:solidFill>
            <a:round/>
            <a:tailEnd type="none" w="med" len="lg"/>
          </a:ln>
          <a:effectLst/>
        </c:spPr>
        <c:txPr>
          <a:bodyPr rot="-60000000" vert="horz"/>
          <a:lstStyle/>
          <a:p>
            <a:pPr>
              <a:defRPr/>
            </a:pPr>
            <a:endParaRPr lang="en-US"/>
          </a:p>
        </c:txPr>
        <c:crossAx val="1102402344"/>
        <c:crosses val="autoZero"/>
        <c:crossBetween val="between"/>
      </c:valAx>
      <c:spPr>
        <a:noFill/>
        <a:ln>
          <a:noFill/>
        </a:ln>
        <a:effectLst/>
      </c:spPr>
    </c:plotArea>
    <c:legend>
      <c:legendPos val="t"/>
      <c:overlay val="0"/>
      <c:spPr>
        <a:noFill/>
        <a:ln>
          <a:noFill/>
        </a:ln>
        <a:effectLst/>
      </c:spPr>
      <c:txPr>
        <a:bodyPr rot="0" vert="horz"/>
        <a:lstStyle/>
        <a:p>
          <a:pPr>
            <a:defRPr/>
          </a:pPr>
          <a:endParaRPr lang="en-US"/>
        </a:p>
      </c:txPr>
    </c:legend>
    <c:plotVisOnly val="1"/>
    <c:dispBlanksAs val="gap"/>
    <c:showDLblsOverMax val="0"/>
  </c:chart>
  <c:spPr>
    <a:solidFill>
      <a:sysClr val="window" lastClr="FFFFFF"/>
    </a:solidFill>
    <a:ln>
      <a:solidFill>
        <a:schemeClr val="bg1">
          <a:lumMod val="65000"/>
        </a:schemeClr>
      </a:solidFill>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Utilisation!$C$2</c:f>
              <c:strCache>
                <c:ptCount val="1"/>
              </c:strCache>
            </c:strRef>
          </c:tx>
          <c:spPr>
            <a:solidFill>
              <a:schemeClr val="accent4"/>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tilisation!$B$5:$B$10</c:f>
              <c:strCache>
                <c:ptCount val="6"/>
                <c:pt idx="0">
                  <c:v>FY 17</c:v>
                </c:pt>
                <c:pt idx="1">
                  <c:v>FY 18</c:v>
                </c:pt>
                <c:pt idx="2">
                  <c:v>FY 19</c:v>
                </c:pt>
                <c:pt idx="3">
                  <c:v>FY20</c:v>
                </c:pt>
                <c:pt idx="4">
                  <c:v>FY21</c:v>
                </c:pt>
                <c:pt idx="5">
                  <c:v>FY22 </c:v>
                </c:pt>
              </c:strCache>
            </c:strRef>
          </c:cat>
          <c:val>
            <c:numRef>
              <c:f>Utilisation!$C$5:$C$10</c:f>
              <c:numCache>
                <c:formatCode>0%</c:formatCode>
                <c:ptCount val="6"/>
                <c:pt idx="0">
                  <c:v>0.59</c:v>
                </c:pt>
                <c:pt idx="1">
                  <c:v>0.63</c:v>
                </c:pt>
                <c:pt idx="2">
                  <c:v>0.77</c:v>
                </c:pt>
                <c:pt idx="3">
                  <c:v>0.51</c:v>
                </c:pt>
                <c:pt idx="4">
                  <c:v>0.45</c:v>
                </c:pt>
                <c:pt idx="5">
                  <c:v>0.54</c:v>
                </c:pt>
              </c:numCache>
            </c:numRef>
          </c:val>
          <c:extLst>
            <c:ext xmlns:c16="http://schemas.microsoft.com/office/drawing/2014/chart" uri="{C3380CC4-5D6E-409C-BE32-E72D297353CC}">
              <c16:uniqueId val="{00000000-9D29-4133-BDBA-BFF058268F9B}"/>
            </c:ext>
          </c:extLst>
        </c:ser>
        <c:dLbls>
          <c:showLegendKey val="0"/>
          <c:showVal val="0"/>
          <c:showCatName val="0"/>
          <c:showSerName val="0"/>
          <c:showPercent val="0"/>
          <c:showBubbleSize val="0"/>
        </c:dLbls>
        <c:gapWidth val="219"/>
        <c:overlap val="-27"/>
        <c:axId val="1785339888"/>
        <c:axId val="1785356752"/>
      </c:barChart>
      <c:catAx>
        <c:axId val="1785339888"/>
        <c:scaling>
          <c:orientation val="minMax"/>
        </c:scaling>
        <c:delete val="0"/>
        <c:axPos val="b"/>
        <c:numFmt formatCode="General" sourceLinked="1"/>
        <c:majorTickMark val="none"/>
        <c:minorTickMark val="none"/>
        <c:tickLblPos val="nextTo"/>
        <c:spPr>
          <a:noFill/>
          <a:ln w="9525" cap="flat" cmpd="sng" algn="ctr">
            <a:solidFill>
              <a:srgbClr val="8D9197"/>
            </a:solidFill>
            <a:round/>
          </a:ln>
          <a:effectLst/>
        </c:spPr>
        <c:txPr>
          <a:bodyPr rot="-60000000" vert="horz"/>
          <a:lstStyle/>
          <a:p>
            <a:pPr algn="ctr">
              <a:defRPr/>
            </a:pPr>
            <a:endParaRPr lang="en-US"/>
          </a:p>
        </c:txPr>
        <c:crossAx val="1785356752"/>
        <c:crosses val="autoZero"/>
        <c:auto val="1"/>
        <c:lblAlgn val="ctr"/>
        <c:lblOffset val="100"/>
        <c:noMultiLvlLbl val="0"/>
      </c:catAx>
      <c:valAx>
        <c:axId val="1785356752"/>
        <c:scaling>
          <c:orientation val="minMax"/>
        </c:scaling>
        <c:delete val="1"/>
        <c:axPos val="l"/>
        <c:numFmt formatCode="0%" sourceLinked="1"/>
        <c:majorTickMark val="none"/>
        <c:minorTickMark val="none"/>
        <c:tickLblPos val="nextTo"/>
        <c:crossAx val="1785339888"/>
        <c:crosses val="autoZero"/>
        <c:crossBetween val="between"/>
      </c:valAx>
      <c:spPr>
        <a:noFill/>
        <a:ln>
          <a:noFill/>
        </a:ln>
        <a:effectLst/>
      </c:spPr>
    </c:plotArea>
    <c:plotVisOnly val="1"/>
    <c:dispBlanksAs val="gap"/>
    <c:showDLblsOverMax val="0"/>
  </c:chart>
  <c:spPr>
    <a:noFill/>
    <a:ln>
      <a:solidFill>
        <a:srgbClr val="8D9197"/>
      </a:solidFill>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inancing!$B$64</c:f>
              <c:strCache>
                <c:ptCount val="1"/>
                <c:pt idx="0">
                  <c:v>LCV</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cing!$A$68:$A$73</c:f>
              <c:strCache>
                <c:ptCount val="6"/>
                <c:pt idx="0">
                  <c:v>FY 18</c:v>
                </c:pt>
                <c:pt idx="1">
                  <c:v>FY 19</c:v>
                </c:pt>
                <c:pt idx="2">
                  <c:v>FY 20 </c:v>
                </c:pt>
                <c:pt idx="3">
                  <c:v>FY 21E</c:v>
                </c:pt>
                <c:pt idx="4">
                  <c:v>FY 22P</c:v>
                </c:pt>
                <c:pt idx="5">
                  <c:v>FY 23P</c:v>
                </c:pt>
              </c:strCache>
            </c:strRef>
          </c:cat>
          <c:val>
            <c:numRef>
              <c:f>Financing!$B$68:$B$73</c:f>
              <c:numCache>
                <c:formatCode>0.0%</c:formatCode>
                <c:ptCount val="6"/>
                <c:pt idx="0">
                  <c:v>0.96499999999999997</c:v>
                </c:pt>
                <c:pt idx="1">
                  <c:v>0.96499999999999997</c:v>
                </c:pt>
                <c:pt idx="2">
                  <c:v>0.97399999999999998</c:v>
                </c:pt>
                <c:pt idx="3">
                  <c:v>0.97399999999999998</c:v>
                </c:pt>
                <c:pt idx="4">
                  <c:v>0.97699999999999998</c:v>
                </c:pt>
                <c:pt idx="5" formatCode="0%">
                  <c:v>0.98</c:v>
                </c:pt>
              </c:numCache>
            </c:numRef>
          </c:val>
          <c:smooth val="0"/>
          <c:extLst>
            <c:ext xmlns:c16="http://schemas.microsoft.com/office/drawing/2014/chart" uri="{C3380CC4-5D6E-409C-BE32-E72D297353CC}">
              <c16:uniqueId val="{00000000-059E-42E1-B692-CD5FC7137C2F}"/>
            </c:ext>
          </c:extLst>
        </c:ser>
        <c:ser>
          <c:idx val="1"/>
          <c:order val="1"/>
          <c:tx>
            <c:strRef>
              <c:f>Financing!$C$64</c:f>
              <c:strCache>
                <c:ptCount val="1"/>
                <c:pt idx="0">
                  <c:v>MHCV</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cing!$A$68:$A$73</c:f>
              <c:strCache>
                <c:ptCount val="6"/>
                <c:pt idx="0">
                  <c:v>FY 18</c:v>
                </c:pt>
                <c:pt idx="1">
                  <c:v>FY 19</c:v>
                </c:pt>
                <c:pt idx="2">
                  <c:v>FY 20 </c:v>
                </c:pt>
                <c:pt idx="3">
                  <c:v>FY 21E</c:v>
                </c:pt>
                <c:pt idx="4">
                  <c:v>FY 22P</c:v>
                </c:pt>
                <c:pt idx="5">
                  <c:v>FY 23P</c:v>
                </c:pt>
              </c:strCache>
            </c:strRef>
          </c:cat>
          <c:val>
            <c:numRef>
              <c:f>Financing!$C$68:$C$73</c:f>
              <c:numCache>
                <c:formatCode>0.0%</c:formatCode>
                <c:ptCount val="6"/>
                <c:pt idx="0">
                  <c:v>0.99</c:v>
                </c:pt>
                <c:pt idx="1">
                  <c:v>0.99</c:v>
                </c:pt>
                <c:pt idx="2">
                  <c:v>0.99</c:v>
                </c:pt>
                <c:pt idx="3">
                  <c:v>0.99</c:v>
                </c:pt>
                <c:pt idx="4">
                  <c:v>0.99</c:v>
                </c:pt>
                <c:pt idx="5">
                  <c:v>0.99</c:v>
                </c:pt>
              </c:numCache>
            </c:numRef>
          </c:val>
          <c:smooth val="0"/>
          <c:extLst>
            <c:ext xmlns:c16="http://schemas.microsoft.com/office/drawing/2014/chart" uri="{C3380CC4-5D6E-409C-BE32-E72D297353CC}">
              <c16:uniqueId val="{00000001-059E-42E1-B692-CD5FC7137C2F}"/>
            </c:ext>
          </c:extLst>
        </c:ser>
        <c:dLbls>
          <c:showLegendKey val="0"/>
          <c:showVal val="0"/>
          <c:showCatName val="0"/>
          <c:showSerName val="0"/>
          <c:showPercent val="0"/>
          <c:showBubbleSize val="0"/>
        </c:dLbls>
        <c:marker val="1"/>
        <c:smooth val="0"/>
        <c:axId val="1785327920"/>
        <c:axId val="1785331184"/>
      </c:lineChart>
      <c:catAx>
        <c:axId val="1785327920"/>
        <c:scaling>
          <c:orientation val="minMax"/>
        </c:scaling>
        <c:delete val="0"/>
        <c:axPos val="b"/>
        <c:numFmt formatCode="General" sourceLinked="1"/>
        <c:majorTickMark val="in"/>
        <c:minorTickMark val="none"/>
        <c:tickLblPos val="nextTo"/>
        <c:spPr>
          <a:noFill/>
          <a:ln w="9525" cap="flat" cmpd="sng" algn="ctr">
            <a:solidFill>
              <a:srgbClr val="8D9197"/>
            </a:solidFill>
            <a:round/>
          </a:ln>
          <a:effectLst/>
        </c:spPr>
        <c:txPr>
          <a:bodyPr rot="-6000000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85331184"/>
        <c:crosses val="autoZero"/>
        <c:auto val="1"/>
        <c:lblAlgn val="ctr"/>
        <c:lblOffset val="100"/>
        <c:noMultiLvlLbl val="0"/>
      </c:catAx>
      <c:valAx>
        <c:axId val="1785331184"/>
        <c:scaling>
          <c:orientation val="minMax"/>
        </c:scaling>
        <c:delete val="0"/>
        <c:axPos val="l"/>
        <c:numFmt formatCode="0.0%" sourceLinked="1"/>
        <c:majorTickMark val="out"/>
        <c:minorTickMark val="none"/>
        <c:tickLblPos val="nextTo"/>
        <c:spPr>
          <a:noFill/>
          <a:ln>
            <a:solidFill>
              <a:srgbClr val="8D9197"/>
            </a:solidFill>
          </a:ln>
          <a:effectLst/>
        </c:spPr>
        <c:txPr>
          <a:bodyPr rot="-6000000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85327920"/>
        <c:crosses val="autoZero"/>
        <c:crossBetween val="between"/>
      </c:valAx>
      <c:spPr>
        <a:noFill/>
        <a:ln>
          <a:noFill/>
        </a:ln>
        <a:effectLst/>
      </c:spPr>
    </c:plotArea>
    <c:legend>
      <c:legendPos val="b"/>
      <c:layout>
        <c:manualLayout>
          <c:xMode val="edge"/>
          <c:yMode val="edge"/>
          <c:x val="0.25952042538984932"/>
          <c:y val="0.88364981277277166"/>
          <c:w val="0.38567942534930094"/>
          <c:h val="8.8730954237250664E-2"/>
        </c:manualLayout>
      </c:layout>
      <c:overlay val="0"/>
      <c:spPr>
        <a:noFill/>
        <a:ln>
          <a:noFill/>
        </a:ln>
        <a:effectLst/>
      </c:spPr>
      <c:txPr>
        <a:bodyPr rot="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solidFill>
        <a:schemeClr val="bg1"/>
      </a:solidFill>
      <a:round/>
    </a:ln>
    <a:effectLst/>
  </c:spPr>
  <c:txPr>
    <a:bodyPr/>
    <a:lstStyle/>
    <a:p>
      <a:pPr algn="ctr">
        <a:defRPr lang="en-US"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96007620218268"/>
          <c:y val="7.7711215155355604E-2"/>
          <c:w val="0.87046026689914657"/>
          <c:h val="0.69223004222501183"/>
        </c:manualLayout>
      </c:layout>
      <c:lineChart>
        <c:grouping val="standard"/>
        <c:varyColors val="0"/>
        <c:ser>
          <c:idx val="0"/>
          <c:order val="0"/>
          <c:tx>
            <c:strRef>
              <c:f>Financing!$B$39</c:f>
              <c:strCache>
                <c:ptCount val="1"/>
                <c:pt idx="0">
                  <c:v>LCV</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cing!$A$43:$A$48</c:f>
              <c:strCache>
                <c:ptCount val="6"/>
                <c:pt idx="0">
                  <c:v>FY 18</c:v>
                </c:pt>
                <c:pt idx="1">
                  <c:v>FY 19</c:v>
                </c:pt>
                <c:pt idx="2">
                  <c:v>FY 20 </c:v>
                </c:pt>
                <c:pt idx="3">
                  <c:v>FY 21E</c:v>
                </c:pt>
                <c:pt idx="4">
                  <c:v>FY 22P</c:v>
                </c:pt>
                <c:pt idx="5">
                  <c:v>FY 23P</c:v>
                </c:pt>
              </c:strCache>
            </c:strRef>
          </c:cat>
          <c:val>
            <c:numRef>
              <c:f>Financing!$B$43:$B$48</c:f>
              <c:numCache>
                <c:formatCode>0.0%</c:formatCode>
                <c:ptCount val="6"/>
                <c:pt idx="0">
                  <c:v>0.82199999999999995</c:v>
                </c:pt>
                <c:pt idx="1">
                  <c:v>0.82199999999999995</c:v>
                </c:pt>
                <c:pt idx="2">
                  <c:v>0.77200000000000002</c:v>
                </c:pt>
                <c:pt idx="3">
                  <c:v>0.75700000000000001</c:v>
                </c:pt>
                <c:pt idx="4" formatCode="0.00%">
                  <c:v>0.77200000000000002</c:v>
                </c:pt>
                <c:pt idx="5" formatCode="0%">
                  <c:v>0.78</c:v>
                </c:pt>
              </c:numCache>
            </c:numRef>
          </c:val>
          <c:smooth val="0"/>
          <c:extLst>
            <c:ext xmlns:c16="http://schemas.microsoft.com/office/drawing/2014/chart" uri="{C3380CC4-5D6E-409C-BE32-E72D297353CC}">
              <c16:uniqueId val="{00000000-4AE6-4218-81EF-AB249F50E1E0}"/>
            </c:ext>
          </c:extLst>
        </c:ser>
        <c:ser>
          <c:idx val="1"/>
          <c:order val="1"/>
          <c:tx>
            <c:strRef>
              <c:f>Financing!$C$39</c:f>
              <c:strCache>
                <c:ptCount val="1"/>
                <c:pt idx="0">
                  <c:v>MHCV</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inancing!$A$43:$A$48</c:f>
              <c:strCache>
                <c:ptCount val="6"/>
                <c:pt idx="0">
                  <c:v>FY 18</c:v>
                </c:pt>
                <c:pt idx="1">
                  <c:v>FY 19</c:v>
                </c:pt>
                <c:pt idx="2">
                  <c:v>FY 20 </c:v>
                </c:pt>
                <c:pt idx="3">
                  <c:v>FY 21E</c:v>
                </c:pt>
                <c:pt idx="4">
                  <c:v>FY 22P</c:v>
                </c:pt>
                <c:pt idx="5">
                  <c:v>FY 23P</c:v>
                </c:pt>
              </c:strCache>
            </c:strRef>
          </c:cat>
          <c:val>
            <c:numRef>
              <c:f>Financing!$C$43:$C$48</c:f>
              <c:numCache>
                <c:formatCode>0.0%</c:formatCode>
                <c:ptCount val="6"/>
                <c:pt idx="0">
                  <c:v>0.81200000000000006</c:v>
                </c:pt>
                <c:pt idx="1">
                  <c:v>0.82099999999999995</c:v>
                </c:pt>
                <c:pt idx="2">
                  <c:v>0.71499999999999997</c:v>
                </c:pt>
                <c:pt idx="3">
                  <c:v>0.69499999999999995</c:v>
                </c:pt>
                <c:pt idx="4" formatCode="0.00%">
                  <c:v>0.70499999999999996</c:v>
                </c:pt>
                <c:pt idx="5" formatCode="0.00%">
                  <c:v>0.71499999999999997</c:v>
                </c:pt>
              </c:numCache>
            </c:numRef>
          </c:val>
          <c:smooth val="0"/>
          <c:extLst>
            <c:ext xmlns:c16="http://schemas.microsoft.com/office/drawing/2014/chart" uri="{C3380CC4-5D6E-409C-BE32-E72D297353CC}">
              <c16:uniqueId val="{00000001-4AE6-4218-81EF-AB249F50E1E0}"/>
            </c:ext>
          </c:extLst>
        </c:ser>
        <c:dLbls>
          <c:showLegendKey val="0"/>
          <c:showVal val="0"/>
          <c:showCatName val="0"/>
          <c:showSerName val="0"/>
          <c:showPercent val="0"/>
          <c:showBubbleSize val="0"/>
        </c:dLbls>
        <c:marker val="1"/>
        <c:smooth val="0"/>
        <c:axId val="1785338256"/>
        <c:axId val="1785330640"/>
      </c:lineChart>
      <c:catAx>
        <c:axId val="1785338256"/>
        <c:scaling>
          <c:orientation val="minMax"/>
        </c:scaling>
        <c:delete val="0"/>
        <c:axPos val="b"/>
        <c:numFmt formatCode="General" sourceLinked="1"/>
        <c:majorTickMark val="in"/>
        <c:minorTickMark val="none"/>
        <c:tickLblPos val="nextTo"/>
        <c:spPr>
          <a:noFill/>
          <a:ln w="9525" cap="flat" cmpd="sng" algn="ctr">
            <a:solidFill>
              <a:srgbClr val="8D9197"/>
            </a:solidFill>
            <a:round/>
          </a:ln>
          <a:effectLst/>
        </c:spPr>
        <c:txPr>
          <a:bodyPr rot="-6000000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85330640"/>
        <c:crosses val="autoZero"/>
        <c:auto val="1"/>
        <c:lblAlgn val="ctr"/>
        <c:lblOffset val="100"/>
        <c:noMultiLvlLbl val="0"/>
      </c:catAx>
      <c:valAx>
        <c:axId val="1785330640"/>
        <c:scaling>
          <c:orientation val="minMax"/>
        </c:scaling>
        <c:delete val="0"/>
        <c:axPos val="l"/>
        <c:numFmt formatCode="0.0%" sourceLinked="1"/>
        <c:majorTickMark val="out"/>
        <c:minorTickMark val="none"/>
        <c:tickLblPos val="nextTo"/>
        <c:spPr>
          <a:noFill/>
          <a:ln>
            <a:solidFill>
              <a:srgbClr val="8D9197"/>
            </a:solidFill>
          </a:ln>
          <a:effectLst/>
        </c:spPr>
        <c:txPr>
          <a:bodyPr rot="-6000000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85338256"/>
        <c:crosses val="autoZero"/>
        <c:crossBetween val="between"/>
      </c:valAx>
      <c:spPr>
        <a:noFill/>
        <a:ln>
          <a:noFill/>
        </a:ln>
        <a:effectLst/>
      </c:spPr>
    </c:plotArea>
    <c:legend>
      <c:legendPos val="b"/>
      <c:layout>
        <c:manualLayout>
          <c:xMode val="edge"/>
          <c:yMode val="edge"/>
          <c:x val="0.26146808822023382"/>
          <c:y val="0.88426262395713828"/>
          <c:w val="0.41405830580836239"/>
          <c:h val="0.11573737604286169"/>
        </c:manualLayout>
      </c:layout>
      <c:overlay val="0"/>
      <c:spPr>
        <a:noFill/>
        <a:ln>
          <a:noFill/>
        </a:ln>
        <a:effectLst/>
      </c:spPr>
      <c:txPr>
        <a:bodyPr rot="0" spcFirstLastPara="1" vertOverflow="ellipsis" vert="horz" wrap="square" anchor="ctr" anchorCtr="1"/>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solidFill>
        <a:schemeClr val="bg1"/>
      </a:solidFill>
      <a:round/>
    </a:ln>
    <a:effectLst/>
  </c:spPr>
  <c:txPr>
    <a:bodyPr/>
    <a:lstStyle/>
    <a:p>
      <a:pPr algn="ctr">
        <a:defRPr lang="en-US"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cat>
            <c:numRef>
              <c:f>Financing!$P$44:$P$56</c:f>
              <c:numCache>
                <c:formatCode>[$-409]mmm\-yy;@</c:formatCode>
                <c:ptCount val="13"/>
                <c:pt idx="0">
                  <c:v>44256</c:v>
                </c:pt>
                <c:pt idx="1">
                  <c:v>44287</c:v>
                </c:pt>
                <c:pt idx="2">
                  <c:v>44317</c:v>
                </c:pt>
                <c:pt idx="3">
                  <c:v>44348</c:v>
                </c:pt>
                <c:pt idx="4">
                  <c:v>44378</c:v>
                </c:pt>
                <c:pt idx="5">
                  <c:v>44409</c:v>
                </c:pt>
                <c:pt idx="6">
                  <c:v>44440</c:v>
                </c:pt>
                <c:pt idx="7">
                  <c:v>44471</c:v>
                </c:pt>
                <c:pt idx="8">
                  <c:v>44503</c:v>
                </c:pt>
                <c:pt idx="9">
                  <c:v>44534</c:v>
                </c:pt>
                <c:pt idx="10">
                  <c:v>44562</c:v>
                </c:pt>
                <c:pt idx="11">
                  <c:v>44593</c:v>
                </c:pt>
                <c:pt idx="12">
                  <c:v>44621</c:v>
                </c:pt>
              </c:numCache>
            </c:numRef>
          </c:cat>
          <c:val>
            <c:numRef>
              <c:f>Financing!$Q$44:$Q$56</c:f>
              <c:numCache>
                <c:formatCode>0.00</c:formatCode>
                <c:ptCount val="13"/>
                <c:pt idx="0">
                  <c:v>9.34</c:v>
                </c:pt>
                <c:pt idx="1">
                  <c:v>9.01</c:v>
                </c:pt>
                <c:pt idx="2">
                  <c:v>9.01</c:v>
                </c:pt>
                <c:pt idx="3">
                  <c:v>9.01</c:v>
                </c:pt>
                <c:pt idx="4">
                  <c:v>8.58</c:v>
                </c:pt>
                <c:pt idx="5">
                  <c:v>8.58</c:v>
                </c:pt>
                <c:pt idx="6">
                  <c:v>8.58</c:v>
                </c:pt>
                <c:pt idx="7">
                  <c:v>8.3800000000000008</c:v>
                </c:pt>
                <c:pt idx="8">
                  <c:v>8.3800000000000008</c:v>
                </c:pt>
                <c:pt idx="9">
                  <c:v>8.3800000000000008</c:v>
                </c:pt>
                <c:pt idx="10">
                  <c:v>8.3800000000000008</c:v>
                </c:pt>
                <c:pt idx="11">
                  <c:v>8.3800000000000008</c:v>
                </c:pt>
                <c:pt idx="12">
                  <c:v>8.3800000000000008</c:v>
                </c:pt>
              </c:numCache>
            </c:numRef>
          </c:val>
          <c:smooth val="0"/>
          <c:extLst>
            <c:ext xmlns:c16="http://schemas.microsoft.com/office/drawing/2014/chart" uri="{C3380CC4-5D6E-409C-BE32-E72D297353CC}">
              <c16:uniqueId val="{00000000-3753-445F-BD28-B9D51314BD8D}"/>
            </c:ext>
          </c:extLst>
        </c:ser>
        <c:dLbls>
          <c:showLegendKey val="0"/>
          <c:showVal val="0"/>
          <c:showCatName val="0"/>
          <c:showSerName val="0"/>
          <c:showPercent val="0"/>
          <c:showBubbleSize val="0"/>
        </c:dLbls>
        <c:marker val="1"/>
        <c:smooth val="0"/>
        <c:axId val="1785337168"/>
        <c:axId val="1785333904"/>
      </c:lineChart>
      <c:dateAx>
        <c:axId val="1785337168"/>
        <c:scaling>
          <c:orientation val="minMax"/>
        </c:scaling>
        <c:delete val="0"/>
        <c:axPos val="b"/>
        <c:numFmt formatCode="[$-409]mmm\-yy;@" sourceLinked="1"/>
        <c:majorTickMark val="out"/>
        <c:minorTickMark val="none"/>
        <c:tickLblPos val="nextTo"/>
        <c:crossAx val="1785333904"/>
        <c:crosses val="autoZero"/>
        <c:auto val="1"/>
        <c:lblOffset val="100"/>
        <c:baseTimeUnit val="months"/>
      </c:dateAx>
      <c:valAx>
        <c:axId val="1785333904"/>
        <c:scaling>
          <c:orientation val="minMax"/>
          <c:min val="0"/>
        </c:scaling>
        <c:delete val="0"/>
        <c:axPos val="l"/>
        <c:numFmt formatCode="0.00" sourceLinked="1"/>
        <c:majorTickMark val="out"/>
        <c:minorTickMark val="none"/>
        <c:tickLblPos val="nextTo"/>
        <c:crossAx val="1785337168"/>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900145382229241E-2"/>
          <c:y val="4.279346125446383E-2"/>
          <c:w val="0.91322641999003884"/>
          <c:h val="0.61059429925253794"/>
        </c:manualLayout>
      </c:layout>
      <c:lineChart>
        <c:grouping val="standard"/>
        <c:varyColors val="0"/>
        <c:ser>
          <c:idx val="0"/>
          <c:order val="0"/>
          <c:tx>
            <c:strRef>
              <c:f>Retail!$B$19</c:f>
              <c:strCache>
                <c:ptCount val="1"/>
                <c:pt idx="0">
                  <c:v>Retail</c:v>
                </c:pt>
              </c:strCache>
            </c:strRef>
          </c:tx>
          <c:spPr>
            <a:ln>
              <a:solidFill>
                <a:schemeClr val="accent6">
                  <a:lumMod val="50000"/>
                </a:schemeClr>
              </a:solidFill>
            </a:ln>
          </c:spPr>
          <c:marker>
            <c:spPr>
              <a:ln>
                <a:solidFill>
                  <a:schemeClr val="accent6">
                    <a:lumMod val="50000"/>
                  </a:schemeClr>
                </a:solidFill>
              </a:ln>
            </c:spPr>
          </c:marker>
          <c:cat>
            <c:multiLvlStrRef>
              <c:f>Retail!$G$17:$V$18</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lvl>
                <c:lvl>
                  <c:pt idx="0">
                    <c:v>FY19</c:v>
                  </c:pt>
                  <c:pt idx="4">
                    <c:v>FY20</c:v>
                  </c:pt>
                  <c:pt idx="8">
                    <c:v>FY21</c:v>
                  </c:pt>
                  <c:pt idx="12">
                    <c:v>FY22</c:v>
                  </c:pt>
                </c:lvl>
              </c:multiLvlStrCache>
            </c:multiLvlStrRef>
          </c:cat>
          <c:val>
            <c:numRef>
              <c:f>Retail!$G$19:$V$19</c:f>
              <c:numCache>
                <c:formatCode>0%</c:formatCode>
                <c:ptCount val="16"/>
                <c:pt idx="0">
                  <c:v>0.34455713875087257</c:v>
                </c:pt>
                <c:pt idx="1">
                  <c:v>0.32461292708546985</c:v>
                </c:pt>
                <c:pt idx="2">
                  <c:v>0.15255963575674758</c:v>
                </c:pt>
                <c:pt idx="3">
                  <c:v>-2.3891761360050778E-2</c:v>
                </c:pt>
                <c:pt idx="4">
                  <c:v>-3.2856619315207114E-2</c:v>
                </c:pt>
                <c:pt idx="5">
                  <c:v>-9.005551045689375E-2</c:v>
                </c:pt>
                <c:pt idx="6">
                  <c:v>-0.13950548152555275</c:v>
                </c:pt>
                <c:pt idx="7">
                  <c:v>0.18149022920635471</c:v>
                </c:pt>
                <c:pt idx="8">
                  <c:v>-0.86306653374053244</c:v>
                </c:pt>
                <c:pt idx="9">
                  <c:v>-0.58964733061401287</c:v>
                </c:pt>
                <c:pt idx="10">
                  <c:v>-0.29030437678256404</c:v>
                </c:pt>
                <c:pt idx="11">
                  <c:v>-0.37306066166411922</c:v>
                </c:pt>
                <c:pt idx="12">
                  <c:v>2.3014330423324001</c:v>
                </c:pt>
                <c:pt idx="13">
                  <c:v>0.97454006233035084</c:v>
                </c:pt>
                <c:pt idx="14">
                  <c:v>0.19469178695512013</c:v>
                </c:pt>
                <c:pt idx="15">
                  <c:v>0.18013394545592076</c:v>
                </c:pt>
              </c:numCache>
            </c:numRef>
          </c:val>
          <c:smooth val="0"/>
          <c:extLst>
            <c:ext xmlns:c16="http://schemas.microsoft.com/office/drawing/2014/chart" uri="{C3380CC4-5D6E-409C-BE32-E72D297353CC}">
              <c16:uniqueId val="{00000000-76CC-4869-8F53-A3312A33E06B}"/>
            </c:ext>
          </c:extLst>
        </c:ser>
        <c:ser>
          <c:idx val="1"/>
          <c:order val="1"/>
          <c:tx>
            <c:strRef>
              <c:f>Retail!$B$20</c:f>
              <c:strCache>
                <c:ptCount val="1"/>
                <c:pt idx="0">
                  <c:v>Off-take</c:v>
                </c:pt>
              </c:strCache>
            </c:strRef>
          </c:tx>
          <c:spPr>
            <a:ln>
              <a:solidFill>
                <a:schemeClr val="accent2"/>
              </a:solidFill>
            </a:ln>
          </c:spPr>
          <c:marker>
            <c:spPr>
              <a:solidFill>
                <a:schemeClr val="accent2"/>
              </a:solidFill>
              <a:ln>
                <a:solidFill>
                  <a:schemeClr val="accent2"/>
                </a:solidFill>
              </a:ln>
            </c:spPr>
          </c:marker>
          <c:cat>
            <c:multiLvlStrRef>
              <c:f>Retail!$G$17:$V$18</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lvl>
                <c:lvl>
                  <c:pt idx="0">
                    <c:v>FY19</c:v>
                  </c:pt>
                  <c:pt idx="4">
                    <c:v>FY20</c:v>
                  </c:pt>
                  <c:pt idx="8">
                    <c:v>FY21</c:v>
                  </c:pt>
                  <c:pt idx="12">
                    <c:v>FY22</c:v>
                  </c:pt>
                </c:lvl>
              </c:multiLvlStrCache>
            </c:multiLvlStrRef>
          </c:cat>
          <c:val>
            <c:numRef>
              <c:f>Retail!$G$20:$V$20</c:f>
              <c:numCache>
                <c:formatCode>0%</c:formatCode>
                <c:ptCount val="16"/>
                <c:pt idx="0">
                  <c:v>0.51639651981479417</c:v>
                </c:pt>
                <c:pt idx="1">
                  <c:v>0.27535246901943666</c:v>
                </c:pt>
                <c:pt idx="2">
                  <c:v>6.6765867182871252E-2</c:v>
                </c:pt>
                <c:pt idx="3">
                  <c:v>6.4413493528534538E-3</c:v>
                </c:pt>
                <c:pt idx="4">
                  <c:v>0.8094824441008357</c:v>
                </c:pt>
                <c:pt idx="5">
                  <c:v>-0.34969640155125004</c:v>
                </c:pt>
                <c:pt idx="6">
                  <c:v>-0.17196847322386299</c:v>
                </c:pt>
                <c:pt idx="7">
                  <c:v>-0.48254751687161379</c:v>
                </c:pt>
                <c:pt idx="8">
                  <c:v>-0.9240629080574545</c:v>
                </c:pt>
                <c:pt idx="9">
                  <c:v>-0.20127166800253615</c:v>
                </c:pt>
                <c:pt idx="10">
                  <c:v>-1.1054674299290301E-2</c:v>
                </c:pt>
                <c:pt idx="11">
                  <c:v>0.41949573428761933</c:v>
                </c:pt>
                <c:pt idx="12">
                  <c:v>2.3442913136932608</c:v>
                </c:pt>
                <c:pt idx="13">
                  <c:v>0.24501808541708781</c:v>
                </c:pt>
                <c:pt idx="14">
                  <c:v>8.1235147015423781E-3</c:v>
                </c:pt>
                <c:pt idx="15">
                  <c:v>0.19727193428103096</c:v>
                </c:pt>
              </c:numCache>
            </c:numRef>
          </c:val>
          <c:smooth val="0"/>
          <c:extLst>
            <c:ext xmlns:c16="http://schemas.microsoft.com/office/drawing/2014/chart" uri="{C3380CC4-5D6E-409C-BE32-E72D297353CC}">
              <c16:uniqueId val="{00000001-76CC-4869-8F53-A3312A33E06B}"/>
            </c:ext>
          </c:extLst>
        </c:ser>
        <c:dLbls>
          <c:showLegendKey val="0"/>
          <c:showVal val="0"/>
          <c:showCatName val="0"/>
          <c:showSerName val="0"/>
          <c:showPercent val="0"/>
          <c:showBubbleSize val="0"/>
        </c:dLbls>
        <c:marker val="1"/>
        <c:smooth val="0"/>
        <c:axId val="113547904"/>
        <c:axId val="113561984"/>
      </c:lineChart>
      <c:catAx>
        <c:axId val="113547904"/>
        <c:scaling>
          <c:orientation val="minMax"/>
        </c:scaling>
        <c:delete val="0"/>
        <c:axPos val="b"/>
        <c:numFmt formatCode="General" sourceLinked="0"/>
        <c:majorTickMark val="out"/>
        <c:minorTickMark val="none"/>
        <c:tickLblPos val="low"/>
        <c:crossAx val="113561984"/>
        <c:crosses val="autoZero"/>
        <c:auto val="1"/>
        <c:lblAlgn val="ctr"/>
        <c:lblOffset val="100"/>
        <c:noMultiLvlLbl val="0"/>
      </c:catAx>
      <c:valAx>
        <c:axId val="113561984"/>
        <c:scaling>
          <c:orientation val="minMax"/>
        </c:scaling>
        <c:delete val="0"/>
        <c:axPos val="l"/>
        <c:numFmt formatCode="0%" sourceLinked="1"/>
        <c:majorTickMark val="out"/>
        <c:minorTickMark val="none"/>
        <c:tickLblPos val="nextTo"/>
        <c:crossAx val="113547904"/>
        <c:crosses val="autoZero"/>
        <c:crossBetween val="between"/>
        <c:majorUnit val="0.4"/>
      </c:valAx>
    </c:plotArea>
    <c:legend>
      <c:legendPos val="b"/>
      <c:overlay val="0"/>
    </c:legend>
    <c:plotVisOnly val="1"/>
    <c:dispBlanksAs val="gap"/>
    <c:showDLblsOverMax val="0"/>
  </c:chart>
  <c:spPr>
    <a:noFill/>
    <a:ln>
      <a:solidFill>
        <a:schemeClr val="bg1">
          <a:lumMod val="85000"/>
        </a:schemeClr>
      </a:solidFill>
    </a:ln>
  </c:spPr>
  <c:txPr>
    <a:bodyPr/>
    <a:lstStyle/>
    <a:p>
      <a:pPr algn="ctr">
        <a:defRPr lang="en-US" sz="1200" b="0" i="0" u="none" strike="noStrike" kern="1200" baseline="0">
          <a:solidFill>
            <a:prstClr val="black"/>
          </a:solidFill>
          <a:latin typeface="Arial" panose="020B0604020202020204" pitchFamily="34" charset="0"/>
          <a:ea typeface="+mn-ea"/>
          <a:cs typeface="Arial" panose="020B0604020202020204" pitchFamily="34" charset="0"/>
        </a:defRPr>
      </a:pPr>
      <a:endParaRPr lang="en-U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duction!$A$9</c:f>
              <c:strCache>
                <c:ptCount val="1"/>
                <c:pt idx="0">
                  <c:v>LCV</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D$3:$K$3</c:f>
              <c:strCache>
                <c:ptCount val="8"/>
                <c:pt idx="0">
                  <c:v>Q1 FY21 </c:v>
                </c:pt>
                <c:pt idx="1">
                  <c:v>Q2 FY21</c:v>
                </c:pt>
                <c:pt idx="2">
                  <c:v>Q3 FY21</c:v>
                </c:pt>
                <c:pt idx="3">
                  <c:v>Q4 FY21</c:v>
                </c:pt>
                <c:pt idx="4">
                  <c:v>Q1 FY22</c:v>
                </c:pt>
                <c:pt idx="5">
                  <c:v>Q2 FY22</c:v>
                </c:pt>
                <c:pt idx="6">
                  <c:v>Q3 FY22</c:v>
                </c:pt>
                <c:pt idx="7">
                  <c:v>Q4 FY22</c:v>
                </c:pt>
              </c:strCache>
            </c:strRef>
          </c:cat>
          <c:val>
            <c:numRef>
              <c:f>Production!$D$9:$K$9</c:f>
              <c:numCache>
                <c:formatCode>0.0</c:formatCode>
                <c:ptCount val="8"/>
                <c:pt idx="0">
                  <c:v>21.177</c:v>
                </c:pt>
                <c:pt idx="1">
                  <c:v>113.854</c:v>
                </c:pt>
                <c:pt idx="2">
                  <c:v>151.25200000000001</c:v>
                </c:pt>
                <c:pt idx="3">
                  <c:v>141.93899999999999</c:v>
                </c:pt>
                <c:pt idx="4">
                  <c:v>90.195999999999998</c:v>
                </c:pt>
                <c:pt idx="5">
                  <c:v>122.196</c:v>
                </c:pt>
                <c:pt idx="6">
                  <c:v>127.21299999999999</c:v>
                </c:pt>
                <c:pt idx="7">
                  <c:v>166.404</c:v>
                </c:pt>
              </c:numCache>
            </c:numRef>
          </c:val>
          <c:extLst>
            <c:ext xmlns:c16="http://schemas.microsoft.com/office/drawing/2014/chart" uri="{C3380CC4-5D6E-409C-BE32-E72D297353CC}">
              <c16:uniqueId val="{00000000-C6F5-4F20-9A46-56CB5D1D34C5}"/>
            </c:ext>
          </c:extLst>
        </c:ser>
        <c:dLbls>
          <c:showLegendKey val="0"/>
          <c:showVal val="0"/>
          <c:showCatName val="0"/>
          <c:showSerName val="0"/>
          <c:showPercent val="0"/>
          <c:showBubbleSize val="0"/>
        </c:dLbls>
        <c:gapWidth val="75"/>
        <c:axId val="112911104"/>
        <c:axId val="112912640"/>
      </c:barChart>
      <c:catAx>
        <c:axId val="112911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2912640"/>
        <c:crosses val="autoZero"/>
        <c:auto val="1"/>
        <c:lblAlgn val="ctr"/>
        <c:lblOffset val="100"/>
        <c:noMultiLvlLbl val="0"/>
      </c:catAx>
      <c:valAx>
        <c:axId val="112912640"/>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n thousand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2911104"/>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vert="horz"/>
              <a:lstStyle/>
              <a:p>
                <a:pPr>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Fastag  (2)'!$F$58:$G$76</c:f>
              <c:multiLvlStrCache>
                <c:ptCount val="19"/>
                <c:lvl>
                  <c:pt idx="0">
                    <c:v>Sep</c:v>
                  </c:pt>
                  <c:pt idx="1">
                    <c:v>Oct</c:v>
                  </c:pt>
                  <c:pt idx="2">
                    <c:v>Nov</c:v>
                  </c:pt>
                  <c:pt idx="3">
                    <c:v>Dec</c:v>
                  </c:pt>
                  <c:pt idx="4">
                    <c:v>Jan</c:v>
                  </c:pt>
                  <c:pt idx="5">
                    <c:v>Feb</c:v>
                  </c:pt>
                  <c:pt idx="6">
                    <c:v>Mar</c:v>
                  </c:pt>
                  <c:pt idx="7">
                    <c:v>April</c:v>
                  </c:pt>
                  <c:pt idx="8">
                    <c:v>May</c:v>
                  </c:pt>
                  <c:pt idx="9">
                    <c:v>June</c:v>
                  </c:pt>
                  <c:pt idx="10">
                    <c:v>July</c:v>
                  </c:pt>
                  <c:pt idx="11">
                    <c:v>Aug</c:v>
                  </c:pt>
                  <c:pt idx="12">
                    <c:v>Sep </c:v>
                  </c:pt>
                  <c:pt idx="13">
                    <c:v>Oct</c:v>
                  </c:pt>
                  <c:pt idx="14">
                    <c:v>Nov</c:v>
                  </c:pt>
                  <c:pt idx="15">
                    <c:v>Dec</c:v>
                  </c:pt>
                  <c:pt idx="16">
                    <c:v>Jan</c:v>
                  </c:pt>
                  <c:pt idx="17">
                    <c:v>Feb</c:v>
                  </c:pt>
                  <c:pt idx="18">
                    <c:v>Mar</c:v>
                  </c:pt>
                </c:lvl>
                <c:lvl>
                  <c:pt idx="0">
                    <c:v>2020</c:v>
                  </c:pt>
                  <c:pt idx="4">
                    <c:v>2021</c:v>
                  </c:pt>
                  <c:pt idx="16">
                    <c:v>2022</c:v>
                  </c:pt>
                </c:lvl>
              </c:multiLvlStrCache>
            </c:multiLvlStrRef>
          </c:cat>
          <c:val>
            <c:numRef>
              <c:f>'Fastag  (2)'!$H$58:$H$76</c:f>
              <c:numCache>
                <c:formatCode>0</c:formatCode>
                <c:ptCount val="19"/>
                <c:pt idx="0">
                  <c:v>105.39737768226382</c:v>
                </c:pt>
                <c:pt idx="1">
                  <c:v>116.07289481986341</c:v>
                </c:pt>
                <c:pt idx="2">
                  <c:v>114.16329376899853</c:v>
                </c:pt>
                <c:pt idx="3">
                  <c:v>125.07995506660497</c:v>
                </c:pt>
                <c:pt idx="4">
                  <c:v>130.18525935503783</c:v>
                </c:pt>
                <c:pt idx="5">
                  <c:v>138.82082724717426</c:v>
                </c:pt>
                <c:pt idx="6">
                  <c:v>167.6060535542957</c:v>
                </c:pt>
                <c:pt idx="7">
                  <c:v>150.76941175201713</c:v>
                </c:pt>
                <c:pt idx="8">
                  <c:v>115.41246396723214</c:v>
                </c:pt>
                <c:pt idx="9">
                  <c:v>139.90706220216001</c:v>
                </c:pt>
                <c:pt idx="10">
                  <c:v>161.63176130187429</c:v>
                </c:pt>
                <c:pt idx="11">
                  <c:v>167.06293607680286</c:v>
                </c:pt>
                <c:pt idx="12">
                  <c:v>163.42404897760071</c:v>
                </c:pt>
                <c:pt idx="13">
                  <c:v>182.27022544660286</c:v>
                </c:pt>
                <c:pt idx="14">
                  <c:v>172.54842259948072</c:v>
                </c:pt>
                <c:pt idx="15">
                  <c:v>199.81291996962213</c:v>
                </c:pt>
                <c:pt idx="16">
                  <c:v>195.68522714067643</c:v>
                </c:pt>
                <c:pt idx="17">
                  <c:v>197.20595607765642</c:v>
                </c:pt>
                <c:pt idx="18">
                  <c:v>222.406607033325</c:v>
                </c:pt>
              </c:numCache>
            </c:numRef>
          </c:val>
          <c:smooth val="1"/>
          <c:extLst>
            <c:ext xmlns:c16="http://schemas.microsoft.com/office/drawing/2014/chart" uri="{C3380CC4-5D6E-409C-BE32-E72D297353CC}">
              <c16:uniqueId val="{00000000-5AA1-4C9B-A5FE-11B7515773B8}"/>
            </c:ext>
          </c:extLst>
        </c:ser>
        <c:dLbls>
          <c:showLegendKey val="0"/>
          <c:showVal val="0"/>
          <c:showCatName val="0"/>
          <c:showSerName val="0"/>
          <c:showPercent val="0"/>
          <c:showBubbleSize val="0"/>
        </c:dLbls>
        <c:marker val="1"/>
        <c:smooth val="0"/>
        <c:axId val="1401182736"/>
        <c:axId val="1401183280"/>
      </c:lineChart>
      <c:catAx>
        <c:axId val="1401182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401183280"/>
        <c:crosses val="autoZero"/>
        <c:auto val="1"/>
        <c:lblAlgn val="ctr"/>
        <c:lblOffset val="100"/>
        <c:noMultiLvlLbl val="0"/>
      </c:catAx>
      <c:valAx>
        <c:axId val="140118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vert="horz"/>
          <a:lstStyle/>
          <a:p>
            <a:pPr>
              <a:defRPr/>
            </a:pPr>
            <a:endParaRPr lang="en-US"/>
          </a:p>
        </c:txPr>
        <c:crossAx val="1401182736"/>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duction!$A$10</c:f>
              <c:strCache>
                <c:ptCount val="1"/>
                <c:pt idx="0">
                  <c:v>MHCV</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D$3:$K$3</c:f>
              <c:strCache>
                <c:ptCount val="8"/>
                <c:pt idx="0">
                  <c:v>Q1 FY21 </c:v>
                </c:pt>
                <c:pt idx="1">
                  <c:v>Q2 FY21</c:v>
                </c:pt>
                <c:pt idx="2">
                  <c:v>Q3 FY21</c:v>
                </c:pt>
                <c:pt idx="3">
                  <c:v>Q4 FY21</c:v>
                </c:pt>
                <c:pt idx="4">
                  <c:v>Q1 FY22</c:v>
                </c:pt>
                <c:pt idx="5">
                  <c:v>Q2 FY22</c:v>
                </c:pt>
                <c:pt idx="6">
                  <c:v>Q3 FY22</c:v>
                </c:pt>
                <c:pt idx="7">
                  <c:v>Q4 FY22</c:v>
                </c:pt>
              </c:strCache>
            </c:strRef>
          </c:cat>
          <c:val>
            <c:numRef>
              <c:f>Production!$D$10:$K$10</c:f>
              <c:numCache>
                <c:formatCode>0.0</c:formatCode>
                <c:ptCount val="8"/>
                <c:pt idx="0">
                  <c:v>6.1340000000000003</c:v>
                </c:pt>
                <c:pt idx="1">
                  <c:v>27.338999999999999</c:v>
                </c:pt>
                <c:pt idx="2">
                  <c:v>55.137</c:v>
                </c:pt>
                <c:pt idx="3">
                  <c:v>82.622</c:v>
                </c:pt>
                <c:pt idx="4">
                  <c:v>39.395000000000003</c:v>
                </c:pt>
                <c:pt idx="5">
                  <c:v>54.826999999999998</c:v>
                </c:pt>
                <c:pt idx="6">
                  <c:v>60.348999999999997</c:v>
                </c:pt>
                <c:pt idx="7">
                  <c:v>92.872</c:v>
                </c:pt>
              </c:numCache>
            </c:numRef>
          </c:val>
          <c:extLst>
            <c:ext xmlns:c16="http://schemas.microsoft.com/office/drawing/2014/chart" uri="{C3380CC4-5D6E-409C-BE32-E72D297353CC}">
              <c16:uniqueId val="{00000000-720A-479B-A38E-3D9B4BC7E67F}"/>
            </c:ext>
          </c:extLst>
        </c:ser>
        <c:dLbls>
          <c:showLegendKey val="0"/>
          <c:showVal val="0"/>
          <c:showCatName val="0"/>
          <c:showSerName val="0"/>
          <c:showPercent val="0"/>
          <c:showBubbleSize val="0"/>
        </c:dLbls>
        <c:gapWidth val="75"/>
        <c:axId val="113359104"/>
        <c:axId val="113360896"/>
      </c:barChart>
      <c:catAx>
        <c:axId val="113359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3360896"/>
        <c:crosses val="autoZero"/>
        <c:auto val="1"/>
        <c:lblAlgn val="ctr"/>
        <c:lblOffset val="100"/>
        <c:noMultiLvlLbl val="0"/>
      </c:catAx>
      <c:valAx>
        <c:axId val="11336089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n thousand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3359104"/>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roduction!$A$11</c:f>
              <c:strCache>
                <c:ptCount val="1"/>
                <c:pt idx="0">
                  <c:v>Bus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duction!$D$3:$K$3</c:f>
              <c:strCache>
                <c:ptCount val="8"/>
                <c:pt idx="0">
                  <c:v>Q1 FY21 </c:v>
                </c:pt>
                <c:pt idx="1">
                  <c:v>Q2 FY21</c:v>
                </c:pt>
                <c:pt idx="2">
                  <c:v>Q3 FY21</c:v>
                </c:pt>
                <c:pt idx="3">
                  <c:v>Q4 FY21</c:v>
                </c:pt>
                <c:pt idx="4">
                  <c:v>Q1 FY22</c:v>
                </c:pt>
                <c:pt idx="5">
                  <c:v>Q2 FY22</c:v>
                </c:pt>
                <c:pt idx="6">
                  <c:v>Q3 FY22</c:v>
                </c:pt>
                <c:pt idx="7">
                  <c:v>Q4 FY22</c:v>
                </c:pt>
              </c:strCache>
            </c:strRef>
          </c:cat>
          <c:val>
            <c:numRef>
              <c:f>Production!$D$11:$K$11</c:f>
              <c:numCache>
                <c:formatCode>0.0</c:formatCode>
                <c:ptCount val="8"/>
                <c:pt idx="0">
                  <c:v>1.6279999999999999</c:v>
                </c:pt>
                <c:pt idx="1">
                  <c:v>6.3579999999999997</c:v>
                </c:pt>
                <c:pt idx="2">
                  <c:v>6.8680000000000003</c:v>
                </c:pt>
                <c:pt idx="3">
                  <c:v>10.631</c:v>
                </c:pt>
                <c:pt idx="4">
                  <c:v>7.335</c:v>
                </c:pt>
                <c:pt idx="5">
                  <c:v>7.48</c:v>
                </c:pt>
                <c:pt idx="6">
                  <c:v>7.15</c:v>
                </c:pt>
                <c:pt idx="7">
                  <c:v>13.426</c:v>
                </c:pt>
              </c:numCache>
            </c:numRef>
          </c:val>
          <c:extLst>
            <c:ext xmlns:c16="http://schemas.microsoft.com/office/drawing/2014/chart" uri="{C3380CC4-5D6E-409C-BE32-E72D297353CC}">
              <c16:uniqueId val="{00000000-9911-4DEB-B503-788A777F85F7}"/>
            </c:ext>
          </c:extLst>
        </c:ser>
        <c:dLbls>
          <c:showLegendKey val="0"/>
          <c:showVal val="0"/>
          <c:showCatName val="0"/>
          <c:showSerName val="0"/>
          <c:showPercent val="0"/>
          <c:showBubbleSize val="0"/>
        </c:dLbls>
        <c:gapWidth val="219"/>
        <c:overlap val="-27"/>
        <c:axId val="112922624"/>
        <c:axId val="112924160"/>
      </c:barChart>
      <c:catAx>
        <c:axId val="112922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2924160"/>
        <c:crosses val="autoZero"/>
        <c:auto val="1"/>
        <c:lblAlgn val="ctr"/>
        <c:lblOffset val="100"/>
        <c:noMultiLvlLbl val="0"/>
      </c:catAx>
      <c:valAx>
        <c:axId val="112924160"/>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a:t>in thousand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0"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2922624"/>
        <c:crosses val="autoZero"/>
        <c:crossBetween val="between"/>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39724655155311E-2"/>
          <c:y val="9.6860598023942104E-3"/>
          <c:w val="0.95120550689689376"/>
          <c:h val="0.83018074543509479"/>
        </c:manualLayout>
      </c:layout>
      <c:barChart>
        <c:barDir val="col"/>
        <c:grouping val="stacked"/>
        <c:varyColors val="0"/>
        <c:ser>
          <c:idx val="0"/>
          <c:order val="0"/>
          <c:tx>
            <c:strRef>
              <c:f>CV!$A$9</c:f>
              <c:strCache>
                <c:ptCount val="1"/>
                <c:pt idx="0">
                  <c:v>LCV cargo</c:v>
                </c:pt>
              </c:strCache>
            </c:strRef>
          </c:tx>
          <c:spPr>
            <a:solidFill>
              <a:schemeClr val="accent2"/>
            </a:solidFill>
            <a:ln>
              <a:noFill/>
            </a:ln>
            <a:effectLst/>
          </c:spPr>
          <c:invertIfNegative val="0"/>
          <c:dLbls>
            <c:spPr>
              <a:noFill/>
              <a:ln>
                <a:noFill/>
              </a:ln>
              <a:effectLst/>
            </c:spPr>
            <c:txPr>
              <a:bodyPr rot="0" vert="horz"/>
              <a:lstStyle/>
              <a:p>
                <a:pPr>
                  <a:defRPr sz="9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8:$H$8</c:f>
              <c:strCache>
                <c:ptCount val="7"/>
                <c:pt idx="0">
                  <c:v>FY 16</c:v>
                </c:pt>
                <c:pt idx="1">
                  <c:v>FY 17</c:v>
                </c:pt>
                <c:pt idx="2">
                  <c:v>FY 18</c:v>
                </c:pt>
                <c:pt idx="3">
                  <c:v>FY 19</c:v>
                </c:pt>
                <c:pt idx="4">
                  <c:v>FY 20</c:v>
                </c:pt>
                <c:pt idx="5">
                  <c:v>FY 21</c:v>
                </c:pt>
                <c:pt idx="6">
                  <c:v>Apr-Dec FY22</c:v>
                </c:pt>
              </c:strCache>
            </c:strRef>
          </c:cat>
          <c:val>
            <c:numRef>
              <c:f>CV!$B$9:$H$9</c:f>
              <c:numCache>
                <c:formatCode>0%</c:formatCode>
                <c:ptCount val="7"/>
                <c:pt idx="0">
                  <c:v>0.61901206314727897</c:v>
                </c:pt>
                <c:pt idx="1">
                  <c:v>0.55282028535521555</c:v>
                </c:pt>
                <c:pt idx="2">
                  <c:v>0.50194596715083573</c:v>
                </c:pt>
                <c:pt idx="3">
                  <c:v>0.47194620395665093</c:v>
                </c:pt>
                <c:pt idx="4">
                  <c:v>0.55890292982659528</c:v>
                </c:pt>
                <c:pt idx="5">
                  <c:v>0.61876663885246552</c:v>
                </c:pt>
                <c:pt idx="6">
                  <c:v>0.62884264142206669</c:v>
                </c:pt>
              </c:numCache>
            </c:numRef>
          </c:val>
          <c:extLst>
            <c:ext xmlns:c16="http://schemas.microsoft.com/office/drawing/2014/chart" uri="{C3380CC4-5D6E-409C-BE32-E72D297353CC}">
              <c16:uniqueId val="{00000000-72E6-4227-BDDD-B33969C36457}"/>
            </c:ext>
          </c:extLst>
        </c:ser>
        <c:ser>
          <c:idx val="1"/>
          <c:order val="1"/>
          <c:tx>
            <c:strRef>
              <c:f>CV!$A$10</c:f>
              <c:strCache>
                <c:ptCount val="1"/>
                <c:pt idx="0">
                  <c:v>MHCV cargo</c:v>
                </c:pt>
              </c:strCache>
            </c:strRef>
          </c:tx>
          <c:spPr>
            <a:solidFill>
              <a:schemeClr val="bg1">
                <a:lumMod val="50000"/>
              </a:schemeClr>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8:$H$8</c:f>
              <c:strCache>
                <c:ptCount val="7"/>
                <c:pt idx="0">
                  <c:v>FY 16</c:v>
                </c:pt>
                <c:pt idx="1">
                  <c:v>FY 17</c:v>
                </c:pt>
                <c:pt idx="2">
                  <c:v>FY 18</c:v>
                </c:pt>
                <c:pt idx="3">
                  <c:v>FY 19</c:v>
                </c:pt>
                <c:pt idx="4">
                  <c:v>FY 20</c:v>
                </c:pt>
                <c:pt idx="5">
                  <c:v>FY 21</c:v>
                </c:pt>
                <c:pt idx="6">
                  <c:v>Apr-Dec FY22</c:v>
                </c:pt>
              </c:strCache>
            </c:strRef>
          </c:cat>
          <c:val>
            <c:numRef>
              <c:f>CV!$B$10:$H$10</c:f>
              <c:numCache>
                <c:formatCode>0%</c:formatCode>
                <c:ptCount val="7"/>
                <c:pt idx="0">
                  <c:v>0.22207245646018386</c:v>
                </c:pt>
                <c:pt idx="1">
                  <c:v>0.29522436608264951</c:v>
                </c:pt>
                <c:pt idx="2">
                  <c:v>0.32949301619746663</c:v>
                </c:pt>
                <c:pt idx="3">
                  <c:v>0.40417079443226961</c:v>
                </c:pt>
                <c:pt idx="4">
                  <c:v>0.23971910763676113</c:v>
                </c:pt>
                <c:pt idx="5">
                  <c:v>0.26836730639329281</c:v>
                </c:pt>
                <c:pt idx="6">
                  <c:v>0.29485761325341497</c:v>
                </c:pt>
              </c:numCache>
            </c:numRef>
          </c:val>
          <c:extLst>
            <c:ext xmlns:c16="http://schemas.microsoft.com/office/drawing/2014/chart" uri="{C3380CC4-5D6E-409C-BE32-E72D297353CC}">
              <c16:uniqueId val="{00000001-72E6-4227-BDDD-B33969C36457}"/>
            </c:ext>
          </c:extLst>
        </c:ser>
        <c:ser>
          <c:idx val="2"/>
          <c:order val="2"/>
          <c:tx>
            <c:strRef>
              <c:f>CV!$A$11</c:f>
              <c:strCache>
                <c:ptCount val="1"/>
                <c:pt idx="0">
                  <c:v>Buses</c:v>
                </c:pt>
              </c:strCache>
            </c:strRef>
          </c:tx>
          <c:spPr>
            <a:solidFill>
              <a:schemeClr val="accent5"/>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8:$H$8</c:f>
              <c:strCache>
                <c:ptCount val="7"/>
                <c:pt idx="0">
                  <c:v>FY 16</c:v>
                </c:pt>
                <c:pt idx="1">
                  <c:v>FY 17</c:v>
                </c:pt>
                <c:pt idx="2">
                  <c:v>FY 18</c:v>
                </c:pt>
                <c:pt idx="3">
                  <c:v>FY 19</c:v>
                </c:pt>
                <c:pt idx="4">
                  <c:v>FY 20</c:v>
                </c:pt>
                <c:pt idx="5">
                  <c:v>FY 21</c:v>
                </c:pt>
                <c:pt idx="6">
                  <c:v>Apr-Dec FY22</c:v>
                </c:pt>
              </c:strCache>
            </c:strRef>
          </c:cat>
          <c:val>
            <c:numRef>
              <c:f>CV!$B$11:$H$11</c:f>
              <c:numCache>
                <c:formatCode>0%</c:formatCode>
                <c:ptCount val="7"/>
                <c:pt idx="0">
                  <c:v>0.15891548039253714</c:v>
                </c:pt>
                <c:pt idx="1">
                  <c:v>0.151955348562135</c:v>
                </c:pt>
                <c:pt idx="2">
                  <c:v>0.16856101665169768</c:v>
                </c:pt>
                <c:pt idx="3">
                  <c:v>0.12388300161107943</c:v>
                </c:pt>
                <c:pt idx="4">
                  <c:v>0.20137796253664353</c:v>
                </c:pt>
                <c:pt idx="5">
                  <c:v>0.11286605475424166</c:v>
                </c:pt>
                <c:pt idx="6">
                  <c:v>7.6299745324518303E-2</c:v>
                </c:pt>
              </c:numCache>
            </c:numRef>
          </c:val>
          <c:extLst>
            <c:ext xmlns:c16="http://schemas.microsoft.com/office/drawing/2014/chart" uri="{C3380CC4-5D6E-409C-BE32-E72D297353CC}">
              <c16:uniqueId val="{00000002-72E6-4227-BDDD-B33969C36457}"/>
            </c:ext>
          </c:extLst>
        </c:ser>
        <c:dLbls>
          <c:dLblPos val="ctr"/>
          <c:showLegendKey val="0"/>
          <c:showVal val="1"/>
          <c:showCatName val="0"/>
          <c:showSerName val="0"/>
          <c:showPercent val="0"/>
          <c:showBubbleSize val="0"/>
        </c:dLbls>
        <c:gapWidth val="150"/>
        <c:overlap val="100"/>
        <c:axId val="-957240416"/>
        <c:axId val="-800570848"/>
      </c:barChart>
      <c:catAx>
        <c:axId val="-957240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800570848"/>
        <c:crosses val="autoZero"/>
        <c:auto val="1"/>
        <c:lblAlgn val="ctr"/>
        <c:lblOffset val="100"/>
        <c:noMultiLvlLbl val="0"/>
      </c:catAx>
      <c:valAx>
        <c:axId val="-800570848"/>
        <c:scaling>
          <c:orientation val="minMax"/>
        </c:scaling>
        <c:delete val="1"/>
        <c:axPos val="l"/>
        <c:numFmt formatCode="0%" sourceLinked="1"/>
        <c:majorTickMark val="none"/>
        <c:minorTickMark val="none"/>
        <c:tickLblPos val="nextTo"/>
        <c:crossAx val="-957240416"/>
        <c:crosses val="autoZero"/>
        <c:crossBetween val="between"/>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39724655155311E-2"/>
          <c:y val="9.6860598023942104E-3"/>
          <c:w val="0.95120550689689376"/>
          <c:h val="0.74842685485510729"/>
        </c:manualLayout>
      </c:layout>
      <c:barChart>
        <c:barDir val="col"/>
        <c:grouping val="stacked"/>
        <c:varyColors val="0"/>
        <c:ser>
          <c:idx val="0"/>
          <c:order val="0"/>
          <c:tx>
            <c:strRef>
              <c:f>CV!$A$52</c:f>
              <c:strCache>
                <c:ptCount val="1"/>
                <c:pt idx="0">
                  <c:v>Tata Motors</c:v>
                </c:pt>
              </c:strCache>
            </c:strRef>
          </c:tx>
          <c:spPr>
            <a:solidFill>
              <a:schemeClr val="accent2"/>
            </a:solidFill>
            <a:ln>
              <a:noFill/>
            </a:ln>
            <a:effectLst/>
          </c:spPr>
          <c:invertIfNegative val="0"/>
          <c:dLbls>
            <c:spPr>
              <a:noFill/>
              <a:ln>
                <a:noFill/>
              </a:ln>
              <a:effectLst/>
            </c:spPr>
            <c:txPr>
              <a:bodyPr rot="0" vert="horz"/>
              <a:lstStyle/>
              <a:p>
                <a:pPr>
                  <a:defRPr sz="9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2:$H$52</c:f>
              <c:numCache>
                <c:formatCode>0%</c:formatCode>
                <c:ptCount val="7"/>
                <c:pt idx="0">
                  <c:v>0.52077111050773828</c:v>
                </c:pt>
                <c:pt idx="1">
                  <c:v>0.55277408146669627</c:v>
                </c:pt>
                <c:pt idx="2">
                  <c:v>0.51426182291182754</c:v>
                </c:pt>
                <c:pt idx="3">
                  <c:v>0.50489828184883867</c:v>
                </c:pt>
                <c:pt idx="4">
                  <c:v>0.47692078371619273</c:v>
                </c:pt>
                <c:pt idx="5">
                  <c:v>0.39875630786347199</c:v>
                </c:pt>
                <c:pt idx="6">
                  <c:v>0.393949527949991</c:v>
                </c:pt>
              </c:numCache>
            </c:numRef>
          </c:val>
          <c:extLst>
            <c:ext xmlns:c16="http://schemas.microsoft.com/office/drawing/2014/chart" uri="{C3380CC4-5D6E-409C-BE32-E72D297353CC}">
              <c16:uniqueId val="{00000000-965C-4998-AB23-D5429D535C2F}"/>
            </c:ext>
          </c:extLst>
        </c:ser>
        <c:ser>
          <c:idx val="1"/>
          <c:order val="1"/>
          <c:tx>
            <c:strRef>
              <c:f>CV!$A$53</c:f>
              <c:strCache>
                <c:ptCount val="1"/>
                <c:pt idx="0">
                  <c:v>Mahindra</c:v>
                </c:pt>
              </c:strCache>
            </c:strRef>
          </c:tx>
          <c:spPr>
            <a:solidFill>
              <a:schemeClr val="bg1">
                <a:lumMod val="50000"/>
              </a:schemeClr>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3:$H$53</c:f>
              <c:numCache>
                <c:formatCode>0%</c:formatCode>
                <c:ptCount val="7"/>
                <c:pt idx="0">
                  <c:v>0.28280516659555488</c:v>
                </c:pt>
                <c:pt idx="1">
                  <c:v>0.23694278110445774</c:v>
                </c:pt>
                <c:pt idx="2">
                  <c:v>0.19035378405442513</c:v>
                </c:pt>
                <c:pt idx="3">
                  <c:v>0.22458046891417249</c:v>
                </c:pt>
                <c:pt idx="4">
                  <c:v>0.23032842544593318</c:v>
                </c:pt>
                <c:pt idx="5">
                  <c:v>0.22408312472682482</c:v>
                </c:pt>
                <c:pt idx="6">
                  <c:v>0.24461708640959021</c:v>
                </c:pt>
              </c:numCache>
            </c:numRef>
          </c:val>
          <c:extLst>
            <c:ext xmlns:c16="http://schemas.microsoft.com/office/drawing/2014/chart" uri="{C3380CC4-5D6E-409C-BE32-E72D297353CC}">
              <c16:uniqueId val="{00000001-965C-4998-AB23-D5429D535C2F}"/>
            </c:ext>
          </c:extLst>
        </c:ser>
        <c:ser>
          <c:idx val="2"/>
          <c:order val="2"/>
          <c:tx>
            <c:strRef>
              <c:f>CV!$A$54</c:f>
              <c:strCache>
                <c:ptCount val="1"/>
                <c:pt idx="0">
                  <c:v>Ashok Leyland Ltd.</c:v>
                </c:pt>
              </c:strCache>
            </c:strRef>
          </c:tx>
          <c:spPr>
            <a:solidFill>
              <a:schemeClr val="accent5"/>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4:$H$54</c:f>
              <c:numCache>
                <c:formatCode>0%</c:formatCode>
                <c:ptCount val="7"/>
                <c:pt idx="0">
                  <c:v>0.12642061983631356</c:v>
                </c:pt>
                <c:pt idx="1">
                  <c:v>0.10905965846085607</c:v>
                </c:pt>
                <c:pt idx="2">
                  <c:v>0.16764223110037474</c:v>
                </c:pt>
                <c:pt idx="3">
                  <c:v>0.12309247195621066</c:v>
                </c:pt>
                <c:pt idx="4">
                  <c:v>0.14773348349591744</c:v>
                </c:pt>
                <c:pt idx="5">
                  <c:v>0.15895815949457623</c:v>
                </c:pt>
                <c:pt idx="6">
                  <c:v>9.4255653023949781E-2</c:v>
                </c:pt>
              </c:numCache>
            </c:numRef>
          </c:val>
          <c:extLst>
            <c:ext xmlns:c16="http://schemas.microsoft.com/office/drawing/2014/chart" uri="{C3380CC4-5D6E-409C-BE32-E72D297353CC}">
              <c16:uniqueId val="{00000002-965C-4998-AB23-D5429D535C2F}"/>
            </c:ext>
          </c:extLst>
        </c:ser>
        <c:ser>
          <c:idx val="3"/>
          <c:order val="3"/>
          <c:tx>
            <c:strRef>
              <c:f>CV!$A$55</c:f>
              <c:strCache>
                <c:ptCount val="1"/>
                <c:pt idx="0">
                  <c:v>VECVs - Eicher</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5:$H$55</c:f>
              <c:numCache>
                <c:formatCode>0%</c:formatCode>
                <c:ptCount val="7"/>
                <c:pt idx="0">
                  <c:v>6.3147279003917617E-2</c:v>
                </c:pt>
                <c:pt idx="1">
                  <c:v>7.4249648850447256E-2</c:v>
                </c:pt>
                <c:pt idx="2">
                  <c:v>9.2921221881548929E-2</c:v>
                </c:pt>
                <c:pt idx="3">
                  <c:v>0.10016711196501656</c:v>
                </c:pt>
                <c:pt idx="4">
                  <c:v>7.5655443117640234E-2</c:v>
                </c:pt>
                <c:pt idx="5">
                  <c:v>9.9833114793181549E-2</c:v>
                </c:pt>
                <c:pt idx="6">
                  <c:v>0.10035242970699457</c:v>
                </c:pt>
              </c:numCache>
            </c:numRef>
          </c:val>
          <c:extLst>
            <c:ext xmlns:c16="http://schemas.microsoft.com/office/drawing/2014/chart" uri="{C3380CC4-5D6E-409C-BE32-E72D297353CC}">
              <c16:uniqueId val="{00000003-965C-4998-AB23-D5429D535C2F}"/>
            </c:ext>
          </c:extLst>
        </c:ser>
        <c:ser>
          <c:idx val="4"/>
          <c:order val="4"/>
          <c:tx>
            <c:strRef>
              <c:f>CV!$A$56</c:f>
              <c:strCache>
                <c:ptCount val="1"/>
                <c:pt idx="0">
                  <c:v>Maruti</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6:$H$56</c:f>
              <c:numCache>
                <c:formatCode>0%</c:formatCode>
                <c:ptCount val="7"/>
                <c:pt idx="0">
                  <c:v>1.9394127458205656E-5</c:v>
                </c:pt>
                <c:pt idx="1">
                  <c:v>1.8185850521179863E-2</c:v>
                </c:pt>
                <c:pt idx="2">
                  <c:v>2.2412173392383369E-2</c:v>
                </c:pt>
                <c:pt idx="3">
                  <c:v>2.2525091811513714E-2</c:v>
                </c:pt>
                <c:pt idx="4">
                  <c:v>3.1086967323075903E-2</c:v>
                </c:pt>
                <c:pt idx="5">
                  <c:v>2.3860611117733539E-2</c:v>
                </c:pt>
                <c:pt idx="6">
                  <c:v>3.3570858950942813E-2</c:v>
                </c:pt>
              </c:numCache>
            </c:numRef>
          </c:val>
          <c:extLst>
            <c:ext xmlns:c16="http://schemas.microsoft.com/office/drawing/2014/chart" uri="{C3380CC4-5D6E-409C-BE32-E72D297353CC}">
              <c16:uniqueId val="{00000004-965C-4998-AB23-D5429D535C2F}"/>
            </c:ext>
          </c:extLst>
        </c:ser>
        <c:ser>
          <c:idx val="5"/>
          <c:order val="5"/>
          <c:tx>
            <c:strRef>
              <c:f>CV!$A$57</c:f>
              <c:strCache>
                <c:ptCount val="1"/>
                <c:pt idx="0">
                  <c:v>Isuzu</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7:$H$57</c:f>
              <c:numCache>
                <c:formatCode>0%</c:formatCode>
                <c:ptCount val="7"/>
                <c:pt idx="0">
                  <c:v>0</c:v>
                </c:pt>
                <c:pt idx="1">
                  <c:v>1.1088933244621867E-4</c:v>
                </c:pt>
                <c:pt idx="2">
                  <c:v>1.321399444599296E-3</c:v>
                </c:pt>
                <c:pt idx="3">
                  <c:v>1.3208849929452733E-2</c:v>
                </c:pt>
                <c:pt idx="4">
                  <c:v>2.1696285132247969E-2</c:v>
                </c:pt>
                <c:pt idx="5">
                  <c:v>7.4502324472523543E-2</c:v>
                </c:pt>
                <c:pt idx="6">
                  <c:v>0.12072646824273918</c:v>
                </c:pt>
              </c:numCache>
            </c:numRef>
          </c:val>
          <c:extLst>
            <c:ext xmlns:c16="http://schemas.microsoft.com/office/drawing/2014/chart" uri="{C3380CC4-5D6E-409C-BE32-E72D297353CC}">
              <c16:uniqueId val="{00000005-965C-4998-AB23-D5429D535C2F}"/>
            </c:ext>
          </c:extLst>
        </c:ser>
        <c:ser>
          <c:idx val="6"/>
          <c:order val="6"/>
          <c:tx>
            <c:strRef>
              <c:f>CV!$A$58</c:f>
              <c:strCache>
                <c:ptCount val="1"/>
                <c:pt idx="0">
                  <c:v>Others</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8:$H$58</c:f>
              <c:numCache>
                <c:formatCode>0%</c:formatCode>
                <c:ptCount val="7"/>
                <c:pt idx="0">
                  <c:v>6.8364299290174938E-3</c:v>
                </c:pt>
                <c:pt idx="1">
                  <c:v>8.6770902639166109E-3</c:v>
                </c:pt>
                <c:pt idx="2">
                  <c:v>1.1087367214840967E-2</c:v>
                </c:pt>
                <c:pt idx="3">
                  <c:v>1.1527723574795113E-2</c:v>
                </c:pt>
                <c:pt idx="4">
                  <c:v>1.6578611768992529E-2</c:v>
                </c:pt>
                <c:pt idx="5">
                  <c:v>2.0006357531688321E-2</c:v>
                </c:pt>
                <c:pt idx="6">
                  <c:v>1.2527975715792452E-2</c:v>
                </c:pt>
              </c:numCache>
            </c:numRef>
          </c:val>
          <c:extLst>
            <c:ext xmlns:c16="http://schemas.microsoft.com/office/drawing/2014/chart" uri="{C3380CC4-5D6E-409C-BE32-E72D297353CC}">
              <c16:uniqueId val="{00000006-965C-4998-AB23-D5429D535C2F}"/>
            </c:ext>
          </c:extLst>
        </c:ser>
        <c:dLbls>
          <c:dLblPos val="ctr"/>
          <c:showLegendKey val="0"/>
          <c:showVal val="1"/>
          <c:showCatName val="0"/>
          <c:showSerName val="0"/>
          <c:showPercent val="0"/>
          <c:showBubbleSize val="0"/>
        </c:dLbls>
        <c:gapWidth val="150"/>
        <c:overlap val="100"/>
        <c:axId val="-309892272"/>
        <c:axId val="-309886832"/>
      </c:barChart>
      <c:catAx>
        <c:axId val="-30989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309886832"/>
        <c:crosses val="autoZero"/>
        <c:auto val="1"/>
        <c:lblAlgn val="ctr"/>
        <c:lblOffset val="100"/>
        <c:noMultiLvlLbl val="0"/>
      </c:catAx>
      <c:valAx>
        <c:axId val="-309886832"/>
        <c:scaling>
          <c:orientation val="minMax"/>
        </c:scaling>
        <c:delete val="1"/>
        <c:axPos val="l"/>
        <c:numFmt formatCode="0%" sourceLinked="1"/>
        <c:majorTickMark val="none"/>
        <c:minorTickMark val="none"/>
        <c:tickLblPos val="nextTo"/>
        <c:crossAx val="-309892272"/>
        <c:crosses val="autoZero"/>
        <c:crossBetween val="between"/>
      </c:valAx>
      <c:spPr>
        <a:noFill/>
        <a:ln>
          <a:noFill/>
        </a:ln>
        <a:effectLst/>
      </c:spPr>
    </c:plotArea>
    <c:legend>
      <c:legendPos val="b"/>
      <c:layout>
        <c:manualLayout>
          <c:xMode val="edge"/>
          <c:yMode val="edge"/>
          <c:x val="7.9343967296163359E-2"/>
          <c:y val="0.84390834113675772"/>
          <c:w val="0.89010655851077947"/>
          <c:h val="0.15552405467006794"/>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39724655155311E-2"/>
          <c:y val="9.6860598023942104E-3"/>
          <c:w val="0.95120550689689376"/>
          <c:h val="0.83018074543509479"/>
        </c:manualLayout>
      </c:layout>
      <c:barChart>
        <c:barDir val="col"/>
        <c:grouping val="stacked"/>
        <c:varyColors val="0"/>
        <c:ser>
          <c:idx val="0"/>
          <c:order val="0"/>
          <c:tx>
            <c:strRef>
              <c:f>CV!$A$9</c:f>
              <c:strCache>
                <c:ptCount val="1"/>
                <c:pt idx="0">
                  <c:v>LCV cargo</c:v>
                </c:pt>
              </c:strCache>
            </c:strRef>
          </c:tx>
          <c:spPr>
            <a:solidFill>
              <a:schemeClr val="accent2"/>
            </a:solidFill>
            <a:ln>
              <a:noFill/>
            </a:ln>
            <a:effectLst/>
          </c:spPr>
          <c:invertIfNegative val="0"/>
          <c:dLbls>
            <c:spPr>
              <a:noFill/>
              <a:ln>
                <a:noFill/>
              </a:ln>
              <a:effectLst/>
            </c:spPr>
            <c:txPr>
              <a:bodyPr rot="0" vert="horz"/>
              <a:lstStyle/>
              <a:p>
                <a:pPr>
                  <a:defRPr sz="9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8:$H$8</c:f>
              <c:strCache>
                <c:ptCount val="7"/>
                <c:pt idx="0">
                  <c:v>FY 16</c:v>
                </c:pt>
                <c:pt idx="1">
                  <c:v>FY 17</c:v>
                </c:pt>
                <c:pt idx="2">
                  <c:v>FY 18</c:v>
                </c:pt>
                <c:pt idx="3">
                  <c:v>FY 19</c:v>
                </c:pt>
                <c:pt idx="4">
                  <c:v>FY 20</c:v>
                </c:pt>
                <c:pt idx="5">
                  <c:v>FY 21</c:v>
                </c:pt>
                <c:pt idx="6">
                  <c:v>Apr-Dec FY22</c:v>
                </c:pt>
              </c:strCache>
            </c:strRef>
          </c:cat>
          <c:val>
            <c:numRef>
              <c:f>CV!$B$9:$H$9</c:f>
              <c:numCache>
                <c:formatCode>0%</c:formatCode>
                <c:ptCount val="7"/>
                <c:pt idx="0">
                  <c:v>0.61901206314727897</c:v>
                </c:pt>
                <c:pt idx="1">
                  <c:v>0.55282028535521555</c:v>
                </c:pt>
                <c:pt idx="2">
                  <c:v>0.50194596715083573</c:v>
                </c:pt>
                <c:pt idx="3">
                  <c:v>0.47194620395665093</c:v>
                </c:pt>
                <c:pt idx="4">
                  <c:v>0.55890292982659528</c:v>
                </c:pt>
                <c:pt idx="5">
                  <c:v>0.61876663885246552</c:v>
                </c:pt>
                <c:pt idx="6">
                  <c:v>0.62884264142206669</c:v>
                </c:pt>
              </c:numCache>
            </c:numRef>
          </c:val>
          <c:extLst>
            <c:ext xmlns:c16="http://schemas.microsoft.com/office/drawing/2014/chart" uri="{C3380CC4-5D6E-409C-BE32-E72D297353CC}">
              <c16:uniqueId val="{00000000-B46F-4EAE-A569-B885624BF566}"/>
            </c:ext>
          </c:extLst>
        </c:ser>
        <c:ser>
          <c:idx val="1"/>
          <c:order val="1"/>
          <c:tx>
            <c:strRef>
              <c:f>CV!$A$10</c:f>
              <c:strCache>
                <c:ptCount val="1"/>
                <c:pt idx="0">
                  <c:v>MHCV cargo</c:v>
                </c:pt>
              </c:strCache>
            </c:strRef>
          </c:tx>
          <c:spPr>
            <a:solidFill>
              <a:schemeClr val="bg1">
                <a:lumMod val="50000"/>
              </a:schemeClr>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8:$H$8</c:f>
              <c:strCache>
                <c:ptCount val="7"/>
                <c:pt idx="0">
                  <c:v>FY 16</c:v>
                </c:pt>
                <c:pt idx="1">
                  <c:v>FY 17</c:v>
                </c:pt>
                <c:pt idx="2">
                  <c:v>FY 18</c:v>
                </c:pt>
                <c:pt idx="3">
                  <c:v>FY 19</c:v>
                </c:pt>
                <c:pt idx="4">
                  <c:v>FY 20</c:v>
                </c:pt>
                <c:pt idx="5">
                  <c:v>FY 21</c:v>
                </c:pt>
                <c:pt idx="6">
                  <c:v>Apr-Dec FY22</c:v>
                </c:pt>
              </c:strCache>
            </c:strRef>
          </c:cat>
          <c:val>
            <c:numRef>
              <c:f>CV!$B$10:$H$10</c:f>
              <c:numCache>
                <c:formatCode>0%</c:formatCode>
                <c:ptCount val="7"/>
                <c:pt idx="0">
                  <c:v>0.22207245646018386</c:v>
                </c:pt>
                <c:pt idx="1">
                  <c:v>0.29522436608264951</c:v>
                </c:pt>
                <c:pt idx="2">
                  <c:v>0.32949301619746663</c:v>
                </c:pt>
                <c:pt idx="3">
                  <c:v>0.40417079443226961</c:v>
                </c:pt>
                <c:pt idx="4">
                  <c:v>0.23971910763676113</c:v>
                </c:pt>
                <c:pt idx="5">
                  <c:v>0.26836730639329281</c:v>
                </c:pt>
                <c:pt idx="6">
                  <c:v>0.29485761325341497</c:v>
                </c:pt>
              </c:numCache>
            </c:numRef>
          </c:val>
          <c:extLst>
            <c:ext xmlns:c16="http://schemas.microsoft.com/office/drawing/2014/chart" uri="{C3380CC4-5D6E-409C-BE32-E72D297353CC}">
              <c16:uniqueId val="{00000001-B46F-4EAE-A569-B885624BF566}"/>
            </c:ext>
          </c:extLst>
        </c:ser>
        <c:ser>
          <c:idx val="2"/>
          <c:order val="2"/>
          <c:tx>
            <c:strRef>
              <c:f>CV!$A$11</c:f>
              <c:strCache>
                <c:ptCount val="1"/>
                <c:pt idx="0">
                  <c:v>Buses</c:v>
                </c:pt>
              </c:strCache>
            </c:strRef>
          </c:tx>
          <c:spPr>
            <a:solidFill>
              <a:schemeClr val="accent5"/>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8:$H$8</c:f>
              <c:strCache>
                <c:ptCount val="7"/>
                <c:pt idx="0">
                  <c:v>FY 16</c:v>
                </c:pt>
                <c:pt idx="1">
                  <c:v>FY 17</c:v>
                </c:pt>
                <c:pt idx="2">
                  <c:v>FY 18</c:v>
                </c:pt>
                <c:pt idx="3">
                  <c:v>FY 19</c:v>
                </c:pt>
                <c:pt idx="4">
                  <c:v>FY 20</c:v>
                </c:pt>
                <c:pt idx="5">
                  <c:v>FY 21</c:v>
                </c:pt>
                <c:pt idx="6">
                  <c:v>Apr-Dec FY22</c:v>
                </c:pt>
              </c:strCache>
            </c:strRef>
          </c:cat>
          <c:val>
            <c:numRef>
              <c:f>CV!$B$11:$H$11</c:f>
              <c:numCache>
                <c:formatCode>0%</c:formatCode>
                <c:ptCount val="7"/>
                <c:pt idx="0">
                  <c:v>0.15891548039253714</c:v>
                </c:pt>
                <c:pt idx="1">
                  <c:v>0.151955348562135</c:v>
                </c:pt>
                <c:pt idx="2">
                  <c:v>0.16856101665169768</c:v>
                </c:pt>
                <c:pt idx="3">
                  <c:v>0.12388300161107943</c:v>
                </c:pt>
                <c:pt idx="4">
                  <c:v>0.20137796253664353</c:v>
                </c:pt>
                <c:pt idx="5">
                  <c:v>0.11286605475424166</c:v>
                </c:pt>
                <c:pt idx="6">
                  <c:v>7.6299745324518303E-2</c:v>
                </c:pt>
              </c:numCache>
            </c:numRef>
          </c:val>
          <c:extLst>
            <c:ext xmlns:c16="http://schemas.microsoft.com/office/drawing/2014/chart" uri="{C3380CC4-5D6E-409C-BE32-E72D297353CC}">
              <c16:uniqueId val="{00000002-B46F-4EAE-A569-B885624BF566}"/>
            </c:ext>
          </c:extLst>
        </c:ser>
        <c:dLbls>
          <c:dLblPos val="ctr"/>
          <c:showLegendKey val="0"/>
          <c:showVal val="1"/>
          <c:showCatName val="0"/>
          <c:showSerName val="0"/>
          <c:showPercent val="0"/>
          <c:showBubbleSize val="0"/>
        </c:dLbls>
        <c:gapWidth val="150"/>
        <c:overlap val="100"/>
        <c:axId val="337113472"/>
        <c:axId val="337115008"/>
      </c:barChart>
      <c:catAx>
        <c:axId val="33711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337115008"/>
        <c:crosses val="autoZero"/>
        <c:auto val="1"/>
        <c:lblAlgn val="ctr"/>
        <c:lblOffset val="100"/>
        <c:noMultiLvlLbl val="0"/>
      </c:catAx>
      <c:valAx>
        <c:axId val="337115008"/>
        <c:scaling>
          <c:orientation val="minMax"/>
        </c:scaling>
        <c:delete val="1"/>
        <c:axPos val="l"/>
        <c:numFmt formatCode="0%" sourceLinked="1"/>
        <c:majorTickMark val="none"/>
        <c:minorTickMark val="none"/>
        <c:tickLblPos val="nextTo"/>
        <c:crossAx val="337113472"/>
        <c:crosses val="autoZero"/>
        <c:crossBetween val="between"/>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39724655155311E-2"/>
          <c:y val="9.6860598023942104E-3"/>
          <c:w val="0.95120550689689376"/>
          <c:h val="0.74842685485510729"/>
        </c:manualLayout>
      </c:layout>
      <c:barChart>
        <c:barDir val="col"/>
        <c:grouping val="stacked"/>
        <c:varyColors val="0"/>
        <c:ser>
          <c:idx val="0"/>
          <c:order val="0"/>
          <c:tx>
            <c:strRef>
              <c:f>CV!$A$52</c:f>
              <c:strCache>
                <c:ptCount val="1"/>
                <c:pt idx="0">
                  <c:v>Tata Motors</c:v>
                </c:pt>
              </c:strCache>
            </c:strRef>
          </c:tx>
          <c:spPr>
            <a:solidFill>
              <a:schemeClr val="accent2"/>
            </a:solidFill>
            <a:ln>
              <a:noFill/>
            </a:ln>
            <a:effectLst/>
          </c:spPr>
          <c:invertIfNegative val="0"/>
          <c:dLbls>
            <c:spPr>
              <a:noFill/>
              <a:ln>
                <a:noFill/>
              </a:ln>
              <a:effectLst/>
            </c:spPr>
            <c:txPr>
              <a:bodyPr rot="0" vert="horz"/>
              <a:lstStyle/>
              <a:p>
                <a:pPr>
                  <a:defRPr sz="9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2:$H$52</c:f>
              <c:numCache>
                <c:formatCode>0%</c:formatCode>
                <c:ptCount val="7"/>
                <c:pt idx="0">
                  <c:v>0.52077111050773828</c:v>
                </c:pt>
                <c:pt idx="1">
                  <c:v>0.55277408146669627</c:v>
                </c:pt>
                <c:pt idx="2">
                  <c:v>0.51426182291182754</c:v>
                </c:pt>
                <c:pt idx="3">
                  <c:v>0.50489828184883867</c:v>
                </c:pt>
                <c:pt idx="4">
                  <c:v>0.47692078371619273</c:v>
                </c:pt>
                <c:pt idx="5">
                  <c:v>0.39875630786347199</c:v>
                </c:pt>
                <c:pt idx="6">
                  <c:v>0.393949527949991</c:v>
                </c:pt>
              </c:numCache>
            </c:numRef>
          </c:val>
          <c:extLst>
            <c:ext xmlns:c16="http://schemas.microsoft.com/office/drawing/2014/chart" uri="{C3380CC4-5D6E-409C-BE32-E72D297353CC}">
              <c16:uniqueId val="{00000000-24EF-4BE3-AC38-F22EC165A82A}"/>
            </c:ext>
          </c:extLst>
        </c:ser>
        <c:ser>
          <c:idx val="1"/>
          <c:order val="1"/>
          <c:tx>
            <c:strRef>
              <c:f>CV!$A$53</c:f>
              <c:strCache>
                <c:ptCount val="1"/>
                <c:pt idx="0">
                  <c:v>Mahindra</c:v>
                </c:pt>
              </c:strCache>
            </c:strRef>
          </c:tx>
          <c:spPr>
            <a:solidFill>
              <a:schemeClr val="bg1">
                <a:lumMod val="50000"/>
              </a:schemeClr>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3:$H$53</c:f>
              <c:numCache>
                <c:formatCode>0%</c:formatCode>
                <c:ptCount val="7"/>
                <c:pt idx="0">
                  <c:v>0.28280516659555488</c:v>
                </c:pt>
                <c:pt idx="1">
                  <c:v>0.23694278110445774</c:v>
                </c:pt>
                <c:pt idx="2">
                  <c:v>0.19035378405442513</c:v>
                </c:pt>
                <c:pt idx="3">
                  <c:v>0.22458046891417249</c:v>
                </c:pt>
                <c:pt idx="4">
                  <c:v>0.23032842544593318</c:v>
                </c:pt>
                <c:pt idx="5">
                  <c:v>0.22408312472682482</c:v>
                </c:pt>
                <c:pt idx="6">
                  <c:v>0.24461708640959021</c:v>
                </c:pt>
              </c:numCache>
            </c:numRef>
          </c:val>
          <c:extLst>
            <c:ext xmlns:c16="http://schemas.microsoft.com/office/drawing/2014/chart" uri="{C3380CC4-5D6E-409C-BE32-E72D297353CC}">
              <c16:uniqueId val="{00000001-24EF-4BE3-AC38-F22EC165A82A}"/>
            </c:ext>
          </c:extLst>
        </c:ser>
        <c:ser>
          <c:idx val="2"/>
          <c:order val="2"/>
          <c:tx>
            <c:strRef>
              <c:f>CV!$A$54</c:f>
              <c:strCache>
                <c:ptCount val="1"/>
                <c:pt idx="0">
                  <c:v>Ashok Leyland Ltd.</c:v>
                </c:pt>
              </c:strCache>
            </c:strRef>
          </c:tx>
          <c:spPr>
            <a:solidFill>
              <a:schemeClr val="accent5"/>
            </a:solidFill>
            <a:ln>
              <a:noFill/>
            </a:ln>
            <a:effectLst/>
          </c:spPr>
          <c:invertIfNegative val="0"/>
          <c:dLbls>
            <c:spPr>
              <a:noFill/>
              <a:ln>
                <a:noFill/>
              </a:ln>
              <a:effectLst/>
            </c:spPr>
            <c:txPr>
              <a:bodyPr rot="0" vert="horz"/>
              <a:lstStyle/>
              <a:p>
                <a:pPr>
                  <a:defRPr sz="9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4:$H$54</c:f>
              <c:numCache>
                <c:formatCode>0%</c:formatCode>
                <c:ptCount val="7"/>
                <c:pt idx="0">
                  <c:v>0.12642061983631356</c:v>
                </c:pt>
                <c:pt idx="1">
                  <c:v>0.10905965846085607</c:v>
                </c:pt>
                <c:pt idx="2">
                  <c:v>0.16764223110037474</c:v>
                </c:pt>
                <c:pt idx="3">
                  <c:v>0.12309247195621066</c:v>
                </c:pt>
                <c:pt idx="4">
                  <c:v>0.14773348349591744</c:v>
                </c:pt>
                <c:pt idx="5">
                  <c:v>0.15895815949457623</c:v>
                </c:pt>
                <c:pt idx="6">
                  <c:v>9.4255653023949781E-2</c:v>
                </c:pt>
              </c:numCache>
            </c:numRef>
          </c:val>
          <c:extLst>
            <c:ext xmlns:c16="http://schemas.microsoft.com/office/drawing/2014/chart" uri="{C3380CC4-5D6E-409C-BE32-E72D297353CC}">
              <c16:uniqueId val="{00000002-24EF-4BE3-AC38-F22EC165A82A}"/>
            </c:ext>
          </c:extLst>
        </c:ser>
        <c:ser>
          <c:idx val="3"/>
          <c:order val="3"/>
          <c:tx>
            <c:strRef>
              <c:f>CV!$A$55</c:f>
              <c:strCache>
                <c:ptCount val="1"/>
                <c:pt idx="0">
                  <c:v>VECVs - Eicher</c:v>
                </c:pt>
              </c:strCache>
            </c:strRef>
          </c:tx>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5:$H$55</c:f>
              <c:numCache>
                <c:formatCode>0%</c:formatCode>
                <c:ptCount val="7"/>
                <c:pt idx="0">
                  <c:v>6.3147279003917617E-2</c:v>
                </c:pt>
                <c:pt idx="1">
                  <c:v>7.4249648850447256E-2</c:v>
                </c:pt>
                <c:pt idx="2">
                  <c:v>9.2921221881548929E-2</c:v>
                </c:pt>
                <c:pt idx="3">
                  <c:v>0.10016711196501656</c:v>
                </c:pt>
                <c:pt idx="4">
                  <c:v>7.5655443117640234E-2</c:v>
                </c:pt>
                <c:pt idx="5">
                  <c:v>9.9833114793181549E-2</c:v>
                </c:pt>
                <c:pt idx="6">
                  <c:v>0.10035242970699457</c:v>
                </c:pt>
              </c:numCache>
            </c:numRef>
          </c:val>
          <c:extLst>
            <c:ext xmlns:c16="http://schemas.microsoft.com/office/drawing/2014/chart" uri="{C3380CC4-5D6E-409C-BE32-E72D297353CC}">
              <c16:uniqueId val="{00000003-24EF-4BE3-AC38-F22EC165A82A}"/>
            </c:ext>
          </c:extLst>
        </c:ser>
        <c:ser>
          <c:idx val="4"/>
          <c:order val="4"/>
          <c:tx>
            <c:strRef>
              <c:f>CV!$A$56</c:f>
              <c:strCache>
                <c:ptCount val="1"/>
                <c:pt idx="0">
                  <c:v>Maruti</c:v>
                </c:pt>
              </c:strCache>
            </c:strRef>
          </c:tx>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5549-430A-AF81-3B4DCEF8B2F1}"/>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6:$H$56</c:f>
              <c:numCache>
                <c:formatCode>0%</c:formatCode>
                <c:ptCount val="7"/>
                <c:pt idx="0">
                  <c:v>1.9394127458205656E-5</c:v>
                </c:pt>
                <c:pt idx="1">
                  <c:v>1.8185850521179863E-2</c:v>
                </c:pt>
                <c:pt idx="2">
                  <c:v>2.2412173392383369E-2</c:v>
                </c:pt>
                <c:pt idx="3">
                  <c:v>2.2525091811513714E-2</c:v>
                </c:pt>
                <c:pt idx="4">
                  <c:v>3.1086967323075903E-2</c:v>
                </c:pt>
                <c:pt idx="5">
                  <c:v>2.3860611117733539E-2</c:v>
                </c:pt>
                <c:pt idx="6">
                  <c:v>3.3570858950942813E-2</c:v>
                </c:pt>
              </c:numCache>
            </c:numRef>
          </c:val>
          <c:extLst>
            <c:ext xmlns:c16="http://schemas.microsoft.com/office/drawing/2014/chart" uri="{C3380CC4-5D6E-409C-BE32-E72D297353CC}">
              <c16:uniqueId val="{00000004-24EF-4BE3-AC38-F22EC165A82A}"/>
            </c:ext>
          </c:extLst>
        </c:ser>
        <c:ser>
          <c:idx val="5"/>
          <c:order val="5"/>
          <c:tx>
            <c:strRef>
              <c:f>CV!$A$57</c:f>
              <c:strCache>
                <c:ptCount val="1"/>
                <c:pt idx="0">
                  <c:v>Isuzu</c:v>
                </c:pt>
              </c:strCache>
            </c:strRef>
          </c:tx>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5549-430A-AF81-3B4DCEF8B2F1}"/>
                </c:ext>
              </c:extLst>
            </c:dLbl>
            <c:dLbl>
              <c:idx val="1"/>
              <c:delete val="1"/>
              <c:extLst>
                <c:ext xmlns:c15="http://schemas.microsoft.com/office/drawing/2012/chart" uri="{CE6537A1-D6FC-4f65-9D91-7224C49458BB}"/>
                <c:ext xmlns:c16="http://schemas.microsoft.com/office/drawing/2014/chart" uri="{C3380CC4-5D6E-409C-BE32-E72D297353CC}">
                  <c16:uniqueId val="{00000001-5549-430A-AF81-3B4DCEF8B2F1}"/>
                </c:ext>
              </c:extLst>
            </c:dLbl>
            <c:dLbl>
              <c:idx val="2"/>
              <c:delete val="1"/>
              <c:extLst>
                <c:ext xmlns:c15="http://schemas.microsoft.com/office/drawing/2012/chart" uri="{CE6537A1-D6FC-4f65-9D91-7224C49458BB}"/>
                <c:ext xmlns:c16="http://schemas.microsoft.com/office/drawing/2014/chart" uri="{C3380CC4-5D6E-409C-BE32-E72D297353CC}">
                  <c16:uniqueId val="{00000000-5549-430A-AF81-3B4DCEF8B2F1}"/>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7:$H$57</c:f>
              <c:numCache>
                <c:formatCode>0%</c:formatCode>
                <c:ptCount val="7"/>
                <c:pt idx="0">
                  <c:v>0</c:v>
                </c:pt>
                <c:pt idx="1">
                  <c:v>1.1088933244621867E-4</c:v>
                </c:pt>
                <c:pt idx="2">
                  <c:v>1.321399444599296E-3</c:v>
                </c:pt>
                <c:pt idx="3">
                  <c:v>1.3208849929452733E-2</c:v>
                </c:pt>
                <c:pt idx="4">
                  <c:v>2.1696285132247969E-2</c:v>
                </c:pt>
                <c:pt idx="5">
                  <c:v>7.4502324472523543E-2</c:v>
                </c:pt>
                <c:pt idx="6">
                  <c:v>0.12072646824273918</c:v>
                </c:pt>
              </c:numCache>
            </c:numRef>
          </c:val>
          <c:extLst>
            <c:ext xmlns:c16="http://schemas.microsoft.com/office/drawing/2014/chart" uri="{C3380CC4-5D6E-409C-BE32-E72D297353CC}">
              <c16:uniqueId val="{00000005-24EF-4BE3-AC38-F22EC165A82A}"/>
            </c:ext>
          </c:extLst>
        </c:ser>
        <c:ser>
          <c:idx val="6"/>
          <c:order val="6"/>
          <c:tx>
            <c:strRef>
              <c:f>CV!$A$58</c:f>
              <c:strCache>
                <c:ptCount val="1"/>
                <c:pt idx="0">
                  <c:v>Others</c:v>
                </c:pt>
              </c:strCache>
            </c:strRef>
          </c:tx>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V!$B$51:$H$51</c:f>
              <c:strCache>
                <c:ptCount val="7"/>
                <c:pt idx="0">
                  <c:v>FY 16</c:v>
                </c:pt>
                <c:pt idx="1">
                  <c:v>FY 17</c:v>
                </c:pt>
                <c:pt idx="2">
                  <c:v>FY 18</c:v>
                </c:pt>
                <c:pt idx="3">
                  <c:v>FY 19</c:v>
                </c:pt>
                <c:pt idx="4">
                  <c:v>FY 20</c:v>
                </c:pt>
                <c:pt idx="5">
                  <c:v>FY 21</c:v>
                </c:pt>
                <c:pt idx="6">
                  <c:v>Apr-Dec FY22</c:v>
                </c:pt>
              </c:strCache>
            </c:strRef>
          </c:cat>
          <c:val>
            <c:numRef>
              <c:f>CV!$B$58:$H$58</c:f>
              <c:numCache>
                <c:formatCode>0%</c:formatCode>
                <c:ptCount val="7"/>
                <c:pt idx="0">
                  <c:v>6.8364299290174938E-3</c:v>
                </c:pt>
                <c:pt idx="1">
                  <c:v>8.6770902639166109E-3</c:v>
                </c:pt>
                <c:pt idx="2">
                  <c:v>1.1087367214840967E-2</c:v>
                </c:pt>
                <c:pt idx="3">
                  <c:v>1.1527723574795113E-2</c:v>
                </c:pt>
                <c:pt idx="4">
                  <c:v>1.6578611768992529E-2</c:v>
                </c:pt>
                <c:pt idx="5">
                  <c:v>2.0006357531688321E-2</c:v>
                </c:pt>
                <c:pt idx="6">
                  <c:v>1.2527975715792452E-2</c:v>
                </c:pt>
              </c:numCache>
            </c:numRef>
          </c:val>
          <c:extLst>
            <c:ext xmlns:c16="http://schemas.microsoft.com/office/drawing/2014/chart" uri="{C3380CC4-5D6E-409C-BE32-E72D297353CC}">
              <c16:uniqueId val="{00000006-24EF-4BE3-AC38-F22EC165A82A}"/>
            </c:ext>
          </c:extLst>
        </c:ser>
        <c:dLbls>
          <c:dLblPos val="ctr"/>
          <c:showLegendKey val="0"/>
          <c:showVal val="1"/>
          <c:showCatName val="0"/>
          <c:showSerName val="0"/>
          <c:showPercent val="0"/>
          <c:showBubbleSize val="0"/>
        </c:dLbls>
        <c:gapWidth val="150"/>
        <c:overlap val="100"/>
        <c:axId val="337187968"/>
        <c:axId val="337189504"/>
      </c:barChart>
      <c:catAx>
        <c:axId val="33718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337189504"/>
        <c:crosses val="autoZero"/>
        <c:auto val="1"/>
        <c:lblAlgn val="ctr"/>
        <c:lblOffset val="100"/>
        <c:noMultiLvlLbl val="0"/>
      </c:catAx>
      <c:valAx>
        <c:axId val="337189504"/>
        <c:scaling>
          <c:orientation val="minMax"/>
        </c:scaling>
        <c:delete val="1"/>
        <c:axPos val="l"/>
        <c:numFmt formatCode="0%" sourceLinked="1"/>
        <c:majorTickMark val="none"/>
        <c:minorTickMark val="none"/>
        <c:tickLblPos val="nextTo"/>
        <c:crossAx val="337187968"/>
        <c:crosses val="autoZero"/>
        <c:crossBetween val="between"/>
      </c:valAx>
      <c:spPr>
        <a:noFill/>
        <a:ln>
          <a:noFill/>
        </a:ln>
        <a:effectLst/>
      </c:spPr>
    </c:plotArea>
    <c:legend>
      <c:legendPos val="b"/>
      <c:layout>
        <c:manualLayout>
          <c:xMode val="edge"/>
          <c:yMode val="edge"/>
          <c:x val="3.4985337202430432E-2"/>
          <c:y val="0.83510742725257248"/>
          <c:w val="0.84131206540767312"/>
          <c:h val="0.16398134689814933"/>
        </c:manualLayout>
      </c:layout>
      <c:overlay val="0"/>
      <c:spPr>
        <a:noFill/>
        <a:ln>
          <a:noFill/>
        </a:ln>
        <a:effectLst/>
      </c:spPr>
      <c:txPr>
        <a:bodyPr rot="0" vert="horz"/>
        <a:lstStyle/>
        <a:p>
          <a:pPr>
            <a:defRPr/>
          </a:pPr>
          <a:endParaRPr lang="en-US"/>
        </a:p>
      </c:txPr>
    </c:legend>
    <c:plotVisOnly val="1"/>
    <c:dispBlanksAs val="gap"/>
    <c:showDLblsOverMax val="0"/>
  </c:chart>
  <c:spPr>
    <a:noFill/>
    <a:ln w="9525" cap="flat" cmpd="sng" algn="ctr">
      <a:noFill/>
      <a:round/>
    </a:ln>
    <a:effectLst/>
  </c:spPr>
  <c:txPr>
    <a:bodyPr/>
    <a:lstStyle/>
    <a:p>
      <a:pPr>
        <a:defRPr sz="1100">
          <a:latin typeface="Arial" panose="020B0604020202020204" pitchFamily="34" charset="0"/>
          <a:cs typeface="Arial" panose="020B0604020202020204" pitchFamily="34" charset="0"/>
        </a:defRPr>
      </a:pPr>
      <a:endParaRPr lang="en-U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3W'!$C$40</c:f>
              <c:strCache>
                <c:ptCount val="1"/>
                <c:pt idx="0">
                  <c:v>Finance Penetration</c:v>
                </c:pt>
              </c:strCache>
            </c:strRef>
          </c:tx>
          <c:spPr>
            <a:ln>
              <a:solidFill>
                <a:schemeClr val="accent2"/>
              </a:solidFill>
            </a:ln>
            <a:effectLst/>
          </c:spPr>
          <c:marker>
            <c:spPr>
              <a:ln>
                <a:solidFill>
                  <a:schemeClr val="accent2"/>
                </a:solidFill>
              </a:ln>
            </c:spPr>
          </c:marker>
          <c:cat>
            <c:strRef>
              <c:f>'3W'!$B$43:$B$50</c:f>
              <c:strCache>
                <c:ptCount val="8"/>
                <c:pt idx="0">
                  <c:v>FY 16</c:v>
                </c:pt>
                <c:pt idx="1">
                  <c:v>FY 17</c:v>
                </c:pt>
                <c:pt idx="2">
                  <c:v>FY 18</c:v>
                </c:pt>
                <c:pt idx="3">
                  <c:v>FY 19</c:v>
                </c:pt>
                <c:pt idx="4">
                  <c:v>FY 20 </c:v>
                </c:pt>
                <c:pt idx="5">
                  <c:v>FY 21</c:v>
                </c:pt>
                <c:pt idx="6">
                  <c:v>FY 22 </c:v>
                </c:pt>
                <c:pt idx="7">
                  <c:v>FY23 P</c:v>
                </c:pt>
              </c:strCache>
            </c:strRef>
          </c:cat>
          <c:val>
            <c:numRef>
              <c:f>'3W'!$C$43:$C$50</c:f>
              <c:numCache>
                <c:formatCode>0%</c:formatCode>
                <c:ptCount val="8"/>
                <c:pt idx="0">
                  <c:v>0.95</c:v>
                </c:pt>
                <c:pt idx="1">
                  <c:v>0.95</c:v>
                </c:pt>
                <c:pt idx="2">
                  <c:v>0.95</c:v>
                </c:pt>
                <c:pt idx="3">
                  <c:v>0.95</c:v>
                </c:pt>
                <c:pt idx="4">
                  <c:v>0.95</c:v>
                </c:pt>
                <c:pt idx="5">
                  <c:v>0.95</c:v>
                </c:pt>
                <c:pt idx="6">
                  <c:v>0.95</c:v>
                </c:pt>
                <c:pt idx="7">
                  <c:v>0.95</c:v>
                </c:pt>
              </c:numCache>
            </c:numRef>
          </c:val>
          <c:smooth val="0"/>
          <c:extLst>
            <c:ext xmlns:c16="http://schemas.microsoft.com/office/drawing/2014/chart" uri="{C3380CC4-5D6E-409C-BE32-E72D297353CC}">
              <c16:uniqueId val="{00000000-E47B-45CE-BF6A-0B3FDC88FC0B}"/>
            </c:ext>
          </c:extLst>
        </c:ser>
        <c:dLbls>
          <c:showLegendKey val="0"/>
          <c:showVal val="0"/>
          <c:showCatName val="0"/>
          <c:showSerName val="0"/>
          <c:showPercent val="0"/>
          <c:showBubbleSize val="0"/>
        </c:dLbls>
        <c:marker val="1"/>
        <c:smooth val="0"/>
        <c:axId val="288484400"/>
        <c:axId val="288489840"/>
      </c:lineChart>
      <c:catAx>
        <c:axId val="288484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88489840"/>
        <c:crosses val="autoZero"/>
        <c:auto val="1"/>
        <c:lblAlgn val="ctr"/>
        <c:lblOffset val="100"/>
        <c:noMultiLvlLbl val="0"/>
      </c:catAx>
      <c:valAx>
        <c:axId val="288489840"/>
        <c:scaling>
          <c:orientation val="minMax"/>
          <c:max val="1"/>
          <c:min val="0.9"/>
        </c:scaling>
        <c:delete val="0"/>
        <c:axPos val="l"/>
        <c:title>
          <c:tx>
            <c:rich>
              <a:bodyPr rot="-5400000" vert="horz"/>
              <a:lstStyle/>
              <a:p>
                <a:pPr>
                  <a:defRPr/>
                </a:pPr>
                <a:r>
                  <a:rPr lang="en-US" b="0"/>
                  <a:t>Finance</a:t>
                </a:r>
                <a:r>
                  <a:rPr lang="en-US" b="0" baseline="0"/>
                  <a:t> Penetration </a:t>
                </a:r>
                <a:r>
                  <a:rPr lang="en-US" b="0"/>
                  <a:t>(%)</a:t>
                </a:r>
              </a:p>
            </c:rich>
          </c:tx>
          <c:overlay val="0"/>
        </c:title>
        <c:numFmt formatCode="0%" sourceLinked="1"/>
        <c:majorTickMark val="out"/>
        <c:minorTickMark val="none"/>
        <c:tickLblPos val="nextTo"/>
        <c:spPr>
          <a:noFill/>
          <a:ln>
            <a:solidFill>
              <a:schemeClr val="bg1">
                <a:lumMod val="85000"/>
              </a:schemeClr>
            </a:solidFill>
          </a:ln>
          <a:effectLst/>
        </c:spPr>
        <c:txPr>
          <a:bodyPr rot="-60000000" vert="horz"/>
          <a:lstStyle/>
          <a:p>
            <a:pPr>
              <a:defRPr/>
            </a:pPr>
            <a:endParaRPr lang="en-US"/>
          </a:p>
        </c:txPr>
        <c:crossAx val="288484400"/>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3W'!$C$28</c:f>
              <c:strCache>
                <c:ptCount val="1"/>
                <c:pt idx="0">
                  <c:v>LTV</c:v>
                </c:pt>
              </c:strCache>
            </c:strRef>
          </c:tx>
          <c:spPr>
            <a:ln>
              <a:solidFill>
                <a:schemeClr val="accent2"/>
              </a:solidFill>
            </a:ln>
            <a:effectLst/>
          </c:spPr>
          <c:marker>
            <c:spPr>
              <a:ln>
                <a:solidFill>
                  <a:schemeClr val="accent2"/>
                </a:solidFill>
              </a:ln>
            </c:spPr>
          </c:marker>
          <c:cat>
            <c:strRef>
              <c:f>'3W'!$B$31:$B$38</c:f>
              <c:strCache>
                <c:ptCount val="8"/>
                <c:pt idx="0">
                  <c:v>FY 16</c:v>
                </c:pt>
                <c:pt idx="1">
                  <c:v>FY 17</c:v>
                </c:pt>
                <c:pt idx="2">
                  <c:v>FY 18</c:v>
                </c:pt>
                <c:pt idx="3">
                  <c:v>FY 19</c:v>
                </c:pt>
                <c:pt idx="4">
                  <c:v>FY 20 </c:v>
                </c:pt>
                <c:pt idx="5">
                  <c:v>FY 21</c:v>
                </c:pt>
                <c:pt idx="6">
                  <c:v>FY 22 </c:v>
                </c:pt>
                <c:pt idx="7">
                  <c:v>FY23 P</c:v>
                </c:pt>
              </c:strCache>
            </c:strRef>
          </c:cat>
          <c:val>
            <c:numRef>
              <c:f>'3W'!$C$31:$C$38</c:f>
              <c:numCache>
                <c:formatCode>0%</c:formatCode>
                <c:ptCount val="8"/>
                <c:pt idx="0">
                  <c:v>0.82</c:v>
                </c:pt>
                <c:pt idx="1">
                  <c:v>0.82499999999999996</c:v>
                </c:pt>
                <c:pt idx="2">
                  <c:v>0.83</c:v>
                </c:pt>
                <c:pt idx="3">
                  <c:v>0.83</c:v>
                </c:pt>
                <c:pt idx="4">
                  <c:v>0.77999999999999992</c:v>
                </c:pt>
                <c:pt idx="5">
                  <c:v>0.7599999999999999</c:v>
                </c:pt>
                <c:pt idx="6" formatCode="0.00%">
                  <c:v>0.76</c:v>
                </c:pt>
                <c:pt idx="7" formatCode="0.00%">
                  <c:v>0.78</c:v>
                </c:pt>
              </c:numCache>
            </c:numRef>
          </c:val>
          <c:smooth val="0"/>
          <c:extLst>
            <c:ext xmlns:c16="http://schemas.microsoft.com/office/drawing/2014/chart" uri="{C3380CC4-5D6E-409C-BE32-E72D297353CC}">
              <c16:uniqueId val="{00000000-2D89-45F4-9F0F-7D7B82A32B5E}"/>
            </c:ext>
          </c:extLst>
        </c:ser>
        <c:dLbls>
          <c:showLegendKey val="0"/>
          <c:showVal val="0"/>
          <c:showCatName val="0"/>
          <c:showSerName val="0"/>
          <c:showPercent val="0"/>
          <c:showBubbleSize val="0"/>
        </c:dLbls>
        <c:marker val="1"/>
        <c:smooth val="0"/>
        <c:axId val="288481680"/>
        <c:axId val="288487120"/>
      </c:lineChart>
      <c:catAx>
        <c:axId val="288481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88487120"/>
        <c:crosses val="autoZero"/>
        <c:auto val="1"/>
        <c:lblAlgn val="ctr"/>
        <c:lblOffset val="100"/>
        <c:noMultiLvlLbl val="0"/>
      </c:catAx>
      <c:valAx>
        <c:axId val="288487120"/>
        <c:scaling>
          <c:orientation val="minMax"/>
        </c:scaling>
        <c:delete val="0"/>
        <c:axPos val="l"/>
        <c:title>
          <c:tx>
            <c:rich>
              <a:bodyPr rot="-5400000" vert="horz"/>
              <a:lstStyle/>
              <a:p>
                <a:pPr>
                  <a:defRPr/>
                </a:pPr>
                <a:r>
                  <a:rPr lang="en-US" b="0"/>
                  <a:t>LTV (%)</a:t>
                </a:r>
              </a:p>
            </c:rich>
          </c:tx>
          <c:overlay val="0"/>
        </c:title>
        <c:numFmt formatCode="0%" sourceLinked="1"/>
        <c:majorTickMark val="out"/>
        <c:minorTickMark val="none"/>
        <c:tickLblPos val="nextTo"/>
        <c:spPr>
          <a:noFill/>
          <a:ln>
            <a:solidFill>
              <a:schemeClr val="bg1">
                <a:lumMod val="85000"/>
              </a:schemeClr>
            </a:solidFill>
          </a:ln>
          <a:effectLst/>
        </c:spPr>
        <c:txPr>
          <a:bodyPr rot="-60000000" vert="horz"/>
          <a:lstStyle/>
          <a:p>
            <a:pPr>
              <a:defRPr/>
            </a:pPr>
            <a:endParaRPr lang="en-US"/>
          </a:p>
        </c:txPr>
        <c:crossAx val="288481680"/>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3W'!$C$3</c:f>
              <c:strCache>
                <c:ptCount val="1"/>
                <c:pt idx="0">
                  <c:v>Disbursement</c:v>
                </c:pt>
              </c:strCache>
            </c:strRef>
          </c:tx>
          <c:spPr>
            <a:solidFill>
              <a:schemeClr val="accent4"/>
            </a:solidFill>
            <a:ln>
              <a:noFill/>
            </a:ln>
            <a:effectLst/>
          </c:spPr>
          <c:invertIfNegative val="0"/>
          <c:cat>
            <c:strRef>
              <c:f>'3W'!$B$6:$B$13</c:f>
              <c:strCache>
                <c:ptCount val="8"/>
                <c:pt idx="0">
                  <c:v>FY 16</c:v>
                </c:pt>
                <c:pt idx="1">
                  <c:v>FY 17</c:v>
                </c:pt>
                <c:pt idx="2">
                  <c:v>FY 18</c:v>
                </c:pt>
                <c:pt idx="3">
                  <c:v>FY 19</c:v>
                </c:pt>
                <c:pt idx="4">
                  <c:v>FY 20 </c:v>
                </c:pt>
                <c:pt idx="5">
                  <c:v>FY 21</c:v>
                </c:pt>
                <c:pt idx="6">
                  <c:v>FY 22 </c:v>
                </c:pt>
                <c:pt idx="7">
                  <c:v>FY23 P</c:v>
                </c:pt>
              </c:strCache>
            </c:strRef>
          </c:cat>
          <c:val>
            <c:numRef>
              <c:f>'3W'!$C$6:$C$13</c:f>
              <c:numCache>
                <c:formatCode>0</c:formatCode>
                <c:ptCount val="8"/>
                <c:pt idx="0" formatCode="General">
                  <c:v>75</c:v>
                </c:pt>
                <c:pt idx="1">
                  <c:v>74.010940022249997</c:v>
                </c:pt>
                <c:pt idx="2">
                  <c:v>97.577923436909984</c:v>
                </c:pt>
                <c:pt idx="3">
                  <c:v>109.75513701168047</c:v>
                </c:pt>
                <c:pt idx="4">
                  <c:v>107.37438808116231</c:v>
                </c:pt>
                <c:pt idx="5">
                  <c:v>60.1296573254509</c:v>
                </c:pt>
                <c:pt idx="6">
                  <c:v>90.194485988176353</c:v>
                </c:pt>
                <c:pt idx="7">
                  <c:v>100</c:v>
                </c:pt>
              </c:numCache>
            </c:numRef>
          </c:val>
          <c:extLst>
            <c:ext xmlns:c16="http://schemas.microsoft.com/office/drawing/2014/chart" uri="{C3380CC4-5D6E-409C-BE32-E72D297353CC}">
              <c16:uniqueId val="{00000000-8037-4242-8178-3011FE625908}"/>
            </c:ext>
          </c:extLst>
        </c:ser>
        <c:dLbls>
          <c:showLegendKey val="0"/>
          <c:showVal val="0"/>
          <c:showCatName val="0"/>
          <c:showSerName val="0"/>
          <c:showPercent val="0"/>
          <c:showBubbleSize val="0"/>
        </c:dLbls>
        <c:gapWidth val="219"/>
        <c:overlap val="-27"/>
        <c:axId val="826827312"/>
        <c:axId val="826829488"/>
      </c:barChart>
      <c:lineChart>
        <c:grouping val="standard"/>
        <c:varyColors val="0"/>
        <c:ser>
          <c:idx val="1"/>
          <c:order val="1"/>
          <c:tx>
            <c:strRef>
              <c:f>'3W'!$D$3</c:f>
              <c:strCache>
                <c:ptCount val="1"/>
                <c:pt idx="0">
                  <c:v>Y-o-Y Growth</c:v>
                </c:pt>
              </c:strCache>
            </c:strRef>
          </c:tx>
          <c:spPr>
            <a:ln w="28575" cap="rnd">
              <a:solidFill>
                <a:schemeClr val="accent2"/>
              </a:solidFill>
              <a:round/>
            </a:ln>
            <a:effectLst/>
          </c:spPr>
          <c:marker>
            <c:symbol val="none"/>
          </c:marker>
          <c:cat>
            <c:strRef>
              <c:f>'3W'!$B$6:$B$13</c:f>
              <c:strCache>
                <c:ptCount val="8"/>
                <c:pt idx="0">
                  <c:v>FY 16</c:v>
                </c:pt>
                <c:pt idx="1">
                  <c:v>FY 17</c:v>
                </c:pt>
                <c:pt idx="2">
                  <c:v>FY 18</c:v>
                </c:pt>
                <c:pt idx="3">
                  <c:v>FY 19</c:v>
                </c:pt>
                <c:pt idx="4">
                  <c:v>FY 20 </c:v>
                </c:pt>
                <c:pt idx="5">
                  <c:v>FY 21</c:v>
                </c:pt>
                <c:pt idx="6">
                  <c:v>FY 22 </c:v>
                </c:pt>
                <c:pt idx="7">
                  <c:v>FY23 P</c:v>
                </c:pt>
              </c:strCache>
            </c:strRef>
          </c:cat>
          <c:val>
            <c:numRef>
              <c:f>'3W'!$D$6:$D$13</c:f>
              <c:numCache>
                <c:formatCode>0%</c:formatCode>
                <c:ptCount val="8"/>
                <c:pt idx="0">
                  <c:v>2.7397260273972712E-2</c:v>
                </c:pt>
                <c:pt idx="1">
                  <c:v>-1.3187466370000012E-2</c:v>
                </c:pt>
                <c:pt idx="2">
                  <c:v>0.31842567338794803</c:v>
                </c:pt>
                <c:pt idx="3">
                  <c:v>0.12479476039110216</c:v>
                </c:pt>
                <c:pt idx="4">
                  <c:v>-2.1691457870120501E-2</c:v>
                </c:pt>
                <c:pt idx="5">
                  <c:v>-0.44</c:v>
                </c:pt>
                <c:pt idx="6">
                  <c:v>0.5</c:v>
                </c:pt>
                <c:pt idx="7">
                  <c:v>0.10871522692760904</c:v>
                </c:pt>
              </c:numCache>
            </c:numRef>
          </c:val>
          <c:smooth val="0"/>
          <c:extLst>
            <c:ext xmlns:c16="http://schemas.microsoft.com/office/drawing/2014/chart" uri="{C3380CC4-5D6E-409C-BE32-E72D297353CC}">
              <c16:uniqueId val="{00000001-8037-4242-8178-3011FE625908}"/>
            </c:ext>
          </c:extLst>
        </c:ser>
        <c:dLbls>
          <c:showLegendKey val="0"/>
          <c:showVal val="0"/>
          <c:showCatName val="0"/>
          <c:showSerName val="0"/>
          <c:showPercent val="0"/>
          <c:showBubbleSize val="0"/>
        </c:dLbls>
        <c:marker val="1"/>
        <c:smooth val="0"/>
        <c:axId val="826815888"/>
        <c:axId val="826815344"/>
      </c:lineChart>
      <c:catAx>
        <c:axId val="826827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826829488"/>
        <c:crosses val="autoZero"/>
        <c:auto val="1"/>
        <c:lblAlgn val="ctr"/>
        <c:lblOffset val="100"/>
        <c:noMultiLvlLbl val="0"/>
      </c:catAx>
      <c:valAx>
        <c:axId val="826829488"/>
        <c:scaling>
          <c:orientation val="minMax"/>
        </c:scaling>
        <c:delete val="0"/>
        <c:axPos val="l"/>
        <c:title>
          <c:tx>
            <c:rich>
              <a:bodyPr rot="-5400000" vert="horz"/>
              <a:lstStyle/>
              <a:p>
                <a:pPr>
                  <a:defRPr/>
                </a:pPr>
                <a:r>
                  <a:rPr lang="en-US" b="0"/>
                  <a:t>In Rs. billion</a:t>
                </a:r>
              </a:p>
            </c:rich>
          </c:tx>
          <c:overlay val="0"/>
        </c:title>
        <c:numFmt formatCode="General" sourceLinked="1"/>
        <c:majorTickMark val="out"/>
        <c:minorTickMark val="none"/>
        <c:tickLblPos val="nextTo"/>
        <c:spPr>
          <a:noFill/>
          <a:ln>
            <a:solidFill>
              <a:schemeClr val="bg1">
                <a:lumMod val="85000"/>
              </a:schemeClr>
            </a:solidFill>
          </a:ln>
          <a:effectLst/>
        </c:spPr>
        <c:txPr>
          <a:bodyPr rot="-60000000" vert="horz"/>
          <a:lstStyle/>
          <a:p>
            <a:pPr>
              <a:defRPr/>
            </a:pPr>
            <a:endParaRPr lang="en-US"/>
          </a:p>
        </c:txPr>
        <c:crossAx val="826827312"/>
        <c:crosses val="autoZero"/>
        <c:crossBetween val="between"/>
      </c:valAx>
      <c:valAx>
        <c:axId val="826815344"/>
        <c:scaling>
          <c:orientation val="minMax"/>
        </c:scaling>
        <c:delete val="0"/>
        <c:axPos val="r"/>
        <c:numFmt formatCode="0%" sourceLinked="0"/>
        <c:majorTickMark val="out"/>
        <c:minorTickMark val="none"/>
        <c:tickLblPos val="nextTo"/>
        <c:spPr>
          <a:noFill/>
          <a:ln>
            <a:solidFill>
              <a:schemeClr val="bg1">
                <a:lumMod val="85000"/>
              </a:schemeClr>
            </a:solidFill>
          </a:ln>
          <a:effectLst/>
        </c:spPr>
        <c:txPr>
          <a:bodyPr rot="-60000000" vert="horz"/>
          <a:lstStyle/>
          <a:p>
            <a:pPr>
              <a:defRPr/>
            </a:pPr>
            <a:endParaRPr lang="en-US"/>
          </a:p>
        </c:txPr>
        <c:crossAx val="826815888"/>
        <c:crosses val="max"/>
        <c:crossBetween val="between"/>
      </c:valAx>
      <c:catAx>
        <c:axId val="826815888"/>
        <c:scaling>
          <c:orientation val="minMax"/>
        </c:scaling>
        <c:delete val="1"/>
        <c:axPos val="b"/>
        <c:numFmt formatCode="General" sourceLinked="1"/>
        <c:majorTickMark val="none"/>
        <c:minorTickMark val="none"/>
        <c:tickLblPos val="nextTo"/>
        <c:crossAx val="826815344"/>
        <c:crosses val="autoZero"/>
        <c:auto val="1"/>
        <c:lblAlgn val="ctr"/>
        <c:lblOffset val="100"/>
        <c:noMultiLvlLbl val="0"/>
      </c:cat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bg1">
          <a:lumMod val="85000"/>
        </a:schemeClr>
      </a:solidFill>
      <a:round/>
    </a:ln>
    <a:effectLst/>
  </c:spPr>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B$3</c:f>
              <c:strCache>
                <c:ptCount val="1"/>
                <c:pt idx="0">
                  <c:v>Retail</c:v>
                </c:pt>
              </c:strCache>
            </c:strRef>
          </c:tx>
          <c:spPr>
            <a:solidFill>
              <a:schemeClr val="accent5"/>
            </a:solidFill>
            <a:ln>
              <a:noFill/>
            </a:ln>
            <a:effectLst/>
          </c:spPr>
          <c:invertIfNegative val="0"/>
          <c:cat>
            <c:numRef>
              <c:f>Sheet3!$D$2:$Z$2</c:f>
              <c:numCache>
                <c:formatCode>mmm\-yy</c:formatCode>
                <c:ptCount val="23"/>
                <c:pt idx="0">
                  <c:v>43952</c:v>
                </c:pt>
                <c:pt idx="1">
                  <c:v>43983</c:v>
                </c:pt>
                <c:pt idx="2">
                  <c:v>44013</c:v>
                </c:pt>
                <c:pt idx="3">
                  <c:v>44044</c:v>
                </c:pt>
                <c:pt idx="4">
                  <c:v>44075</c:v>
                </c:pt>
                <c:pt idx="5">
                  <c:v>44105</c:v>
                </c:pt>
                <c:pt idx="6">
                  <c:v>44136</c:v>
                </c:pt>
                <c:pt idx="7">
                  <c:v>44166</c:v>
                </c:pt>
                <c:pt idx="8">
                  <c:v>44197</c:v>
                </c:pt>
                <c:pt idx="9">
                  <c:v>44228</c:v>
                </c:pt>
                <c:pt idx="10">
                  <c:v>44256</c:v>
                </c:pt>
                <c:pt idx="11">
                  <c:v>44287</c:v>
                </c:pt>
                <c:pt idx="12">
                  <c:v>44317</c:v>
                </c:pt>
                <c:pt idx="13">
                  <c:v>44348</c:v>
                </c:pt>
                <c:pt idx="14">
                  <c:v>44378</c:v>
                </c:pt>
                <c:pt idx="15">
                  <c:v>44409</c:v>
                </c:pt>
                <c:pt idx="16">
                  <c:v>44440</c:v>
                </c:pt>
                <c:pt idx="17">
                  <c:v>44470</c:v>
                </c:pt>
                <c:pt idx="18">
                  <c:v>44501</c:v>
                </c:pt>
                <c:pt idx="19">
                  <c:v>44531</c:v>
                </c:pt>
                <c:pt idx="20">
                  <c:v>44562</c:v>
                </c:pt>
                <c:pt idx="21">
                  <c:v>44593</c:v>
                </c:pt>
                <c:pt idx="22">
                  <c:v>44621</c:v>
                </c:pt>
              </c:numCache>
            </c:numRef>
          </c:cat>
          <c:val>
            <c:numRef>
              <c:f>Sheet3!$D$3:$Z$3</c:f>
              <c:numCache>
                <c:formatCode>0.0</c:formatCode>
                <c:ptCount val="23"/>
                <c:pt idx="0">
                  <c:v>1.5552000000000001</c:v>
                </c:pt>
                <c:pt idx="1">
                  <c:v>9.1007999999999996</c:v>
                </c:pt>
                <c:pt idx="2">
                  <c:v>11.513999999999999</c:v>
                </c:pt>
                <c:pt idx="3">
                  <c:v>13.546799999999999</c:v>
                </c:pt>
                <c:pt idx="4">
                  <c:v>19.763999999999999</c:v>
                </c:pt>
                <c:pt idx="5">
                  <c:v>17.839200000000002</c:v>
                </c:pt>
                <c:pt idx="6">
                  <c:v>19.299599999999998</c:v>
                </c:pt>
                <c:pt idx="7">
                  <c:v>21.5136</c:v>
                </c:pt>
                <c:pt idx="8">
                  <c:v>24.861599999999999</c:v>
                </c:pt>
                <c:pt idx="9">
                  <c:v>25.6632</c:v>
                </c:pt>
                <c:pt idx="10">
                  <c:v>28.718399999999999</c:v>
                </c:pt>
                <c:pt idx="11">
                  <c:v>16.8</c:v>
                </c:pt>
                <c:pt idx="12">
                  <c:v>3.7430400000000006</c:v>
                </c:pt>
                <c:pt idx="13">
                  <c:v>10.03744</c:v>
                </c:pt>
                <c:pt idx="14">
                  <c:v>19.072480000000002</c:v>
                </c:pt>
                <c:pt idx="15">
                  <c:v>20.57216</c:v>
                </c:pt>
                <c:pt idx="16">
                  <c:v>23.782080000000004</c:v>
                </c:pt>
                <c:pt idx="17">
                  <c:v>24.530240000000003</c:v>
                </c:pt>
                <c:pt idx="18">
                  <c:v>26.327840000000005</c:v>
                </c:pt>
                <c:pt idx="19">
                  <c:v>24.801280000000002</c:v>
                </c:pt>
                <c:pt idx="20">
                  <c:v>25.400480000000002</c:v>
                </c:pt>
                <c:pt idx="21">
                  <c:v>23.665600000000001</c:v>
                </c:pt>
                <c:pt idx="22">
                  <c:v>29.239840000000001</c:v>
                </c:pt>
              </c:numCache>
            </c:numRef>
          </c:val>
          <c:extLst>
            <c:ext xmlns:c16="http://schemas.microsoft.com/office/drawing/2014/chart" uri="{C3380CC4-5D6E-409C-BE32-E72D297353CC}">
              <c16:uniqueId val="{00000000-F61F-42F8-9751-000316BF5DAA}"/>
            </c:ext>
          </c:extLst>
        </c:ser>
        <c:ser>
          <c:idx val="1"/>
          <c:order val="1"/>
          <c:tx>
            <c:strRef>
              <c:f>Sheet3!$B$4</c:f>
              <c:strCache>
                <c:ptCount val="1"/>
                <c:pt idx="0">
                  <c:v>Offtake</c:v>
                </c:pt>
              </c:strCache>
            </c:strRef>
          </c:tx>
          <c:spPr>
            <a:solidFill>
              <a:schemeClr val="accent2"/>
            </a:solidFill>
            <a:ln>
              <a:noFill/>
            </a:ln>
            <a:effectLst/>
          </c:spPr>
          <c:invertIfNegative val="0"/>
          <c:cat>
            <c:numRef>
              <c:f>Sheet3!$D$2:$Z$2</c:f>
              <c:numCache>
                <c:formatCode>mmm\-yy</c:formatCode>
                <c:ptCount val="23"/>
                <c:pt idx="0">
                  <c:v>43952</c:v>
                </c:pt>
                <c:pt idx="1">
                  <c:v>43983</c:v>
                </c:pt>
                <c:pt idx="2">
                  <c:v>44013</c:v>
                </c:pt>
                <c:pt idx="3">
                  <c:v>44044</c:v>
                </c:pt>
                <c:pt idx="4">
                  <c:v>44075</c:v>
                </c:pt>
                <c:pt idx="5">
                  <c:v>44105</c:v>
                </c:pt>
                <c:pt idx="6">
                  <c:v>44136</c:v>
                </c:pt>
                <c:pt idx="7">
                  <c:v>44166</c:v>
                </c:pt>
                <c:pt idx="8">
                  <c:v>44197</c:v>
                </c:pt>
                <c:pt idx="9">
                  <c:v>44228</c:v>
                </c:pt>
                <c:pt idx="10">
                  <c:v>44256</c:v>
                </c:pt>
                <c:pt idx="11">
                  <c:v>44287</c:v>
                </c:pt>
                <c:pt idx="12">
                  <c:v>44317</c:v>
                </c:pt>
                <c:pt idx="13">
                  <c:v>44348</c:v>
                </c:pt>
                <c:pt idx="14">
                  <c:v>44378</c:v>
                </c:pt>
                <c:pt idx="15">
                  <c:v>44409</c:v>
                </c:pt>
                <c:pt idx="16">
                  <c:v>44440</c:v>
                </c:pt>
                <c:pt idx="17">
                  <c:v>44470</c:v>
                </c:pt>
                <c:pt idx="18">
                  <c:v>44501</c:v>
                </c:pt>
                <c:pt idx="19">
                  <c:v>44531</c:v>
                </c:pt>
                <c:pt idx="20">
                  <c:v>44562</c:v>
                </c:pt>
                <c:pt idx="21">
                  <c:v>44593</c:v>
                </c:pt>
                <c:pt idx="22">
                  <c:v>44621</c:v>
                </c:pt>
              </c:numCache>
            </c:numRef>
          </c:cat>
          <c:val>
            <c:numRef>
              <c:f>Sheet3!$D$4:$Z$4</c:f>
              <c:numCache>
                <c:formatCode>0.0</c:formatCode>
                <c:ptCount val="23"/>
                <c:pt idx="0">
                  <c:v>2.4369999999999998</c:v>
                </c:pt>
                <c:pt idx="1">
                  <c:v>10.295</c:v>
                </c:pt>
                <c:pt idx="2">
                  <c:v>12.728</c:v>
                </c:pt>
                <c:pt idx="3">
                  <c:v>14.534000000000001</c:v>
                </c:pt>
                <c:pt idx="4">
                  <c:v>18.64</c:v>
                </c:pt>
                <c:pt idx="5">
                  <c:v>26.187000000000001</c:v>
                </c:pt>
                <c:pt idx="6">
                  <c:v>23.626000000000001</c:v>
                </c:pt>
                <c:pt idx="7">
                  <c:v>22.126000000000001</c:v>
                </c:pt>
                <c:pt idx="8">
                  <c:v>26.335000000000001</c:v>
                </c:pt>
                <c:pt idx="9">
                  <c:v>27.331</c:v>
                </c:pt>
                <c:pt idx="10">
                  <c:v>31.93</c:v>
                </c:pt>
                <c:pt idx="11">
                  <c:v>13.7</c:v>
                </c:pt>
                <c:pt idx="12">
                  <c:v>1.2509999999999999</c:v>
                </c:pt>
                <c:pt idx="13">
                  <c:v>7.8970000000000002</c:v>
                </c:pt>
                <c:pt idx="14">
                  <c:v>17.888000000000002</c:v>
                </c:pt>
                <c:pt idx="15">
                  <c:v>23.21</c:v>
                </c:pt>
                <c:pt idx="16">
                  <c:v>29.184999999999999</c:v>
                </c:pt>
                <c:pt idx="17">
                  <c:v>31.774000000000001</c:v>
                </c:pt>
                <c:pt idx="18">
                  <c:v>22.471</c:v>
                </c:pt>
                <c:pt idx="19">
                  <c:v>28.111000000000001</c:v>
                </c:pt>
                <c:pt idx="20">
                  <c:v>24.091000000000001</c:v>
                </c:pt>
                <c:pt idx="21">
                  <c:v>27.039000000000001</c:v>
                </c:pt>
                <c:pt idx="22">
                  <c:v>32.088000000000001</c:v>
                </c:pt>
              </c:numCache>
            </c:numRef>
          </c:val>
          <c:extLst>
            <c:ext xmlns:c16="http://schemas.microsoft.com/office/drawing/2014/chart" uri="{C3380CC4-5D6E-409C-BE32-E72D297353CC}">
              <c16:uniqueId val="{00000001-F61F-42F8-9751-000316BF5DAA}"/>
            </c:ext>
          </c:extLst>
        </c:ser>
        <c:dLbls>
          <c:showLegendKey val="0"/>
          <c:showVal val="0"/>
          <c:showCatName val="0"/>
          <c:showSerName val="0"/>
          <c:showPercent val="0"/>
          <c:showBubbleSize val="0"/>
        </c:dLbls>
        <c:gapWidth val="219"/>
        <c:overlap val="-27"/>
        <c:axId val="841537088"/>
        <c:axId val="841519680"/>
      </c:barChart>
      <c:dateAx>
        <c:axId val="84153708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841519680"/>
        <c:crosses val="autoZero"/>
        <c:auto val="1"/>
        <c:lblOffset val="100"/>
        <c:baseTimeUnit val="months"/>
      </c:dateAx>
      <c:valAx>
        <c:axId val="841519680"/>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841537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4"/>
      </a:solid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2.xml.rels><?xml version="1.0" encoding="UTF-8" standalone="yes"?>
<Relationships xmlns="http://schemas.openxmlformats.org/package/2006/relationships"><Relationship Id="rId1" Type="http://schemas.openxmlformats.org/officeDocument/2006/relationships/image" Target="../media/image41.png"/></Relationships>
</file>

<file path=ppt/drawings/_rels/drawing3.xml.rels><?xml version="1.0" encoding="UTF-8" standalone="yes"?>
<Relationships xmlns="http://schemas.openxmlformats.org/package/2006/relationships"><Relationship Id="rId1" Type="http://schemas.openxmlformats.org/officeDocument/2006/relationships/image" Target="../media/image41.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drawing1.xml><?xml version="1.0" encoding="utf-8"?>
<c:userShapes xmlns:c="http://schemas.openxmlformats.org/drawingml/2006/chart">
  <cdr:relSizeAnchor xmlns:cdr="http://schemas.openxmlformats.org/drawingml/2006/chartDrawing">
    <cdr:from>
      <cdr:x>0.08638</cdr:x>
      <cdr:y>0.54472</cdr:y>
    </cdr:from>
    <cdr:to>
      <cdr:x>0.18663</cdr:x>
      <cdr:y>0.65442</cdr:y>
    </cdr:to>
    <cdr:sp macro="" textlink="">
      <cdr:nvSpPr>
        <cdr:cNvPr id="2" name="TextBox 1">
          <a:extLst xmlns:a="http://schemas.openxmlformats.org/drawingml/2006/main">
            <a:ext uri="{FF2B5EF4-FFF2-40B4-BE49-F238E27FC236}">
              <a16:creationId xmlns:a16="http://schemas.microsoft.com/office/drawing/2014/main" id="{DB1F6B50-C6CC-4012-BF78-A60ED8B624B5}"/>
            </a:ext>
          </a:extLst>
        </cdr:cNvPr>
        <cdr:cNvSpPr txBox="1"/>
      </cdr:nvSpPr>
      <cdr:spPr>
        <a:xfrm xmlns:a="http://schemas.openxmlformats.org/drawingml/2006/main">
          <a:off x="708529" y="1528315"/>
          <a:ext cx="822306" cy="307787"/>
        </a:xfrm>
        <a:prstGeom xmlns:a="http://schemas.openxmlformats.org/drawingml/2006/main" prst="rect">
          <a:avLst/>
        </a:prstGeom>
        <a:noFill xmlns:a="http://schemas.openxmlformats.org/drawingml/2006/main"/>
      </cdr:spPr>
      <cdr:txBody>
        <a:bodyPr xmlns:a="http://schemas.openxmlformats.org/drawingml/2006/main" wrap="square" lIns="109728" tIns="54864" rIns="109728" bIns="54864"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dirty="0" err="1">
              <a:latin typeface="Arial" panose="020B0604020202020204" pitchFamily="34" charset="0"/>
              <a:cs typeface="Arial" panose="020B0604020202020204" pitchFamily="34" charset="0"/>
            </a:rPr>
            <a:t>Nexon</a:t>
          </a:r>
          <a:endParaRPr lang="en-IN" sz="12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1763</cdr:x>
      <cdr:y>0.09799</cdr:y>
    </cdr:from>
    <cdr:to>
      <cdr:x>0.31864</cdr:x>
      <cdr:y>0.34725</cdr:y>
    </cdr:to>
    <cdr:sp macro="" textlink="">
      <cdr:nvSpPr>
        <cdr:cNvPr id="3" name="TextBox 16">
          <a:extLst xmlns:a="http://schemas.openxmlformats.org/drawingml/2006/main">
            <a:ext uri="{FF2B5EF4-FFF2-40B4-BE49-F238E27FC236}">
              <a16:creationId xmlns:a16="http://schemas.microsoft.com/office/drawing/2014/main" id="{854E8E4B-6CB4-41BB-93CD-70976A98D3D7}"/>
            </a:ext>
          </a:extLst>
        </cdr:cNvPr>
        <cdr:cNvSpPr txBox="1"/>
      </cdr:nvSpPr>
      <cdr:spPr>
        <a:xfrm xmlns:a="http://schemas.openxmlformats.org/drawingml/2006/main">
          <a:off x="1205050" y="237157"/>
          <a:ext cx="972933" cy="603242"/>
        </a:xfrm>
        <a:prstGeom xmlns:a="http://schemas.openxmlformats.org/drawingml/2006/main" prst="rect">
          <a:avLst/>
        </a:prstGeom>
        <a:noFill xmlns:a="http://schemas.openxmlformats.org/drawingml/2006/main"/>
      </cdr:spPr>
      <cdr:txBody>
        <a:bodyPr xmlns:a="http://schemas.openxmlformats.org/drawingml/2006/main" wrap="square" lIns="109728" tIns="54864" rIns="109728" bIns="54864"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dirty="0">
              <a:latin typeface="Arial" panose="020B0604020202020204" pitchFamily="34" charset="0"/>
              <a:cs typeface="Arial" panose="020B0604020202020204" pitchFamily="34" charset="0"/>
            </a:rPr>
            <a:t>Venue, </a:t>
          </a:r>
          <a:r>
            <a:rPr lang="en-US" sz="800" dirty="0" err="1">
              <a:latin typeface="Arial" panose="020B0604020202020204" pitchFamily="34" charset="0"/>
              <a:cs typeface="Arial" panose="020B0604020202020204" pitchFamily="34" charset="0"/>
            </a:rPr>
            <a:t>Seltos</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S-</a:t>
          </a:r>
          <a:r>
            <a:rPr lang="en-US" sz="800" dirty="0" err="1">
              <a:latin typeface="Arial" panose="020B0604020202020204" pitchFamily="34" charset="0"/>
              <a:cs typeface="Arial" panose="020B0604020202020204" pitchFamily="34" charset="0"/>
            </a:rPr>
            <a:t>Presso</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riber</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XUV 300</a:t>
          </a:r>
          <a:endParaRPr lang="en-IN"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29704</cdr:x>
      <cdr:y>0.0676</cdr:y>
    </cdr:from>
    <cdr:to>
      <cdr:x>0.44417</cdr:x>
      <cdr:y>0.3601</cdr:y>
    </cdr:to>
    <cdr:sp macro="" textlink="">
      <cdr:nvSpPr>
        <cdr:cNvPr id="4" name="TextBox 16">
          <a:extLst xmlns:a="http://schemas.openxmlformats.org/drawingml/2006/main">
            <a:ext uri="{FF2B5EF4-FFF2-40B4-BE49-F238E27FC236}">
              <a16:creationId xmlns:a16="http://schemas.microsoft.com/office/drawing/2014/main" id="{4353B531-D020-4435-AA60-49AE49FAD978}"/>
            </a:ext>
          </a:extLst>
        </cdr:cNvPr>
        <cdr:cNvSpPr txBox="1"/>
      </cdr:nvSpPr>
      <cdr:spPr>
        <a:xfrm xmlns:a="http://schemas.openxmlformats.org/drawingml/2006/main">
          <a:off x="2030371" y="163606"/>
          <a:ext cx="1005674" cy="70788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dirty="0">
              <a:latin typeface="Arial" panose="020B0604020202020204" pitchFamily="34" charset="0"/>
              <a:cs typeface="Arial" panose="020B0604020202020204" pitchFamily="34" charset="0"/>
            </a:rPr>
            <a:t>Venue, </a:t>
          </a:r>
          <a:r>
            <a:rPr lang="en-US" sz="800" dirty="0" err="1">
              <a:latin typeface="Arial" panose="020B0604020202020204" pitchFamily="34" charset="0"/>
              <a:cs typeface="Arial" panose="020B0604020202020204" pitchFamily="34" charset="0"/>
            </a:rPr>
            <a:t>Sonet,</a:t>
          </a:r>
        </a:p>
        <a:p xmlns:a="http://schemas.openxmlformats.org/drawingml/2006/main">
          <a:pPr algn="ctr"/>
          <a:r>
            <a:rPr lang="en-US" sz="800" dirty="0" err="1">
              <a:latin typeface="Arial" panose="020B0604020202020204" pitchFamily="34" charset="0"/>
              <a:cs typeface="Arial" panose="020B0604020202020204" pitchFamily="34" charset="0"/>
            </a:rPr>
            <a:t>Seltos</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S-</a:t>
          </a:r>
          <a:r>
            <a:rPr lang="en-US" sz="800" dirty="0" err="1">
              <a:latin typeface="Arial" panose="020B0604020202020204" pitchFamily="34" charset="0"/>
              <a:cs typeface="Arial" panose="020B0604020202020204" pitchFamily="34" charset="0"/>
            </a:rPr>
            <a:t>Presso</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riber</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Aura, </a:t>
          </a:r>
        </a:p>
        <a:p xmlns:a="http://schemas.openxmlformats.org/drawingml/2006/main">
          <a:pPr algn="ctr"/>
          <a:r>
            <a:rPr lang="en-US" sz="800" dirty="0" err="1">
              <a:latin typeface="Arial" panose="020B0604020202020204" pitchFamily="34" charset="0"/>
              <a:cs typeface="Arial" panose="020B0604020202020204" pitchFamily="34" charset="0"/>
            </a:rPr>
            <a:t>Altroz</a:t>
          </a:r>
          <a:r>
            <a:rPr lang="en-US" sz="800" dirty="0">
              <a:latin typeface="Arial" panose="020B0604020202020204" pitchFamily="34" charset="0"/>
              <a:cs typeface="Arial" panose="020B0604020202020204" pitchFamily="34" charset="0"/>
            </a:rPr>
            <a:t>, </a:t>
          </a:r>
          <a:endParaRPr lang="en-IN"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3187</cdr:x>
      <cdr:y>0.07839</cdr:y>
    </cdr:from>
    <cdr:to>
      <cdr:x>0.56813</cdr:x>
      <cdr:y>0.40268</cdr:y>
    </cdr:to>
    <cdr:sp macro="" textlink="">
      <cdr:nvSpPr>
        <cdr:cNvPr id="5" name="TextBox 16">
          <a:extLst xmlns:a="http://schemas.openxmlformats.org/drawingml/2006/main">
            <a:ext uri="{FF2B5EF4-FFF2-40B4-BE49-F238E27FC236}">
              <a16:creationId xmlns:a16="http://schemas.microsoft.com/office/drawing/2014/main" id="{8D4D8FBB-7601-4FF5-8467-5C658FCCB67F}"/>
            </a:ext>
          </a:extLst>
        </cdr:cNvPr>
        <cdr:cNvSpPr txBox="1"/>
      </cdr:nvSpPr>
      <cdr:spPr>
        <a:xfrm xmlns:a="http://schemas.openxmlformats.org/drawingml/2006/main">
          <a:off x="2951950" y="189723"/>
          <a:ext cx="931374" cy="78483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dirty="0" err="1">
              <a:latin typeface="Arial" panose="020B0604020202020204" pitchFamily="34" charset="0"/>
              <a:cs typeface="Arial" panose="020B0604020202020204" pitchFamily="34" charset="0"/>
            </a:rPr>
            <a:t>Sonet</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Triber</a:t>
          </a:r>
          <a:r>
            <a:rPr lang="en-US" sz="900" dirty="0">
              <a:latin typeface="Arial" panose="020B0604020202020204" pitchFamily="34" charset="0"/>
              <a:cs typeface="Arial" panose="020B0604020202020204" pitchFamily="34" charset="0"/>
            </a:rPr>
            <a:t>, </a:t>
          </a:r>
        </a:p>
        <a:p xmlns:a="http://schemas.openxmlformats.org/drawingml/2006/main">
          <a:pPr algn="ctr"/>
          <a:r>
            <a:rPr lang="en-US" sz="900" dirty="0">
              <a:latin typeface="Arial" panose="020B0604020202020204" pitchFamily="34" charset="0"/>
              <a:cs typeface="Arial" panose="020B0604020202020204" pitchFamily="34" charset="0"/>
            </a:rPr>
            <a:t>Aura, </a:t>
          </a:r>
        </a:p>
        <a:p xmlns:a="http://schemas.openxmlformats.org/drawingml/2006/main">
          <a:pPr algn="ctr"/>
          <a:r>
            <a:rPr lang="en-US" sz="900" dirty="0" err="1">
              <a:latin typeface="Arial" panose="020B0604020202020204" pitchFamily="34" charset="0"/>
              <a:cs typeface="Arial" panose="020B0604020202020204" pitchFamily="34" charset="0"/>
            </a:rPr>
            <a:t>Altroz</a:t>
          </a:r>
          <a:r>
            <a:rPr lang="en-US" sz="900" dirty="0">
              <a:latin typeface="Arial" panose="020B0604020202020204" pitchFamily="34" charset="0"/>
              <a:cs typeface="Arial" panose="020B0604020202020204" pitchFamily="34" charset="0"/>
            </a:rPr>
            <a:t>, </a:t>
          </a:r>
        </a:p>
        <a:p xmlns:a="http://schemas.openxmlformats.org/drawingml/2006/main">
          <a:pPr algn="ctr"/>
          <a:r>
            <a:rPr lang="en-US" sz="900" dirty="0" err="1">
              <a:latin typeface="Arial" panose="020B0604020202020204" pitchFamily="34" charset="0"/>
              <a:cs typeface="Arial" panose="020B0604020202020204" pitchFamily="34" charset="0"/>
            </a:rPr>
            <a:t>Magnite</a:t>
          </a:r>
          <a:r>
            <a:rPr lang="en-US" sz="900" dirty="0">
              <a:latin typeface="Arial" panose="020B0604020202020204" pitchFamily="34" charset="0"/>
              <a:cs typeface="Arial" panose="020B0604020202020204" pitchFamily="34" charset="0"/>
            </a:rPr>
            <a:t>, Kiger, Alcazar</a:t>
          </a:r>
          <a:endParaRPr lang="en-IN" sz="9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6487</cdr:x>
      <cdr:y>0.03417</cdr:y>
    </cdr:from>
    <cdr:to>
      <cdr:x>0.69917</cdr:x>
      <cdr:y>0.47928</cdr:y>
    </cdr:to>
    <cdr:sp macro="" textlink="">
      <cdr:nvSpPr>
        <cdr:cNvPr id="6" name="TextBox 16">
          <a:extLst xmlns:a="http://schemas.openxmlformats.org/drawingml/2006/main">
            <a:ext uri="{FF2B5EF4-FFF2-40B4-BE49-F238E27FC236}">
              <a16:creationId xmlns:a16="http://schemas.microsoft.com/office/drawing/2014/main" id="{AB1FCDEF-5832-4924-BA75-7595B3657E4B}"/>
            </a:ext>
          </a:extLst>
        </cdr:cNvPr>
        <cdr:cNvSpPr txBox="1"/>
      </cdr:nvSpPr>
      <cdr:spPr>
        <a:xfrm xmlns:a="http://schemas.openxmlformats.org/drawingml/2006/main">
          <a:off x="3861041" y="82696"/>
          <a:ext cx="917978" cy="107721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dirty="0" err="1">
              <a:latin typeface="Arial" panose="020B0604020202020204" pitchFamily="34" charset="0"/>
              <a:cs typeface="Arial" panose="020B0604020202020204" pitchFamily="34" charset="0"/>
            </a:rPr>
            <a:t>Sonet</a:t>
          </a:r>
          <a:r>
            <a:rPr lang="en-US" sz="800" dirty="0">
              <a:latin typeface="Arial" panose="020B0604020202020204" pitchFamily="34" charset="0"/>
              <a:cs typeface="Arial" panose="020B0604020202020204" pitchFamily="34" charset="0"/>
            </a:rPr>
            <a:t> , </a:t>
          </a:r>
        </a:p>
        <a:p xmlns:a="http://schemas.openxmlformats.org/drawingml/2006/main">
          <a:pPr algn="ctr"/>
          <a:r>
            <a:rPr lang="en-US" sz="800" dirty="0" err="1">
              <a:latin typeface="Arial" panose="020B0604020202020204" pitchFamily="34" charset="0"/>
              <a:cs typeface="Arial" panose="020B0604020202020204" pitchFamily="34" charset="0"/>
            </a:rPr>
            <a:t>Magnite</a:t>
          </a:r>
          <a:r>
            <a:rPr lang="en-US" sz="800" dirty="0">
              <a:latin typeface="Arial" panose="020B0604020202020204" pitchFamily="34" charset="0"/>
              <a:cs typeface="Arial" panose="020B0604020202020204" pitchFamily="34" charset="0"/>
            </a:rPr>
            <a:t>, Kiger, Alcazar, </a:t>
          </a:r>
        </a:p>
        <a:p xmlns:a="http://schemas.openxmlformats.org/drawingml/2006/main">
          <a:pPr algn="ctr"/>
          <a:r>
            <a:rPr lang="en-US" sz="800" dirty="0" err="1">
              <a:latin typeface="Arial" panose="020B0604020202020204" pitchFamily="34" charset="0"/>
              <a:cs typeface="Arial" panose="020B0604020202020204" pitchFamily="34" charset="0"/>
            </a:rPr>
            <a:t>Kushaq</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aigun</a:t>
          </a:r>
          <a:r>
            <a:rPr lang="en-US" sz="800" dirty="0">
              <a:latin typeface="Arial" panose="020B0604020202020204" pitchFamily="34" charset="0"/>
              <a:cs typeface="Arial" panose="020B0604020202020204" pitchFamily="34" charset="0"/>
            </a:rPr>
            <a:t>, XUV 7oo, </a:t>
          </a:r>
        </a:p>
        <a:p xmlns:a="http://schemas.openxmlformats.org/drawingml/2006/main">
          <a:pPr algn="ctr"/>
          <a:r>
            <a:rPr lang="en-US" sz="800" dirty="0">
              <a:latin typeface="Arial" panose="020B0604020202020204" pitchFamily="34" charset="0"/>
              <a:cs typeface="Arial" panose="020B0604020202020204" pitchFamily="34" charset="0"/>
            </a:rPr>
            <a:t>MG Astor, </a:t>
          </a:r>
          <a:r>
            <a:rPr lang="en-US" sz="800" dirty="0" err="1">
              <a:latin typeface="Arial" panose="020B0604020202020204" pitchFamily="34" charset="0"/>
              <a:cs typeface="Arial" panose="020B0604020202020204" pitchFamily="34" charset="0"/>
            </a:rPr>
            <a:t>Gloster</a:t>
          </a:r>
          <a:endParaRPr lang="en-IN"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69295</cdr:x>
      <cdr:y>0.0312</cdr:y>
    </cdr:from>
    <cdr:to>
      <cdr:x>0.83206</cdr:x>
      <cdr:y>0.37457</cdr:y>
    </cdr:to>
    <cdr:sp macro="" textlink="">
      <cdr:nvSpPr>
        <cdr:cNvPr id="7" name="TextBox 16">
          <a:extLst xmlns:a="http://schemas.openxmlformats.org/drawingml/2006/main">
            <a:ext uri="{FF2B5EF4-FFF2-40B4-BE49-F238E27FC236}">
              <a16:creationId xmlns:a16="http://schemas.microsoft.com/office/drawing/2014/main" id="{73CB1F9F-DC57-4749-AD84-68CB51632BE7}"/>
            </a:ext>
          </a:extLst>
        </cdr:cNvPr>
        <cdr:cNvSpPr txBox="1"/>
      </cdr:nvSpPr>
      <cdr:spPr>
        <a:xfrm xmlns:a="http://schemas.openxmlformats.org/drawingml/2006/main">
          <a:off x="4736503" y="75508"/>
          <a:ext cx="950855" cy="83099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dirty="0" err="1">
              <a:latin typeface="Arial" panose="020B0604020202020204" pitchFamily="34" charset="0"/>
              <a:cs typeface="Arial" panose="020B0604020202020204" pitchFamily="34" charset="0"/>
            </a:rPr>
            <a:t>Sonet</a:t>
          </a:r>
          <a:r>
            <a:rPr lang="en-US" sz="800" dirty="0">
              <a:latin typeface="Arial" panose="020B0604020202020204" pitchFamily="34" charset="0"/>
              <a:cs typeface="Arial" panose="020B0604020202020204" pitchFamily="34" charset="0"/>
            </a:rPr>
            <a:t> , </a:t>
          </a:r>
          <a:r>
            <a:rPr lang="en-US" sz="800" dirty="0" err="1">
              <a:latin typeface="Arial" panose="020B0604020202020204" pitchFamily="34" charset="0"/>
              <a:cs typeface="Arial" panose="020B0604020202020204" pitchFamily="34" charset="0"/>
            </a:rPr>
            <a:t>Magnite</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Kiger, Alcazar, </a:t>
          </a:r>
        </a:p>
        <a:p xmlns:a="http://schemas.openxmlformats.org/drawingml/2006/main">
          <a:pPr algn="ctr"/>
          <a:r>
            <a:rPr lang="en-US" sz="800" dirty="0" err="1">
              <a:latin typeface="Arial" panose="020B0604020202020204" pitchFamily="34" charset="0"/>
              <a:cs typeface="Arial" panose="020B0604020202020204" pitchFamily="34" charset="0"/>
            </a:rPr>
            <a:t>Kushaq</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aigun</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XUV 7oo, </a:t>
          </a:r>
          <a:r>
            <a:rPr lang="en-US" sz="800" dirty="0" err="1">
              <a:latin typeface="Arial" panose="020B0604020202020204" pitchFamily="34" charset="0"/>
              <a:cs typeface="Arial" panose="020B0604020202020204" pitchFamily="34" charset="0"/>
            </a:rPr>
            <a:t>Gloster</a:t>
          </a:r>
          <a:r>
            <a:rPr lang="en-US" sz="800" dirty="0">
              <a:latin typeface="Arial" panose="020B0604020202020204" pitchFamily="34" charset="0"/>
              <a:cs typeface="Arial" panose="020B0604020202020204" pitchFamily="34" charset="0"/>
            </a:rPr>
            <a:t>, MG Astor, Punch</a:t>
          </a:r>
          <a:endParaRPr lang="en-IN" sz="8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83152</cdr:x>
      <cdr:y>0</cdr:y>
    </cdr:from>
    <cdr:to>
      <cdr:x>0.97064</cdr:x>
      <cdr:y>0.39424</cdr:y>
    </cdr:to>
    <cdr:sp macro="" textlink="">
      <cdr:nvSpPr>
        <cdr:cNvPr id="8" name="TextBox 16">
          <a:extLst xmlns:a="http://schemas.openxmlformats.org/drawingml/2006/main">
            <a:ext uri="{FF2B5EF4-FFF2-40B4-BE49-F238E27FC236}">
              <a16:creationId xmlns:a16="http://schemas.microsoft.com/office/drawing/2014/main" id="{E3FED947-086C-4C1A-96D5-38205ACE6A43}"/>
            </a:ext>
          </a:extLst>
        </cdr:cNvPr>
        <cdr:cNvSpPr txBox="1"/>
      </cdr:nvSpPr>
      <cdr:spPr>
        <a:xfrm xmlns:a="http://schemas.openxmlformats.org/drawingml/2006/main">
          <a:off x="5683667" y="0"/>
          <a:ext cx="950923" cy="95410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dirty="0" err="1">
              <a:latin typeface="Arial" panose="020B0604020202020204" pitchFamily="34" charset="0"/>
              <a:cs typeface="Arial" panose="020B0604020202020204" pitchFamily="34" charset="0"/>
            </a:rPr>
            <a:t>Sonet</a:t>
          </a:r>
          <a:r>
            <a:rPr lang="en-US" sz="800" dirty="0">
              <a:latin typeface="Arial" panose="020B0604020202020204" pitchFamily="34" charset="0"/>
              <a:cs typeface="Arial" panose="020B0604020202020204" pitchFamily="34" charset="0"/>
            </a:rPr>
            <a:t> , </a:t>
          </a:r>
          <a:r>
            <a:rPr lang="en-US" sz="800" dirty="0" err="1">
              <a:latin typeface="Arial" panose="020B0604020202020204" pitchFamily="34" charset="0"/>
              <a:cs typeface="Arial" panose="020B0604020202020204" pitchFamily="34" charset="0"/>
            </a:rPr>
            <a:t>Magnite</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Kiger, Alcazar, </a:t>
          </a:r>
        </a:p>
        <a:p xmlns:a="http://schemas.openxmlformats.org/drawingml/2006/main">
          <a:pPr algn="ctr"/>
          <a:r>
            <a:rPr lang="en-US" sz="800" dirty="0" err="1">
              <a:latin typeface="Arial" panose="020B0604020202020204" pitchFamily="34" charset="0"/>
              <a:cs typeface="Arial" panose="020B0604020202020204" pitchFamily="34" charset="0"/>
            </a:rPr>
            <a:t>Kushaq</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aigun</a:t>
          </a:r>
          <a:r>
            <a:rPr lang="en-US" sz="800" dirty="0">
              <a:latin typeface="Arial" panose="020B0604020202020204" pitchFamily="34" charset="0"/>
              <a:cs typeface="Arial" panose="020B0604020202020204" pitchFamily="34" charset="0"/>
            </a:rPr>
            <a:t>, </a:t>
          </a:r>
        </a:p>
        <a:p xmlns:a="http://schemas.openxmlformats.org/drawingml/2006/main">
          <a:pPr algn="ctr"/>
          <a:r>
            <a:rPr lang="en-US" sz="800" dirty="0">
              <a:latin typeface="Arial" panose="020B0604020202020204" pitchFamily="34" charset="0"/>
              <a:cs typeface="Arial" panose="020B0604020202020204" pitchFamily="34" charset="0"/>
            </a:rPr>
            <a:t>XUV 7oo, </a:t>
          </a:r>
          <a:r>
            <a:rPr lang="en-US" sz="800" dirty="0" err="1">
              <a:latin typeface="Arial" panose="020B0604020202020204" pitchFamily="34" charset="0"/>
              <a:cs typeface="Arial" panose="020B0604020202020204" pitchFamily="34" charset="0"/>
            </a:rPr>
            <a:t>Gloster</a:t>
          </a:r>
          <a:r>
            <a:rPr lang="en-US" sz="800" dirty="0">
              <a:latin typeface="Arial" panose="020B0604020202020204" pitchFamily="34" charset="0"/>
              <a:cs typeface="Arial" panose="020B0604020202020204" pitchFamily="34" charset="0"/>
            </a:rPr>
            <a:t>, Astor, Punch, </a:t>
          </a:r>
          <a:r>
            <a:rPr lang="en-US" sz="800" dirty="0" err="1">
              <a:latin typeface="Arial" panose="020B0604020202020204" pitchFamily="34" charset="0"/>
              <a:cs typeface="Arial" panose="020B0604020202020204" pitchFamily="34" charset="0"/>
            </a:rPr>
            <a:t>Carens</a:t>
          </a:r>
          <a:r>
            <a:rPr lang="en-US" sz="800" dirty="0">
              <a:latin typeface="Arial" panose="020B0604020202020204" pitchFamily="34" charset="0"/>
              <a:cs typeface="Arial" panose="020B0604020202020204" pitchFamily="34" charset="0"/>
            </a:rPr>
            <a:t>, Slavia</a:t>
          </a:r>
          <a:endParaRPr lang="en-IN" sz="800"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0902</cdr:x>
      <cdr:y>0.20125</cdr:y>
    </cdr:from>
    <cdr:to>
      <cdr:x>0.06534</cdr:x>
      <cdr:y>0.52828</cdr:y>
    </cdr:to>
    <cdr:pic>
      <cdr:nvPicPr>
        <cdr:cNvPr id="2" name="chart">
          <a:extLst xmlns:a="http://schemas.openxmlformats.org/drawingml/2006/main">
            <a:ext uri="{FF2B5EF4-FFF2-40B4-BE49-F238E27FC236}">
              <a16:creationId xmlns:a16="http://schemas.microsoft.com/office/drawing/2014/main" id="{745D463C-A768-49F6-883E-B2ABB73512C3}"/>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rot="16200000">
          <a:off x="-330232" y="1045077"/>
          <a:ext cx="1079096" cy="317032"/>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01818</cdr:x>
      <cdr:y>0.22511</cdr:y>
    </cdr:from>
    <cdr:to>
      <cdr:x>0.07492</cdr:x>
      <cdr:y>0.56493</cdr:y>
    </cdr:to>
    <cdr:pic>
      <cdr:nvPicPr>
        <cdr:cNvPr id="2" name="chart">
          <a:extLst xmlns:a="http://schemas.openxmlformats.org/drawingml/2006/main">
            <a:ext uri="{FF2B5EF4-FFF2-40B4-BE49-F238E27FC236}">
              <a16:creationId xmlns:a16="http://schemas.microsoft.com/office/drawing/2014/main" id="{9494E5ED-C849-4040-AE9B-E288B6E2F79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rot="16200000">
          <a:off x="-279432" y="1095877"/>
          <a:ext cx="1079096" cy="317032"/>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C0D2F7-BF3D-49DF-9757-DF52867C1DA0}" type="datetimeFigureOut">
              <a:rPr lang="en-IN" smtClean="0"/>
              <a:t>19-04-2022</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D03756-8FA7-4294-9C63-583DFC1EC3BC}" type="slidenum">
              <a:rPr lang="en-IN" smtClean="0"/>
              <a:t>‹#›</a:t>
            </a:fld>
            <a:endParaRPr lang="en-IN"/>
          </a:p>
        </p:txBody>
      </p:sp>
    </p:spTree>
    <p:extLst>
      <p:ext uri="{BB962C8B-B14F-4D97-AF65-F5344CB8AC3E}">
        <p14:creationId xmlns:p14="http://schemas.microsoft.com/office/powerpoint/2010/main" val="23263217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3712D1-11B1-4205-931F-89733467F3D3}" type="datetimeFigureOut">
              <a:rPr lang="en-IN" smtClean="0"/>
              <a:t>19-04-2022</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DD070D-38F4-4CF4-9EBA-71F9D887FAA6}" type="slidenum">
              <a:rPr lang="en-IN" smtClean="0"/>
              <a:t>‹#›</a:t>
            </a:fld>
            <a:endParaRPr lang="en-IN"/>
          </a:p>
        </p:txBody>
      </p:sp>
    </p:spTree>
    <p:extLst>
      <p:ext uri="{BB962C8B-B14F-4D97-AF65-F5344CB8AC3E}">
        <p14:creationId xmlns:p14="http://schemas.microsoft.com/office/powerpoint/2010/main" val="30142327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8864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4424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522D878-587B-4358-8615-19F823C20BC8}" type="slidenum">
              <a:rPr lang="en-US" smtClean="0">
                <a:solidFill>
                  <a:prstClr val="black"/>
                </a:solidFill>
              </a:rPr>
              <a:pPr/>
              <a:t>17</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4331134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52F8D65F-BA54-47EE-9139-E098007C5A5F}" type="slidenum">
              <a:rPr lang="en-IN" smtClean="0">
                <a:solidFill>
                  <a:prstClr val="black"/>
                </a:solidFill>
              </a:rPr>
              <a:pPr>
                <a:defRPr/>
              </a:pPr>
              <a:t>18</a:t>
            </a:fld>
            <a:endParaRPr lang="en-IN" dirty="0">
              <a:solidFill>
                <a:prstClr val="black"/>
              </a:solidFill>
            </a:endParaRPr>
          </a:p>
        </p:txBody>
      </p:sp>
    </p:spTree>
    <p:extLst>
      <p:ext uri="{BB962C8B-B14F-4D97-AF65-F5344CB8AC3E}">
        <p14:creationId xmlns:p14="http://schemas.microsoft.com/office/powerpoint/2010/main" val="141386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702">
              <a:defRPr/>
            </a:pPr>
            <a:r>
              <a:rPr lang="en-IN" dirty="0">
                <a:latin typeface="Arial" panose="020B0604020202020204" pitchFamily="34" charset="0"/>
                <a:cs typeface="Arial" panose="020B0604020202020204" pitchFamily="34" charset="0"/>
              </a:rPr>
              <a:t>Usually, MGNREGA work demand starts tapering off from July as kharif sowing season starts in rural areas and casual labourers get work in fields where wages are generally higher. However, this year, though the demand has tapered off, it is among the lowest declines.</a:t>
            </a:r>
          </a:p>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t>19</a:t>
            </a:fld>
            <a:endParaRPr lang="en-IN" dirty="0"/>
          </a:p>
        </p:txBody>
      </p:sp>
    </p:spTree>
    <p:extLst>
      <p:ext uri="{BB962C8B-B14F-4D97-AF65-F5344CB8AC3E}">
        <p14:creationId xmlns:p14="http://schemas.microsoft.com/office/powerpoint/2010/main" val="3956353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t>21</a:t>
            </a:fld>
            <a:endParaRPr lang="en-IN" dirty="0"/>
          </a:p>
        </p:txBody>
      </p:sp>
    </p:spTree>
    <p:extLst>
      <p:ext uri="{BB962C8B-B14F-4D97-AF65-F5344CB8AC3E}">
        <p14:creationId xmlns:p14="http://schemas.microsoft.com/office/powerpoint/2010/main" val="135839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t>22</a:t>
            </a:fld>
            <a:endParaRPr lang="en-IN" dirty="0"/>
          </a:p>
        </p:txBody>
      </p:sp>
    </p:spTree>
    <p:extLst>
      <p:ext uri="{BB962C8B-B14F-4D97-AF65-F5344CB8AC3E}">
        <p14:creationId xmlns:p14="http://schemas.microsoft.com/office/powerpoint/2010/main" val="18374506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t>23</a:t>
            </a:fld>
            <a:endParaRPr lang="en-IN" dirty="0"/>
          </a:p>
        </p:txBody>
      </p:sp>
    </p:spTree>
    <p:extLst>
      <p:ext uri="{BB962C8B-B14F-4D97-AF65-F5344CB8AC3E}">
        <p14:creationId xmlns:p14="http://schemas.microsoft.com/office/powerpoint/2010/main" val="3415060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52F8D65F-BA54-47EE-9139-E098007C5A5F}" type="slidenum">
              <a:rPr lang="en-IN" smtClean="0">
                <a:solidFill>
                  <a:prstClr val="black"/>
                </a:solidFill>
              </a:rPr>
              <a:pPr>
                <a:defRPr/>
              </a:pPr>
              <a:t>24</a:t>
            </a:fld>
            <a:endParaRPr lang="en-IN" dirty="0">
              <a:solidFill>
                <a:prstClr val="black"/>
              </a:solidFill>
            </a:endParaRPr>
          </a:p>
        </p:txBody>
      </p:sp>
    </p:spTree>
    <p:extLst>
      <p:ext uri="{BB962C8B-B14F-4D97-AF65-F5344CB8AC3E}">
        <p14:creationId xmlns:p14="http://schemas.microsoft.com/office/powerpoint/2010/main" val="40087465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a:defRPr/>
            </a:pPr>
            <a:fld id="{52F8D65F-BA54-47EE-9139-E098007C5A5F}" type="slidenum">
              <a:rPr lang="en-IN" smtClean="0">
                <a:solidFill>
                  <a:prstClr val="black"/>
                </a:solidFill>
              </a:rPr>
              <a:pPr>
                <a:defRPr/>
              </a:pPr>
              <a:t>29</a:t>
            </a:fld>
            <a:endParaRPr lang="en-IN" dirty="0">
              <a:solidFill>
                <a:prstClr val="black"/>
              </a:solidFill>
            </a:endParaRPr>
          </a:p>
        </p:txBody>
      </p:sp>
    </p:spTree>
    <p:extLst>
      <p:ext uri="{BB962C8B-B14F-4D97-AF65-F5344CB8AC3E}">
        <p14:creationId xmlns:p14="http://schemas.microsoft.com/office/powerpoint/2010/main" val="873119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l launches</a:t>
            </a:r>
          </a:p>
        </p:txBody>
      </p:sp>
      <p:sp>
        <p:nvSpPr>
          <p:cNvPr id="4" name="Slide Number Placeholder 3"/>
          <p:cNvSpPr>
            <a:spLocks noGrp="1"/>
          </p:cNvSpPr>
          <p:nvPr>
            <p:ph type="sldNum" sz="quarter" idx="5"/>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ECC2C277-C8D5-452A-81C3-F2BD0BB8A261}" type="slidenum">
              <a:rPr kumimoji="0" lang="en-IN"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33</a:t>
            </a:fld>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79806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3D48AD-1BA4-4C99-8A14-C2A9B48DE219}"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297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30583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580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344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9440" lvl="1" indent="0" defTabSz="918881">
              <a:buFont typeface="Arial" panose="020B0604020202020204" pitchFamily="34" charset="0"/>
              <a:buNone/>
              <a:defRPr/>
            </a:pPr>
            <a:endParaRPr lang="en-US" dirty="0"/>
          </a:p>
        </p:txBody>
      </p:sp>
      <p:sp>
        <p:nvSpPr>
          <p:cNvPr id="4" name="Slide Number Placeholder 3"/>
          <p:cNvSpPr>
            <a:spLocks noGrp="1"/>
          </p:cNvSpPr>
          <p:nvPr>
            <p:ph type="sldNum" sz="quarter" idx="10"/>
          </p:nvPr>
        </p:nvSpPr>
        <p:spPr/>
        <p:txBody>
          <a:bodyPr/>
          <a:lstStyle/>
          <a:p>
            <a:pPr marL="0" marR="0" lvl="0" indent="0" algn="r" defTabSz="914253" rtl="0" eaLnBrk="1" fontAlgn="auto" latinLnBrk="0" hangingPunct="1">
              <a:lnSpc>
                <a:spcPct val="100000"/>
              </a:lnSpc>
              <a:spcBef>
                <a:spcPts val="0"/>
              </a:spcBef>
              <a:spcAft>
                <a:spcPts val="0"/>
              </a:spcAft>
              <a:buClrTx/>
              <a:buSzTx/>
              <a:buFontTx/>
              <a:buNone/>
              <a:tabLst/>
              <a:defRPr/>
            </a:pPr>
            <a:fld id="{ECC2C277-C8D5-452A-81C3-F2BD0BB8A26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53" rtl="0" eaLnBrk="1" fontAlgn="auto" latinLnBrk="0" hangingPunct="1">
                <a:lnSpc>
                  <a:spcPct val="100000"/>
                </a:lnSpc>
                <a:spcBef>
                  <a:spcPts val="0"/>
                </a:spcBef>
                <a:spcAft>
                  <a:spcPts val="0"/>
                </a:spcAft>
                <a:buClrTx/>
                <a:buSzTx/>
                <a:buFontTx/>
                <a:buNone/>
                <a:tabLst/>
                <a:defRPr/>
              </a:pPr>
              <a:t>39</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36552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Update</a:t>
            </a:r>
          </a:p>
        </p:txBody>
      </p:sp>
      <p:sp>
        <p:nvSpPr>
          <p:cNvPr id="4" name="Slide Number Placeholder 3"/>
          <p:cNvSpPr>
            <a:spLocks noGrp="1"/>
          </p:cNvSpPr>
          <p:nvPr>
            <p:ph type="sldNum" sz="quarter"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33781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Updat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heck model launches expected in Q1 has been postponed, if yes in which quarter</a:t>
            </a:r>
          </a:p>
        </p:txBody>
      </p:sp>
      <p:sp>
        <p:nvSpPr>
          <p:cNvPr id="4" name="Slide Number Placeholder 3"/>
          <p:cNvSpPr>
            <a:spLocks noGrp="1"/>
          </p:cNvSpPr>
          <p:nvPr>
            <p:ph type="sldNum" sz="quarter" idx="10"/>
          </p:nvPr>
        </p:nvSpPr>
        <p:spPr/>
        <p:txBody>
          <a:bodyPr/>
          <a:lstStyle/>
          <a:p>
            <a:fld id="{DF672D17-468C-4500-81A8-255F0192F835}" type="slidenum">
              <a:rPr lang="en-US" smtClean="0"/>
              <a:t>41</a:t>
            </a:fld>
            <a:endParaRPr lang="en-US"/>
          </a:p>
        </p:txBody>
      </p:sp>
    </p:spTree>
    <p:extLst>
      <p:ext uri="{BB962C8B-B14F-4D97-AF65-F5344CB8AC3E}">
        <p14:creationId xmlns:p14="http://schemas.microsoft.com/office/powerpoint/2010/main" val="34374449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15273" lvl="1" indent="-339076" defTabSz="914363">
              <a:lnSpc>
                <a:spcPts val="1680"/>
              </a:lnSpc>
              <a:spcBef>
                <a:spcPts val="720"/>
              </a:spcBef>
              <a:buSzPct val="150000"/>
              <a:buFont typeface="Arial" panose="020B0604020202020204" pitchFamily="34" charset="0"/>
              <a:buChar char="•"/>
              <a:defRPr/>
            </a:pPr>
            <a:endParaRPr lang="en-US" sz="1400" dirty="0">
              <a:latin typeface="Arial Regular" charset="0"/>
            </a:endParaRPr>
          </a:p>
        </p:txBody>
      </p:sp>
      <p:sp>
        <p:nvSpPr>
          <p:cNvPr id="4" name="Slide Number Placeholder 3"/>
          <p:cNvSpPr>
            <a:spLocks noGrp="1"/>
          </p:cNvSpPr>
          <p:nvPr>
            <p:ph type="sldNum" sz="quarter" idx="10"/>
          </p:nvPr>
        </p:nvSpPr>
        <p:spPr/>
        <p:txBody>
          <a:bodyPr/>
          <a:lstStyle/>
          <a:p>
            <a:pPr marL="0" marR="0" lvl="0" indent="0" algn="r" defTabSz="914253"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53"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03450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5732" lvl="1" indent="-205732" fontAlgn="base">
              <a:lnSpc>
                <a:spcPts val="1700"/>
              </a:lnSpc>
              <a:spcBef>
                <a:spcPts val="500"/>
              </a:spcBef>
              <a:spcAft>
                <a:spcPts val="500"/>
              </a:spcAft>
              <a:buClr>
                <a:schemeClr val="tx1"/>
              </a:buClr>
              <a:buSzPct val="150000"/>
              <a:buFont typeface="Arial" panose="020B0604020202020204" pitchFamily="34" charset="0"/>
              <a:buChar char="•"/>
              <a:defRPr/>
            </a:pPr>
            <a:r>
              <a:rPr lang="en-GB" dirty="0"/>
              <a:t>Update</a:t>
            </a:r>
          </a:p>
        </p:txBody>
      </p:sp>
      <p:sp>
        <p:nvSpPr>
          <p:cNvPr id="4" name="Slide Number Placeholder 3"/>
          <p:cNvSpPr>
            <a:spLocks noGrp="1"/>
          </p:cNvSpPr>
          <p:nvPr>
            <p:ph type="sldNum" sz="quarter" idx="10"/>
          </p:nvPr>
        </p:nvSpPr>
        <p:spPr/>
        <p:txBody>
          <a:bodyPr/>
          <a:lstStyle/>
          <a:p>
            <a:pPr marL="0" marR="0" lvl="0" indent="0" algn="r" defTabSz="914253"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53"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3588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53"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53"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12423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Update</a:t>
            </a:r>
          </a:p>
        </p:txBody>
      </p:sp>
      <p:sp>
        <p:nvSpPr>
          <p:cNvPr id="4" name="Slide Number Placeholder 3"/>
          <p:cNvSpPr>
            <a:spLocks noGrp="1"/>
          </p:cNvSpPr>
          <p:nvPr>
            <p:ph type="sldNum" sz="quarter" idx="10"/>
          </p:nvPr>
        </p:nvSpPr>
        <p:spPr/>
        <p:txBody>
          <a:bodyPr/>
          <a:lstStyle/>
          <a:p>
            <a:pPr marL="0" marR="0" lvl="0" indent="0" algn="r" defTabSz="914253"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53"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288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563" y="1233488"/>
            <a:ext cx="5924550" cy="33337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a:xfrm>
            <a:off x="3850443" y="0"/>
            <a:ext cx="2945659" cy="493713"/>
          </a:xfrm>
          <a:prstGeom prst="rect">
            <a:avLst/>
          </a:prstGeom>
        </p:spPr>
        <p:txBody>
          <a:bodyPr/>
          <a:lstStyle/>
          <a:p>
            <a:fld id="{6CC18655-D016-D145-A70E-0F6F8E9B9A7C}" type="datetime1">
              <a:rPr lang="en-US" smtClean="0">
                <a:solidFill>
                  <a:prstClr val="black"/>
                </a:solidFill>
              </a:rPr>
              <a:pPr/>
              <a:t>4/19/2022</a:t>
            </a:fld>
            <a:endParaRPr lang="en-US" dirty="0">
              <a:solidFill>
                <a:prstClr val="black"/>
              </a:solidFill>
            </a:endParaRPr>
          </a:p>
        </p:txBody>
      </p:sp>
      <p:sp>
        <p:nvSpPr>
          <p:cNvPr id="5" name="Slide Number Placeholder 4"/>
          <p:cNvSpPr>
            <a:spLocks noGrp="1"/>
          </p:cNvSpPr>
          <p:nvPr>
            <p:ph type="sldNum" sz="quarter" idx="11"/>
          </p:nvPr>
        </p:nvSpPr>
        <p:spPr>
          <a:xfrm>
            <a:off x="3850443" y="9378824"/>
            <a:ext cx="2945659" cy="493713"/>
          </a:xfrm>
          <a:prstGeom prst="rect">
            <a:avLst/>
          </a:prstGeom>
        </p:spPr>
        <p:txBody>
          <a:bodyPr/>
          <a:lstStyle/>
          <a:p>
            <a:fld id="{21C9A526-2B11-9B45-BFD7-2AA1CDA5497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8752940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396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96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45155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5732" lvl="1" indent="-205732" fontAlgn="base">
              <a:lnSpc>
                <a:spcPts val="1500"/>
              </a:lnSpc>
              <a:spcBef>
                <a:spcPts val="500"/>
              </a:spcBef>
              <a:spcAft>
                <a:spcPts val="500"/>
              </a:spcAft>
              <a:buClr>
                <a:schemeClr val="tx1"/>
              </a:buClr>
              <a:buSzPct val="150000"/>
              <a:buFont typeface="Arial" panose="020B0604020202020204" pitchFamily="34" charset="0"/>
              <a:buChar char="•"/>
              <a:defRPr/>
            </a:pPr>
            <a:endParaRPr lang="en-GB"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2979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9087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3960" rtl="0" eaLnBrk="1" fontAlgn="auto" latinLnBrk="0" hangingPunct="1">
              <a:lnSpc>
                <a:spcPct val="100000"/>
              </a:lnSpc>
              <a:spcBef>
                <a:spcPts val="0"/>
              </a:spcBef>
              <a:spcAft>
                <a:spcPts val="0"/>
              </a:spcAft>
              <a:buClrTx/>
              <a:buSzTx/>
              <a:buFontTx/>
              <a:buNone/>
              <a:tabLst/>
              <a:defRPr/>
            </a:pPr>
            <a:fld id="{ECC2C277-C8D5-452A-81C3-F2BD0BB8A26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960" rtl="0" eaLnBrk="1" fontAlgn="auto" latinLnBrk="0" hangingPunct="1">
                <a:lnSpc>
                  <a:spcPct val="100000"/>
                </a:lnSpc>
                <a:spcBef>
                  <a:spcPts val="0"/>
                </a:spcBef>
                <a:spcAft>
                  <a:spcPts val="0"/>
                </a:spcAft>
                <a:buClrTx/>
                <a:buSzTx/>
                <a:buFontTx/>
                <a:buNone/>
                <a:tabLst/>
                <a:defRPr/>
              </a:pPr>
              <a:t>54</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70441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defTabSz="913960">
              <a:defRPr/>
            </a:pPr>
            <a:fld id="{38718D8A-5799-4B43-897E-78B42E839A8B}" type="slidenum">
              <a:rPr lang="en-US" smtClean="0">
                <a:solidFill>
                  <a:prstClr val="black"/>
                </a:solidFill>
              </a:rPr>
              <a:pPr defTabSz="913960">
                <a:defRPr/>
              </a:pPr>
              <a:t>55</a:t>
            </a:fld>
            <a:endParaRPr lang="en-US">
              <a:solidFill>
                <a:prstClr val="black"/>
              </a:solidFill>
            </a:endParaRPr>
          </a:p>
        </p:txBody>
      </p:sp>
    </p:spTree>
    <p:extLst>
      <p:ext uri="{BB962C8B-B14F-4D97-AF65-F5344CB8AC3E}">
        <p14:creationId xmlns:p14="http://schemas.microsoft.com/office/powerpoint/2010/main" val="8267832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5732" lvl="1" indent="-205732" fontAlgn="base">
              <a:lnSpc>
                <a:spcPct val="150000"/>
              </a:lnSpc>
              <a:spcBef>
                <a:spcPts val="1200"/>
              </a:spcBef>
              <a:spcAft>
                <a:spcPts val="200"/>
              </a:spcAft>
              <a:buClr>
                <a:prstClr val="black"/>
              </a:buClr>
              <a:buSzPct val="120000"/>
              <a:buFont typeface="Arial" panose="020B0604020202020204" pitchFamily="34" charset="0"/>
              <a:buChar char="•"/>
              <a:defRP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defTabSz="913960">
              <a:defRPr/>
            </a:pPr>
            <a:fld id="{DF672D17-468C-4500-81A8-255F0192F835}" type="slidenum">
              <a:rPr lang="en-US" smtClean="0">
                <a:solidFill>
                  <a:prstClr val="black"/>
                </a:solidFill>
              </a:rPr>
              <a:pPr defTabSz="913960">
                <a:defRPr/>
              </a:pPr>
              <a:t>56</a:t>
            </a:fld>
            <a:endParaRPr lang="en-US">
              <a:solidFill>
                <a:prstClr val="black"/>
              </a:solidFill>
            </a:endParaRPr>
          </a:p>
        </p:txBody>
      </p:sp>
    </p:spTree>
    <p:extLst>
      <p:ext uri="{BB962C8B-B14F-4D97-AF65-F5344CB8AC3E}">
        <p14:creationId xmlns:p14="http://schemas.microsoft.com/office/powerpoint/2010/main" val="41107127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396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96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4072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pPr defTabSz="913960">
              <a:defRPr/>
            </a:pPr>
            <a:fld id="{DF672D17-468C-4500-81A8-255F0192F835}" type="slidenum">
              <a:rPr lang="en-US" smtClean="0">
                <a:solidFill>
                  <a:prstClr val="black"/>
                </a:solidFill>
              </a:rPr>
              <a:pPr defTabSz="913960">
                <a:defRPr/>
              </a:pPr>
              <a:t>58</a:t>
            </a:fld>
            <a:endParaRPr lang="en-US">
              <a:solidFill>
                <a:prstClr val="black"/>
              </a:solidFill>
            </a:endParaRPr>
          </a:p>
        </p:txBody>
      </p:sp>
    </p:spTree>
    <p:extLst>
      <p:ext uri="{BB962C8B-B14F-4D97-AF65-F5344CB8AC3E}">
        <p14:creationId xmlns:p14="http://schemas.microsoft.com/office/powerpoint/2010/main" val="24919985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3960">
              <a:defRPr/>
            </a:pPr>
            <a:fld id="{DF672D17-468C-4500-81A8-255F0192F835}" type="slidenum">
              <a:rPr lang="en-US" smtClean="0">
                <a:solidFill>
                  <a:prstClr val="black"/>
                </a:solidFill>
              </a:rPr>
              <a:pPr defTabSz="913960">
                <a:defRPr/>
              </a:pPr>
              <a:t>59</a:t>
            </a:fld>
            <a:endParaRPr lang="en-US">
              <a:solidFill>
                <a:prstClr val="black"/>
              </a:solidFill>
            </a:endParaRPr>
          </a:p>
        </p:txBody>
      </p:sp>
    </p:spTree>
    <p:extLst>
      <p:ext uri="{BB962C8B-B14F-4D97-AF65-F5344CB8AC3E}">
        <p14:creationId xmlns:p14="http://schemas.microsoft.com/office/powerpoint/2010/main" val="25547928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615" marR="0" lvl="0" indent="-285615" algn="l" defTabSz="913960" rtl="0" eaLnBrk="1" fontAlgn="auto" latinLnBrk="0" hangingPunct="1">
              <a:lnSpc>
                <a:spcPct val="100000"/>
              </a:lnSpc>
              <a:spcBef>
                <a:spcPts val="0"/>
              </a:spcBef>
              <a:spcAft>
                <a:spcPts val="0"/>
              </a:spcAft>
              <a:buClrTx/>
              <a:buSzPct val="140000"/>
              <a:buFont typeface="Arial" panose="020B0604020202020204" pitchFamily="34" charset="0"/>
              <a:buChar char="•"/>
              <a:tabLst/>
              <a:defRPr/>
            </a:pPr>
            <a:endParaRPr lang="en-IN" dirty="0"/>
          </a:p>
        </p:txBody>
      </p:sp>
      <p:sp>
        <p:nvSpPr>
          <p:cNvPr id="4" name="Slide Number Placeholder 3"/>
          <p:cNvSpPr>
            <a:spLocks noGrp="1"/>
          </p:cNvSpPr>
          <p:nvPr>
            <p:ph type="sldNum" sz="quarter" idx="10"/>
          </p:nvPr>
        </p:nvSpPr>
        <p:spPr/>
        <p:txBody>
          <a:bodyPr/>
          <a:lstStyle/>
          <a:p>
            <a:fld id="{DF672D17-468C-4500-81A8-255F0192F835}" type="slidenum">
              <a:rPr lang="en-US" smtClean="0"/>
              <a:t>61</a:t>
            </a:fld>
            <a:endParaRPr lang="en-US"/>
          </a:p>
        </p:txBody>
      </p:sp>
    </p:spTree>
    <p:extLst>
      <p:ext uri="{BB962C8B-B14F-4D97-AF65-F5344CB8AC3E}">
        <p14:creationId xmlns:p14="http://schemas.microsoft.com/office/powerpoint/2010/main" val="39748726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eaLnBrk="1" fontAlgn="auto" latinLnBrk="0" hangingPunct="1">
              <a:lnSpc>
                <a:spcPts val="3200"/>
              </a:lnSpc>
              <a:spcBef>
                <a:spcPts val="0"/>
              </a:spcBef>
              <a:spcAft>
                <a:spcPts val="0"/>
              </a:spcAft>
              <a:buClrTx/>
              <a:buSzTx/>
              <a:buNone/>
              <a:tabLst>
                <a:tab pos="774700" algn="l"/>
              </a:tabLst>
              <a:defRPr/>
            </a:pPr>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B2684DC9-5B7A-4A51-ADC5-559DD26EF98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4082137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F82E90-F05A-4FCE-B353-5F7CF409B2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5483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9115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C2C277-C8D5-452A-81C3-F2BD0BB8A26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68704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C2C277-C8D5-452A-81C3-F2BD0BB8A26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375293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522D878-587B-4358-8615-19F823C20BC8}" type="slidenum">
              <a:rPr lang="en-US" smtClean="0">
                <a:solidFill>
                  <a:prstClr val="black"/>
                </a:solidFill>
              </a:rPr>
              <a:pPr/>
              <a:t>70</a:t>
            </a:fld>
            <a:endParaRPr lang="en-US">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883958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522D878-587B-4358-8615-19F823C20BC8}" type="slidenum">
              <a:rPr lang="en-US" smtClean="0">
                <a:solidFill>
                  <a:prstClr val="black"/>
                </a:solidFill>
              </a:rPr>
              <a:pPr/>
              <a:t>71</a:t>
            </a:fld>
            <a:endParaRPr lang="en-US">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202784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522D878-587B-4358-8615-19F823C20BC8}" type="slidenum">
              <a:rPr lang="en-US" smtClean="0">
                <a:solidFill>
                  <a:prstClr val="black"/>
                </a:solidFill>
              </a:rPr>
              <a:pPr/>
              <a:t>72</a:t>
            </a:fld>
            <a:endParaRPr lang="en-US">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7595778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CC2C277-C8D5-452A-81C3-F2BD0BB8A261}" type="slidenum">
              <a:rPr lang="en-IN" smtClean="0">
                <a:solidFill>
                  <a:prstClr val="black"/>
                </a:solidFill>
              </a:rPr>
              <a:pPr/>
              <a:t>73</a:t>
            </a:fld>
            <a:endParaRPr lang="en-IN" dirty="0">
              <a:solidFill>
                <a:prstClr val="black"/>
              </a:solidFill>
            </a:endParaRPr>
          </a:p>
        </p:txBody>
      </p:sp>
    </p:spTree>
    <p:extLst>
      <p:ext uri="{BB962C8B-B14F-4D97-AF65-F5344CB8AC3E}">
        <p14:creationId xmlns:p14="http://schemas.microsoft.com/office/powerpoint/2010/main" val="32938533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718D8A-5799-4B43-897E-78B42E839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15694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t>76</a:t>
            </a:fld>
            <a:endParaRPr lang="en-IN" dirty="0"/>
          </a:p>
        </p:txBody>
      </p:sp>
    </p:spTree>
    <p:extLst>
      <p:ext uri="{BB962C8B-B14F-4D97-AF65-F5344CB8AC3E}">
        <p14:creationId xmlns:p14="http://schemas.microsoft.com/office/powerpoint/2010/main" val="3415060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a:xfrm>
            <a:off x="3850443" y="0"/>
            <a:ext cx="2945659" cy="493713"/>
          </a:xfrm>
          <a:prstGeom prst="rect">
            <a:avLst/>
          </a:prstGeom>
        </p:spPr>
        <p:txBody>
          <a:bodyPr/>
          <a:lstStyle/>
          <a:p>
            <a:fld id="{6CC18655-D016-D145-A70E-0F6F8E9B9A7C}" type="datetime1">
              <a:rPr lang="en-US" smtClean="0"/>
              <a:pPr/>
              <a:t>4/19/2022</a:t>
            </a:fld>
            <a:endParaRPr lang="en-US" dirty="0"/>
          </a:p>
        </p:txBody>
      </p:sp>
      <p:sp>
        <p:nvSpPr>
          <p:cNvPr id="5" name="Slide Number Placeholder 4"/>
          <p:cNvSpPr>
            <a:spLocks noGrp="1"/>
          </p:cNvSpPr>
          <p:nvPr>
            <p:ph type="sldNum" sz="quarter" idx="11"/>
          </p:nvPr>
        </p:nvSpPr>
        <p:spPr>
          <a:xfrm>
            <a:off x="3850443" y="9378824"/>
            <a:ext cx="2945659" cy="493713"/>
          </a:xfrm>
          <a:prstGeom prst="rect">
            <a:avLst/>
          </a:prstGeom>
        </p:spPr>
        <p:txBody>
          <a:bodyPr/>
          <a:lstStyle/>
          <a:p>
            <a:fld id="{21C9A526-2B11-9B45-BFD7-2AA1CDA54972}" type="slidenum">
              <a:rPr lang="en-US" smtClean="0"/>
              <a:pPr/>
              <a:t>9</a:t>
            </a:fld>
            <a:endParaRPr lang="en-US" dirty="0"/>
          </a:p>
        </p:txBody>
      </p:sp>
    </p:spTree>
    <p:extLst>
      <p:ext uri="{BB962C8B-B14F-4D97-AF65-F5344CB8AC3E}">
        <p14:creationId xmlns:p14="http://schemas.microsoft.com/office/powerpoint/2010/main" val="37691228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fld id="{52F8D65F-BA54-47EE-9139-E098007C5A5F}" type="slidenum">
              <a:rPr kumimoji="0" lang="en-IN" sz="216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1097280" rtl="0" eaLnBrk="1" fontAlgn="auto" latinLnBrk="0" hangingPunct="1">
                <a:lnSpc>
                  <a:spcPct val="100000"/>
                </a:lnSpc>
                <a:spcBef>
                  <a:spcPts val="0"/>
                </a:spcBef>
                <a:spcAft>
                  <a:spcPts val="0"/>
                </a:spcAft>
                <a:buClrTx/>
                <a:buSzTx/>
                <a:buFontTx/>
                <a:buNone/>
                <a:tabLst/>
                <a:defRPr/>
              </a:pPr>
              <a:t>77</a:t>
            </a:fld>
            <a:endParaRPr kumimoji="0" lang="en-IN" sz="216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221162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ECC2C277-C8D5-452A-81C3-F2BD0BB8A261}" type="slidenum">
              <a:rPr lang="en-IN" smtClean="0">
                <a:solidFill>
                  <a:prstClr val="black"/>
                </a:solidFill>
              </a:rPr>
              <a:pPr/>
              <a:t>78</a:t>
            </a:fld>
            <a:endParaRPr lang="en-IN" dirty="0">
              <a:solidFill>
                <a:prstClr val="black"/>
              </a:solidFill>
            </a:endParaRPr>
          </a:p>
        </p:txBody>
      </p:sp>
    </p:spTree>
    <p:extLst>
      <p:ext uri="{BB962C8B-B14F-4D97-AF65-F5344CB8AC3E}">
        <p14:creationId xmlns:p14="http://schemas.microsoft.com/office/powerpoint/2010/main" val="11835700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Apr 2019</a:t>
            </a:r>
            <a:r>
              <a:rPr lang="en-IN" baseline="0" dirty="0"/>
              <a:t> – 100</a:t>
            </a:r>
          </a:p>
          <a:p>
            <a:r>
              <a:rPr lang="en-IN" baseline="0" dirty="0"/>
              <a:t>Apr 2020 - (10)</a:t>
            </a:r>
            <a:endParaRPr lang="en-IN" dirty="0"/>
          </a:p>
        </p:txBody>
      </p:sp>
      <p:sp>
        <p:nvSpPr>
          <p:cNvPr id="4" name="Slide Number Placeholder 3"/>
          <p:cNvSpPr>
            <a:spLocks noGrp="1"/>
          </p:cNvSpPr>
          <p:nvPr>
            <p:ph type="sldNum" sz="quarter" idx="10"/>
          </p:nvPr>
        </p:nvSpPr>
        <p:spPr/>
        <p:txBody>
          <a:bodyPr/>
          <a:lstStyle/>
          <a:p>
            <a:fld id="{ECC2C277-C8D5-452A-81C3-F2BD0BB8A261}" type="slidenum">
              <a:rPr lang="en-IN" smtClean="0">
                <a:solidFill>
                  <a:prstClr val="black"/>
                </a:solidFill>
              </a:rPr>
              <a:pPr/>
              <a:t>79</a:t>
            </a:fld>
            <a:endParaRPr lang="en-IN" dirty="0">
              <a:solidFill>
                <a:prstClr val="black"/>
              </a:solidFill>
            </a:endParaRPr>
          </a:p>
        </p:txBody>
      </p:sp>
    </p:spTree>
    <p:extLst>
      <p:ext uri="{BB962C8B-B14F-4D97-AF65-F5344CB8AC3E}">
        <p14:creationId xmlns:p14="http://schemas.microsoft.com/office/powerpoint/2010/main" val="20658767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fld id="{ECC2C277-C8D5-452A-81C3-F2BD0BB8A261}" type="slidenum">
              <a:rPr kumimoji="0" lang="en-IN" sz="216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1097280" rtl="0" eaLnBrk="1" fontAlgn="auto" latinLnBrk="0" hangingPunct="1">
                <a:lnSpc>
                  <a:spcPct val="100000"/>
                </a:lnSpc>
                <a:spcBef>
                  <a:spcPts val="0"/>
                </a:spcBef>
                <a:spcAft>
                  <a:spcPts val="0"/>
                </a:spcAft>
                <a:buClrTx/>
                <a:buSzTx/>
                <a:buFontTx/>
                <a:buNone/>
                <a:tabLst/>
                <a:defRPr/>
              </a:pPr>
              <a:t>80</a:t>
            </a:fld>
            <a:endParaRPr kumimoji="0" lang="en-IN" sz="216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434831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6CC18655-D016-D145-A70E-0F6F8E9B9A7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1097280" rtl="0" eaLnBrk="1" fontAlgn="auto" latinLnBrk="0" hangingPunct="1">
              <a:lnSpc>
                <a:spcPct val="100000"/>
              </a:lnSpc>
              <a:spcBef>
                <a:spcPts val="0"/>
              </a:spcBef>
              <a:spcAft>
                <a:spcPts val="0"/>
              </a:spcAft>
              <a:buClrTx/>
              <a:buSzTx/>
              <a:buFontTx/>
              <a:buNone/>
              <a:tabLst/>
              <a:defRPr/>
            </a:pPr>
            <a:fld id="{21C9A526-2B11-9B45-BFD7-2AA1CDA549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9728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018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EB3A21E-DC77-4C7B-9C31-B2839530BCE1}" type="slidenum">
              <a:rPr lang="en-US" smtClean="0">
                <a:solidFill>
                  <a:prstClr val="black"/>
                </a:solidFill>
              </a:rPr>
              <a:pPr/>
              <a:t>83</a:t>
            </a:fld>
            <a:endParaRPr lang="en-US">
              <a:solidFill>
                <a:prstClr val="black"/>
              </a:solidFill>
            </a:endParaRPr>
          </a:p>
        </p:txBody>
      </p:sp>
    </p:spTree>
    <p:extLst>
      <p:ext uri="{BB962C8B-B14F-4D97-AF65-F5344CB8AC3E}">
        <p14:creationId xmlns:p14="http://schemas.microsoft.com/office/powerpoint/2010/main" val="368979804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gn="just">
              <a:buFont typeface="Arial" panose="020B0604020202020204" pitchFamily="34" charset="0"/>
              <a:buNone/>
            </a:pPr>
            <a:endParaRPr lang="en-US" b="1" dirty="0"/>
          </a:p>
        </p:txBody>
      </p:sp>
      <p:sp>
        <p:nvSpPr>
          <p:cNvPr id="4" name="Slide Number Placeholder 3"/>
          <p:cNvSpPr>
            <a:spLocks noGrp="1"/>
          </p:cNvSpPr>
          <p:nvPr>
            <p:ph type="sldNum" sz="quarter" idx="10"/>
          </p:nvPr>
        </p:nvSpPr>
        <p:spPr/>
        <p:txBody>
          <a:bodyPr/>
          <a:lstStyle/>
          <a:p>
            <a:pPr>
              <a:defRPr/>
            </a:pPr>
            <a:fld id="{38718D8A-5799-4B43-897E-78B42E839A8B}" type="slidenum">
              <a:rPr lang="en-US" smtClean="0">
                <a:solidFill>
                  <a:prstClr val="black"/>
                </a:solidFill>
              </a:rPr>
              <a:pPr>
                <a:defRPr/>
              </a:pPr>
              <a:t>84</a:t>
            </a:fld>
            <a:endParaRPr lang="en-US">
              <a:solidFill>
                <a:prstClr val="black"/>
              </a:solidFill>
            </a:endParaRPr>
          </a:p>
        </p:txBody>
      </p:sp>
    </p:spTree>
    <p:extLst>
      <p:ext uri="{BB962C8B-B14F-4D97-AF65-F5344CB8AC3E}">
        <p14:creationId xmlns:p14="http://schemas.microsoft.com/office/powerpoint/2010/main" val="302152133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dirty="0"/>
          </a:p>
        </p:txBody>
      </p:sp>
      <p:sp>
        <p:nvSpPr>
          <p:cNvPr id="4" name="Slide Number Placeholder 3"/>
          <p:cNvSpPr>
            <a:spLocks noGrp="1"/>
          </p:cNvSpPr>
          <p:nvPr>
            <p:ph type="sldNum" sz="quarter" idx="5"/>
          </p:nvPr>
        </p:nvSpPr>
        <p:spPr/>
        <p:txBody>
          <a:bodyPr/>
          <a:lstStyle/>
          <a:p>
            <a:fld id="{DF672D17-468C-4500-81A8-255F0192F835}" type="slidenum">
              <a:rPr lang="en-US" smtClean="0">
                <a:solidFill>
                  <a:prstClr val="black"/>
                </a:solidFill>
              </a:rPr>
              <a:pPr/>
              <a:t>85</a:t>
            </a:fld>
            <a:endParaRPr lang="en-US">
              <a:solidFill>
                <a:prstClr val="black"/>
              </a:solidFill>
            </a:endParaRPr>
          </a:p>
        </p:txBody>
      </p:sp>
    </p:spTree>
    <p:extLst>
      <p:ext uri="{BB962C8B-B14F-4D97-AF65-F5344CB8AC3E}">
        <p14:creationId xmlns:p14="http://schemas.microsoft.com/office/powerpoint/2010/main" val="222458018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dirty="0"/>
            </a:br>
            <a:endParaRPr lang="en-IN" dirty="0"/>
          </a:p>
        </p:txBody>
      </p:sp>
      <p:sp>
        <p:nvSpPr>
          <p:cNvPr id="4" name="Slide Number Placeholder 3"/>
          <p:cNvSpPr>
            <a:spLocks noGrp="1"/>
          </p:cNvSpPr>
          <p:nvPr>
            <p:ph type="sldNum" sz="quarter" idx="5"/>
          </p:nvPr>
        </p:nvSpPr>
        <p:spPr/>
        <p:txBody>
          <a:bodyPr/>
          <a:lstStyle/>
          <a:p>
            <a:fld id="{DF672D17-468C-4500-81A8-255F0192F835}" type="slidenum">
              <a:rPr lang="en-US" smtClean="0">
                <a:solidFill>
                  <a:prstClr val="black"/>
                </a:solidFill>
              </a:rPr>
              <a:pPr/>
              <a:t>86</a:t>
            </a:fld>
            <a:endParaRPr lang="en-US">
              <a:solidFill>
                <a:prstClr val="black"/>
              </a:solidFill>
            </a:endParaRPr>
          </a:p>
        </p:txBody>
      </p:sp>
    </p:spTree>
    <p:extLst>
      <p:ext uri="{BB962C8B-B14F-4D97-AF65-F5344CB8AC3E}">
        <p14:creationId xmlns:p14="http://schemas.microsoft.com/office/powerpoint/2010/main" val="351265586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dirty="0"/>
            </a:br>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3746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7522D878-587B-4358-8615-19F823C20BC8}" type="slidenum">
              <a:rPr lang="en-US" smtClean="0">
                <a:solidFill>
                  <a:prstClr val="black"/>
                </a:solidFill>
              </a:rPr>
              <a:pPr/>
              <a:t>10</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2554846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dirty="0"/>
            </a:br>
            <a:endParaRPr lang="en-IN" dirty="0"/>
          </a:p>
        </p:txBody>
      </p:sp>
      <p:sp>
        <p:nvSpPr>
          <p:cNvPr id="4" name="Slide Number Placeholder 3"/>
          <p:cNvSpPr>
            <a:spLocks noGrp="1"/>
          </p:cNvSpPr>
          <p:nvPr>
            <p:ph type="sldNum" sz="quarter" idx="5"/>
          </p:nvPr>
        </p:nvSpPr>
        <p:spPr/>
        <p:txBody>
          <a:bodyPr/>
          <a:lstStyle/>
          <a:p>
            <a:fld id="{DF672D17-468C-4500-81A8-255F0192F835}"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42323393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718D8A-5799-4B43-897E-78B42E839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4060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718D8A-5799-4B43-897E-78B42E839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2976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718D8A-5799-4B43-897E-78B42E839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555412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8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718D8A-5799-4B43-897E-78B42E839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3996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90392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253"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53"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6149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38540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718D8A-5799-4B43-897E-78B42E839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88086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56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50888" indent="-287338">
              <a:defRPr>
                <a:solidFill>
                  <a:schemeClr val="tx1"/>
                </a:solidFill>
                <a:latin typeface="Arial" pitchFamily="34" charset="0"/>
                <a:cs typeface="Arial" pitchFamily="34" charset="0"/>
              </a:defRPr>
            </a:lvl2pPr>
            <a:lvl3pPr marL="1154113" indent="-230188">
              <a:defRPr>
                <a:solidFill>
                  <a:schemeClr val="tx1"/>
                </a:solidFill>
                <a:latin typeface="Arial" pitchFamily="34" charset="0"/>
                <a:cs typeface="Arial" pitchFamily="34" charset="0"/>
              </a:defRPr>
            </a:lvl3pPr>
            <a:lvl4pPr marL="1617663" indent="-230188">
              <a:defRPr>
                <a:solidFill>
                  <a:schemeClr val="tx1"/>
                </a:solidFill>
                <a:latin typeface="Arial" pitchFamily="34" charset="0"/>
                <a:cs typeface="Arial" pitchFamily="34" charset="0"/>
              </a:defRPr>
            </a:lvl4pPr>
            <a:lvl5pPr marL="2079625" indent="-230188">
              <a:defRPr>
                <a:solidFill>
                  <a:schemeClr val="tx1"/>
                </a:solidFill>
                <a:latin typeface="Arial" pitchFamily="34" charset="0"/>
                <a:cs typeface="Arial" pitchFamily="34" charset="0"/>
              </a:defRPr>
            </a:lvl5pPr>
            <a:lvl6pPr marL="2536825" indent="-230188" eaLnBrk="0" fontAlgn="base" hangingPunct="0">
              <a:spcBef>
                <a:spcPct val="0"/>
              </a:spcBef>
              <a:spcAft>
                <a:spcPct val="0"/>
              </a:spcAft>
              <a:defRPr>
                <a:solidFill>
                  <a:schemeClr val="tx1"/>
                </a:solidFill>
                <a:latin typeface="Arial" pitchFamily="34" charset="0"/>
                <a:cs typeface="Arial" pitchFamily="34" charset="0"/>
              </a:defRPr>
            </a:lvl6pPr>
            <a:lvl7pPr marL="2994025" indent="-230188" eaLnBrk="0" fontAlgn="base" hangingPunct="0">
              <a:spcBef>
                <a:spcPct val="0"/>
              </a:spcBef>
              <a:spcAft>
                <a:spcPct val="0"/>
              </a:spcAft>
              <a:defRPr>
                <a:solidFill>
                  <a:schemeClr val="tx1"/>
                </a:solidFill>
                <a:latin typeface="Arial" pitchFamily="34" charset="0"/>
                <a:cs typeface="Arial" pitchFamily="34" charset="0"/>
              </a:defRPr>
            </a:lvl7pPr>
            <a:lvl8pPr marL="3451225" indent="-230188" eaLnBrk="0" fontAlgn="base" hangingPunct="0">
              <a:spcBef>
                <a:spcPct val="0"/>
              </a:spcBef>
              <a:spcAft>
                <a:spcPct val="0"/>
              </a:spcAft>
              <a:defRPr>
                <a:solidFill>
                  <a:schemeClr val="tx1"/>
                </a:solidFill>
                <a:latin typeface="Arial" pitchFamily="34" charset="0"/>
                <a:cs typeface="Arial" pitchFamily="34" charset="0"/>
              </a:defRPr>
            </a:lvl8pPr>
            <a:lvl9pPr marL="3908425" indent="-230188"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9DAA339-299C-4B40-9BC2-29E82B573E26}" type="slidenum">
              <a:rPr kumimoji="0" lang="en-IN" altLang="en-US" sz="1200" b="0" i="0" u="none" strike="noStrike" kern="1200" cap="none" spc="0" normalizeH="0" baseline="0" noProof="0">
                <a:ln>
                  <a:noFill/>
                </a:ln>
                <a:solidFill>
                  <a:srgbClr val="000000"/>
                </a:solidFill>
                <a:effectLst/>
                <a:uLnTx/>
                <a:uFillTx/>
                <a:latin typeface="Calibri"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IN" altLang="en-US" sz="1200" b="0" i="0" u="none" strike="noStrike" kern="1200" cap="none" spc="0" normalizeH="0" baseline="0" noProof="0">
              <a:ln>
                <a:noFill/>
              </a:ln>
              <a:solidFill>
                <a:srgbClr val="000000"/>
              </a:solidFill>
              <a:effectLst/>
              <a:uLnTx/>
              <a:uFillTx/>
              <a:latin typeface="Calibri" pitchFamily="34" charset="0"/>
              <a:ea typeface="+mn-ea"/>
              <a:cs typeface="Arial" pitchFamily="34" charset="0"/>
            </a:endParaRPr>
          </a:p>
        </p:txBody>
      </p:sp>
    </p:spTree>
    <p:extLst>
      <p:ext uri="{BB962C8B-B14F-4D97-AF65-F5344CB8AC3E}">
        <p14:creationId xmlns:p14="http://schemas.microsoft.com/office/powerpoint/2010/main" val="1453626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solidFill>
                  <a:prstClr val="black"/>
                </a:solidFill>
              </a:rPr>
              <a:pPr/>
              <a:t>11</a:t>
            </a:fld>
            <a:endParaRPr lang="en-IN" dirty="0">
              <a:solidFill>
                <a:prstClr val="black"/>
              </a:solidFill>
            </a:endParaRPr>
          </a:p>
        </p:txBody>
      </p:sp>
    </p:spTree>
    <p:extLst>
      <p:ext uri="{BB962C8B-B14F-4D97-AF65-F5344CB8AC3E}">
        <p14:creationId xmlns:p14="http://schemas.microsoft.com/office/powerpoint/2010/main" val="397285776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t>107</a:t>
            </a:fld>
            <a:endParaRPr lang="en-IN" dirty="0"/>
          </a:p>
        </p:txBody>
      </p:sp>
    </p:spTree>
    <p:extLst>
      <p:ext uri="{BB962C8B-B14F-4D97-AF65-F5344CB8AC3E}">
        <p14:creationId xmlns:p14="http://schemas.microsoft.com/office/powerpoint/2010/main" val="105349091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308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0813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3187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5732" lvl="1" indent="-205732" fontAlgn="base">
              <a:lnSpc>
                <a:spcPts val="1700"/>
              </a:lnSpc>
              <a:spcBef>
                <a:spcPts val="500"/>
              </a:spcBef>
              <a:spcAft>
                <a:spcPts val="500"/>
              </a:spcAft>
              <a:buClr>
                <a:schemeClr val="tx1"/>
              </a:buClr>
              <a:buSzPct val="150000"/>
              <a:buFont typeface="Arial" panose="020B0604020202020204" pitchFamily="34" charset="0"/>
              <a:buChar char="•"/>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46226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33712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72D17-468C-4500-81A8-255F0192F8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544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ECC2C277-C8D5-452A-81C3-F2BD0BB8A261}" type="slidenum">
              <a:rPr lang="en-IN" smtClean="0">
                <a:solidFill>
                  <a:prstClr val="black"/>
                </a:solidFill>
              </a:rPr>
              <a:pPr/>
              <a:t>12</a:t>
            </a:fld>
            <a:endParaRPr lang="en-IN" dirty="0">
              <a:solidFill>
                <a:prstClr val="black"/>
              </a:solidFill>
            </a:endParaRPr>
          </a:p>
        </p:txBody>
      </p:sp>
    </p:spTree>
    <p:extLst>
      <p:ext uri="{BB962C8B-B14F-4D97-AF65-F5344CB8AC3E}">
        <p14:creationId xmlns:p14="http://schemas.microsoft.com/office/powerpoint/2010/main" val="36891141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a:xfrm>
            <a:off x="3850443" y="9378824"/>
            <a:ext cx="2945659" cy="493713"/>
          </a:xfrm>
          <a:prstGeom prst="rect">
            <a:avLst/>
          </a:prstGeom>
        </p:spPr>
        <p:txBody>
          <a:bodyPr/>
          <a:lstStyle/>
          <a:p>
            <a:fld id="{ECC2C277-C8D5-452A-81C3-F2BD0BB8A261}" type="slidenum">
              <a:rPr lang="en-IN" smtClean="0">
                <a:solidFill>
                  <a:prstClr val="black"/>
                </a:solidFill>
              </a:rPr>
              <a:pPr/>
              <a:t>14</a:t>
            </a:fld>
            <a:endParaRPr lang="en-IN" dirty="0">
              <a:solidFill>
                <a:prstClr val="black"/>
              </a:solidFill>
            </a:endParaRPr>
          </a:p>
        </p:txBody>
      </p:sp>
    </p:spTree>
    <p:extLst>
      <p:ext uri="{BB962C8B-B14F-4D97-AF65-F5344CB8AC3E}">
        <p14:creationId xmlns:p14="http://schemas.microsoft.com/office/powerpoint/2010/main" val="24505281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79D8528A-DB0D-4756-A4C0-FF5ABF39A205}" type="datetimeFigureOut">
              <a:rPr lang="en-IN" smtClean="0"/>
              <a:t>19-04-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6011333"/>
            <a:ext cx="12192000" cy="84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
        <p:nvSpPr>
          <p:cNvPr id="9" name="Rectangle 16"/>
          <p:cNvSpPr>
            <a:spLocks noChangeArrowheads="1"/>
          </p:cNvSpPr>
          <p:nvPr userDrawn="1"/>
        </p:nvSpPr>
        <p:spPr bwMode="auto">
          <a:xfrm rot="16200000">
            <a:off x="11063099" y="3352710"/>
            <a:ext cx="2029402"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363">
              <a:defRPr/>
            </a:pPr>
            <a:r>
              <a:rPr lang="en-US" altLang="en-US" sz="667" dirty="0">
                <a:solidFill>
                  <a:prstClr val="black">
                    <a:lumMod val="65000"/>
                    <a:lumOff val="35000"/>
                  </a:prstClr>
                </a:solidFill>
                <a:latin typeface="Arial Regular"/>
              </a:rPr>
              <a:t>For Internal Use Only – Not For External Distribution </a:t>
            </a:r>
          </a:p>
        </p:txBody>
      </p:sp>
    </p:spTree>
    <p:extLst>
      <p:ext uri="{BB962C8B-B14F-4D97-AF65-F5344CB8AC3E}">
        <p14:creationId xmlns:p14="http://schemas.microsoft.com/office/powerpoint/2010/main" val="286179946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7" name="TextBox 6"/>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31338008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F613AC-639B-4E74-B58B-55B57E857925}" type="datetimeFigureOut">
              <a:rPr lang="en-US" smtClean="0">
                <a:solidFill>
                  <a:prstClr val="black">
                    <a:tint val="75000"/>
                  </a:prstClr>
                </a:solidFill>
              </a:rPr>
              <a:pPr/>
              <a:t>4/19/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0B1403B-DD75-49CD-BD5F-C8872BB1CF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60682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6980" indent="0">
              <a:buNone/>
              <a:defRPr sz="1400"/>
            </a:lvl2pPr>
            <a:lvl3pPr marL="913960" indent="0">
              <a:buNone/>
              <a:defRPr sz="1200"/>
            </a:lvl3pPr>
            <a:lvl4pPr marL="1370940" indent="0">
              <a:buNone/>
              <a:defRPr sz="1000"/>
            </a:lvl4pPr>
            <a:lvl5pPr marL="1827924" indent="0">
              <a:buNone/>
              <a:defRPr sz="1000"/>
            </a:lvl5pPr>
            <a:lvl6pPr marL="2284905" indent="0">
              <a:buNone/>
              <a:defRPr sz="1000"/>
            </a:lvl6pPr>
            <a:lvl7pPr marL="2741880" indent="0">
              <a:buNone/>
              <a:defRPr sz="1000"/>
            </a:lvl7pPr>
            <a:lvl8pPr marL="3198864" indent="0">
              <a:buNone/>
              <a:defRPr sz="1000"/>
            </a:lvl8pPr>
            <a:lvl9pPr marL="365584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392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6512222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6980" indent="0">
              <a:buNone/>
              <a:defRPr sz="2800"/>
            </a:lvl2pPr>
            <a:lvl3pPr marL="913960" indent="0">
              <a:buNone/>
              <a:defRPr sz="2400"/>
            </a:lvl3pPr>
            <a:lvl4pPr marL="1370940" indent="0">
              <a:buNone/>
              <a:defRPr sz="2000"/>
            </a:lvl4pPr>
            <a:lvl5pPr marL="1827924" indent="0">
              <a:buNone/>
              <a:defRPr sz="2000"/>
            </a:lvl5pPr>
            <a:lvl6pPr marL="2284905" indent="0">
              <a:buNone/>
              <a:defRPr sz="2000"/>
            </a:lvl6pPr>
            <a:lvl7pPr marL="2741880" indent="0">
              <a:buNone/>
              <a:defRPr sz="2000"/>
            </a:lvl7pPr>
            <a:lvl8pPr marL="3198864" indent="0">
              <a:buNone/>
              <a:defRPr sz="2000"/>
            </a:lvl8pPr>
            <a:lvl9pPr marL="3655845" indent="0">
              <a:buNone/>
              <a:defRPr sz="2000"/>
            </a:lvl9pPr>
          </a:lstStyle>
          <a:p>
            <a:r>
              <a:rPr lang="en-US"/>
              <a:t>Click icon to add picture</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6980" indent="0">
              <a:buNone/>
              <a:defRPr sz="1400"/>
            </a:lvl2pPr>
            <a:lvl3pPr marL="913960" indent="0">
              <a:buNone/>
              <a:defRPr sz="1200"/>
            </a:lvl3pPr>
            <a:lvl4pPr marL="1370940" indent="0">
              <a:buNone/>
              <a:defRPr sz="1000"/>
            </a:lvl4pPr>
            <a:lvl5pPr marL="1827924" indent="0">
              <a:buNone/>
              <a:defRPr sz="1000"/>
            </a:lvl5pPr>
            <a:lvl6pPr marL="2284905" indent="0">
              <a:buNone/>
              <a:defRPr sz="1000"/>
            </a:lvl6pPr>
            <a:lvl7pPr marL="2741880" indent="0">
              <a:buNone/>
              <a:defRPr sz="1000"/>
            </a:lvl7pPr>
            <a:lvl8pPr marL="3198864" indent="0">
              <a:buNone/>
              <a:defRPr sz="1000"/>
            </a:lvl8pPr>
            <a:lvl9pPr marL="365584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392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27035741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392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28674771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392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32178160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829535"/>
            <a:ext cx="10515600" cy="553998"/>
          </a:xfrm>
        </p:spPr>
        <p:txBody>
          <a:bodyPr vert="horz" lIns="0" tIns="0" rIns="0" bIns="0" rtlCol="0" anchor="ctr">
            <a:spAutoFit/>
          </a:bodyPr>
          <a:lstStyle>
            <a:lvl1pPr algn="ctr">
              <a:defRPr lang="en-US" sz="4000" b="1" dirty="0">
                <a:solidFill>
                  <a:schemeClr val="tx1"/>
                </a:solidFill>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3"/>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225226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7340599" y="6356353"/>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5028476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199793"/>
            <a:ext cx="10515600" cy="443198"/>
          </a:xfrm>
        </p:spPr>
        <p:txBody>
          <a:bodyPr vert="horz" lIns="0" tIns="0" rIns="0" bIns="0" rtlCol="0" anchor="ctr">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1"/>
            <a:ext cx="10515600" cy="4351338"/>
          </a:xfrm>
          <a:prstGeom prst="rect">
            <a:avLst/>
          </a:prstGeom>
        </p:spPr>
        <p:txBody>
          <a:bodyPr>
            <a:normAutofit/>
          </a:bodyPr>
          <a:lstStyle>
            <a:lvl1pPr marL="228483" indent="-228483">
              <a:lnSpc>
                <a:spcPts val="2917"/>
              </a:lnSpc>
              <a:buFont typeface="Arial" panose="020B0604020202020204" pitchFamily="34" charset="0"/>
              <a:buChar char="●"/>
              <a:defRPr sz="2300" baseline="0">
                <a:latin typeface="Arial" panose="020B0604020202020204" pitchFamily="34" charset="0"/>
                <a:cs typeface="Arial" panose="020B0604020202020204" pitchFamily="34" charset="0"/>
              </a:defRPr>
            </a:lvl1pPr>
            <a:lvl2pPr marL="685443" indent="-228483">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413" indent="-228483">
              <a:buFont typeface="Arial" panose="020B0604020202020204" pitchFamily="34" charset="0"/>
              <a:buChar char="○"/>
              <a:defRPr sz="1700" baseline="0">
                <a:latin typeface="Arial" panose="020B0604020202020204" pitchFamily="34" charset="0"/>
                <a:cs typeface="Arial" panose="020B0604020202020204" pitchFamily="34" charset="0"/>
              </a:defRPr>
            </a:lvl3pPr>
            <a:lvl4pPr marL="1599368" indent="-228483">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6329" indent="-228483">
              <a:buFont typeface="Wingdings" panose="05000000000000000000" pitchFamily="2" charset="2"/>
              <a:buChar char=""/>
              <a:defRPr sz="1300"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392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216281835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Tree>
    <p:extLst>
      <p:ext uri="{BB962C8B-B14F-4D97-AF65-F5344CB8AC3E}">
        <p14:creationId xmlns:p14="http://schemas.microsoft.com/office/powerpoint/2010/main" val="1508190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Divider Image Big titl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427568" y="2219114"/>
            <a:ext cx="11332632" cy="3572099"/>
          </a:xfrm>
        </p:spPr>
        <p:txBody>
          <a:bodyPr anchor="ctr"/>
          <a:lstStyle>
            <a:lvl1pPr algn="ctr">
              <a:defRPr/>
            </a:lvl1pPr>
          </a:lstStyle>
          <a:p>
            <a:endParaRPr lang="en-US" dirty="0"/>
          </a:p>
        </p:txBody>
      </p:sp>
      <p:sp>
        <p:nvSpPr>
          <p:cNvPr id="8" name="Title 7"/>
          <p:cNvSpPr>
            <a:spLocks noGrp="1"/>
          </p:cNvSpPr>
          <p:nvPr>
            <p:ph type="title" hasCustomPrompt="1"/>
          </p:nvPr>
        </p:nvSpPr>
        <p:spPr>
          <a:xfrm>
            <a:off x="391709" y="196819"/>
            <a:ext cx="9753600" cy="1605101"/>
          </a:xfrm>
        </p:spPr>
        <p:txBody>
          <a:bodyPr lIns="0" tIns="0" rIns="0" bIns="0"/>
          <a:lstStyle>
            <a:lvl1pPr>
              <a:lnSpc>
                <a:spcPct val="90000"/>
              </a:lnSpc>
              <a:defRPr sz="5700" b="0" i="0">
                <a:solidFill>
                  <a:schemeClr val="bg1"/>
                </a:solidFill>
                <a:latin typeface="Arial Regular" charset="0"/>
                <a:cs typeface="Arial Regular" charset="0"/>
              </a:defRPr>
            </a:lvl1pPr>
          </a:lstStyle>
          <a:p>
            <a:r>
              <a:rPr lang="en-US" dirty="0"/>
              <a:t>Divider</a:t>
            </a:r>
            <a:br>
              <a:rPr lang="en-US" dirty="0"/>
            </a:br>
            <a:r>
              <a:rPr lang="en-US" dirty="0"/>
              <a:t>Page</a:t>
            </a:r>
          </a:p>
        </p:txBody>
      </p:sp>
      <p:sp>
        <p:nvSpPr>
          <p:cNvPr id="7"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03156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7" name="TextBox 6"/>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112111610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ontent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2"/>
            <a:ext cx="11338560" cy="2990117"/>
          </a:xfrm>
        </p:spPr>
        <p:txBody>
          <a:bodyPr/>
          <a:lstStyle>
            <a:lvl1pPr>
              <a:defRPr b="0" i="0">
                <a:latin typeface="Arial Regular" charset="0"/>
                <a:cs typeface="Arial Regular" charset="0"/>
              </a:defRPr>
            </a:lvl1pPr>
            <a:lvl2pPr marL="0" marR="0" indent="0" algn="l" defTabSz="45696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784" marR="0" lvl="1" indent="-182784" algn="l" defTabSz="45696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8" y="4921043"/>
            <a:ext cx="11338560" cy="1096047"/>
          </a:xfrm>
        </p:spPr>
        <p:txBody>
          <a:bodyPr anchor="b"/>
          <a:lstStyle>
            <a:lvl1pPr>
              <a:defRPr sz="900" b="0" i="0">
                <a:latin typeface="Arial Narrow" charset="0"/>
                <a:ea typeface="Arial Narrow" charset="0"/>
                <a:cs typeface="Arial Narrow" charset="0"/>
              </a:defRPr>
            </a:lvl1pPr>
            <a:lvl2pPr marL="0" marR="0" indent="0" algn="l" defTabSz="456962" rtl="0" eaLnBrk="1" fontAlgn="auto" latinLnBrk="0" hangingPunct="1">
              <a:lnSpc>
                <a:spcPct val="100000"/>
              </a:lnSpc>
              <a:spcBef>
                <a:spcPts val="500"/>
              </a:spcBef>
              <a:spcAft>
                <a:spcPts val="0"/>
              </a:spcAft>
              <a:buClrTx/>
              <a:buSzTx/>
              <a:buFont typeface="Arial"/>
              <a:buNone/>
              <a:tabLst/>
              <a:defRPr sz="900" b="0" i="0">
                <a:latin typeface="Arial Narrow" charset="0"/>
                <a:ea typeface="Arial Narrow" charset="0"/>
                <a:cs typeface="Arial Narrow" charset="0"/>
              </a:defRPr>
            </a:lvl2pPr>
            <a:lvl3pPr>
              <a:defRPr sz="900">
                <a:latin typeface="Arial Narrow" charset="0"/>
                <a:ea typeface="Arial Narrow" charset="0"/>
                <a:cs typeface="Arial Narrow" charset="0"/>
              </a:defRPr>
            </a:lvl3pPr>
            <a:lvl4pPr>
              <a:defRPr sz="900">
                <a:latin typeface="Arial Narrow" charset="0"/>
                <a:ea typeface="Arial Narrow" charset="0"/>
                <a:cs typeface="Arial Narrow" charset="0"/>
              </a:defRPr>
            </a:lvl4pPr>
            <a:lvl5pPr>
              <a:defRPr sz="900">
                <a:latin typeface="Arial Narrow" charset="0"/>
                <a:ea typeface="Arial Narrow" charset="0"/>
                <a:cs typeface="Arial Narrow" charset="0"/>
              </a:defRPr>
            </a:lvl5pPr>
          </a:lstStyle>
          <a:p>
            <a:pPr lvl="0"/>
            <a:r>
              <a:rPr lang="en-US" dirty="0"/>
              <a:t>Click to edit Master text styles</a:t>
            </a:r>
          </a:p>
          <a:p>
            <a:pPr marL="182784" marR="0" lvl="1" indent="-182784" algn="l" defTabSz="45696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101" y="747521"/>
            <a:ext cx="10829878" cy="440834"/>
          </a:xfrm>
        </p:spPr>
        <p:txBody>
          <a:bodyPr lIns="0" tIns="0" rIns="0" bIns="0"/>
          <a:lstStyle>
            <a:lvl1pPr>
              <a:defRPr sz="1900" b="0">
                <a:solidFill>
                  <a:schemeClr val="tx1"/>
                </a:solidFill>
              </a:defRPr>
            </a:lvl1pPr>
          </a:lstStyle>
          <a:p>
            <a:pPr lvl="0"/>
            <a:r>
              <a:rPr lang="en-US" dirty="0"/>
              <a:t>Subtitle</a:t>
            </a:r>
          </a:p>
        </p:txBody>
      </p:sp>
      <p:sp>
        <p:nvSpPr>
          <p:cNvPr id="9"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1023207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8"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8"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6409201"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00" b="0" i="0">
                <a:solidFill>
                  <a:schemeClr val="tx1"/>
                </a:solidFill>
                <a:latin typeface="Arial Narrow"/>
                <a:cs typeface="Arial Narrow"/>
              </a:defRPr>
            </a:lvl1pPr>
            <a:lvl2pPr>
              <a:defRPr sz="900" b="0" i="0">
                <a:solidFill>
                  <a:schemeClr val="tx1"/>
                </a:solidFill>
                <a:latin typeface="Arial Narrow"/>
                <a:cs typeface="Arial Narrow"/>
              </a:defRPr>
            </a:lvl2pPr>
            <a:lvl3pPr>
              <a:defRPr sz="90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5"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3846111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p:spPr>
        <p:txBody>
          <a:bodyPr>
            <a:noAutofit/>
          </a:bodyPr>
          <a:lstStyle>
            <a:lvl1pPr marL="0" indent="0">
              <a:buFontTx/>
              <a:buNone/>
              <a:defRPr sz="1700">
                <a:latin typeface="Arial" panose="020B0604020202020204" pitchFamily="34" charset="0"/>
                <a:cs typeface="Arial" panose="020B0604020202020204" pitchFamily="34" charset="0"/>
              </a:defRPr>
            </a:lvl1pPr>
            <a:lvl2pPr marL="0" indent="0">
              <a:buFontTx/>
              <a:buNone/>
              <a:defRPr sz="1700">
                <a:latin typeface="Arial" panose="020B0604020202020204" pitchFamily="34" charset="0"/>
                <a:cs typeface="Arial" panose="020B0604020202020204" pitchFamily="34" charset="0"/>
              </a:defRPr>
            </a:lvl2pPr>
            <a:lvl3pPr marL="0" indent="0">
              <a:buFontTx/>
              <a:buNone/>
              <a:defRPr sz="1700">
                <a:latin typeface="Arial" panose="020B0604020202020204" pitchFamily="34" charset="0"/>
                <a:cs typeface="Arial" panose="020B0604020202020204" pitchFamily="34" charset="0"/>
              </a:defRPr>
            </a:lvl3pPr>
            <a:lvl4pPr marL="0" indent="0">
              <a:buFontTx/>
              <a:buNone/>
              <a:defRPr sz="1700">
                <a:latin typeface="Arial" panose="020B0604020202020204" pitchFamily="34" charset="0"/>
                <a:cs typeface="Arial" panose="020B0604020202020204" pitchFamily="34" charset="0"/>
              </a:defRPr>
            </a:lvl4pPr>
            <a:lvl5pPr marL="0" indent="0">
              <a:buFontTx/>
              <a:buNone/>
              <a:defRPr sz="17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defTabSz="913923"/>
            <a:endParaRPr lang="en-US" sz="1800">
              <a:solidFill>
                <a:prstClr val="white"/>
              </a:solidFill>
            </a:endParaRPr>
          </a:p>
        </p:txBody>
      </p:sp>
      <p:sp>
        <p:nvSpPr>
          <p:cNvPr id="6" name="Title 1"/>
          <p:cNvSpPr>
            <a:spLocks noGrp="1"/>
          </p:cNvSpPr>
          <p:nvPr>
            <p:ph type="title"/>
          </p:nvPr>
        </p:nvSpPr>
        <p:spPr>
          <a:xfrm>
            <a:off x="373858" y="409184"/>
            <a:ext cx="10515600" cy="392352"/>
          </a:xfrm>
        </p:spPr>
        <p:txBody>
          <a:bodyPr vert="horz" lIns="0" tIns="0" rIns="0" bIns="0" rtlCol="0" anchor="b">
            <a:spAutoFit/>
          </a:bodyPr>
          <a:lstStyle>
            <a:lvl1pPr>
              <a:defRPr lang="en-US" sz="28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400256655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3"/>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4" y="1700217"/>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2" y="6121017"/>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399835652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D8528A-DB0D-4756-A4C0-FF5ABF39A205}" type="datetimeFigureOut">
              <a:rPr kumimoji="0" lang="en-IN" sz="1200" b="0" i="0" u="none" strike="noStrike" kern="1200" cap="none" spc="0" normalizeH="0" baseline="0" noProof="0" smtClean="0">
                <a:ln>
                  <a:noFill/>
                </a:ln>
                <a:solidFill>
                  <a:srgbClr val="000000">
                    <a:tint val="75000"/>
                  </a:srgb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04-2022</a:t>
            </a:fld>
            <a:endParaRPr kumimoji="0" lang="en-IN" sz="1200" b="0" i="0" u="none" strike="noStrike" kern="1200" cap="none" spc="0" normalizeH="0" baseline="0" noProof="0">
              <a:ln>
                <a:noFill/>
              </a:ln>
              <a:solidFill>
                <a:srgbClr val="000000">
                  <a:tint val="75000"/>
                </a:srgb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000000">
                  <a:tint val="75000"/>
                </a:srgb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p:cNvSpPr/>
          <p:nvPr userDrawn="1"/>
        </p:nvSpPr>
        <p:spPr>
          <a:xfrm>
            <a:off x="0" y="6011333"/>
            <a:ext cx="12192000" cy="84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
        <p:nvSpPr>
          <p:cNvPr id="9" name="Rectangle 16"/>
          <p:cNvSpPr>
            <a:spLocks noChangeArrowheads="1"/>
          </p:cNvSpPr>
          <p:nvPr userDrawn="1"/>
        </p:nvSpPr>
        <p:spPr bwMode="auto">
          <a:xfrm rot="16200000">
            <a:off x="11063099" y="3352710"/>
            <a:ext cx="2029402"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altLang="en-US" sz="667" b="0" i="0" u="none" strike="noStrike" kern="1200" cap="none" spc="0" normalizeH="0" baseline="0" noProof="0" dirty="0">
                <a:ln>
                  <a:noFill/>
                </a:ln>
                <a:solidFill>
                  <a:prstClr val="black">
                    <a:lumMod val="65000"/>
                    <a:lumOff val="35000"/>
                  </a:prstClr>
                </a:solidFill>
                <a:effectLst/>
                <a:uLnTx/>
                <a:uFillTx/>
                <a:latin typeface="Arial Regular"/>
                <a:ea typeface="+mn-ea"/>
                <a:cs typeface="Arial" panose="020B0604020202020204" pitchFamily="34" charset="0"/>
              </a:rPr>
              <a:t>For Internal Use Only – Not For External Distribution </a:t>
            </a:r>
          </a:p>
        </p:txBody>
      </p:sp>
    </p:spTree>
    <p:extLst>
      <p:ext uri="{BB962C8B-B14F-4D97-AF65-F5344CB8AC3E}">
        <p14:creationId xmlns:p14="http://schemas.microsoft.com/office/powerpoint/2010/main" val="43087893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2850896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extBox 6"/>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638354945"/>
      </p:ext>
    </p:extLst>
  </p:cSld>
  <p:clrMapOvr>
    <a:masterClrMapping/>
  </p:clrMapOvr>
  <p:transition>
    <p:fade/>
  </p:transition>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extBox 7"/>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17841345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0" name="TextBox 9"/>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27240697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TextBox 5"/>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577789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829535"/>
            <a:ext cx="10515600" cy="553998"/>
          </a:xfrm>
        </p:spPr>
        <p:txBody>
          <a:bodyPr vert="horz" lIns="0" tIns="0" rIns="0" bIns="0" rtlCol="0" anchor="ctr">
            <a:spAutoFit/>
          </a:bodyPr>
          <a:lstStyle>
            <a:lvl1pPr algn="ctr">
              <a:defRPr lang="en-US" sz="4000" b="1" dirty="0">
                <a:solidFill>
                  <a:schemeClr val="tx1"/>
                </a:solidFill>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018589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613AC-639B-4E74-B58B-55B57E857925}"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403B-DD75-49CD-BD5F-C8872BB1CFB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TextBox 4"/>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6428536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extBox 7"/>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19983452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extBox 7"/>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37066648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TextBox 6"/>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33048453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TextBox 6"/>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11431662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829535"/>
            <a:ext cx="10515600" cy="553998"/>
          </a:xfrm>
        </p:spPr>
        <p:txBody>
          <a:bodyPr vert="horz" lIns="0" tIns="0" rIns="0" bIns="0" rtlCol="0" anchor="ctr">
            <a:spAutoFit/>
          </a:bodyPr>
          <a:lstStyle>
            <a:lvl1pPr algn="ctr">
              <a:defRPr lang="en-US" sz="4000" b="1" dirty="0">
                <a:solidFill>
                  <a:schemeClr val="tx1"/>
                </a:solidFill>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4559054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31979076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1129907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199793"/>
            <a:ext cx="10515600" cy="443198"/>
          </a:xfrm>
        </p:spPr>
        <p:txBody>
          <a:bodyPr vert="horz" lIns="0" tIns="0" rIns="0" bIns="0" rtlCol="0" anchor="ctr">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0" name="TextBox 9"/>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45196973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
        <p:nvSpPr>
          <p:cNvPr id="3" name="TextBox 2"/>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2328821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199793"/>
            <a:ext cx="10515600" cy="443198"/>
          </a:xfrm>
        </p:spPr>
        <p:txBody>
          <a:bodyPr vert="horz" lIns="0" tIns="0" rIns="0" bIns="0" rtlCol="0" anchor="ctr">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36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Tree>
    <p:extLst>
      <p:ext uri="{BB962C8B-B14F-4D97-AF65-F5344CB8AC3E}">
        <p14:creationId xmlns:p14="http://schemas.microsoft.com/office/powerpoint/2010/main" val="67396150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Divider Image Big titl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427568" y="2219102"/>
            <a:ext cx="11332632" cy="3572099"/>
          </a:xfrm>
        </p:spPr>
        <p:txBody>
          <a:bodyPr anchor="ctr"/>
          <a:lstStyle>
            <a:lvl1pPr algn="ctr">
              <a:defRPr/>
            </a:lvl1pPr>
          </a:lstStyle>
          <a:p>
            <a:endParaRPr lang="en-US" dirty="0"/>
          </a:p>
        </p:txBody>
      </p:sp>
      <p:sp>
        <p:nvSpPr>
          <p:cNvPr id="8" name="Title 7"/>
          <p:cNvSpPr>
            <a:spLocks noGrp="1"/>
          </p:cNvSpPr>
          <p:nvPr>
            <p:ph type="title" hasCustomPrompt="1"/>
          </p:nvPr>
        </p:nvSpPr>
        <p:spPr>
          <a:xfrm>
            <a:off x="391709" y="196807"/>
            <a:ext cx="9753600" cy="1605101"/>
          </a:xfrm>
        </p:spPr>
        <p:txBody>
          <a:bodyPr lIns="0" tIns="0" rIns="0" bIns="0"/>
          <a:lstStyle>
            <a:lvl1pPr>
              <a:lnSpc>
                <a:spcPct val="90000"/>
              </a:lnSpc>
              <a:defRPr sz="5700" b="0" i="0">
                <a:solidFill>
                  <a:schemeClr val="bg1"/>
                </a:solidFill>
                <a:latin typeface="Arial Regular" charset="0"/>
                <a:cs typeface="Arial Regular" charset="0"/>
              </a:defRPr>
            </a:lvl1pPr>
          </a:lstStyle>
          <a:p>
            <a:r>
              <a:rPr lang="en-US" dirty="0"/>
              <a:t>Divider</a:t>
            </a:r>
            <a:br>
              <a:rPr lang="en-US" dirty="0"/>
            </a:br>
            <a:r>
              <a:rPr lang="en-US" dirty="0"/>
              <a:t>Page</a:t>
            </a:r>
          </a:p>
        </p:txBody>
      </p:sp>
      <p:sp>
        <p:nvSpPr>
          <p:cNvPr id="7" name="Slide Number Placeholder 3"/>
          <p:cNvSpPr>
            <a:spLocks noGrp="1"/>
          </p:cNvSpPr>
          <p:nvPr>
            <p:ph type="sldNum" sz="quarter" idx="11"/>
          </p:nvPr>
        </p:nvSpPr>
        <p:spPr>
          <a:xfrm>
            <a:off x="7366" y="6709128"/>
            <a:ext cx="274418" cy="14887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C3DCF-E0A7-DA4A-BC2C-1EC3743A297B}"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TextBox 4"/>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145072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ntent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2"/>
            <a:ext cx="11338560" cy="2990117"/>
          </a:xfrm>
        </p:spPr>
        <p:txBody>
          <a:bodyPr/>
          <a:lstStyle>
            <a:lvl1pPr>
              <a:defRPr b="0" i="0">
                <a:latin typeface="Arial Regular" charset="0"/>
                <a:cs typeface="Arial Regular"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8" y="4921043"/>
            <a:ext cx="11338560" cy="1096047"/>
          </a:xfrm>
        </p:spPr>
        <p:txBody>
          <a:bodyPr anchor="b"/>
          <a:lstStyle>
            <a:lvl1pPr>
              <a:defRPr sz="950" b="0" i="0">
                <a:latin typeface="Arial Narrow" charset="0"/>
                <a:ea typeface="Arial Narrow" charset="0"/>
                <a:cs typeface="Arial Narrow"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sz="950" b="0" i="0">
                <a:latin typeface="Arial Narrow" charset="0"/>
                <a:ea typeface="Arial Narrow" charset="0"/>
                <a:cs typeface="Arial Narrow" charset="0"/>
              </a:defRPr>
            </a:lvl2pPr>
            <a:lvl3pPr>
              <a:defRPr sz="950">
                <a:latin typeface="Arial Narrow" charset="0"/>
                <a:ea typeface="Arial Narrow" charset="0"/>
                <a:cs typeface="Arial Narrow" charset="0"/>
              </a:defRPr>
            </a:lvl3pPr>
            <a:lvl4pPr>
              <a:defRPr sz="950">
                <a:latin typeface="Arial Narrow" charset="0"/>
                <a:ea typeface="Arial Narrow" charset="0"/>
                <a:cs typeface="Arial Narrow" charset="0"/>
              </a:defRPr>
            </a:lvl4pPr>
            <a:lvl5pPr>
              <a:defRPr sz="950">
                <a:latin typeface="Arial Narrow" charset="0"/>
                <a:ea typeface="Arial Narrow" charset="0"/>
                <a:cs typeface="Arial Narrow" charset="0"/>
              </a:defRPr>
            </a:lvl5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101" y="747521"/>
            <a:ext cx="10829878" cy="440834"/>
          </a:xfrm>
        </p:spPr>
        <p:txBody>
          <a:bodyPr lIns="0" tIns="0" rIns="0" bIns="0"/>
          <a:lstStyle>
            <a:lvl1pPr>
              <a:defRPr sz="1900" b="0">
                <a:solidFill>
                  <a:schemeClr val="tx1"/>
                </a:solidFill>
              </a:defRPr>
            </a:lvl1pPr>
          </a:lstStyle>
          <a:p>
            <a:pPr lvl="0"/>
            <a:r>
              <a:rPr lang="en-US" dirty="0"/>
              <a:t>Subtitle</a:t>
            </a:r>
          </a:p>
        </p:txBody>
      </p:sp>
      <p:sp>
        <p:nvSpPr>
          <p:cNvPr id="9" name="Slide Number Placeholder 3"/>
          <p:cNvSpPr>
            <a:spLocks noGrp="1"/>
          </p:cNvSpPr>
          <p:nvPr>
            <p:ph type="sldNum" sz="quarter" idx="11"/>
          </p:nvPr>
        </p:nvSpPr>
        <p:spPr>
          <a:xfrm>
            <a:off x="7366" y="6709128"/>
            <a:ext cx="274418" cy="14887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C3DCF-E0A7-DA4A-BC2C-1EC3743A297B}"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TextBox 9"/>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238273127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8"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8"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6409201"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5"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BDDC3DCF-E0A7-DA4A-BC2C-1EC3743A297B}" type="slidenum">
              <a:rPr kumimoji="0" lang="en-US" sz="800" b="0" i="0" u="none" strike="noStrike" kern="1200" cap="none" spc="0" normalizeH="0" baseline="0" noProof="0" smtClean="0">
                <a:ln>
                  <a:noFill/>
                </a:ln>
                <a:solidFill>
                  <a:prstClr val="black">
                    <a:tint val="75000"/>
                  </a:prstClr>
                </a:solidFill>
                <a:effectLst/>
                <a:uLnTx/>
                <a:uFillTx/>
                <a:latin typeface="Arial Regular"/>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tint val="75000"/>
                </a:prstClr>
              </a:solidFill>
              <a:effectLst/>
              <a:uLnTx/>
              <a:uFillTx/>
              <a:latin typeface="Arial Regular"/>
              <a:ea typeface="+mn-ea"/>
              <a:cs typeface="+mn-cs"/>
            </a:endParaRPr>
          </a:p>
        </p:txBody>
      </p:sp>
      <p:sp>
        <p:nvSpPr>
          <p:cNvPr id="13" name="TextBox 12"/>
          <p:cNvSpPr txBox="1"/>
          <p:nvPr userDrawn="1"/>
        </p:nvSpPr>
        <p:spPr>
          <a:xfrm rot="19997755">
            <a:off x="432874" y="3242060"/>
            <a:ext cx="10905709"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This is for internal circulation within Bosch only</a:t>
            </a:r>
          </a:p>
        </p:txBody>
      </p:sp>
    </p:spTree>
    <p:extLst>
      <p:ext uri="{BB962C8B-B14F-4D97-AF65-F5344CB8AC3E}">
        <p14:creationId xmlns:p14="http://schemas.microsoft.com/office/powerpoint/2010/main" val="156158314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p:spPr>
        <p:txBody>
          <a:bodyPr>
            <a:noAutofit/>
          </a:bodyPr>
          <a:lstStyle>
            <a:lvl1pPr marL="0" indent="0">
              <a:buFontTx/>
              <a:buNone/>
              <a:defRPr sz="1667">
                <a:latin typeface="Arial" panose="020B0604020202020204" pitchFamily="34" charset="0"/>
                <a:cs typeface="Arial" panose="020B0604020202020204" pitchFamily="34" charset="0"/>
              </a:defRPr>
            </a:lvl1pPr>
            <a:lvl2pPr marL="0" indent="0">
              <a:buFontTx/>
              <a:buNone/>
              <a:defRPr sz="1667">
                <a:latin typeface="Arial" panose="020B0604020202020204" pitchFamily="34" charset="0"/>
                <a:cs typeface="Arial" panose="020B0604020202020204" pitchFamily="34" charset="0"/>
              </a:defRPr>
            </a:lvl2pPr>
            <a:lvl3pPr marL="0" indent="0">
              <a:buFontTx/>
              <a:buNone/>
              <a:defRPr sz="1667">
                <a:latin typeface="Arial" panose="020B0604020202020204" pitchFamily="34" charset="0"/>
                <a:cs typeface="Arial" panose="020B0604020202020204" pitchFamily="34" charset="0"/>
              </a:defRPr>
            </a:lvl3pPr>
            <a:lvl4pPr marL="0" indent="0">
              <a:buFontTx/>
              <a:buNone/>
              <a:defRPr sz="1667">
                <a:latin typeface="Arial" panose="020B0604020202020204" pitchFamily="34" charset="0"/>
                <a:cs typeface="Arial" panose="020B0604020202020204" pitchFamily="34" charset="0"/>
              </a:defRPr>
            </a:lvl4pPr>
            <a:lvl5pPr marL="0" indent="0">
              <a:buFontTx/>
              <a:buNone/>
              <a:defRPr sz="16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itle 1"/>
          <p:cNvSpPr>
            <a:spLocks noGrp="1"/>
          </p:cNvSpPr>
          <p:nvPr>
            <p:ph type="title"/>
          </p:nvPr>
        </p:nvSpPr>
        <p:spPr>
          <a:xfrm>
            <a:off x="373858" y="409184"/>
            <a:ext cx="10515600" cy="392352"/>
          </a:xfrm>
        </p:spPr>
        <p:txBody>
          <a:bodyPr vert="horz" lIns="0" tIns="0" rIns="0" bIns="0" rtlCol="0" anchor="b">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49947908"/>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3228029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Tree>
    <p:extLst>
      <p:ext uri="{BB962C8B-B14F-4D97-AF65-F5344CB8AC3E}">
        <p14:creationId xmlns:p14="http://schemas.microsoft.com/office/powerpoint/2010/main" val="6386879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vider Image Big titl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427568" y="2219102"/>
            <a:ext cx="11332632" cy="3572099"/>
          </a:xfrm>
        </p:spPr>
        <p:txBody>
          <a:bodyPr anchor="ctr"/>
          <a:lstStyle>
            <a:lvl1pPr algn="ctr">
              <a:defRPr/>
            </a:lvl1pPr>
          </a:lstStyle>
          <a:p>
            <a:endParaRPr lang="en-US" dirty="0"/>
          </a:p>
        </p:txBody>
      </p:sp>
      <p:sp>
        <p:nvSpPr>
          <p:cNvPr id="8" name="Title 7"/>
          <p:cNvSpPr>
            <a:spLocks noGrp="1"/>
          </p:cNvSpPr>
          <p:nvPr>
            <p:ph type="title" hasCustomPrompt="1"/>
          </p:nvPr>
        </p:nvSpPr>
        <p:spPr>
          <a:xfrm>
            <a:off x="391709" y="196807"/>
            <a:ext cx="9753600" cy="1605101"/>
          </a:xfrm>
        </p:spPr>
        <p:txBody>
          <a:bodyPr lIns="0" tIns="0" rIns="0" bIns="0"/>
          <a:lstStyle>
            <a:lvl1pPr>
              <a:lnSpc>
                <a:spcPct val="90000"/>
              </a:lnSpc>
              <a:defRPr sz="5700" b="0" i="0">
                <a:solidFill>
                  <a:schemeClr val="bg1"/>
                </a:solidFill>
                <a:latin typeface="Arial Regular" charset="0"/>
                <a:cs typeface="Arial Regular" charset="0"/>
              </a:defRPr>
            </a:lvl1pPr>
          </a:lstStyle>
          <a:p>
            <a:r>
              <a:rPr lang="en-US" dirty="0"/>
              <a:t>Divider</a:t>
            </a:r>
            <a:br>
              <a:rPr lang="en-US" dirty="0"/>
            </a:br>
            <a:r>
              <a:rPr lang="en-US" dirty="0"/>
              <a:t>Page</a:t>
            </a:r>
          </a:p>
        </p:txBody>
      </p:sp>
      <p:sp>
        <p:nvSpPr>
          <p:cNvPr id="7"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474178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2"/>
            <a:ext cx="11338560" cy="2990117"/>
          </a:xfrm>
        </p:spPr>
        <p:txBody>
          <a:bodyPr/>
          <a:lstStyle>
            <a:lvl1pPr>
              <a:defRPr b="0" i="0">
                <a:latin typeface="Arial Regular" charset="0"/>
                <a:cs typeface="Arial Regular"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8" y="4921043"/>
            <a:ext cx="11338560" cy="1096047"/>
          </a:xfrm>
        </p:spPr>
        <p:txBody>
          <a:bodyPr anchor="b"/>
          <a:lstStyle>
            <a:lvl1pPr>
              <a:defRPr sz="950" b="0" i="0">
                <a:latin typeface="Arial Narrow" charset="0"/>
                <a:ea typeface="Arial Narrow" charset="0"/>
                <a:cs typeface="Arial Narrow"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sz="950" b="0" i="0">
                <a:latin typeface="Arial Narrow" charset="0"/>
                <a:ea typeface="Arial Narrow" charset="0"/>
                <a:cs typeface="Arial Narrow" charset="0"/>
              </a:defRPr>
            </a:lvl2pPr>
            <a:lvl3pPr>
              <a:defRPr sz="950">
                <a:latin typeface="Arial Narrow" charset="0"/>
                <a:ea typeface="Arial Narrow" charset="0"/>
                <a:cs typeface="Arial Narrow" charset="0"/>
              </a:defRPr>
            </a:lvl3pPr>
            <a:lvl4pPr>
              <a:defRPr sz="950">
                <a:latin typeface="Arial Narrow" charset="0"/>
                <a:ea typeface="Arial Narrow" charset="0"/>
                <a:cs typeface="Arial Narrow" charset="0"/>
              </a:defRPr>
            </a:lvl4pPr>
            <a:lvl5pPr>
              <a:defRPr sz="950">
                <a:latin typeface="Arial Narrow" charset="0"/>
                <a:ea typeface="Arial Narrow" charset="0"/>
                <a:cs typeface="Arial Narrow" charset="0"/>
              </a:defRPr>
            </a:lvl5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101" y="747521"/>
            <a:ext cx="10829878" cy="440834"/>
          </a:xfrm>
        </p:spPr>
        <p:txBody>
          <a:bodyPr lIns="0" tIns="0" rIns="0" bIns="0"/>
          <a:lstStyle>
            <a:lvl1pPr>
              <a:defRPr sz="1900" b="0">
                <a:solidFill>
                  <a:schemeClr val="tx1"/>
                </a:solidFill>
              </a:defRPr>
            </a:lvl1pPr>
          </a:lstStyle>
          <a:p>
            <a:pPr lvl="0"/>
            <a:r>
              <a:rPr lang="en-US" dirty="0"/>
              <a:t>Subtitle</a:t>
            </a:r>
          </a:p>
        </p:txBody>
      </p:sp>
      <p:sp>
        <p:nvSpPr>
          <p:cNvPr id="9"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8456207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8"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8"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6409201"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5"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5234138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p:spPr>
        <p:txBody>
          <a:bodyPr>
            <a:noAutofit/>
          </a:bodyPr>
          <a:lstStyle>
            <a:lvl1pPr marL="0" indent="0">
              <a:buFontTx/>
              <a:buNone/>
              <a:defRPr sz="1667">
                <a:latin typeface="Arial" panose="020B0604020202020204" pitchFamily="34" charset="0"/>
                <a:cs typeface="Arial" panose="020B0604020202020204" pitchFamily="34" charset="0"/>
              </a:defRPr>
            </a:lvl1pPr>
            <a:lvl2pPr marL="0" indent="0">
              <a:buFontTx/>
              <a:buNone/>
              <a:defRPr sz="1667">
                <a:latin typeface="Arial" panose="020B0604020202020204" pitchFamily="34" charset="0"/>
                <a:cs typeface="Arial" panose="020B0604020202020204" pitchFamily="34" charset="0"/>
              </a:defRPr>
            </a:lvl2pPr>
            <a:lvl3pPr marL="0" indent="0">
              <a:buFontTx/>
              <a:buNone/>
              <a:defRPr sz="1667">
                <a:latin typeface="Arial" panose="020B0604020202020204" pitchFamily="34" charset="0"/>
                <a:cs typeface="Arial" panose="020B0604020202020204" pitchFamily="34" charset="0"/>
              </a:defRPr>
            </a:lvl3pPr>
            <a:lvl4pPr marL="0" indent="0">
              <a:buFontTx/>
              <a:buNone/>
              <a:defRPr sz="1667">
                <a:latin typeface="Arial" panose="020B0604020202020204" pitchFamily="34" charset="0"/>
                <a:cs typeface="Arial" panose="020B0604020202020204" pitchFamily="34" charset="0"/>
              </a:defRPr>
            </a:lvl4pPr>
            <a:lvl5pPr marL="0" indent="0">
              <a:buFontTx/>
              <a:buNone/>
              <a:defRPr sz="16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sp>
        <p:nvSpPr>
          <p:cNvPr id="6" name="Title 1"/>
          <p:cNvSpPr>
            <a:spLocks noGrp="1"/>
          </p:cNvSpPr>
          <p:nvPr>
            <p:ph type="title"/>
          </p:nvPr>
        </p:nvSpPr>
        <p:spPr>
          <a:xfrm>
            <a:off x="373858" y="409184"/>
            <a:ext cx="10515600" cy="392352"/>
          </a:xfrm>
        </p:spPr>
        <p:txBody>
          <a:bodyPr vert="horz" lIns="0" tIns="0" rIns="0" bIns="0" rtlCol="0" anchor="b">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5954092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20516213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36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Tree>
    <p:extLst>
      <p:ext uri="{BB962C8B-B14F-4D97-AF65-F5344CB8AC3E}">
        <p14:creationId xmlns:p14="http://schemas.microsoft.com/office/powerpoint/2010/main" val="346557685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11665947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23139" y="217144"/>
            <a:ext cx="10825843" cy="792575"/>
          </a:xfrm>
          <a:prstGeom prst="rect">
            <a:avLst/>
          </a:prstGeom>
        </p:spPr>
        <p:txBody>
          <a:bodyPr/>
          <a:lstStyle/>
          <a:p>
            <a:r>
              <a:rPr lang="en-US" dirty="0"/>
              <a:t>Click to edit Master title style</a:t>
            </a:r>
          </a:p>
        </p:txBody>
      </p:sp>
      <p:sp>
        <p:nvSpPr>
          <p:cNvPr id="4" name="Slide Number Placeholder 3"/>
          <p:cNvSpPr>
            <a:spLocks noGrp="1"/>
          </p:cNvSpPr>
          <p:nvPr>
            <p:ph type="sldNum" sz="quarter" idx="11"/>
          </p:nvPr>
        </p:nvSpPr>
        <p:spPr>
          <a:xfrm>
            <a:off x="17679" y="6722383"/>
            <a:ext cx="299451" cy="162125"/>
          </a:xfrm>
          <a:prstGeom prst="rect">
            <a:avLst/>
          </a:prstGeom>
        </p:spPr>
        <p:txBody>
          <a:bodyPr/>
          <a:lstStyle>
            <a:lvl1pPr>
              <a:defRPr sz="700"/>
            </a:lvl1pPr>
          </a:lstStyle>
          <a:p>
            <a:fld id="{BDDC3DCF-E0A7-DA4A-BC2C-1EC3743A297B}" type="slidenum">
              <a:rPr lang="en-US" smtClean="0">
                <a:solidFill>
                  <a:srgbClr val="000000">
                    <a:tint val="75000"/>
                  </a:srgbClr>
                </a:solidFill>
              </a:rPr>
              <a:pPr/>
              <a:t>‹#›</a:t>
            </a:fld>
            <a:endParaRPr lang="en-US" dirty="0">
              <a:solidFill>
                <a:srgbClr val="000000">
                  <a:tint val="75000"/>
                </a:srgbClr>
              </a:solidFill>
            </a:endParaRPr>
          </a:p>
        </p:txBody>
      </p:sp>
      <p:sp>
        <p:nvSpPr>
          <p:cNvPr id="6" name="Content Placeholder 5"/>
          <p:cNvSpPr>
            <a:spLocks noGrp="1"/>
          </p:cNvSpPr>
          <p:nvPr>
            <p:ph sz="quarter" idx="12"/>
          </p:nvPr>
        </p:nvSpPr>
        <p:spPr>
          <a:xfrm>
            <a:off x="423136" y="1529223"/>
            <a:ext cx="11338057" cy="4279005"/>
          </a:xfrm>
          <a:prstGeom prst="rect">
            <a:avLst/>
          </a:prstGeom>
        </p:spPr>
        <p:txBody>
          <a:bodyPr/>
          <a:lstStyle>
            <a:lvl1pPr>
              <a:defRPr b="0" i="0">
                <a:latin typeface="Arial Regular" charset="0"/>
                <a:cs typeface="Arial Regular" charset="0"/>
              </a:defRPr>
            </a:lvl1pPr>
            <a:lvl2pPr marL="0" marR="0" indent="0" algn="l" defTabSz="45674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694" marR="0" lvl="1" indent="-182694" algn="l" defTabSz="45674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3" hasCustomPrompt="1"/>
          </p:nvPr>
        </p:nvSpPr>
        <p:spPr>
          <a:xfrm>
            <a:off x="419110" y="747521"/>
            <a:ext cx="10829879" cy="440834"/>
          </a:xfrm>
          <a:prstGeom prst="rect">
            <a:avLst/>
          </a:prstGeo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1094957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83058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FC1E78-8A1D-4B7B-BB49-A01A2C07F035}" type="slidenum">
              <a:rPr lang="en-US" smtClean="0"/>
              <a:t>‹#›</a:t>
            </a:fld>
            <a:endParaRPr lang="en-US" dirty="0"/>
          </a:p>
        </p:txBody>
      </p:sp>
    </p:spTree>
    <p:extLst>
      <p:ext uri="{BB962C8B-B14F-4D97-AF65-F5344CB8AC3E}">
        <p14:creationId xmlns:p14="http://schemas.microsoft.com/office/powerpoint/2010/main" val="26946200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36694"/>
            <a:ext cx="10515600" cy="369397"/>
          </a:xfrm>
        </p:spPr>
        <p:txBody>
          <a:bodyPr vert="horz" lIns="0" tIns="0" rIns="0" bIns="0" rtlCol="0" anchor="ctr">
            <a:spAutoFit/>
          </a:bodyPr>
          <a:lstStyle>
            <a:lvl1pPr>
              <a:defRPr lang="en-US" sz="2667"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5"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smtClean="0"/>
              <a:pPr/>
              <a:t>‹#›</a:t>
            </a:fld>
            <a:endParaRPr lang="en-US" sz="1200" dirty="0"/>
          </a:p>
        </p:txBody>
      </p:sp>
    </p:spTree>
    <p:extLst>
      <p:ext uri="{BB962C8B-B14F-4D97-AF65-F5344CB8AC3E}">
        <p14:creationId xmlns:p14="http://schemas.microsoft.com/office/powerpoint/2010/main" val="3150739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4"/>
          </p:nvPr>
        </p:nvSpPr>
        <p:spPr>
          <a:xfrm>
            <a:off x="83058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FC1E78-8A1D-4B7B-BB49-A01A2C07F035}" type="slidenum">
              <a:rPr lang="en-US" smtClean="0"/>
              <a:t>‹#›</a:t>
            </a:fld>
            <a:endParaRPr lang="en-US" dirty="0"/>
          </a:p>
        </p:txBody>
      </p:sp>
    </p:spTree>
    <p:extLst>
      <p:ext uri="{BB962C8B-B14F-4D97-AF65-F5344CB8AC3E}">
        <p14:creationId xmlns:p14="http://schemas.microsoft.com/office/powerpoint/2010/main" val="6178527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4"/>
          </p:nvPr>
        </p:nvSpPr>
        <p:spPr>
          <a:xfrm>
            <a:off x="83058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FC1E78-8A1D-4B7B-BB49-A01A2C07F035}" type="slidenum">
              <a:rPr lang="en-US" smtClean="0"/>
              <a:t>‹#›</a:t>
            </a:fld>
            <a:endParaRPr lang="en-US" dirty="0"/>
          </a:p>
        </p:txBody>
      </p:sp>
    </p:spTree>
    <p:extLst>
      <p:ext uri="{BB962C8B-B14F-4D97-AF65-F5344CB8AC3E}">
        <p14:creationId xmlns:p14="http://schemas.microsoft.com/office/powerpoint/2010/main" val="17339460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36694"/>
            <a:ext cx="10515600" cy="369397"/>
          </a:xfrm>
        </p:spPr>
        <p:txBody>
          <a:bodyPr vert="horz" lIns="0" tIns="0" rIns="0" bIns="0" rtlCol="0" anchor="ctr">
            <a:spAutoFit/>
          </a:bodyPr>
          <a:lstStyle>
            <a:lvl1pPr>
              <a:defRPr lang="en-US" sz="2667"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5"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smtClean="0"/>
              <a:pPr/>
              <a:t>‹#›</a:t>
            </a:fld>
            <a:endParaRPr lang="en-US" sz="1200" dirty="0"/>
          </a:p>
        </p:txBody>
      </p:sp>
    </p:spTree>
    <p:extLst>
      <p:ext uri="{BB962C8B-B14F-4D97-AF65-F5344CB8AC3E}">
        <p14:creationId xmlns:p14="http://schemas.microsoft.com/office/powerpoint/2010/main" val="3709998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4"/>
          </p:nvPr>
        </p:nvSpPr>
        <p:spPr>
          <a:xfrm>
            <a:off x="83058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FC1E78-8A1D-4B7B-BB49-A01A2C07F035}" type="slidenum">
              <a:rPr lang="en-US" smtClean="0"/>
              <a:t>‹#›</a:t>
            </a:fld>
            <a:endParaRPr lang="en-US" dirty="0"/>
          </a:p>
        </p:txBody>
      </p:sp>
    </p:spTree>
    <p:extLst>
      <p:ext uri="{BB962C8B-B14F-4D97-AF65-F5344CB8AC3E}">
        <p14:creationId xmlns:p14="http://schemas.microsoft.com/office/powerpoint/2010/main" val="31791298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1"/>
            <a:ext cx="2743200" cy="365125"/>
          </a:xfrm>
        </p:spPr>
        <p:txBody>
          <a:bodyPr/>
          <a:lstStyle>
            <a:lvl1pPr>
              <a:defRPr>
                <a:latin typeface="Arial" panose="020B0604020202020204" pitchFamily="34" charset="0"/>
                <a:cs typeface="Arial" panose="020B0604020202020204" pitchFamily="34" charset="0"/>
              </a:defRPr>
            </a:lvl1pPr>
          </a:lstStyle>
          <a:p>
            <a:fld id="{47FC1E78-8A1D-4B7B-BB49-A01A2C07F035}" type="slidenum">
              <a:rPr lang="en-US" smtClean="0"/>
              <a:pPr/>
              <a:t>‹#›</a:t>
            </a:fld>
            <a:endParaRPr lang="en-US" dirty="0"/>
          </a:p>
        </p:txBody>
      </p:sp>
    </p:spTree>
    <p:extLst>
      <p:ext uri="{BB962C8B-B14F-4D97-AF65-F5344CB8AC3E}">
        <p14:creationId xmlns:p14="http://schemas.microsoft.com/office/powerpoint/2010/main" val="41658921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4" name="Slide Number Placeholder 5"/>
          <p:cNvSpPr>
            <a:spLocks noGrp="1"/>
          </p:cNvSpPr>
          <p:nvPr>
            <p:ph type="sldNum" sz="quarter" idx="4"/>
          </p:nvPr>
        </p:nvSpPr>
        <p:spPr>
          <a:xfrm>
            <a:off x="83058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FC1E78-8A1D-4B7B-BB49-A01A2C07F035}" type="slidenum">
              <a:rPr lang="en-US" smtClean="0"/>
              <a:t>‹#›</a:t>
            </a:fld>
            <a:endParaRPr lang="en-US" dirty="0"/>
          </a:p>
        </p:txBody>
      </p:sp>
    </p:spTree>
    <p:extLst>
      <p:ext uri="{BB962C8B-B14F-4D97-AF65-F5344CB8AC3E}">
        <p14:creationId xmlns:p14="http://schemas.microsoft.com/office/powerpoint/2010/main" val="1655850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
        <p:nvSpPr>
          <p:cNvPr id="7" name="TextBox 6"/>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3593096716"/>
      </p:ext>
    </p:extLst>
  </p:cSld>
  <p:clrMapOvr>
    <a:masterClrMapping/>
  </p:clrMapOvr>
  <p:transition>
    <p:fade/>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4"/>
          </p:nvPr>
        </p:nvSpPr>
        <p:spPr>
          <a:xfrm>
            <a:off x="83058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FC1E78-8A1D-4B7B-BB49-A01A2C07F035}" type="slidenum">
              <a:rPr lang="en-US" smtClean="0"/>
              <a:t>‹#›</a:t>
            </a:fld>
            <a:endParaRPr lang="en-US" dirty="0"/>
          </a:p>
        </p:txBody>
      </p:sp>
    </p:spTree>
    <p:extLst>
      <p:ext uri="{BB962C8B-B14F-4D97-AF65-F5344CB8AC3E}">
        <p14:creationId xmlns:p14="http://schemas.microsoft.com/office/powerpoint/2010/main" val="28325617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36694"/>
            <a:ext cx="10515600" cy="369397"/>
          </a:xfrm>
        </p:spPr>
        <p:txBody>
          <a:bodyPr vert="horz" lIns="0" tIns="0" rIns="0" bIns="0" rtlCol="0" anchor="ctr">
            <a:spAutoFit/>
          </a:bodyPr>
          <a:lstStyle>
            <a:lvl1pPr>
              <a:defRPr lang="en-US" sz="2667"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5"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smtClean="0"/>
              <a:pPr/>
              <a:t>‹#›</a:t>
            </a:fld>
            <a:endParaRPr lang="en-US" sz="1200" dirty="0"/>
          </a:p>
        </p:txBody>
      </p:sp>
    </p:spTree>
    <p:extLst>
      <p:ext uri="{BB962C8B-B14F-4D97-AF65-F5344CB8AC3E}">
        <p14:creationId xmlns:p14="http://schemas.microsoft.com/office/powerpoint/2010/main" val="16465679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36694"/>
            <a:ext cx="10515600" cy="369397"/>
          </a:xfrm>
        </p:spPr>
        <p:txBody>
          <a:bodyPr vert="horz" lIns="0" tIns="0" rIns="0" bIns="0" rtlCol="0" anchor="ctr">
            <a:spAutoFit/>
          </a:bodyPr>
          <a:lstStyle>
            <a:lvl1pPr>
              <a:defRPr lang="en-US" sz="2667"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5"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smtClean="0"/>
              <a:pPr/>
              <a:t>‹#›</a:t>
            </a:fld>
            <a:endParaRPr lang="en-US" sz="1200" dirty="0"/>
          </a:p>
        </p:txBody>
      </p:sp>
    </p:spTree>
    <p:extLst>
      <p:ext uri="{BB962C8B-B14F-4D97-AF65-F5344CB8AC3E}">
        <p14:creationId xmlns:p14="http://schemas.microsoft.com/office/powerpoint/2010/main" val="821026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1130701"/>
          </a:xfrm>
          <a:prstGeom prst="rect">
            <a:avLst/>
          </a:prstGeom>
        </p:spPr>
        <p:txBody>
          <a:bodyPr vert="horz" lIns="91440" tIns="45720" rIns="91440" bIns="45720" rtlCol="0" anchor="b">
            <a:normAutofit/>
          </a:bodyPr>
          <a:lstStyle>
            <a:lvl1pPr>
              <a:defRPr lang="en-US" sz="50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3" name="Subtitle 2"/>
          <p:cNvSpPr>
            <a:spLocks noGrp="1"/>
          </p:cNvSpPr>
          <p:nvPr>
            <p:ph type="subTitle" idx="1" hasCustomPrompt="1"/>
          </p:nvPr>
        </p:nvSpPr>
        <p:spPr>
          <a:xfrm>
            <a:off x="1524001" y="3602038"/>
            <a:ext cx="2769809" cy="1655762"/>
          </a:xfrm>
          <a:prstGeom prst="rect">
            <a:avLst/>
          </a:prstGeom>
        </p:spPr>
        <p:txBody>
          <a:bodyPr/>
          <a:lstStyle>
            <a:lvl1pPr marL="228591" indent="-228591">
              <a:buNone/>
              <a:defRPr lang="en-US" sz="1500" dirty="0">
                <a:latin typeface="Arial" panose="020B0604020202020204" pitchFamily="34" charset="0"/>
                <a:cs typeface="Arial" panose="020B0604020202020204" pitchFamily="34" charset="0"/>
              </a:defRPr>
            </a:lvl1pPr>
          </a:lstStyle>
          <a:p>
            <a:pPr marL="0" lvl="0" indent="0">
              <a:spcBef>
                <a:spcPts val="500"/>
              </a:spcBef>
            </a:pPr>
            <a:r>
              <a:rPr lang="en-US" sz="1500" dirty="0">
                <a:latin typeface="Arial" panose="020B0604020202020204" pitchFamily="34" charset="0"/>
                <a:cs typeface="Arial" panose="020B0604020202020204" pitchFamily="34" charset="0"/>
              </a:rPr>
              <a:t>Presenter name</a:t>
            </a:r>
          </a:p>
          <a:p>
            <a:pPr marL="0" lvl="0" indent="0">
              <a:spcBef>
                <a:spcPts val="500"/>
              </a:spcBef>
            </a:pPr>
            <a:r>
              <a:rPr lang="en-US" sz="1500" dirty="0">
                <a:latin typeface="Arial" panose="020B0604020202020204" pitchFamily="34" charset="0"/>
                <a:cs typeface="Arial" panose="020B0604020202020204" pitchFamily="34" charset="0"/>
              </a:rPr>
              <a:t>Job title</a:t>
            </a:r>
          </a:p>
          <a:p>
            <a:pPr marL="0" lvl="0" indent="0">
              <a:spcBef>
                <a:spcPts val="500"/>
              </a:spcBef>
            </a:pPr>
            <a:r>
              <a:rPr lang="en-US" sz="1500" dirty="0">
                <a:latin typeface="Arial" panose="020B0604020202020204" pitchFamily="34" charset="0"/>
                <a:cs typeface="Arial" panose="020B0604020202020204" pitchFamily="34" charset="0"/>
              </a:rPr>
              <a:t>Department/sector</a:t>
            </a:r>
            <a:endParaRPr lang="en-US" sz="5000" dirty="0">
              <a:latin typeface="Arial" panose="020B0604020202020204" pitchFamily="34" charset="0"/>
              <a:cs typeface="Arial" panose="020B0604020202020204" pitchFamily="34" charset="0"/>
            </a:endParaRPr>
          </a:p>
        </p:txBody>
      </p:sp>
      <p:sp>
        <p:nvSpPr>
          <p:cNvPr id="8" name="Rectangle 7"/>
          <p:cNvSpPr/>
          <p:nvPr userDrawn="1"/>
        </p:nvSpPr>
        <p:spPr>
          <a:xfrm>
            <a:off x="0" y="5933017"/>
            <a:ext cx="12192000" cy="919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6200" tIns="38100" rIns="76200" bIns="38100" numCol="1" spcCol="0" rtlCol="0" fromWordArt="0" anchor="ctr" anchorCtr="0" forceAA="0" compatLnSpc="1">
            <a:prstTxWarp prst="textNoShape">
              <a:avLst/>
            </a:prstTxWarp>
            <a:noAutofit/>
          </a:bodyPr>
          <a:lstStyle>
            <a:defPPr>
              <a:defRPr lang="en-US"/>
            </a:defPPr>
            <a:lvl1pPr marL="0" algn="l" defTabSz="1097280" rtl="0" eaLnBrk="1" latinLnBrk="0" hangingPunct="1">
              <a:defRPr sz="2160" kern="1200">
                <a:solidFill>
                  <a:schemeClr val="lt1"/>
                </a:solidFill>
                <a:latin typeface="+mn-lt"/>
                <a:ea typeface="+mn-ea"/>
                <a:cs typeface="+mn-cs"/>
              </a:defRPr>
            </a:lvl1pPr>
            <a:lvl2pPr marL="548640" algn="l" defTabSz="1097280" rtl="0" eaLnBrk="1" latinLnBrk="0" hangingPunct="1">
              <a:defRPr sz="2160" kern="1200">
                <a:solidFill>
                  <a:schemeClr val="lt1"/>
                </a:solidFill>
                <a:latin typeface="+mn-lt"/>
                <a:ea typeface="+mn-ea"/>
                <a:cs typeface="+mn-cs"/>
              </a:defRPr>
            </a:lvl2pPr>
            <a:lvl3pPr marL="1097280" algn="l" defTabSz="1097280" rtl="0" eaLnBrk="1" latinLnBrk="0" hangingPunct="1">
              <a:defRPr sz="2160" kern="1200">
                <a:solidFill>
                  <a:schemeClr val="lt1"/>
                </a:solidFill>
                <a:latin typeface="+mn-lt"/>
                <a:ea typeface="+mn-ea"/>
                <a:cs typeface="+mn-cs"/>
              </a:defRPr>
            </a:lvl3pPr>
            <a:lvl4pPr marL="1645920" algn="l" defTabSz="1097280" rtl="0" eaLnBrk="1" latinLnBrk="0" hangingPunct="1">
              <a:defRPr sz="2160" kern="1200">
                <a:solidFill>
                  <a:schemeClr val="lt1"/>
                </a:solidFill>
                <a:latin typeface="+mn-lt"/>
                <a:ea typeface="+mn-ea"/>
                <a:cs typeface="+mn-cs"/>
              </a:defRPr>
            </a:lvl4pPr>
            <a:lvl5pPr marL="2194560" algn="l" defTabSz="1097280" rtl="0" eaLnBrk="1" latinLnBrk="0" hangingPunct="1">
              <a:defRPr sz="2160" kern="1200">
                <a:solidFill>
                  <a:schemeClr val="lt1"/>
                </a:solidFill>
                <a:latin typeface="+mn-lt"/>
                <a:ea typeface="+mn-ea"/>
                <a:cs typeface="+mn-cs"/>
              </a:defRPr>
            </a:lvl5pPr>
            <a:lvl6pPr marL="2743200" algn="l" defTabSz="1097280" rtl="0" eaLnBrk="1" latinLnBrk="0" hangingPunct="1">
              <a:defRPr sz="2160" kern="1200">
                <a:solidFill>
                  <a:schemeClr val="lt1"/>
                </a:solidFill>
                <a:latin typeface="+mn-lt"/>
                <a:ea typeface="+mn-ea"/>
                <a:cs typeface="+mn-cs"/>
              </a:defRPr>
            </a:lvl6pPr>
            <a:lvl7pPr marL="3291840" algn="l" defTabSz="1097280" rtl="0" eaLnBrk="1" latinLnBrk="0" hangingPunct="1">
              <a:defRPr sz="2160" kern="1200">
                <a:solidFill>
                  <a:schemeClr val="lt1"/>
                </a:solidFill>
                <a:latin typeface="+mn-lt"/>
                <a:ea typeface="+mn-ea"/>
                <a:cs typeface="+mn-cs"/>
              </a:defRPr>
            </a:lvl7pPr>
            <a:lvl8pPr marL="3840480" algn="l" defTabSz="1097280" rtl="0" eaLnBrk="1" latinLnBrk="0" hangingPunct="1">
              <a:defRPr sz="2160" kern="1200">
                <a:solidFill>
                  <a:schemeClr val="lt1"/>
                </a:solidFill>
                <a:latin typeface="+mn-lt"/>
                <a:ea typeface="+mn-ea"/>
                <a:cs typeface="+mn-cs"/>
              </a:defRPr>
            </a:lvl8pPr>
            <a:lvl9pPr marL="4389120" algn="l" defTabSz="1097280" rtl="0" eaLnBrk="1" latinLnBrk="0" hangingPunct="1">
              <a:defRPr sz="2160" kern="1200">
                <a:solidFill>
                  <a:schemeClr val="lt1"/>
                </a:solidFill>
                <a:latin typeface="+mn-lt"/>
                <a:ea typeface="+mn-ea"/>
                <a:cs typeface="+mn-cs"/>
              </a:defRPr>
            </a:lvl9pPr>
          </a:lstStyle>
          <a:p>
            <a:pPr algn="ctr"/>
            <a:endParaRPr lang="en-US" sz="1800">
              <a:solidFill>
                <a:prstClr val="white"/>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Tree>
    <p:extLst>
      <p:ext uri="{BB962C8B-B14F-4D97-AF65-F5344CB8AC3E}">
        <p14:creationId xmlns:p14="http://schemas.microsoft.com/office/powerpoint/2010/main" val="19036848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0"/>
            <a:ext cx="10515600" cy="5222133"/>
          </a:xfrm>
          <a:prstGeom prst="rect">
            <a:avLst/>
          </a:prstGeom>
        </p:spPr>
        <p:txBody>
          <a:bodyPr>
            <a:normAutofit/>
          </a:bodyPr>
          <a:lstStyle>
            <a:lvl1pPr marL="228591" indent="-228591">
              <a:lnSpc>
                <a:spcPct val="130000"/>
              </a:lnSpc>
              <a:spcBef>
                <a:spcPts val="500"/>
              </a:spcBef>
              <a:buFont typeface="Arial" panose="020B0604020202020204" pitchFamily="34" charset="0"/>
              <a:buChar char="●"/>
              <a:defRPr sz="1833" b="1" baseline="0">
                <a:latin typeface="Arial" panose="020B0604020202020204" pitchFamily="34" charset="0"/>
                <a:cs typeface="Arial" panose="020B0604020202020204" pitchFamily="34" charset="0"/>
              </a:defRPr>
            </a:lvl1pPr>
            <a:lvl2pPr marL="457182" indent="-228591">
              <a:lnSpc>
                <a:spcPct val="130000"/>
              </a:lnSpc>
              <a:spcBef>
                <a:spcPts val="500"/>
              </a:spcBef>
              <a:buFont typeface="Arial" panose="020B0604020202020204" pitchFamily="34" charset="0"/>
              <a:buChar char="■"/>
              <a:defRPr sz="1667" baseline="0">
                <a:latin typeface="Arial" panose="020B0604020202020204" pitchFamily="34" charset="0"/>
                <a:cs typeface="Arial" panose="020B0604020202020204" pitchFamily="34" charset="0"/>
              </a:defRPr>
            </a:lvl2pPr>
            <a:lvl3pPr marL="685773" indent="-228591">
              <a:lnSpc>
                <a:spcPct val="130000"/>
              </a:lnSpc>
              <a:spcBef>
                <a:spcPts val="500"/>
              </a:spcBef>
              <a:buFont typeface="Arial" panose="020B0604020202020204" pitchFamily="34" charset="0"/>
              <a:buChar char="○"/>
              <a:defRPr sz="1500" baseline="0">
                <a:latin typeface="Arial" panose="020B0604020202020204" pitchFamily="34" charset="0"/>
                <a:cs typeface="Arial" panose="020B0604020202020204" pitchFamily="34" charset="0"/>
              </a:defRPr>
            </a:lvl3pPr>
            <a:lvl4pPr marL="914363" indent="-228591">
              <a:lnSpc>
                <a:spcPct val="130000"/>
              </a:lnSpc>
              <a:spcBef>
                <a:spcPts val="500"/>
              </a:spcBef>
              <a:buFont typeface="Arial" panose="020B0604020202020204" pitchFamily="34" charset="0"/>
              <a:buChar char="□"/>
              <a:defRPr sz="1333" baseline="0">
                <a:latin typeface="Arial" panose="020B0604020202020204" pitchFamily="34" charset="0"/>
                <a:cs typeface="Arial" panose="020B0604020202020204" pitchFamily="34" charset="0"/>
              </a:defRPr>
            </a:lvl4pPr>
            <a:lvl5pPr marL="1142954" indent="-228591">
              <a:lnSpc>
                <a:spcPct val="130000"/>
              </a:lnSpc>
              <a:spcBef>
                <a:spcPts val="500"/>
              </a:spcBef>
              <a:buFont typeface="Wingdings" panose="05000000000000000000" pitchFamily="2" charset="2"/>
              <a:buChar char=""/>
              <a:defRPr sz="1167"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40116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vl1pPr>
          </a:lstStyle>
          <a:p>
            <a:pPr marL="0" lvl="0"/>
            <a:r>
              <a:rPr lang="en-US" dirty="0"/>
              <a:t>Click to edit Master title style</a:t>
            </a:r>
          </a:p>
        </p:txBody>
      </p:sp>
    </p:spTree>
    <p:extLst>
      <p:ext uri="{BB962C8B-B14F-4D97-AF65-F5344CB8AC3E}">
        <p14:creationId xmlns:p14="http://schemas.microsoft.com/office/powerpoint/2010/main" val="37254474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Only Double Line">
    <p:spTree>
      <p:nvGrpSpPr>
        <p:cNvPr id="1" name=""/>
        <p:cNvGrpSpPr/>
        <p:nvPr/>
      </p:nvGrpSpPr>
      <p:grpSpPr>
        <a:xfrm>
          <a:off x="0" y="0"/>
          <a:ext cx="0" cy="0"/>
          <a:chOff x="0" y="0"/>
          <a:chExt cx="0" cy="0"/>
        </a:xfrm>
      </p:grpSpPr>
      <p:sp>
        <p:nvSpPr>
          <p:cNvPr id="4"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vl1pPr>
          </a:lstStyle>
          <a:p>
            <a:pPr marL="0" lvl="0"/>
            <a:r>
              <a:rPr lang="en-US" dirty="0"/>
              <a:t>Click to edit Master title style</a:t>
            </a:r>
          </a:p>
        </p:txBody>
      </p:sp>
      <p:sp>
        <p:nvSpPr>
          <p:cNvPr id="5" name="Text Placeholder 4"/>
          <p:cNvSpPr>
            <a:spLocks noGrp="1"/>
          </p:cNvSpPr>
          <p:nvPr>
            <p:ph type="body" sz="quarter" idx="10"/>
          </p:nvPr>
        </p:nvSpPr>
        <p:spPr>
          <a:xfrm>
            <a:off x="374387" y="906746"/>
            <a:ext cx="10514542" cy="288806"/>
          </a:xfrm>
          <a:prstGeom prst="rect">
            <a:avLst/>
          </a:prstGeom>
        </p:spPr>
        <p:txBody>
          <a:bodyPr lIns="0"/>
          <a:lstStyle>
            <a:lvl1pPr marL="0" indent="0" algn="l" defTabSz="685773" rtl="0" eaLnBrk="1" fontAlgn="auto" latinLnBrk="0" hangingPunct="1">
              <a:lnSpc>
                <a:spcPct val="90000"/>
              </a:lnSpc>
              <a:spcBef>
                <a:spcPct val="0"/>
              </a:spcBef>
              <a:spcAft>
                <a:spcPts val="0"/>
              </a:spcAft>
              <a:buNone/>
              <a:defRPr lang="en-US" sz="1667" kern="1200" dirty="0">
                <a:solidFill>
                  <a:schemeClr val="tx1"/>
                </a:solidFill>
                <a:latin typeface="Arial" panose="020B0604020202020204" pitchFamily="34" charset="0"/>
                <a:ea typeface="+mj-ea"/>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311073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a:prstGeom prst="rect">
            <a:avLst/>
          </a:prstGeom>
        </p:spPr>
        <p:txBody>
          <a:bodyPr>
            <a:noAutofit/>
          </a:bodyPr>
          <a:lstStyle>
            <a:lvl1pPr marL="0" indent="0">
              <a:buFontTx/>
              <a:buNone/>
              <a:defRPr sz="1667">
                <a:latin typeface="Arial" panose="020B0604020202020204" pitchFamily="34" charset="0"/>
                <a:cs typeface="Arial" panose="020B0604020202020204" pitchFamily="34" charset="0"/>
              </a:defRPr>
            </a:lvl1pPr>
            <a:lvl2pPr marL="0" indent="0">
              <a:buFontTx/>
              <a:buNone/>
              <a:defRPr sz="1667">
                <a:latin typeface="Arial" panose="020B0604020202020204" pitchFamily="34" charset="0"/>
                <a:cs typeface="Arial" panose="020B0604020202020204" pitchFamily="34" charset="0"/>
              </a:defRPr>
            </a:lvl2pPr>
            <a:lvl3pPr marL="0" indent="0">
              <a:buFontTx/>
              <a:buNone/>
              <a:defRPr sz="1667">
                <a:latin typeface="Arial" panose="020B0604020202020204" pitchFamily="34" charset="0"/>
                <a:cs typeface="Arial" panose="020B0604020202020204" pitchFamily="34" charset="0"/>
              </a:defRPr>
            </a:lvl3pPr>
            <a:lvl4pPr marL="0" indent="0">
              <a:buFontTx/>
              <a:buNone/>
              <a:defRPr sz="1667">
                <a:latin typeface="Arial" panose="020B0604020202020204" pitchFamily="34" charset="0"/>
                <a:cs typeface="Arial" panose="020B0604020202020204" pitchFamily="34" charset="0"/>
              </a:defRPr>
            </a:lvl4pPr>
            <a:lvl5pPr marL="0" indent="0">
              <a:buFontTx/>
              <a:buNone/>
              <a:defRPr sz="16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sz="1800">
              <a:solidFill>
                <a:prstClr val="white"/>
              </a:solidFill>
            </a:endParaRPr>
          </a:p>
        </p:txBody>
      </p:sp>
      <p:sp>
        <p:nvSpPr>
          <p:cNvPr id="6"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vl1pPr>
          </a:lstStyle>
          <a:p>
            <a:pPr marL="0" lvl="0"/>
            <a:r>
              <a:rPr lang="en-US" dirty="0"/>
              <a:t>Click to edit Master title style</a:t>
            </a:r>
          </a:p>
        </p:txBody>
      </p:sp>
    </p:spTree>
    <p:extLst>
      <p:ext uri="{BB962C8B-B14F-4D97-AF65-F5344CB8AC3E}">
        <p14:creationId xmlns:p14="http://schemas.microsoft.com/office/powerpoint/2010/main" val="2370122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910358"/>
            <a:ext cx="10515600" cy="392352"/>
          </a:xfrm>
          <a:prstGeom prst="rect">
            <a:avLst/>
          </a:prstGeom>
        </p:spPr>
        <p:txBody>
          <a:bodyPr vert="horz" lIns="0" tIns="0" rIns="0" bIns="0" rtlCol="0" anchor="ctr">
            <a:spAutoFit/>
          </a:bodyPr>
          <a:lstStyle>
            <a:lvl1pPr algn="ct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38471304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dirty="0"/>
              <a:t>Click to edit Master title style</a:t>
            </a:r>
          </a:p>
        </p:txBody>
      </p:sp>
      <p:sp>
        <p:nvSpPr>
          <p:cNvPr id="4" name="Slide Number Placeholder 3"/>
          <p:cNvSpPr>
            <a:spLocks noGrp="1"/>
          </p:cNvSpPr>
          <p:nvPr>
            <p:ph type="sldNum" sz="quarter" idx="11"/>
          </p:nvPr>
        </p:nvSpPr>
        <p:spPr>
          <a:xfrm>
            <a:off x="7366" y="6709128"/>
            <a:ext cx="274418" cy="148875"/>
          </a:xfrm>
          <a:prstGeom prst="rect">
            <a:avLst/>
          </a:prstGeom>
        </p:spPr>
        <p:txBody>
          <a:bodyPr/>
          <a:lstStyle/>
          <a:p>
            <a:pPr defTabSz="914363"/>
            <a:fld id="{BDDC3DCF-E0A7-DA4A-BC2C-1EC3743A297B}" type="slidenum">
              <a:rPr lang="en-US" smtClean="0">
                <a:solidFill>
                  <a:prstClr val="black"/>
                </a:solidFill>
              </a:rPr>
              <a:pPr defTabSz="914363"/>
              <a:t>‹#›</a:t>
            </a:fld>
            <a:endParaRPr lang="en-US" dirty="0">
              <a:solidFill>
                <a:prstClr val="black"/>
              </a:solidFill>
            </a:endParaRPr>
          </a:p>
        </p:txBody>
      </p:sp>
      <p:sp>
        <p:nvSpPr>
          <p:cNvPr id="6" name="Content Placeholder 5"/>
          <p:cNvSpPr>
            <a:spLocks noGrp="1"/>
          </p:cNvSpPr>
          <p:nvPr>
            <p:ph sz="quarter" idx="12"/>
          </p:nvPr>
        </p:nvSpPr>
        <p:spPr>
          <a:xfrm>
            <a:off x="423137" y="1529223"/>
            <a:ext cx="11338058" cy="4279005"/>
          </a:xfrm>
          <a:prstGeom prst="rect">
            <a:avLst/>
          </a:prstGeom>
        </p:spPr>
        <p:txBody>
          <a:bodyPr/>
          <a:lstStyle>
            <a:lvl1pPr>
              <a:defRPr b="0" i="0">
                <a:latin typeface="Arial Regular" charset="0"/>
                <a:cs typeface="Arial Regular"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3" name="Rectangle 2"/>
          <p:cNvSpPr/>
          <p:nvPr userDrawn="1"/>
        </p:nvSpPr>
        <p:spPr>
          <a:xfrm>
            <a:off x="0" y="0"/>
            <a:ext cx="12192000" cy="1104900"/>
          </a:xfrm>
          <a:prstGeom prst="rect">
            <a:avLst/>
          </a:prstGeom>
          <a:solidFill>
            <a:srgbClr val="E8EA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2" fontAlgn="base">
              <a:spcBef>
                <a:spcPct val="0"/>
              </a:spcBef>
              <a:spcAft>
                <a:spcPct val="0"/>
              </a:spcAft>
            </a:pPr>
            <a:endParaRPr lang="en-US" sz="2160">
              <a:solidFill>
                <a:prstClr val="white"/>
              </a:solidFill>
            </a:endParaRPr>
          </a:p>
        </p:txBody>
      </p:sp>
      <p:sp>
        <p:nvSpPr>
          <p:cNvPr id="7" name="Text Placeholder 9"/>
          <p:cNvSpPr>
            <a:spLocks noGrp="1"/>
          </p:cNvSpPr>
          <p:nvPr>
            <p:ph type="body" sz="quarter" idx="13" hasCustomPrompt="1"/>
          </p:nvPr>
        </p:nvSpPr>
        <p:spPr>
          <a:xfrm>
            <a:off x="419101" y="747521"/>
            <a:ext cx="10829878" cy="440834"/>
          </a:xfrm>
          <a:prstGeom prst="rect">
            <a:avLst/>
          </a:prstGeom>
        </p:spPr>
        <p:txBody>
          <a:bodyPr lIns="0" tIns="0" rIns="0" bIns="0"/>
          <a:lstStyle>
            <a:lvl1pPr>
              <a:defRPr sz="1900" b="0">
                <a:solidFill>
                  <a:schemeClr val="tx1"/>
                </a:solidFill>
              </a:defRPr>
            </a:lvl1pPr>
          </a:lstStyle>
          <a:p>
            <a:pPr lvl="0"/>
            <a:r>
              <a:rPr lang="en-US" dirty="0"/>
              <a:t>Subtitle</a:t>
            </a:r>
          </a:p>
        </p:txBody>
      </p:sp>
    </p:spTree>
    <p:extLst>
      <p:ext uri="{BB962C8B-B14F-4D97-AF65-F5344CB8AC3E}">
        <p14:creationId xmlns:p14="http://schemas.microsoft.com/office/powerpoint/2010/main" val="994957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8" name="TextBox 7"/>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23550357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1"/>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5181507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27" indent="0" algn="ctr">
              <a:buNone/>
              <a:defRPr sz="2000"/>
            </a:lvl2pPr>
            <a:lvl3pPr marL="914253" indent="0" algn="ctr">
              <a:buNone/>
              <a:defRPr sz="1800"/>
            </a:lvl3pPr>
            <a:lvl4pPr marL="1371380" indent="0" algn="ctr">
              <a:buNone/>
              <a:defRPr sz="1600"/>
            </a:lvl4pPr>
            <a:lvl5pPr marL="1828508" indent="0" algn="ctr">
              <a:buNone/>
              <a:defRPr sz="1600"/>
            </a:lvl5pPr>
            <a:lvl6pPr marL="2285635" indent="0" algn="ctr">
              <a:buNone/>
              <a:defRPr sz="1600"/>
            </a:lvl6pPr>
            <a:lvl7pPr marL="2742760" indent="0" algn="ctr">
              <a:buNone/>
              <a:defRPr sz="1600"/>
            </a:lvl7pPr>
            <a:lvl8pPr marL="3199888" indent="0" algn="ctr">
              <a:buNone/>
              <a:defRPr sz="1600"/>
            </a:lvl8pPr>
            <a:lvl9pPr marL="3657015"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79D8528A-DB0D-4756-A4C0-FF5ABF39A205}" type="datetimeFigureOut">
              <a:rPr lang="en-IN" smtClean="0">
                <a:solidFill>
                  <a:srgbClr val="000000">
                    <a:tint val="75000"/>
                  </a:srgbClr>
                </a:solidFill>
              </a:rPr>
              <a:pPr/>
              <a:t>19-04-2022</a:t>
            </a:fld>
            <a:endParaRPr lang="en-IN">
              <a:solidFill>
                <a:srgbClr val="000000">
                  <a:tint val="75000"/>
                </a:srgbClr>
              </a:solidFill>
            </a:endParaRPr>
          </a:p>
        </p:txBody>
      </p:sp>
      <p:sp>
        <p:nvSpPr>
          <p:cNvPr id="5" name="Footer Placeholder 4"/>
          <p:cNvSpPr>
            <a:spLocks noGrp="1"/>
          </p:cNvSpPr>
          <p:nvPr>
            <p:ph type="ftr" sz="quarter" idx="11"/>
          </p:nvPr>
        </p:nvSpPr>
        <p:spPr/>
        <p:txBody>
          <a:bodyPr/>
          <a:lstStyle/>
          <a:p>
            <a:endParaRPr lang="en-IN">
              <a:solidFill>
                <a:srgbClr val="000000">
                  <a:tint val="75000"/>
                </a:srgbClr>
              </a:solidFill>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6011333"/>
            <a:ext cx="12192000" cy="84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defTabSz="914217"/>
            <a:endParaRPr lang="en-US">
              <a:solidFill>
                <a:prstClr val="white"/>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Tree>
    <p:extLst>
      <p:ext uri="{BB962C8B-B14F-4D97-AF65-F5344CB8AC3E}">
        <p14:creationId xmlns:p14="http://schemas.microsoft.com/office/powerpoint/2010/main" val="423991279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217"/>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129158908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1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88509201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27" indent="0">
              <a:buNone/>
              <a:defRPr sz="2000">
                <a:solidFill>
                  <a:schemeClr val="tx1">
                    <a:tint val="75000"/>
                  </a:schemeClr>
                </a:solidFill>
              </a:defRPr>
            </a:lvl2pPr>
            <a:lvl3pPr marL="914253" indent="0">
              <a:buNone/>
              <a:defRPr sz="1800">
                <a:solidFill>
                  <a:schemeClr val="tx1">
                    <a:tint val="75000"/>
                  </a:schemeClr>
                </a:solidFill>
              </a:defRPr>
            </a:lvl3pPr>
            <a:lvl4pPr marL="1371380" indent="0">
              <a:buNone/>
              <a:defRPr sz="1600">
                <a:solidFill>
                  <a:schemeClr val="tx1">
                    <a:tint val="75000"/>
                  </a:schemeClr>
                </a:solidFill>
              </a:defRPr>
            </a:lvl4pPr>
            <a:lvl5pPr marL="1828508" indent="0">
              <a:buNone/>
              <a:defRPr sz="1600">
                <a:solidFill>
                  <a:schemeClr val="tx1">
                    <a:tint val="75000"/>
                  </a:schemeClr>
                </a:solidFill>
              </a:defRPr>
            </a:lvl5pPr>
            <a:lvl6pPr marL="2285635" indent="0">
              <a:buNone/>
              <a:defRPr sz="1600">
                <a:solidFill>
                  <a:schemeClr val="tx1">
                    <a:tint val="75000"/>
                  </a:schemeClr>
                </a:solidFill>
              </a:defRPr>
            </a:lvl6pPr>
            <a:lvl7pPr marL="2742760" indent="0">
              <a:buNone/>
              <a:defRPr sz="1600">
                <a:solidFill>
                  <a:schemeClr val="tx1">
                    <a:tint val="75000"/>
                  </a:schemeClr>
                </a:solidFill>
              </a:defRPr>
            </a:lvl7pPr>
            <a:lvl8pPr marL="3199888" indent="0">
              <a:buNone/>
              <a:defRPr sz="1600">
                <a:solidFill>
                  <a:schemeClr val="tx1">
                    <a:tint val="75000"/>
                  </a:schemeClr>
                </a:solidFill>
              </a:defRPr>
            </a:lvl8pPr>
            <a:lvl9pPr marL="365701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45325044"/>
      </p:ext>
    </p:extLst>
  </p:cSld>
  <p:clrMapOvr>
    <a:masterClrMapping/>
  </p:clrMapOvr>
  <p:transition>
    <p:fade/>
  </p:transition>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1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2121401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27" indent="0">
              <a:buNone/>
              <a:defRPr sz="2000" b="1"/>
            </a:lvl2pPr>
            <a:lvl3pPr marL="914253" indent="0">
              <a:buNone/>
              <a:defRPr sz="1800" b="1"/>
            </a:lvl3pPr>
            <a:lvl4pPr marL="1371380" indent="0">
              <a:buNone/>
              <a:defRPr sz="1600" b="1"/>
            </a:lvl4pPr>
            <a:lvl5pPr marL="1828508" indent="0">
              <a:buNone/>
              <a:defRPr sz="1600" b="1"/>
            </a:lvl5pPr>
            <a:lvl6pPr marL="2285635" indent="0">
              <a:buNone/>
              <a:defRPr sz="1600" b="1"/>
            </a:lvl6pPr>
            <a:lvl7pPr marL="2742760" indent="0">
              <a:buNone/>
              <a:defRPr sz="1600" b="1"/>
            </a:lvl7pPr>
            <a:lvl8pPr marL="3199888" indent="0">
              <a:buNone/>
              <a:defRPr sz="1600" b="1"/>
            </a:lvl8pPr>
            <a:lvl9pPr marL="365701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27" indent="0">
              <a:buNone/>
              <a:defRPr sz="2000" b="1"/>
            </a:lvl2pPr>
            <a:lvl3pPr marL="914253" indent="0">
              <a:buNone/>
              <a:defRPr sz="1800" b="1"/>
            </a:lvl3pPr>
            <a:lvl4pPr marL="1371380" indent="0">
              <a:buNone/>
              <a:defRPr sz="1600" b="1"/>
            </a:lvl4pPr>
            <a:lvl5pPr marL="1828508" indent="0">
              <a:buNone/>
              <a:defRPr sz="1600" b="1"/>
            </a:lvl5pPr>
            <a:lvl6pPr marL="2285635" indent="0">
              <a:buNone/>
              <a:defRPr sz="1600" b="1"/>
            </a:lvl6pPr>
            <a:lvl7pPr marL="2742760" indent="0">
              <a:buNone/>
              <a:defRPr sz="1600" b="1"/>
            </a:lvl7pPr>
            <a:lvl8pPr marL="3199888" indent="0">
              <a:buNone/>
              <a:defRPr sz="1600" b="1"/>
            </a:lvl8pPr>
            <a:lvl9pPr marL="365701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217"/>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30547565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217"/>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9011651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F613AC-639B-4E74-B58B-55B57E857925}" type="datetimeFigureOut">
              <a:rPr lang="en-US" smtClean="0">
                <a:solidFill>
                  <a:prstClr val="black">
                    <a:tint val="75000"/>
                  </a:prstClr>
                </a:solidFill>
              </a:rPr>
              <a:pPr/>
              <a:t>4/19/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0B1403B-DD75-49CD-BD5F-C8872BB1CF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20026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27" indent="0">
              <a:buNone/>
              <a:defRPr sz="1400"/>
            </a:lvl2pPr>
            <a:lvl3pPr marL="914253" indent="0">
              <a:buNone/>
              <a:defRPr sz="1200"/>
            </a:lvl3pPr>
            <a:lvl4pPr marL="1371380" indent="0">
              <a:buNone/>
              <a:defRPr sz="1000"/>
            </a:lvl4pPr>
            <a:lvl5pPr marL="1828508" indent="0">
              <a:buNone/>
              <a:defRPr sz="1000"/>
            </a:lvl5pPr>
            <a:lvl6pPr marL="2285635" indent="0">
              <a:buNone/>
              <a:defRPr sz="1000"/>
            </a:lvl6pPr>
            <a:lvl7pPr marL="2742760" indent="0">
              <a:buNone/>
              <a:defRPr sz="1000"/>
            </a:lvl7pPr>
            <a:lvl8pPr marL="3199888" indent="0">
              <a:buNone/>
              <a:defRPr sz="1000"/>
            </a:lvl8pPr>
            <a:lvl9pPr marL="365701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1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2611855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36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10" name="TextBox 9"/>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18355721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7"/>
            <a:ext cx="6172200" cy="4873625"/>
          </a:xfrm>
        </p:spPr>
        <p:txBody>
          <a:bodyPr/>
          <a:lstStyle>
            <a:lvl1pPr marL="0" indent="0">
              <a:buNone/>
              <a:defRPr sz="3200"/>
            </a:lvl1pPr>
            <a:lvl2pPr marL="457127" indent="0">
              <a:buNone/>
              <a:defRPr sz="2800"/>
            </a:lvl2pPr>
            <a:lvl3pPr marL="914253" indent="0">
              <a:buNone/>
              <a:defRPr sz="2400"/>
            </a:lvl3pPr>
            <a:lvl4pPr marL="1371380" indent="0">
              <a:buNone/>
              <a:defRPr sz="2000"/>
            </a:lvl4pPr>
            <a:lvl5pPr marL="1828508" indent="0">
              <a:buNone/>
              <a:defRPr sz="2000"/>
            </a:lvl5pPr>
            <a:lvl6pPr marL="2285635" indent="0">
              <a:buNone/>
              <a:defRPr sz="2000"/>
            </a:lvl6pPr>
            <a:lvl7pPr marL="2742760" indent="0">
              <a:buNone/>
              <a:defRPr sz="2000"/>
            </a:lvl7pPr>
            <a:lvl8pPr marL="3199888" indent="0">
              <a:buNone/>
              <a:defRPr sz="2000"/>
            </a:lvl8pPr>
            <a:lvl9pPr marL="3657015" indent="0">
              <a:buNone/>
              <a:defRPr sz="2000"/>
            </a:lvl9pPr>
          </a:lstStyle>
          <a:p>
            <a:r>
              <a:rPr lang="en-US"/>
              <a:t>Click icon to add picture</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27" indent="0">
              <a:buNone/>
              <a:defRPr sz="1400"/>
            </a:lvl2pPr>
            <a:lvl3pPr marL="914253" indent="0">
              <a:buNone/>
              <a:defRPr sz="1200"/>
            </a:lvl3pPr>
            <a:lvl4pPr marL="1371380" indent="0">
              <a:buNone/>
              <a:defRPr sz="1000"/>
            </a:lvl4pPr>
            <a:lvl5pPr marL="1828508" indent="0">
              <a:buNone/>
              <a:defRPr sz="1000"/>
            </a:lvl5pPr>
            <a:lvl6pPr marL="2285635" indent="0">
              <a:buNone/>
              <a:defRPr sz="1000"/>
            </a:lvl6pPr>
            <a:lvl7pPr marL="2742760" indent="0">
              <a:buNone/>
              <a:defRPr sz="1000"/>
            </a:lvl7pPr>
            <a:lvl8pPr marL="3199888" indent="0">
              <a:buNone/>
              <a:defRPr sz="1000"/>
            </a:lvl8pPr>
            <a:lvl9pPr marL="3657015"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217"/>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3724485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1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26186732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4217"/>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21769340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829535"/>
            <a:ext cx="10515600" cy="553998"/>
          </a:xfrm>
        </p:spPr>
        <p:txBody>
          <a:bodyPr vert="horz" lIns="0" tIns="0" rIns="0" bIns="0" rtlCol="0" anchor="ctr">
            <a:spAutoFit/>
          </a:bodyPr>
          <a:lstStyle>
            <a:lvl1pPr algn="ctr">
              <a:defRPr lang="en-US" sz="4000" b="1" dirty="0">
                <a:solidFill>
                  <a:schemeClr val="tx1"/>
                </a:solidFill>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3"/>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873261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199793"/>
            <a:ext cx="10515600" cy="443198"/>
          </a:xfrm>
        </p:spPr>
        <p:txBody>
          <a:bodyPr vert="horz" lIns="0" tIns="0" rIns="0" bIns="0" rtlCol="0" anchor="ctr">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1"/>
            <a:ext cx="10515600" cy="4351338"/>
          </a:xfrm>
          <a:prstGeom prst="rect">
            <a:avLst/>
          </a:prstGeom>
        </p:spPr>
        <p:txBody>
          <a:bodyPr>
            <a:normAutofit/>
          </a:bodyPr>
          <a:lstStyle>
            <a:lvl1pPr marL="228555" indent="-228555">
              <a:lnSpc>
                <a:spcPts val="2917"/>
              </a:lnSpc>
              <a:buFont typeface="Arial" panose="020B0604020202020204" pitchFamily="34" charset="0"/>
              <a:buChar char="●"/>
              <a:defRPr sz="2300" baseline="0">
                <a:latin typeface="Arial" panose="020B0604020202020204" pitchFamily="34" charset="0"/>
                <a:cs typeface="Arial" panose="020B0604020202020204" pitchFamily="34" charset="0"/>
              </a:defRPr>
            </a:lvl1pPr>
            <a:lvl2pPr marL="685663" indent="-228555">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773" indent="-228555">
              <a:buFont typeface="Arial" panose="020B0604020202020204" pitchFamily="34" charset="0"/>
              <a:buChar char="○"/>
              <a:defRPr sz="1700" baseline="0">
                <a:latin typeface="Arial" panose="020B0604020202020204" pitchFamily="34" charset="0"/>
                <a:cs typeface="Arial" panose="020B0604020202020204" pitchFamily="34" charset="0"/>
              </a:defRPr>
            </a:lvl3pPr>
            <a:lvl4pPr marL="1599880" indent="-228555">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6989" indent="-228555">
              <a:buFont typeface="Wingdings" panose="05000000000000000000" pitchFamily="2" charset="2"/>
              <a:buChar char=""/>
              <a:defRPr sz="1300"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217"/>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spTree>
    <p:extLst>
      <p:ext uri="{BB962C8B-B14F-4D97-AF65-F5344CB8AC3E}">
        <p14:creationId xmlns:p14="http://schemas.microsoft.com/office/powerpoint/2010/main" val="21896791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Tree>
    <p:extLst>
      <p:ext uri="{BB962C8B-B14F-4D97-AF65-F5344CB8AC3E}">
        <p14:creationId xmlns:p14="http://schemas.microsoft.com/office/powerpoint/2010/main" val="1192149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Divider Image Big titl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427568" y="2219106"/>
            <a:ext cx="11332632" cy="3572099"/>
          </a:xfrm>
        </p:spPr>
        <p:txBody>
          <a:bodyPr anchor="ctr"/>
          <a:lstStyle>
            <a:lvl1pPr algn="ctr">
              <a:defRPr/>
            </a:lvl1pPr>
          </a:lstStyle>
          <a:p>
            <a:endParaRPr lang="en-US" dirty="0"/>
          </a:p>
        </p:txBody>
      </p:sp>
      <p:sp>
        <p:nvSpPr>
          <p:cNvPr id="8" name="Title 7"/>
          <p:cNvSpPr>
            <a:spLocks noGrp="1"/>
          </p:cNvSpPr>
          <p:nvPr>
            <p:ph type="title" hasCustomPrompt="1"/>
          </p:nvPr>
        </p:nvSpPr>
        <p:spPr>
          <a:xfrm>
            <a:off x="391709" y="196811"/>
            <a:ext cx="9753600" cy="1605101"/>
          </a:xfrm>
        </p:spPr>
        <p:txBody>
          <a:bodyPr lIns="0" tIns="0" rIns="0" bIns="0"/>
          <a:lstStyle>
            <a:lvl1pPr>
              <a:lnSpc>
                <a:spcPct val="90000"/>
              </a:lnSpc>
              <a:defRPr sz="5700" b="0" i="0">
                <a:solidFill>
                  <a:schemeClr val="bg1"/>
                </a:solidFill>
                <a:latin typeface="Arial Regular" charset="0"/>
                <a:cs typeface="Arial Regular" charset="0"/>
              </a:defRPr>
            </a:lvl1pPr>
          </a:lstStyle>
          <a:p>
            <a:r>
              <a:rPr lang="en-US" dirty="0"/>
              <a:t>Divider</a:t>
            </a:r>
            <a:br>
              <a:rPr lang="en-US" dirty="0"/>
            </a:br>
            <a:r>
              <a:rPr lang="en-US" dirty="0"/>
              <a:t>Page</a:t>
            </a:r>
          </a:p>
        </p:txBody>
      </p:sp>
      <p:sp>
        <p:nvSpPr>
          <p:cNvPr id="7"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039673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ntent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2"/>
            <a:ext cx="11338560" cy="2990117"/>
          </a:xfrm>
        </p:spPr>
        <p:txBody>
          <a:bodyPr/>
          <a:lstStyle>
            <a:lvl1pPr>
              <a:defRPr b="0" i="0">
                <a:latin typeface="Arial Regular" charset="0"/>
                <a:cs typeface="Arial Regular" charset="0"/>
              </a:defRPr>
            </a:lvl1pPr>
            <a:lvl2pPr marL="0" marR="0" indent="0" algn="l" defTabSz="457108"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44" marR="0" lvl="1" indent="-182844" algn="l" defTabSz="457108"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8" y="4921043"/>
            <a:ext cx="11338560" cy="1096047"/>
          </a:xfrm>
        </p:spPr>
        <p:txBody>
          <a:bodyPr anchor="b"/>
          <a:lstStyle>
            <a:lvl1pPr>
              <a:defRPr sz="900" b="0" i="0">
                <a:latin typeface="Arial Narrow" charset="0"/>
                <a:ea typeface="Arial Narrow" charset="0"/>
                <a:cs typeface="Arial Narrow" charset="0"/>
              </a:defRPr>
            </a:lvl1pPr>
            <a:lvl2pPr marL="0" marR="0" indent="0" algn="l" defTabSz="457108" rtl="0" eaLnBrk="1" fontAlgn="auto" latinLnBrk="0" hangingPunct="1">
              <a:lnSpc>
                <a:spcPct val="100000"/>
              </a:lnSpc>
              <a:spcBef>
                <a:spcPts val="500"/>
              </a:spcBef>
              <a:spcAft>
                <a:spcPts val="0"/>
              </a:spcAft>
              <a:buClrTx/>
              <a:buSzTx/>
              <a:buFont typeface="Arial"/>
              <a:buNone/>
              <a:tabLst/>
              <a:defRPr sz="900" b="0" i="0">
                <a:latin typeface="Arial Narrow" charset="0"/>
                <a:ea typeface="Arial Narrow" charset="0"/>
                <a:cs typeface="Arial Narrow" charset="0"/>
              </a:defRPr>
            </a:lvl2pPr>
            <a:lvl3pPr>
              <a:defRPr sz="900">
                <a:latin typeface="Arial Narrow" charset="0"/>
                <a:ea typeface="Arial Narrow" charset="0"/>
                <a:cs typeface="Arial Narrow" charset="0"/>
              </a:defRPr>
            </a:lvl3pPr>
            <a:lvl4pPr>
              <a:defRPr sz="900">
                <a:latin typeface="Arial Narrow" charset="0"/>
                <a:ea typeface="Arial Narrow" charset="0"/>
                <a:cs typeface="Arial Narrow" charset="0"/>
              </a:defRPr>
            </a:lvl4pPr>
            <a:lvl5pPr>
              <a:defRPr sz="900">
                <a:latin typeface="Arial Narrow" charset="0"/>
                <a:ea typeface="Arial Narrow" charset="0"/>
                <a:cs typeface="Arial Narrow" charset="0"/>
              </a:defRPr>
            </a:lvl5pPr>
          </a:lstStyle>
          <a:p>
            <a:pPr lvl="0"/>
            <a:r>
              <a:rPr lang="en-US" dirty="0"/>
              <a:t>Click to edit Master text styles</a:t>
            </a:r>
          </a:p>
          <a:p>
            <a:pPr marL="182844" marR="0" lvl="1" indent="-182844" algn="l" defTabSz="457108"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101" y="747521"/>
            <a:ext cx="10829878" cy="440834"/>
          </a:xfrm>
        </p:spPr>
        <p:txBody>
          <a:bodyPr lIns="0" tIns="0" rIns="0" bIns="0"/>
          <a:lstStyle>
            <a:lvl1pPr>
              <a:defRPr sz="1900" b="0">
                <a:solidFill>
                  <a:schemeClr val="tx1"/>
                </a:solidFill>
              </a:defRPr>
            </a:lvl1pPr>
          </a:lstStyle>
          <a:p>
            <a:pPr lvl="0"/>
            <a:r>
              <a:rPr lang="en-US" dirty="0"/>
              <a:t>Subtitle</a:t>
            </a:r>
          </a:p>
        </p:txBody>
      </p:sp>
      <p:sp>
        <p:nvSpPr>
          <p:cNvPr id="9"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7141841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8"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8"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6409201"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00" b="0" i="0">
                <a:solidFill>
                  <a:schemeClr val="tx1"/>
                </a:solidFill>
                <a:latin typeface="Arial Narrow"/>
                <a:cs typeface="Arial Narrow"/>
              </a:defRPr>
            </a:lvl1pPr>
            <a:lvl2pPr>
              <a:defRPr sz="900" b="0" i="0">
                <a:solidFill>
                  <a:schemeClr val="tx1"/>
                </a:solidFill>
                <a:latin typeface="Arial Narrow"/>
                <a:cs typeface="Arial Narrow"/>
              </a:defRPr>
            </a:lvl2pPr>
            <a:lvl3pPr>
              <a:defRPr sz="90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5"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2609783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p:spPr>
        <p:txBody>
          <a:bodyPr>
            <a:noAutofit/>
          </a:bodyPr>
          <a:lstStyle>
            <a:lvl1pPr marL="0" indent="0">
              <a:buFontTx/>
              <a:buNone/>
              <a:defRPr sz="1700">
                <a:latin typeface="Arial" panose="020B0604020202020204" pitchFamily="34" charset="0"/>
                <a:cs typeface="Arial" panose="020B0604020202020204" pitchFamily="34" charset="0"/>
              </a:defRPr>
            </a:lvl1pPr>
            <a:lvl2pPr marL="0" indent="0">
              <a:buFontTx/>
              <a:buNone/>
              <a:defRPr sz="1700">
                <a:latin typeface="Arial" panose="020B0604020202020204" pitchFamily="34" charset="0"/>
                <a:cs typeface="Arial" panose="020B0604020202020204" pitchFamily="34" charset="0"/>
              </a:defRPr>
            </a:lvl2pPr>
            <a:lvl3pPr marL="0" indent="0">
              <a:buFontTx/>
              <a:buNone/>
              <a:defRPr sz="1700">
                <a:latin typeface="Arial" panose="020B0604020202020204" pitchFamily="34" charset="0"/>
                <a:cs typeface="Arial" panose="020B0604020202020204" pitchFamily="34" charset="0"/>
              </a:defRPr>
            </a:lvl3pPr>
            <a:lvl4pPr marL="0" indent="0">
              <a:buFontTx/>
              <a:buNone/>
              <a:defRPr sz="1700">
                <a:latin typeface="Arial" panose="020B0604020202020204" pitchFamily="34" charset="0"/>
                <a:cs typeface="Arial" panose="020B0604020202020204" pitchFamily="34" charset="0"/>
              </a:defRPr>
            </a:lvl4pPr>
            <a:lvl5pPr marL="0" indent="0">
              <a:buFontTx/>
              <a:buNone/>
              <a:defRPr sz="17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defTabSz="914217"/>
            <a:endParaRPr lang="en-US">
              <a:solidFill>
                <a:prstClr val="white"/>
              </a:solidFill>
            </a:endParaRPr>
          </a:p>
        </p:txBody>
      </p:sp>
      <p:sp>
        <p:nvSpPr>
          <p:cNvPr id="6" name="Title 1"/>
          <p:cNvSpPr>
            <a:spLocks noGrp="1"/>
          </p:cNvSpPr>
          <p:nvPr>
            <p:ph type="title"/>
          </p:nvPr>
        </p:nvSpPr>
        <p:spPr>
          <a:xfrm>
            <a:off x="373858" y="409184"/>
            <a:ext cx="10515600" cy="392352"/>
          </a:xfrm>
        </p:spPr>
        <p:txBody>
          <a:bodyPr vert="horz" lIns="0" tIns="0" rIns="0" bIns="0" rtlCol="0" anchor="b">
            <a:spAutoFit/>
          </a:bodyPr>
          <a:lstStyle>
            <a:lvl1pPr>
              <a:defRPr lang="en-US" sz="28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36242562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4363"/>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6" name="TextBox 5"/>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41603625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3"/>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4" y="1700217"/>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2" y="6121017"/>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55350334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1130701"/>
          </a:xfrm>
        </p:spPr>
        <p:txBody>
          <a:bodyPr vert="horz" lIns="91440" tIns="45720" rIns="91440" bIns="45720" rtlCol="0" anchor="b">
            <a:normAutofit/>
          </a:bodyPr>
          <a:lstStyle>
            <a:lvl1pPr>
              <a:defRPr lang="en-US" sz="5000"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3" name="Subtitle 2"/>
          <p:cNvSpPr>
            <a:spLocks noGrp="1"/>
          </p:cNvSpPr>
          <p:nvPr>
            <p:ph type="subTitle" idx="1" hasCustomPrompt="1"/>
          </p:nvPr>
        </p:nvSpPr>
        <p:spPr>
          <a:xfrm>
            <a:off x="1524001" y="3602038"/>
            <a:ext cx="2769809" cy="1655762"/>
          </a:xfrm>
        </p:spPr>
        <p:txBody>
          <a:bodyPr/>
          <a:lstStyle>
            <a:lvl1pPr marL="228591" indent="-228591">
              <a:buNone/>
              <a:defRPr lang="en-US" sz="1500" dirty="0">
                <a:latin typeface="Arial" panose="020B0604020202020204" pitchFamily="34" charset="0"/>
                <a:cs typeface="Arial" panose="020B0604020202020204" pitchFamily="34" charset="0"/>
              </a:defRPr>
            </a:lvl1pPr>
          </a:lstStyle>
          <a:p>
            <a:pPr marL="0" lvl="0" indent="0">
              <a:spcBef>
                <a:spcPts val="500"/>
              </a:spcBef>
            </a:pPr>
            <a:r>
              <a:rPr lang="en-US" sz="1500" dirty="0">
                <a:latin typeface="Arial" panose="020B0604020202020204" pitchFamily="34" charset="0"/>
                <a:cs typeface="Arial" panose="020B0604020202020204" pitchFamily="34" charset="0"/>
              </a:rPr>
              <a:t>Presenter name</a:t>
            </a:r>
          </a:p>
          <a:p>
            <a:pPr marL="0" lvl="0" indent="0">
              <a:spcBef>
                <a:spcPts val="500"/>
              </a:spcBef>
            </a:pPr>
            <a:r>
              <a:rPr lang="en-US" sz="1500" dirty="0">
                <a:latin typeface="Arial" panose="020B0604020202020204" pitchFamily="34" charset="0"/>
                <a:cs typeface="Arial" panose="020B0604020202020204" pitchFamily="34" charset="0"/>
              </a:rPr>
              <a:t>Job title</a:t>
            </a:r>
          </a:p>
          <a:p>
            <a:pPr marL="0" lvl="0" indent="0">
              <a:spcBef>
                <a:spcPts val="500"/>
              </a:spcBef>
            </a:pPr>
            <a:r>
              <a:rPr lang="en-US" sz="1500" dirty="0">
                <a:latin typeface="Arial" panose="020B0604020202020204" pitchFamily="34" charset="0"/>
                <a:cs typeface="Arial" panose="020B0604020202020204" pitchFamily="34" charset="0"/>
              </a:rPr>
              <a:t>Department/sector</a:t>
            </a:r>
            <a:endParaRPr lang="en-US" sz="50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
        <p:nvSpPr>
          <p:cNvPr id="4" name="Rectangle 3"/>
          <p:cNvSpPr/>
          <p:nvPr userDrawn="1"/>
        </p:nvSpPr>
        <p:spPr>
          <a:xfrm>
            <a:off x="0" y="6011333"/>
            <a:ext cx="12192000" cy="84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
        <p:nvSpPr>
          <p:cNvPr id="8" name="Rectangle 16"/>
          <p:cNvSpPr>
            <a:spLocks noChangeArrowheads="1"/>
          </p:cNvSpPr>
          <p:nvPr userDrawn="1"/>
        </p:nvSpPr>
        <p:spPr bwMode="auto">
          <a:xfrm rot="16200000">
            <a:off x="11063099" y="3352710"/>
            <a:ext cx="2029402"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363">
              <a:defRPr/>
            </a:pPr>
            <a:r>
              <a:rPr lang="en-US" altLang="en-US" sz="667" dirty="0">
                <a:solidFill>
                  <a:prstClr val="black">
                    <a:lumMod val="65000"/>
                    <a:lumOff val="35000"/>
                  </a:prstClr>
                </a:solidFill>
                <a:latin typeface="Arial Regular"/>
              </a:rPr>
              <a:t>For Internal Use Only – Not For External Distribution </a:t>
            </a:r>
          </a:p>
        </p:txBody>
      </p:sp>
    </p:spTree>
    <p:extLst>
      <p:ext uri="{BB962C8B-B14F-4D97-AF65-F5344CB8AC3E}">
        <p14:creationId xmlns:p14="http://schemas.microsoft.com/office/powerpoint/2010/main" val="132644358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36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Tree>
    <p:extLst>
      <p:ext uri="{BB962C8B-B14F-4D97-AF65-F5344CB8AC3E}">
        <p14:creationId xmlns:p14="http://schemas.microsoft.com/office/powerpoint/2010/main" val="372489639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41502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910358"/>
            <a:ext cx="10515600" cy="392352"/>
          </a:xfrm>
        </p:spPr>
        <p:txBody>
          <a:bodyPr vert="horz" lIns="0" tIns="0" rIns="0" bIns="0" rtlCol="0" anchor="ctr">
            <a:spAutoFit/>
          </a:bodyPr>
          <a:lstStyle>
            <a:lvl1pPr algn="ct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06042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Tree>
    <p:extLst>
      <p:ext uri="{BB962C8B-B14F-4D97-AF65-F5344CB8AC3E}">
        <p14:creationId xmlns:p14="http://schemas.microsoft.com/office/powerpoint/2010/main" val="3122505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Image Big titl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427568" y="2219102"/>
            <a:ext cx="11332632" cy="3572099"/>
          </a:xfrm>
        </p:spPr>
        <p:txBody>
          <a:bodyPr anchor="ctr"/>
          <a:lstStyle>
            <a:lvl1pPr algn="ctr">
              <a:defRPr/>
            </a:lvl1pPr>
          </a:lstStyle>
          <a:p>
            <a:endParaRPr lang="en-US" dirty="0"/>
          </a:p>
        </p:txBody>
      </p:sp>
      <p:sp>
        <p:nvSpPr>
          <p:cNvPr id="8" name="Title 7"/>
          <p:cNvSpPr>
            <a:spLocks noGrp="1"/>
          </p:cNvSpPr>
          <p:nvPr>
            <p:ph type="title" hasCustomPrompt="1"/>
          </p:nvPr>
        </p:nvSpPr>
        <p:spPr>
          <a:xfrm>
            <a:off x="391709" y="196807"/>
            <a:ext cx="9753600" cy="1605101"/>
          </a:xfrm>
        </p:spPr>
        <p:txBody>
          <a:bodyPr lIns="0" tIns="0" rIns="0" bIns="0"/>
          <a:lstStyle>
            <a:lvl1pPr>
              <a:lnSpc>
                <a:spcPct val="90000"/>
              </a:lnSpc>
              <a:defRPr sz="5700" b="0" i="0">
                <a:solidFill>
                  <a:schemeClr val="bg1"/>
                </a:solidFill>
                <a:latin typeface="Arial Regular" charset="0"/>
                <a:cs typeface="Arial Regular" charset="0"/>
              </a:defRPr>
            </a:lvl1pPr>
          </a:lstStyle>
          <a:p>
            <a:r>
              <a:rPr lang="en-US" dirty="0"/>
              <a:t>Divider</a:t>
            </a:r>
            <a:br>
              <a:rPr lang="en-US" dirty="0"/>
            </a:br>
            <a:r>
              <a:rPr lang="en-US" dirty="0"/>
              <a:t>Page</a:t>
            </a:r>
          </a:p>
        </p:txBody>
      </p:sp>
      <p:sp>
        <p:nvSpPr>
          <p:cNvPr id="7"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198450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wDisclaimer">
    <p:spTree>
      <p:nvGrpSpPr>
        <p:cNvPr id="1" name=""/>
        <p:cNvGrpSpPr/>
        <p:nvPr/>
      </p:nvGrpSpPr>
      <p:grpSpPr>
        <a:xfrm>
          <a:off x="0" y="0"/>
          <a:ext cx="0" cy="0"/>
          <a:chOff x="0" y="0"/>
          <a:chExt cx="0" cy="0"/>
        </a:xfrm>
      </p:grpSpPr>
      <p:sp>
        <p:nvSpPr>
          <p:cNvPr id="10" name="Rectangle 9"/>
          <p:cNvSpPr/>
          <p:nvPr userDrawn="1"/>
        </p:nvSpPr>
        <p:spPr>
          <a:xfrm>
            <a:off x="0" y="0"/>
            <a:ext cx="12192000" cy="1104900"/>
          </a:xfrm>
          <a:prstGeom prst="rect">
            <a:avLst/>
          </a:prstGeom>
          <a:solidFill>
            <a:srgbClr val="E8EA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2" fontAlgn="base">
              <a:spcBef>
                <a:spcPct val="0"/>
              </a:spcBef>
              <a:spcAft>
                <a:spcPct val="0"/>
              </a:spcAft>
            </a:pPr>
            <a:endParaRPr lang="en-US" sz="216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2"/>
            <a:ext cx="11338560" cy="2990117"/>
          </a:xfrm>
        </p:spPr>
        <p:txBody>
          <a:bodyPr/>
          <a:lstStyle>
            <a:lvl1pPr>
              <a:defRPr b="0" i="0">
                <a:latin typeface="Arial Regular" charset="0"/>
                <a:cs typeface="Arial Regular"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8" y="4921043"/>
            <a:ext cx="11338560" cy="1096047"/>
          </a:xfrm>
        </p:spPr>
        <p:txBody>
          <a:bodyPr anchor="b"/>
          <a:lstStyle>
            <a:lvl1pPr>
              <a:defRPr sz="950" b="0" i="0">
                <a:latin typeface="Arial Narrow" charset="0"/>
                <a:ea typeface="Arial Narrow" charset="0"/>
                <a:cs typeface="Arial Narrow"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sz="950" b="0" i="0">
                <a:latin typeface="Arial Narrow" charset="0"/>
                <a:ea typeface="Arial Narrow" charset="0"/>
                <a:cs typeface="Arial Narrow" charset="0"/>
              </a:defRPr>
            </a:lvl2pPr>
            <a:lvl3pPr>
              <a:defRPr sz="950">
                <a:latin typeface="Arial Narrow" charset="0"/>
                <a:ea typeface="Arial Narrow" charset="0"/>
                <a:cs typeface="Arial Narrow" charset="0"/>
              </a:defRPr>
            </a:lvl3pPr>
            <a:lvl4pPr>
              <a:defRPr sz="950">
                <a:latin typeface="Arial Narrow" charset="0"/>
                <a:ea typeface="Arial Narrow" charset="0"/>
                <a:cs typeface="Arial Narrow" charset="0"/>
              </a:defRPr>
            </a:lvl4pPr>
            <a:lvl5pPr>
              <a:defRPr sz="950">
                <a:latin typeface="Arial Narrow" charset="0"/>
                <a:ea typeface="Arial Narrow" charset="0"/>
                <a:cs typeface="Arial Narrow" charset="0"/>
              </a:defRPr>
            </a:lvl5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101" y="747521"/>
            <a:ext cx="10829878" cy="440834"/>
          </a:xfrm>
        </p:spPr>
        <p:txBody>
          <a:bodyPr lIns="0" tIns="0" rIns="0" bIns="0"/>
          <a:lstStyle>
            <a:lvl1pPr>
              <a:defRPr sz="1900" b="0">
                <a:solidFill>
                  <a:schemeClr val="tx1"/>
                </a:solidFill>
              </a:defRPr>
            </a:lvl1pPr>
          </a:lstStyle>
          <a:p>
            <a:pPr lvl="0"/>
            <a:r>
              <a:rPr lang="en-US" dirty="0"/>
              <a:t>Subtitle</a:t>
            </a:r>
          </a:p>
        </p:txBody>
      </p:sp>
      <p:sp>
        <p:nvSpPr>
          <p:cNvPr id="9"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796173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8"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8"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6409201"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5"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9197614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p:spPr>
        <p:txBody>
          <a:bodyPr>
            <a:noAutofit/>
          </a:bodyPr>
          <a:lstStyle>
            <a:lvl1pPr marL="0" indent="0">
              <a:buFontTx/>
              <a:buNone/>
              <a:defRPr sz="1667">
                <a:latin typeface="Arial" panose="020B0604020202020204" pitchFamily="34" charset="0"/>
                <a:cs typeface="Arial" panose="020B0604020202020204" pitchFamily="34" charset="0"/>
              </a:defRPr>
            </a:lvl1pPr>
            <a:lvl2pPr marL="0" indent="0">
              <a:buFontTx/>
              <a:buNone/>
              <a:defRPr sz="1667">
                <a:latin typeface="Arial" panose="020B0604020202020204" pitchFamily="34" charset="0"/>
                <a:cs typeface="Arial" panose="020B0604020202020204" pitchFamily="34" charset="0"/>
              </a:defRPr>
            </a:lvl2pPr>
            <a:lvl3pPr marL="0" indent="0">
              <a:buFontTx/>
              <a:buNone/>
              <a:defRPr sz="1667">
                <a:latin typeface="Arial" panose="020B0604020202020204" pitchFamily="34" charset="0"/>
                <a:cs typeface="Arial" panose="020B0604020202020204" pitchFamily="34" charset="0"/>
              </a:defRPr>
            </a:lvl3pPr>
            <a:lvl4pPr marL="0" indent="0">
              <a:buFontTx/>
              <a:buNone/>
              <a:defRPr sz="1667">
                <a:latin typeface="Arial" panose="020B0604020202020204" pitchFamily="34" charset="0"/>
                <a:cs typeface="Arial" panose="020B0604020202020204" pitchFamily="34" charset="0"/>
              </a:defRPr>
            </a:lvl4pPr>
            <a:lvl5pPr marL="0" indent="0">
              <a:buFontTx/>
              <a:buNone/>
              <a:defRPr sz="16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prstClr val="white"/>
              </a:solidFill>
            </a:endParaRPr>
          </a:p>
        </p:txBody>
      </p:sp>
      <p:sp>
        <p:nvSpPr>
          <p:cNvPr id="6" name="Title 1"/>
          <p:cNvSpPr>
            <a:spLocks noGrp="1"/>
          </p:cNvSpPr>
          <p:nvPr>
            <p:ph type="title"/>
          </p:nvPr>
        </p:nvSpPr>
        <p:spPr>
          <a:xfrm>
            <a:off x="373858" y="409184"/>
            <a:ext cx="10515600" cy="392352"/>
          </a:xfrm>
        </p:spPr>
        <p:txBody>
          <a:bodyPr vert="horz" lIns="0" tIns="0" rIns="0" bIns="0" rtlCol="0" anchor="b">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9668579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F613AC-639B-4E74-B58B-55B57E857925}" type="datetimeFigureOut">
              <a:rPr lang="en-US" smtClean="0">
                <a:solidFill>
                  <a:prstClr val="black">
                    <a:tint val="75000"/>
                  </a:prstClr>
                </a:solidFill>
              </a:rPr>
              <a:pPr/>
              <a:t>4/19/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0B1403B-DD75-49CD-BD5F-C8872BB1CFBA}" type="slidenum">
              <a:rPr lang="en-US" smtClean="0">
                <a:solidFill>
                  <a:prstClr val="black">
                    <a:tint val="75000"/>
                  </a:prstClr>
                </a:solidFill>
              </a:rPr>
              <a:pPr/>
              <a:t>‹#›</a:t>
            </a:fld>
            <a:endParaRPr lang="en-US">
              <a:solidFill>
                <a:prstClr val="black">
                  <a:tint val="75000"/>
                </a:prstClr>
              </a:solidFill>
            </a:endParaRPr>
          </a:p>
        </p:txBody>
      </p:sp>
      <p:sp>
        <p:nvSpPr>
          <p:cNvPr id="5" name="TextBox 4"/>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37583478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87365394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17">
                <a:solidFill>
                  <a:schemeClr val="tx1">
                    <a:tint val="75000"/>
                  </a:schemeClr>
                </a:solidFill>
              </a:defRPr>
            </a:lvl1pPr>
            <a:lvl2pPr marL="457182" indent="0">
              <a:buNone/>
              <a:defRPr sz="2000">
                <a:solidFill>
                  <a:schemeClr val="tx1">
                    <a:tint val="75000"/>
                  </a:schemeClr>
                </a:solidFill>
              </a:defRPr>
            </a:lvl2pPr>
            <a:lvl3pPr marL="914363" indent="0">
              <a:buNone/>
              <a:defRPr sz="1833">
                <a:solidFill>
                  <a:schemeClr val="tx1">
                    <a:tint val="75000"/>
                  </a:schemeClr>
                </a:solidFill>
              </a:defRPr>
            </a:lvl3pPr>
            <a:lvl4pPr marL="1371545" indent="0">
              <a:buNone/>
              <a:defRPr sz="1583">
                <a:solidFill>
                  <a:schemeClr val="tx1">
                    <a:tint val="75000"/>
                  </a:schemeClr>
                </a:solidFill>
              </a:defRPr>
            </a:lvl4pPr>
            <a:lvl5pPr marL="1828727" indent="0">
              <a:buNone/>
              <a:defRPr sz="1583">
                <a:solidFill>
                  <a:schemeClr val="tx1">
                    <a:tint val="75000"/>
                  </a:schemeClr>
                </a:solidFill>
              </a:defRPr>
            </a:lvl5pPr>
            <a:lvl6pPr marL="2285909" indent="0">
              <a:buNone/>
              <a:defRPr sz="1583">
                <a:solidFill>
                  <a:schemeClr val="tx1">
                    <a:tint val="75000"/>
                  </a:schemeClr>
                </a:solidFill>
              </a:defRPr>
            </a:lvl6pPr>
            <a:lvl7pPr marL="2743090" indent="0">
              <a:buNone/>
              <a:defRPr sz="1583">
                <a:solidFill>
                  <a:schemeClr val="tx1">
                    <a:tint val="75000"/>
                  </a:schemeClr>
                </a:solidFill>
              </a:defRPr>
            </a:lvl7pPr>
            <a:lvl8pPr marL="3200272" indent="0">
              <a:buNone/>
              <a:defRPr sz="1583">
                <a:solidFill>
                  <a:schemeClr val="tx1">
                    <a:tint val="75000"/>
                  </a:schemeClr>
                </a:solidFill>
              </a:defRPr>
            </a:lvl8pPr>
            <a:lvl9pPr marL="3657454" indent="0">
              <a:buNone/>
              <a:defRPr sz="158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65805307"/>
      </p:ext>
    </p:extLst>
  </p:cSld>
  <p:clrMapOvr>
    <a:masterClrMapping/>
  </p:clrMapOvr>
  <p:transition>
    <p:fade/>
  </p:transition>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184"/>
            <a:ext cx="10515600" cy="392415"/>
          </a:xfrm>
        </p:spPr>
        <p:txBody>
          <a:bodyPr vert="horz" lIns="0" tIns="0" rIns="0" bIns="0" rtlCol="0" anchor="ctr">
            <a:spAutoFit/>
          </a:bodyPr>
          <a:lstStyle>
            <a:lvl1pPr>
              <a:defRPr lang="en-US" sz="28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4"/>
          </p:nvPr>
        </p:nvSpPr>
        <p:spPr>
          <a:xfrm>
            <a:off x="8305800" y="6356351"/>
            <a:ext cx="2743200" cy="365125"/>
          </a:xfrm>
          <a:prstGeom prst="rect">
            <a:avLst/>
          </a:prstGeom>
        </p:spPr>
        <p:txBody>
          <a:bodyPr vert="horz" lIns="76197" tIns="38098" rIns="76197" bIns="38098" rtlCol="0" anchor="ctr"/>
          <a:lstStyle>
            <a:lvl1pPr algn="r">
              <a:defRPr sz="1200">
                <a:solidFill>
                  <a:schemeClr val="tx1">
                    <a:tint val="75000"/>
                  </a:schemeClr>
                </a:solidFill>
              </a:defRPr>
            </a:lvl1p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041980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7" y="225184"/>
            <a:ext cx="10515600" cy="392415"/>
          </a:xfrm>
        </p:spPr>
        <p:txBody>
          <a:bodyPr vert="horz" lIns="0" tIns="0" rIns="0" bIns="0" rtlCol="0" anchor="ctr">
            <a:spAutoFit/>
          </a:bodyPr>
          <a:lstStyle>
            <a:lvl1pPr>
              <a:defRPr lang="en-US" sz="28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4" name="Slide Number Placeholder 5"/>
          <p:cNvSpPr>
            <a:spLocks noGrp="1"/>
          </p:cNvSpPr>
          <p:nvPr>
            <p:ph type="sldNum" sz="quarter" idx="4"/>
          </p:nvPr>
        </p:nvSpPr>
        <p:spPr>
          <a:xfrm>
            <a:off x="8305800" y="6356351"/>
            <a:ext cx="2743200" cy="365125"/>
          </a:xfrm>
          <a:prstGeom prst="rect">
            <a:avLst/>
          </a:prstGeom>
        </p:spPr>
        <p:txBody>
          <a:bodyPr vert="horz" lIns="76197" tIns="38098" rIns="76197" bIns="38098" rtlCol="0" anchor="ctr"/>
          <a:lstStyle>
            <a:lvl1pPr algn="r">
              <a:defRPr sz="1200">
                <a:solidFill>
                  <a:schemeClr val="tx1">
                    <a:tint val="75000"/>
                  </a:schemeClr>
                </a:solidFill>
              </a:defRPr>
            </a:lvl1p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730850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3"/>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91843416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itle 1"/>
          <p:cNvSpPr>
            <a:spLocks noGrp="1"/>
          </p:cNvSpPr>
          <p:nvPr>
            <p:ph type="title"/>
          </p:nvPr>
        </p:nvSpPr>
        <p:spPr>
          <a:xfrm>
            <a:off x="373858" y="358338"/>
            <a:ext cx="10515600" cy="443198"/>
          </a:xfrm>
          <a:prstGeom prst="rect">
            <a:avLst/>
          </a:prstGeom>
        </p:spPr>
        <p:txBody>
          <a:bodyPr vert="horz" lIns="0" tIns="0" rIns="0" bIns="0" rtlCol="0" anchor="b">
            <a:spAutoFit/>
          </a:bodyPr>
          <a:lstStyle>
            <a:lvl1pPr>
              <a:defRPr lang="en-US" sz="32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20206886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36694"/>
            <a:ext cx="10515600" cy="369397"/>
          </a:xfrm>
        </p:spPr>
        <p:txBody>
          <a:bodyPr vert="horz" lIns="0" tIns="0" rIns="0" bIns="0" rtlCol="0" anchor="ctr">
            <a:spAutoFit/>
          </a:bodyPr>
          <a:lstStyle>
            <a:lvl1pPr>
              <a:defRPr lang="en-US" sz="2667"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5"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txBox="1">
            <a:spLocks/>
          </p:cNvSpPr>
          <p:nvPr userDrawn="1"/>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smtClean="0"/>
              <a:pPr/>
              <a:t>‹#›</a:t>
            </a:fld>
            <a:endParaRPr lang="en-US" sz="1200" dirty="0"/>
          </a:p>
        </p:txBody>
      </p:sp>
    </p:spTree>
    <p:extLst>
      <p:ext uri="{BB962C8B-B14F-4D97-AF65-F5344CB8AC3E}">
        <p14:creationId xmlns:p14="http://schemas.microsoft.com/office/powerpoint/2010/main" val="15533095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1"/>
            <a:ext cx="11338058" cy="4279005"/>
          </a:xfrm>
        </p:spPr>
        <p:txBody>
          <a:bodyPr/>
          <a:lstStyle>
            <a:lvl1pPr>
              <a:defRPr b="0" i="0">
                <a:latin typeface="Arial Regular" charset="0"/>
                <a:cs typeface="Arial Regular"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3" hasCustomPrompt="1"/>
          </p:nvPr>
        </p:nvSpPr>
        <p:spPr>
          <a:xfrm>
            <a:off x="419099" y="747521"/>
            <a:ext cx="10829878" cy="440834"/>
          </a:xfrm>
        </p:spPr>
        <p:txBody>
          <a:bodyPr lIns="0" tIns="0" rIns="0" bIns="0"/>
          <a:lstStyle>
            <a:lvl1pPr>
              <a:defRPr sz="1900" b="0">
                <a:solidFill>
                  <a:schemeClr val="tx1"/>
                </a:solidFill>
              </a:defRPr>
            </a:lvl1pPr>
          </a:lstStyle>
          <a:p>
            <a:pPr lvl="0"/>
            <a:r>
              <a:rPr lang="en-US" dirty="0"/>
              <a:t>Subtitle</a:t>
            </a:r>
          </a:p>
        </p:txBody>
      </p:sp>
      <p:sp>
        <p:nvSpPr>
          <p:cNvPr id="8"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fld id="{BDDC3DCF-E0A7-DA4A-BC2C-1EC3743A297B}" type="slidenum">
              <a:rPr lang="en-US" smtClean="0"/>
              <a:pPr/>
              <a:t>‹#›</a:t>
            </a:fld>
            <a:endParaRPr lang="en-US" dirty="0"/>
          </a:p>
        </p:txBody>
      </p:sp>
      <p:sp>
        <p:nvSpPr>
          <p:cNvPr id="9" name="Slide Number Placeholder 2"/>
          <p:cNvSpPr txBox="1">
            <a:spLocks/>
          </p:cNvSpPr>
          <p:nvPr userDrawn="1"/>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smtClean="0"/>
              <a:pPr/>
              <a:t>‹#›</a:t>
            </a:fld>
            <a:endParaRPr lang="en-US" sz="1200" dirty="0"/>
          </a:p>
        </p:txBody>
      </p:sp>
    </p:spTree>
    <p:extLst>
      <p:ext uri="{BB962C8B-B14F-4D97-AF65-F5344CB8AC3E}">
        <p14:creationId xmlns:p14="http://schemas.microsoft.com/office/powerpoint/2010/main" val="19000136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647153-6ED6-4245-89DC-675F0084A6F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BF613AC-639B-4E74-B58B-55B57E857925}"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BE6F4D0E-77BC-4BA7-822C-D9712659A6B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DA7A35A1-5A99-41C0-B8AB-6BC879E6682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403B-DD75-49CD-BD5F-C8872BB1CFB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90313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4"/>
            <a:ext cx="9144000" cy="1130701"/>
          </a:xfrm>
        </p:spPr>
        <p:txBody>
          <a:bodyPr vert="horz" lIns="91440" tIns="45720" rIns="91440" bIns="45720" rtlCol="0" anchor="b">
            <a:normAutofit/>
          </a:bodyPr>
          <a:lstStyle>
            <a:lvl1pPr>
              <a:defRPr lang="en-US" sz="5000"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3" name="Subtitle 2"/>
          <p:cNvSpPr>
            <a:spLocks noGrp="1"/>
          </p:cNvSpPr>
          <p:nvPr>
            <p:ph type="subTitle" idx="1" hasCustomPrompt="1"/>
          </p:nvPr>
        </p:nvSpPr>
        <p:spPr>
          <a:xfrm>
            <a:off x="1524001" y="3602038"/>
            <a:ext cx="2769809" cy="1655762"/>
          </a:xfrm>
        </p:spPr>
        <p:txBody>
          <a:bodyPr/>
          <a:lstStyle>
            <a:lvl1pPr marL="228591" indent="-228591">
              <a:buNone/>
              <a:defRPr lang="en-US" sz="1500" dirty="0">
                <a:latin typeface="Arial" panose="020B0604020202020204" pitchFamily="34" charset="0"/>
                <a:cs typeface="Arial" panose="020B0604020202020204" pitchFamily="34" charset="0"/>
              </a:defRPr>
            </a:lvl1pPr>
          </a:lstStyle>
          <a:p>
            <a:pPr marL="0" lvl="0" indent="0">
              <a:spcBef>
                <a:spcPts val="500"/>
              </a:spcBef>
            </a:pPr>
            <a:r>
              <a:rPr lang="en-US" sz="1500" dirty="0">
                <a:latin typeface="Arial" panose="020B0604020202020204" pitchFamily="34" charset="0"/>
                <a:cs typeface="Arial" panose="020B0604020202020204" pitchFamily="34" charset="0"/>
              </a:rPr>
              <a:t>Presenter name</a:t>
            </a:r>
          </a:p>
          <a:p>
            <a:pPr marL="0" lvl="0" indent="0">
              <a:spcBef>
                <a:spcPts val="500"/>
              </a:spcBef>
            </a:pPr>
            <a:r>
              <a:rPr lang="en-US" sz="1500" dirty="0">
                <a:latin typeface="Arial" panose="020B0604020202020204" pitchFamily="34" charset="0"/>
                <a:cs typeface="Arial" panose="020B0604020202020204" pitchFamily="34" charset="0"/>
              </a:rPr>
              <a:t>Job title</a:t>
            </a:r>
          </a:p>
          <a:p>
            <a:pPr marL="0" lvl="0" indent="0">
              <a:spcBef>
                <a:spcPts val="500"/>
              </a:spcBef>
            </a:pPr>
            <a:r>
              <a:rPr lang="en-US" sz="1500" dirty="0">
                <a:latin typeface="Arial" panose="020B0604020202020204" pitchFamily="34" charset="0"/>
                <a:cs typeface="Arial" panose="020B0604020202020204" pitchFamily="34" charset="0"/>
              </a:rPr>
              <a:t>Department/sector</a:t>
            </a:r>
            <a:endParaRPr lang="en-US" sz="50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
        <p:nvSpPr>
          <p:cNvPr id="4" name="Rectangle 3"/>
          <p:cNvSpPr/>
          <p:nvPr userDrawn="1"/>
        </p:nvSpPr>
        <p:spPr>
          <a:xfrm>
            <a:off x="0" y="6011333"/>
            <a:ext cx="12192000" cy="84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
        <p:nvSpPr>
          <p:cNvPr id="8" name="Rectangle 16"/>
          <p:cNvSpPr>
            <a:spLocks noChangeArrowheads="1"/>
          </p:cNvSpPr>
          <p:nvPr userDrawn="1"/>
        </p:nvSpPr>
        <p:spPr bwMode="auto">
          <a:xfrm rot="16200000">
            <a:off x="11063099" y="3352710"/>
            <a:ext cx="2029402" cy="102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363">
              <a:defRPr/>
            </a:pPr>
            <a:r>
              <a:rPr lang="en-US" altLang="en-US" sz="667" dirty="0">
                <a:solidFill>
                  <a:prstClr val="black">
                    <a:lumMod val="65000"/>
                    <a:lumOff val="35000"/>
                  </a:prstClr>
                </a:solidFill>
                <a:latin typeface="Arial Regular"/>
              </a:rPr>
              <a:t>For Internal Use Only – Not For External Distribution </a:t>
            </a:r>
          </a:p>
        </p:txBody>
      </p:sp>
    </p:spTree>
    <p:extLst>
      <p:ext uri="{BB962C8B-B14F-4D97-AF65-F5344CB8AC3E}">
        <p14:creationId xmlns:p14="http://schemas.microsoft.com/office/powerpoint/2010/main" val="151303956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8" name="TextBox 7"/>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32760798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216"/>
            <a:ext cx="10515600" cy="392352"/>
          </a:xfrm>
        </p:spPr>
        <p:txBody>
          <a:bodyPr vert="horz" lIns="0" tIns="0" rIns="0" bIns="0" rtlCol="0" anchor="ctr">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7" name="Content Placeholder 2"/>
          <p:cNvSpPr>
            <a:spLocks noGrp="1"/>
          </p:cNvSpPr>
          <p:nvPr>
            <p:ph idx="1"/>
          </p:nvPr>
        </p:nvSpPr>
        <p:spPr>
          <a:xfrm>
            <a:off x="373858" y="978971"/>
            <a:ext cx="10515600" cy="4351338"/>
          </a:xfrm>
          <a:prstGeom prst="rect">
            <a:avLst/>
          </a:prstGeom>
        </p:spPr>
        <p:txBody>
          <a:bodyPr>
            <a:normAutofit/>
          </a:bodyPr>
          <a:lstStyle>
            <a:lvl1pPr marL="228591" indent="-228591">
              <a:lnSpc>
                <a:spcPts val="2917"/>
              </a:lnSpc>
              <a:buFont typeface="Arial" panose="020B0604020202020204" pitchFamily="34" charset="0"/>
              <a:buChar char="●"/>
              <a:defRPr sz="2333" baseline="0">
                <a:latin typeface="Arial" panose="020B0604020202020204" pitchFamily="34" charset="0"/>
                <a:cs typeface="Arial" panose="020B0604020202020204" pitchFamily="34" charset="0"/>
              </a:defRPr>
            </a:lvl1pPr>
            <a:lvl2pPr marL="685773" indent="-228591">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2954" indent="-228591">
              <a:buFont typeface="Arial" panose="020B0604020202020204" pitchFamily="34" charset="0"/>
              <a:buChar char="○"/>
              <a:defRPr sz="1667" baseline="0">
                <a:latin typeface="Arial" panose="020B0604020202020204" pitchFamily="34" charset="0"/>
                <a:cs typeface="Arial" panose="020B0604020202020204" pitchFamily="34" charset="0"/>
              </a:defRPr>
            </a:lvl3pPr>
            <a:lvl4pPr marL="1600136" indent="-228591">
              <a:buFont typeface="Arial" panose="020B0604020202020204" pitchFamily="34" charset="0"/>
              <a:buChar char="□"/>
              <a:defRPr sz="1500" baseline="0">
                <a:latin typeface="Arial" panose="020B0604020202020204" pitchFamily="34" charset="0"/>
                <a:cs typeface="Arial" panose="020B0604020202020204" pitchFamily="34" charset="0"/>
              </a:defRPr>
            </a:lvl4pPr>
            <a:lvl5pPr marL="2057318" indent="-228591">
              <a:buFont typeface="Wingdings" panose="05000000000000000000" pitchFamily="2" charset="2"/>
              <a:buChar char=""/>
              <a:defRPr sz="1333" baseline="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436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Tree>
    <p:extLst>
      <p:ext uri="{BB962C8B-B14F-4D97-AF65-F5344CB8AC3E}">
        <p14:creationId xmlns:p14="http://schemas.microsoft.com/office/powerpoint/2010/main" val="394349720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732979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910358"/>
            <a:ext cx="10515600" cy="392352"/>
          </a:xfrm>
        </p:spPr>
        <p:txBody>
          <a:bodyPr vert="horz" lIns="0" tIns="0" rIns="0" bIns="0" rtlCol="0" anchor="ctr">
            <a:spAutoFit/>
          </a:bodyPr>
          <a:lstStyle>
            <a:lvl1pPr algn="ct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12"/>
          </p:nvPr>
        </p:nvSpPr>
        <p:spPr>
          <a:xfrm>
            <a:off x="7340599" y="6356351"/>
            <a:ext cx="2743200" cy="365125"/>
          </a:xfrm>
        </p:spPr>
        <p:txBody>
          <a:bodyPr/>
          <a:lstStyle>
            <a:lvl1pPr algn="l">
              <a:defRPr>
                <a:latin typeface="Arial" panose="020B0604020202020204" pitchFamily="34" charset="0"/>
                <a:cs typeface="Arial" panose="020B0604020202020204" pitchFamily="34" charset="0"/>
              </a:defRPr>
            </a:lvl1p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1725056"/>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a:t>Divider</a:t>
            </a:r>
            <a:br>
              <a:rPr lang="en-US" dirty="0"/>
            </a:br>
            <a:r>
              <a:rPr lang="en-US" dirty="0"/>
              <a:t>Page</a:t>
            </a:r>
          </a:p>
        </p:txBody>
      </p:sp>
    </p:spTree>
    <p:extLst>
      <p:ext uri="{BB962C8B-B14F-4D97-AF65-F5344CB8AC3E}">
        <p14:creationId xmlns:p14="http://schemas.microsoft.com/office/powerpoint/2010/main" val="74992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ivider Image Big title">
    <p:bg>
      <p:bgRef idx="1001">
        <a:schemeClr val="bg1"/>
      </p:bgRef>
    </p:bg>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427568" y="2219102"/>
            <a:ext cx="11332632" cy="3572099"/>
          </a:xfrm>
        </p:spPr>
        <p:txBody>
          <a:bodyPr anchor="ctr"/>
          <a:lstStyle>
            <a:lvl1pPr algn="ctr">
              <a:defRPr/>
            </a:lvl1pPr>
          </a:lstStyle>
          <a:p>
            <a:endParaRPr lang="en-US" dirty="0"/>
          </a:p>
        </p:txBody>
      </p:sp>
      <p:sp>
        <p:nvSpPr>
          <p:cNvPr id="8" name="Title 7"/>
          <p:cNvSpPr>
            <a:spLocks noGrp="1"/>
          </p:cNvSpPr>
          <p:nvPr>
            <p:ph type="title" hasCustomPrompt="1"/>
          </p:nvPr>
        </p:nvSpPr>
        <p:spPr>
          <a:xfrm>
            <a:off x="391709" y="196807"/>
            <a:ext cx="9753600" cy="1605101"/>
          </a:xfrm>
        </p:spPr>
        <p:txBody>
          <a:bodyPr lIns="0" tIns="0" rIns="0" bIns="0"/>
          <a:lstStyle>
            <a:lvl1pPr>
              <a:lnSpc>
                <a:spcPct val="90000"/>
              </a:lnSpc>
              <a:defRPr sz="5700" b="0" i="0">
                <a:solidFill>
                  <a:schemeClr val="bg1"/>
                </a:solidFill>
                <a:latin typeface="Arial Regular" charset="0"/>
                <a:cs typeface="Arial Regular" charset="0"/>
              </a:defRPr>
            </a:lvl1pPr>
          </a:lstStyle>
          <a:p>
            <a:r>
              <a:rPr lang="en-US" dirty="0"/>
              <a:t>Divider</a:t>
            </a:r>
            <a:br>
              <a:rPr lang="en-US" dirty="0"/>
            </a:br>
            <a:r>
              <a:rPr lang="en-US" dirty="0"/>
              <a:t>Page</a:t>
            </a:r>
          </a:p>
        </p:txBody>
      </p:sp>
      <p:sp>
        <p:nvSpPr>
          <p:cNvPr id="7"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84033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wDisclaimer">
    <p:spTree>
      <p:nvGrpSpPr>
        <p:cNvPr id="1" name=""/>
        <p:cNvGrpSpPr/>
        <p:nvPr/>
      </p:nvGrpSpPr>
      <p:grpSpPr>
        <a:xfrm>
          <a:off x="0" y="0"/>
          <a:ext cx="0" cy="0"/>
          <a:chOff x="0" y="0"/>
          <a:chExt cx="0" cy="0"/>
        </a:xfrm>
      </p:grpSpPr>
      <p:sp>
        <p:nvSpPr>
          <p:cNvPr id="10" name="Rectangle 9"/>
          <p:cNvSpPr/>
          <p:nvPr userDrawn="1"/>
        </p:nvSpPr>
        <p:spPr>
          <a:xfrm>
            <a:off x="0" y="0"/>
            <a:ext cx="12192000" cy="1104900"/>
          </a:xfrm>
          <a:prstGeom prst="rect">
            <a:avLst/>
          </a:prstGeom>
          <a:solidFill>
            <a:srgbClr val="E8EA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2" fontAlgn="base">
              <a:spcBef>
                <a:spcPct val="0"/>
              </a:spcBef>
              <a:spcAft>
                <a:spcPct val="0"/>
              </a:spcAft>
            </a:pPr>
            <a:endParaRPr lang="en-US" sz="2160">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5" y="1529222"/>
            <a:ext cx="11338560" cy="2990117"/>
          </a:xfrm>
        </p:spPr>
        <p:txBody>
          <a:bodyPr/>
          <a:lstStyle>
            <a:lvl1pPr>
              <a:defRPr b="0" i="0">
                <a:latin typeface="Arial Regular" charset="0"/>
                <a:cs typeface="Arial Regular"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p:cNvSpPr>
            <a:spLocks noGrp="1"/>
          </p:cNvSpPr>
          <p:nvPr>
            <p:ph sz="quarter" idx="13"/>
          </p:nvPr>
        </p:nvSpPr>
        <p:spPr>
          <a:xfrm>
            <a:off x="419098" y="4921043"/>
            <a:ext cx="11338560" cy="1096047"/>
          </a:xfrm>
        </p:spPr>
        <p:txBody>
          <a:bodyPr anchor="b"/>
          <a:lstStyle>
            <a:lvl1pPr>
              <a:defRPr sz="950" b="0" i="0">
                <a:latin typeface="Arial Narrow" charset="0"/>
                <a:ea typeface="Arial Narrow" charset="0"/>
                <a:cs typeface="Arial Narrow" charset="0"/>
              </a:defRPr>
            </a:lvl1pPr>
            <a:lvl2pPr marL="0" marR="0" indent="0" algn="l" defTabSz="457182" rtl="0" eaLnBrk="1" fontAlgn="auto" latinLnBrk="0" hangingPunct="1">
              <a:lnSpc>
                <a:spcPct val="100000"/>
              </a:lnSpc>
              <a:spcBef>
                <a:spcPts val="500"/>
              </a:spcBef>
              <a:spcAft>
                <a:spcPts val="0"/>
              </a:spcAft>
              <a:buClrTx/>
              <a:buSzTx/>
              <a:buFont typeface="Arial"/>
              <a:buNone/>
              <a:tabLst/>
              <a:defRPr sz="950" b="0" i="0">
                <a:latin typeface="Arial Narrow" charset="0"/>
                <a:ea typeface="Arial Narrow" charset="0"/>
                <a:cs typeface="Arial Narrow" charset="0"/>
              </a:defRPr>
            </a:lvl2pPr>
            <a:lvl3pPr>
              <a:defRPr sz="950">
                <a:latin typeface="Arial Narrow" charset="0"/>
                <a:ea typeface="Arial Narrow" charset="0"/>
                <a:cs typeface="Arial Narrow" charset="0"/>
              </a:defRPr>
            </a:lvl3pPr>
            <a:lvl4pPr>
              <a:defRPr sz="950">
                <a:latin typeface="Arial Narrow" charset="0"/>
                <a:ea typeface="Arial Narrow" charset="0"/>
                <a:cs typeface="Arial Narrow" charset="0"/>
              </a:defRPr>
            </a:lvl4pPr>
            <a:lvl5pPr>
              <a:defRPr sz="950">
                <a:latin typeface="Arial Narrow" charset="0"/>
                <a:ea typeface="Arial Narrow" charset="0"/>
                <a:cs typeface="Arial Narrow" charset="0"/>
              </a:defRPr>
            </a:lvl5pPr>
          </a:lstStyle>
          <a:p>
            <a:pPr lvl="0"/>
            <a:r>
              <a:rPr lang="en-US" dirty="0"/>
              <a:t>Click to edit Master text styles</a:t>
            </a:r>
          </a:p>
          <a:p>
            <a:pPr marL="182873" marR="0" lvl="1" indent="-182873" algn="l" defTabSz="457182"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p:cNvSpPr>
            <a:spLocks noGrp="1"/>
          </p:cNvSpPr>
          <p:nvPr>
            <p:ph type="body" sz="quarter" idx="14" hasCustomPrompt="1"/>
          </p:nvPr>
        </p:nvSpPr>
        <p:spPr>
          <a:xfrm>
            <a:off x="419101" y="747521"/>
            <a:ext cx="10829878" cy="440834"/>
          </a:xfrm>
        </p:spPr>
        <p:txBody>
          <a:bodyPr lIns="0" tIns="0" rIns="0" bIns="0"/>
          <a:lstStyle>
            <a:lvl1pPr>
              <a:defRPr sz="1900" b="0">
                <a:solidFill>
                  <a:schemeClr val="tx1"/>
                </a:solidFill>
              </a:defRPr>
            </a:lvl1pPr>
          </a:lstStyle>
          <a:p>
            <a:pPr lvl="0"/>
            <a:r>
              <a:rPr lang="en-US" dirty="0"/>
              <a:t>Subtitle</a:t>
            </a:r>
          </a:p>
        </p:txBody>
      </p:sp>
      <p:sp>
        <p:nvSpPr>
          <p:cNvPr id="9" name="Slide Number Placeholder 3"/>
          <p:cNvSpPr>
            <a:spLocks noGrp="1"/>
          </p:cNvSpPr>
          <p:nvPr>
            <p:ph type="sldNum" sz="quarter" idx="11"/>
          </p:nvPr>
        </p:nvSpPr>
        <p:spPr>
          <a:xfrm>
            <a:off x="7366" y="6709128"/>
            <a:ext cx="274418" cy="148875"/>
          </a:xfrm>
          <a:prstGeom prst="rect">
            <a:avLst/>
          </a:prstGeom>
        </p:spPr>
        <p:txBody>
          <a:body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6130561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Content Placeholder 5"/>
          <p:cNvSpPr>
            <a:spLocks noGrp="1"/>
          </p:cNvSpPr>
          <p:nvPr>
            <p:ph sz="quarter" idx="12"/>
          </p:nvPr>
        </p:nvSpPr>
        <p:spPr>
          <a:xfrm>
            <a:off x="423134" y="1144742"/>
            <a:ext cx="11320132"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a:t>Click to edit Master text styles</a:t>
            </a:r>
          </a:p>
        </p:txBody>
      </p:sp>
      <p:sp>
        <p:nvSpPr>
          <p:cNvPr id="8" name="Picture Placeholder 7"/>
          <p:cNvSpPr>
            <a:spLocks noGrp="1"/>
          </p:cNvSpPr>
          <p:nvPr>
            <p:ph type="pic" sz="quarter" idx="14"/>
          </p:nvPr>
        </p:nvSpPr>
        <p:spPr>
          <a:xfrm>
            <a:off x="423334" y="2281526"/>
            <a:ext cx="5348818"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427567"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1" name="Picture Placeholder 7"/>
          <p:cNvSpPr>
            <a:spLocks noGrp="1"/>
          </p:cNvSpPr>
          <p:nvPr>
            <p:ph type="pic" sz="quarter" idx="16"/>
          </p:nvPr>
        </p:nvSpPr>
        <p:spPr>
          <a:xfrm>
            <a:off x="6404968" y="2281526"/>
            <a:ext cx="5348818"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6409201" y="2000538"/>
            <a:ext cx="5344584" cy="280988"/>
          </a:xfrm>
        </p:spPr>
        <p:txBody>
          <a:bodyPr/>
          <a:lstStyle>
            <a:lvl1pPr algn="ctr">
              <a:defRPr sz="1000">
                <a:solidFill>
                  <a:srgbClr val="000000"/>
                </a:solidFill>
              </a:defRPr>
            </a:lvl1pPr>
          </a:lstStyle>
          <a:p>
            <a:pPr lvl="0"/>
            <a:r>
              <a:rPr lang="en-US" dirty="0"/>
              <a:t>Click to edit Master text styles</a:t>
            </a:r>
          </a:p>
        </p:txBody>
      </p:sp>
      <p:sp>
        <p:nvSpPr>
          <p:cNvPr id="14" name="Text Placeholder 13"/>
          <p:cNvSpPr>
            <a:spLocks noGrp="1"/>
          </p:cNvSpPr>
          <p:nvPr>
            <p:ph type="body" sz="quarter" idx="18"/>
          </p:nvPr>
        </p:nvSpPr>
        <p:spPr>
          <a:xfrm>
            <a:off x="427567" y="5403972"/>
            <a:ext cx="11333627" cy="583922"/>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a:t>Click to edit Master text styles</a:t>
            </a:r>
          </a:p>
          <a:p>
            <a:pPr lvl="1"/>
            <a:r>
              <a:rPr lang="en-US" dirty="0"/>
              <a:t>Second level</a:t>
            </a:r>
          </a:p>
          <a:p>
            <a:pPr lvl="2"/>
            <a:r>
              <a:rPr lang="en-US" dirty="0"/>
              <a:t>Third level</a:t>
            </a:r>
          </a:p>
        </p:txBody>
      </p:sp>
      <p:sp>
        <p:nvSpPr>
          <p:cNvPr id="15" name="Slide Number Placeholder 3"/>
          <p:cNvSpPr>
            <a:spLocks noGrp="1"/>
          </p:cNvSpPr>
          <p:nvPr>
            <p:ph type="sldNum" sz="quarter" idx="11"/>
          </p:nvPr>
        </p:nvSpPr>
        <p:spPr>
          <a:xfrm>
            <a:off x="7366" y="6689157"/>
            <a:ext cx="280416" cy="146304"/>
          </a:xfrm>
          <a:prstGeom prst="rect">
            <a:avLst/>
          </a:prstGeom>
        </p:spPr>
        <p:txBody>
          <a:bodyPr lIns="0" tIns="0" rIns="0" bIns="0" anchor="ctr"/>
          <a:lstStyle>
            <a:lvl1pPr algn="ctr">
              <a:defRPr sz="800">
                <a:latin typeface="Arial Regular"/>
              </a:defRPr>
            </a:lvl1pPr>
          </a:lstStyle>
          <a:p>
            <a:fld id="{BDDC3DCF-E0A7-DA4A-BC2C-1EC3743A297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8797615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Thank Yo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76010" y="3378729"/>
            <a:ext cx="2932706" cy="1624542"/>
          </a:xfrm>
        </p:spPr>
        <p:txBody>
          <a:bodyPr>
            <a:noAutofit/>
          </a:bodyPr>
          <a:lstStyle>
            <a:lvl1pPr marL="0" indent="0">
              <a:buFontTx/>
              <a:buNone/>
              <a:defRPr sz="1667">
                <a:latin typeface="Arial" panose="020B0604020202020204" pitchFamily="34" charset="0"/>
                <a:cs typeface="Arial" panose="020B0604020202020204" pitchFamily="34" charset="0"/>
              </a:defRPr>
            </a:lvl1pPr>
            <a:lvl2pPr marL="0" indent="0">
              <a:buFontTx/>
              <a:buNone/>
              <a:defRPr sz="1667">
                <a:latin typeface="Arial" panose="020B0604020202020204" pitchFamily="34" charset="0"/>
                <a:cs typeface="Arial" panose="020B0604020202020204" pitchFamily="34" charset="0"/>
              </a:defRPr>
            </a:lvl2pPr>
            <a:lvl3pPr marL="0" indent="0">
              <a:buFontTx/>
              <a:buNone/>
              <a:defRPr sz="1667">
                <a:latin typeface="Arial" panose="020B0604020202020204" pitchFamily="34" charset="0"/>
                <a:cs typeface="Arial" panose="020B0604020202020204" pitchFamily="34" charset="0"/>
              </a:defRPr>
            </a:lvl3pPr>
            <a:lvl4pPr marL="0" indent="0">
              <a:buFontTx/>
              <a:buNone/>
              <a:defRPr sz="1667">
                <a:latin typeface="Arial" panose="020B0604020202020204" pitchFamily="34" charset="0"/>
                <a:cs typeface="Arial" panose="020B0604020202020204" pitchFamily="34" charset="0"/>
              </a:defRPr>
            </a:lvl4pPr>
            <a:lvl5pPr marL="0" indent="0">
              <a:buFontTx/>
              <a:buNone/>
              <a:defRPr sz="16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p:nvPr userDrawn="1"/>
        </p:nvSpPr>
        <p:spPr>
          <a:xfrm>
            <a:off x="0" y="6642340"/>
            <a:ext cx="373858" cy="215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US">
              <a:solidFill>
                <a:prstClr val="white"/>
              </a:solidFill>
            </a:endParaRPr>
          </a:p>
        </p:txBody>
      </p:sp>
      <p:sp>
        <p:nvSpPr>
          <p:cNvPr id="6" name="Title 1"/>
          <p:cNvSpPr>
            <a:spLocks noGrp="1"/>
          </p:cNvSpPr>
          <p:nvPr>
            <p:ph type="title"/>
          </p:nvPr>
        </p:nvSpPr>
        <p:spPr>
          <a:xfrm>
            <a:off x="373858" y="409184"/>
            <a:ext cx="10515600" cy="392352"/>
          </a:xfrm>
        </p:spPr>
        <p:txBody>
          <a:bodyPr vert="horz" lIns="0" tIns="0" rIns="0" bIns="0" rtlCol="0" anchor="b">
            <a:spAutoFit/>
          </a:bodyPr>
          <a:lstStyle>
            <a:lvl1pPr>
              <a:defRPr lang="en-US" sz="2833" b="1" dirty="0">
                <a:latin typeface="Arial" panose="020B0604020202020204" pitchFamily="34" charset="0"/>
                <a:cs typeface="Arial" panose="020B0604020202020204" pitchFamily="34" charset="0"/>
              </a:defRPr>
            </a:lvl1pPr>
          </a:lstStyle>
          <a:p>
            <a:pPr marL="0" lvl="0"/>
            <a:r>
              <a:rPr lang="en-US" dirty="0"/>
              <a:t>Click to edit Master title style</a:t>
            </a:r>
          </a:p>
        </p:txBody>
      </p:sp>
    </p:spTree>
    <p:extLst>
      <p:ext uri="{BB962C8B-B14F-4D97-AF65-F5344CB8AC3E}">
        <p14:creationId xmlns:p14="http://schemas.microsoft.com/office/powerpoint/2010/main" val="326974699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21439" y="2052000"/>
            <a:ext cx="11145628" cy="4069013"/>
          </a:xfrm>
          <a:prstGeom prst="rect">
            <a:avLst/>
          </a:prstGeom>
        </p:spPr>
        <p:txBody>
          <a:bodyPr/>
          <a:lstStyle/>
          <a:p>
            <a:endParaRPr lang="en-GB" dirty="0"/>
          </a:p>
        </p:txBody>
      </p:sp>
      <p:sp>
        <p:nvSpPr>
          <p:cNvPr id="18" name="Text Placeholder 8"/>
          <p:cNvSpPr>
            <a:spLocks noGrp="1"/>
          </p:cNvSpPr>
          <p:nvPr>
            <p:ph type="body" sz="quarter" idx="18"/>
          </p:nvPr>
        </p:nvSpPr>
        <p:spPr>
          <a:xfrm>
            <a:off x="528000" y="1700214"/>
            <a:ext cx="11136001" cy="357187"/>
          </a:xfrm>
        </p:spPr>
        <p:txBody>
          <a:bodyPr/>
          <a:lstStyle/>
          <a:p>
            <a:pPr lvl="0"/>
            <a:r>
              <a:rPr lang="en-US" dirty="0"/>
              <a:t>Click to edit Master text styles</a:t>
            </a:r>
          </a:p>
        </p:txBody>
      </p:sp>
      <p:sp>
        <p:nvSpPr>
          <p:cNvPr id="19" name="Text Placeholder 7"/>
          <p:cNvSpPr>
            <a:spLocks noGrp="1"/>
          </p:cNvSpPr>
          <p:nvPr>
            <p:ph type="body" sz="quarter" idx="23"/>
          </p:nvPr>
        </p:nvSpPr>
        <p:spPr>
          <a:xfrm>
            <a:off x="521441"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25084442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17">
                <a:solidFill>
                  <a:schemeClr val="tx1">
                    <a:tint val="75000"/>
                  </a:schemeClr>
                </a:solidFill>
              </a:defRPr>
            </a:lvl1pPr>
            <a:lvl2pPr marL="457182" indent="0">
              <a:buNone/>
              <a:defRPr sz="2000">
                <a:solidFill>
                  <a:schemeClr val="tx1">
                    <a:tint val="75000"/>
                  </a:schemeClr>
                </a:solidFill>
              </a:defRPr>
            </a:lvl2pPr>
            <a:lvl3pPr marL="914363" indent="0">
              <a:buNone/>
              <a:defRPr sz="1833">
                <a:solidFill>
                  <a:schemeClr val="tx1">
                    <a:tint val="75000"/>
                  </a:schemeClr>
                </a:solidFill>
              </a:defRPr>
            </a:lvl3pPr>
            <a:lvl4pPr marL="1371545" indent="0">
              <a:buNone/>
              <a:defRPr sz="1583">
                <a:solidFill>
                  <a:schemeClr val="tx1">
                    <a:tint val="75000"/>
                  </a:schemeClr>
                </a:solidFill>
              </a:defRPr>
            </a:lvl4pPr>
            <a:lvl5pPr marL="1828727" indent="0">
              <a:buNone/>
              <a:defRPr sz="1583">
                <a:solidFill>
                  <a:schemeClr val="tx1">
                    <a:tint val="75000"/>
                  </a:schemeClr>
                </a:solidFill>
              </a:defRPr>
            </a:lvl5pPr>
            <a:lvl6pPr marL="2285909" indent="0">
              <a:buNone/>
              <a:defRPr sz="1583">
                <a:solidFill>
                  <a:schemeClr val="tx1">
                    <a:tint val="75000"/>
                  </a:schemeClr>
                </a:solidFill>
              </a:defRPr>
            </a:lvl6pPr>
            <a:lvl7pPr marL="2743090" indent="0">
              <a:buNone/>
              <a:defRPr sz="1583">
                <a:solidFill>
                  <a:schemeClr val="tx1">
                    <a:tint val="75000"/>
                  </a:schemeClr>
                </a:solidFill>
              </a:defRPr>
            </a:lvl7pPr>
            <a:lvl8pPr marL="3200272" indent="0">
              <a:buNone/>
              <a:defRPr sz="1583">
                <a:solidFill>
                  <a:schemeClr val="tx1">
                    <a:tint val="75000"/>
                  </a:schemeClr>
                </a:solidFill>
              </a:defRPr>
            </a:lvl8pPr>
            <a:lvl9pPr marL="3657454" indent="0">
              <a:buNone/>
              <a:defRPr sz="158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70343925"/>
      </p:ext>
    </p:extLst>
  </p:cSld>
  <p:clrMapOvr>
    <a:masterClrMapping/>
  </p:clrMapOvr>
  <p:transition>
    <p:fade/>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436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sp>
        <p:nvSpPr>
          <p:cNvPr id="8" name="TextBox 7"/>
          <p:cNvSpPr txBox="1"/>
          <p:nvPr userDrawn="1"/>
        </p:nvSpPr>
        <p:spPr>
          <a:xfrm rot="19997755">
            <a:off x="432874" y="3242060"/>
            <a:ext cx="10905709" cy="707886"/>
          </a:xfrm>
          <a:prstGeom prst="rect">
            <a:avLst/>
          </a:prstGeom>
          <a:noFill/>
        </p:spPr>
        <p:txBody>
          <a:bodyPr wrap="square" rtlCol="0">
            <a:spAutoFit/>
          </a:bodyPr>
          <a:lstStyle/>
          <a:p>
            <a:pPr algn="ctr"/>
            <a:r>
              <a:rPr lang="en-US" sz="4000" dirty="0">
                <a:solidFill>
                  <a:schemeClr val="bg1">
                    <a:lumMod val="85000"/>
                  </a:schemeClr>
                </a:solidFill>
                <a:latin typeface="Arial" panose="020B0604020202020204" pitchFamily="34" charset="0"/>
                <a:cs typeface="Arial" panose="020B0604020202020204" pitchFamily="34" charset="0"/>
              </a:rPr>
              <a:t>This is for internal circulation within Bosch only</a:t>
            </a:r>
          </a:p>
        </p:txBody>
      </p:sp>
    </p:spTree>
    <p:extLst>
      <p:ext uri="{BB962C8B-B14F-4D97-AF65-F5344CB8AC3E}">
        <p14:creationId xmlns:p14="http://schemas.microsoft.com/office/powerpoint/2010/main" val="4288329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28000" y="651603"/>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8074281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8" y="225184"/>
            <a:ext cx="10515600" cy="392415"/>
          </a:xfrm>
        </p:spPr>
        <p:txBody>
          <a:bodyPr vert="horz" lIns="0" tIns="0" rIns="0" bIns="0" rtlCol="0" anchor="ctr">
            <a:spAutoFit/>
          </a:bodyPr>
          <a:lstStyle>
            <a:lvl1pPr>
              <a:defRPr lang="en-US" sz="28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6" name="Slide Number Placeholder 5"/>
          <p:cNvSpPr>
            <a:spLocks noGrp="1"/>
          </p:cNvSpPr>
          <p:nvPr>
            <p:ph type="sldNum" sz="quarter" idx="4"/>
          </p:nvPr>
        </p:nvSpPr>
        <p:spPr>
          <a:xfrm>
            <a:off x="8305800" y="6356351"/>
            <a:ext cx="2743200" cy="365125"/>
          </a:xfrm>
          <a:prstGeom prst="rect">
            <a:avLst/>
          </a:prstGeom>
        </p:spPr>
        <p:txBody>
          <a:bodyPr vert="horz" lIns="76197" tIns="38098" rIns="76197" bIns="38098" rtlCol="0" anchor="ctr"/>
          <a:lstStyle>
            <a:lvl1pPr algn="r">
              <a:defRPr sz="1200">
                <a:solidFill>
                  <a:schemeClr val="tx1">
                    <a:tint val="75000"/>
                  </a:schemeClr>
                </a:solidFill>
              </a:defRPr>
            </a:lvl1p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8021180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857" y="225184"/>
            <a:ext cx="10515600" cy="392415"/>
          </a:xfrm>
        </p:spPr>
        <p:txBody>
          <a:bodyPr vert="horz" lIns="0" tIns="0" rIns="0" bIns="0" rtlCol="0" anchor="ctr">
            <a:spAutoFit/>
          </a:bodyPr>
          <a:lstStyle>
            <a:lvl1pPr>
              <a:defRPr lang="en-US" sz="2800" b="1" dirty="0">
                <a:latin typeface="Arial" panose="020B0604020202020204" pitchFamily="34" charset="0"/>
                <a:cs typeface="Arial" panose="020B0604020202020204" pitchFamily="34" charset="0"/>
              </a:defRPr>
            </a:lvl1pPr>
          </a:lstStyle>
          <a:p>
            <a:pPr marL="0" lvl="0"/>
            <a:r>
              <a:rPr lang="en-US" dirty="0"/>
              <a:t>Click to edit Master title style</a:t>
            </a:r>
          </a:p>
        </p:txBody>
      </p:sp>
      <p:sp>
        <p:nvSpPr>
          <p:cNvPr id="4" name="Slide Number Placeholder 5"/>
          <p:cNvSpPr>
            <a:spLocks noGrp="1"/>
          </p:cNvSpPr>
          <p:nvPr>
            <p:ph type="sldNum" sz="quarter" idx="4"/>
          </p:nvPr>
        </p:nvSpPr>
        <p:spPr>
          <a:xfrm>
            <a:off x="8305800" y="6356351"/>
            <a:ext cx="2743200" cy="365125"/>
          </a:xfrm>
          <a:prstGeom prst="rect">
            <a:avLst/>
          </a:prstGeom>
        </p:spPr>
        <p:txBody>
          <a:bodyPr vert="horz" lIns="76197" tIns="38098" rIns="76197" bIns="38098" rtlCol="0" anchor="ctr"/>
          <a:lstStyle>
            <a:lvl1pPr algn="r">
              <a:defRPr sz="1200">
                <a:solidFill>
                  <a:schemeClr val="tx1">
                    <a:tint val="75000"/>
                  </a:schemeClr>
                </a:solidFill>
              </a:defRPr>
            </a:lvl1p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355387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647153-6ED6-4245-89DC-675F0084A6F3}"/>
              </a:ext>
            </a:extLst>
          </p:cNvPr>
          <p:cNvSpPr>
            <a:spLocks noGrp="1"/>
          </p:cNvSpPr>
          <p:nvPr>
            <p:ph type="dt" sz="half" idx="10"/>
          </p:nvPr>
        </p:nvSpPr>
        <p:spPr/>
        <p:txBody>
          <a:bodyPr/>
          <a:lstStyle/>
          <a:p>
            <a:fld id="{CBF613AC-639B-4E74-B58B-55B57E857925}" type="datetimeFigureOut">
              <a:rPr lang="en-US" smtClean="0">
                <a:solidFill>
                  <a:prstClr val="black">
                    <a:tint val="75000"/>
                  </a:prstClr>
                </a:solidFill>
              </a:rPr>
              <a:pPr/>
              <a:t>4/19/2022</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BE6F4D0E-77BC-4BA7-822C-D9712659A6B7}"/>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DA7A35A1-5A99-41C0-B8AB-6BC879E66825}"/>
              </a:ext>
            </a:extLst>
          </p:cNvPr>
          <p:cNvSpPr>
            <a:spLocks noGrp="1"/>
          </p:cNvSpPr>
          <p:nvPr>
            <p:ph type="sldNum" sz="quarter" idx="12"/>
          </p:nvPr>
        </p:nvSpPr>
        <p:spPr/>
        <p:txBody>
          <a:bodyPr/>
          <a:lstStyle/>
          <a:p>
            <a:fld id="{D0B1403B-DD75-49CD-BD5F-C8872BB1CF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48084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6980" indent="0" algn="ctr">
              <a:buNone/>
              <a:defRPr sz="2000"/>
            </a:lvl2pPr>
            <a:lvl3pPr marL="913960" indent="0" algn="ctr">
              <a:buNone/>
              <a:defRPr sz="1800"/>
            </a:lvl3pPr>
            <a:lvl4pPr marL="1370940" indent="0" algn="ctr">
              <a:buNone/>
              <a:defRPr sz="1600"/>
            </a:lvl4pPr>
            <a:lvl5pPr marL="1827924" indent="0" algn="ctr">
              <a:buNone/>
              <a:defRPr sz="1600"/>
            </a:lvl5pPr>
            <a:lvl6pPr marL="2284905" indent="0" algn="ctr">
              <a:buNone/>
              <a:defRPr sz="1600"/>
            </a:lvl6pPr>
            <a:lvl7pPr marL="2741880" indent="0" algn="ctr">
              <a:buNone/>
              <a:defRPr sz="1600"/>
            </a:lvl7pPr>
            <a:lvl8pPr marL="3198864" indent="0" algn="ctr">
              <a:buNone/>
              <a:defRPr sz="1600"/>
            </a:lvl8pPr>
            <a:lvl9pPr marL="3655845"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79D8528A-DB0D-4756-A4C0-FF5ABF39A205}" type="datetimeFigureOut">
              <a:rPr lang="en-IN" smtClean="0"/>
              <a:t>19-04-202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0" y="6011333"/>
            <a:ext cx="12192000" cy="846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defTabSz="913923"/>
            <a:endParaRPr lang="en-US" sz="1800">
              <a:solidFill>
                <a:prstClr val="white"/>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25726"/>
            <a:ext cx="12192000" cy="830580"/>
          </a:xfrm>
          <a:prstGeom prst="rect">
            <a:avLst/>
          </a:prstGeom>
        </p:spPr>
      </p:pic>
      <p:sp>
        <p:nvSpPr>
          <p:cNvPr id="9" name="Rectangle 16"/>
          <p:cNvSpPr>
            <a:spLocks noChangeArrowheads="1"/>
          </p:cNvSpPr>
          <p:nvPr userDrawn="1"/>
        </p:nvSpPr>
        <p:spPr bwMode="auto">
          <a:xfrm rot="16200000">
            <a:off x="11023829" y="3350180"/>
            <a:ext cx="210794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3923">
              <a:defRPr/>
            </a:pPr>
            <a:r>
              <a:rPr lang="en-US" altLang="en-US" sz="700" dirty="0">
                <a:solidFill>
                  <a:prstClr val="black">
                    <a:lumMod val="65000"/>
                    <a:lumOff val="35000"/>
                  </a:prstClr>
                </a:solidFill>
                <a:latin typeface="Arial Regular"/>
              </a:rPr>
              <a:t>For Internal Use Only – Not For External Distribution </a:t>
            </a:r>
          </a:p>
        </p:txBody>
      </p:sp>
    </p:spTree>
    <p:extLst>
      <p:ext uri="{BB962C8B-B14F-4D97-AF65-F5344CB8AC3E}">
        <p14:creationId xmlns:p14="http://schemas.microsoft.com/office/powerpoint/2010/main" val="6775419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1392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360755709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6980" indent="0">
              <a:buNone/>
              <a:defRPr sz="2000">
                <a:solidFill>
                  <a:schemeClr val="tx1">
                    <a:tint val="75000"/>
                  </a:schemeClr>
                </a:solidFill>
              </a:defRPr>
            </a:lvl2pPr>
            <a:lvl3pPr marL="913960" indent="0">
              <a:buNone/>
              <a:defRPr sz="1800">
                <a:solidFill>
                  <a:schemeClr val="tx1">
                    <a:tint val="75000"/>
                  </a:schemeClr>
                </a:solidFill>
              </a:defRPr>
            </a:lvl3pPr>
            <a:lvl4pPr marL="1370940" indent="0">
              <a:buNone/>
              <a:defRPr sz="1600">
                <a:solidFill>
                  <a:schemeClr val="tx1">
                    <a:tint val="75000"/>
                  </a:schemeClr>
                </a:solidFill>
              </a:defRPr>
            </a:lvl4pPr>
            <a:lvl5pPr marL="1827924" indent="0">
              <a:buNone/>
              <a:defRPr sz="1600">
                <a:solidFill>
                  <a:schemeClr val="tx1">
                    <a:tint val="75000"/>
                  </a:schemeClr>
                </a:solidFill>
              </a:defRPr>
            </a:lvl5pPr>
            <a:lvl6pPr marL="2284905" indent="0">
              <a:buNone/>
              <a:defRPr sz="1600">
                <a:solidFill>
                  <a:schemeClr val="tx1">
                    <a:tint val="75000"/>
                  </a:schemeClr>
                </a:solidFill>
              </a:defRPr>
            </a:lvl6pPr>
            <a:lvl7pPr marL="2741880" indent="0">
              <a:buNone/>
              <a:defRPr sz="1600">
                <a:solidFill>
                  <a:schemeClr val="tx1">
                    <a:tint val="75000"/>
                  </a:schemeClr>
                </a:solidFill>
              </a:defRPr>
            </a:lvl7pPr>
            <a:lvl8pPr marL="3198864" indent="0">
              <a:buNone/>
              <a:defRPr sz="1600">
                <a:solidFill>
                  <a:schemeClr val="tx1">
                    <a:tint val="75000"/>
                  </a:schemeClr>
                </a:solidFill>
              </a:defRPr>
            </a:lvl8pPr>
            <a:lvl9pPr marL="365584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7FC1E78-8A1D-4B7B-BB49-A01A2C07F0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54590706"/>
      </p:ext>
    </p:extLst>
  </p:cSld>
  <p:clrMapOvr>
    <a:masterClrMapping/>
  </p:clrMapOvr>
  <p:transition>
    <p:fade/>
  </p:transition>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pPr defTabSz="913923"/>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40068419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6980" indent="0">
              <a:buNone/>
              <a:defRPr sz="2000" b="1"/>
            </a:lvl2pPr>
            <a:lvl3pPr marL="913960" indent="0">
              <a:buNone/>
              <a:defRPr sz="1800" b="1"/>
            </a:lvl3pPr>
            <a:lvl4pPr marL="1370940" indent="0">
              <a:buNone/>
              <a:defRPr sz="1600" b="1"/>
            </a:lvl4pPr>
            <a:lvl5pPr marL="1827924" indent="0">
              <a:buNone/>
              <a:defRPr sz="1600" b="1"/>
            </a:lvl5pPr>
            <a:lvl6pPr marL="2284905" indent="0">
              <a:buNone/>
              <a:defRPr sz="1600" b="1"/>
            </a:lvl6pPr>
            <a:lvl7pPr marL="2741880" indent="0">
              <a:buNone/>
              <a:defRPr sz="1600" b="1"/>
            </a:lvl7pPr>
            <a:lvl8pPr marL="3198864" indent="0">
              <a:buNone/>
              <a:defRPr sz="1600" b="1"/>
            </a:lvl8pPr>
            <a:lvl9pPr marL="3655845"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6980" indent="0">
              <a:buNone/>
              <a:defRPr sz="2000" b="1"/>
            </a:lvl2pPr>
            <a:lvl3pPr marL="913960" indent="0">
              <a:buNone/>
              <a:defRPr sz="1800" b="1"/>
            </a:lvl3pPr>
            <a:lvl4pPr marL="1370940" indent="0">
              <a:buNone/>
              <a:defRPr sz="1600" b="1"/>
            </a:lvl4pPr>
            <a:lvl5pPr marL="1827924" indent="0">
              <a:buNone/>
              <a:defRPr sz="1600" b="1"/>
            </a:lvl5pPr>
            <a:lvl6pPr marL="2284905" indent="0">
              <a:buNone/>
              <a:defRPr sz="1600" b="1"/>
            </a:lvl6pPr>
            <a:lvl7pPr marL="2741880" indent="0">
              <a:buNone/>
              <a:defRPr sz="1600" b="1"/>
            </a:lvl7pPr>
            <a:lvl8pPr marL="3198864" indent="0">
              <a:buNone/>
              <a:defRPr sz="1600" b="1"/>
            </a:lvl8pPr>
            <a:lvl9pPr marL="365584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pPr defTabSz="913923"/>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28746121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pPr defTabSz="913923"/>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spTree>
    <p:extLst>
      <p:ext uri="{BB962C8B-B14F-4D97-AF65-F5344CB8AC3E}">
        <p14:creationId xmlns:p14="http://schemas.microsoft.com/office/powerpoint/2010/main" val="3879858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image" Target="../media/image1.png"/><Relationship Id="rId4" Type="http://schemas.openxmlformats.org/officeDocument/2006/relationships/slideLayout" Target="../slideLayouts/slideLayout3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image" Target="../media/image1.pn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theme" Target="../theme/theme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1.png"/><Relationship Id="rId2" Type="http://schemas.openxmlformats.org/officeDocument/2006/relationships/slideLayout" Target="../slideLayouts/slideLayout80.xml"/><Relationship Id="rId16" Type="http://schemas.openxmlformats.org/officeDocument/2006/relationships/theme" Target="../theme/theme5.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theme" Target="../theme/theme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image" Target="../media/image1.png"/><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3"/>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pic>
        <p:nvPicPr>
          <p:cNvPr id="7" name="Picture 6"/>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
        <p:nvSpPr>
          <p:cNvPr id="8" name="TextBox 7"/>
          <p:cNvSpPr txBox="1"/>
          <p:nvPr userDrawn="1"/>
        </p:nvSpPr>
        <p:spPr>
          <a:xfrm>
            <a:off x="-3043" y="6635563"/>
            <a:ext cx="327334" cy="233462"/>
          </a:xfrm>
          <a:prstGeom prst="rect">
            <a:avLst/>
          </a:prstGeom>
          <a:noFill/>
        </p:spPr>
        <p:txBody>
          <a:bodyPr wrap="none" rtlCol="0">
            <a:spAutoFit/>
          </a:bodyPr>
          <a:lstStyle/>
          <a:p>
            <a:pPr defTabSz="914363"/>
            <a:fld id="{79CC3729-179F-4770-9C99-F2A6B9A2F6EE}" type="slidenum">
              <a:rPr lang="en-US" sz="917" smtClean="0">
                <a:solidFill>
                  <a:prstClr val="black">
                    <a:lumMod val="65000"/>
                    <a:lumOff val="35000"/>
                  </a:prstClr>
                </a:solidFill>
                <a:latin typeface="Arial" panose="020B0604020202020204" pitchFamily="34" charset="0"/>
                <a:cs typeface="Arial" panose="020B0604020202020204" pitchFamily="34" charset="0"/>
              </a:rPr>
              <a:pPr defTabSz="914363"/>
              <a:t>‹#›</a:t>
            </a:fld>
            <a:endParaRPr lang="en-US" sz="917"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195486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4055" r:id="rId21"/>
    <p:sldLayoutId id="2147484056" r:id="rId22"/>
    <p:sldLayoutId id="2147484058" r:id="rId23"/>
    <p:sldLayoutId id="2147484059" r:id="rId24"/>
    <p:sldLayoutId id="2147484060" r:id="rId25"/>
    <p:sldLayoutId id="2147484062" r:id="rId26"/>
    <p:sldLayoutId id="2147484063" r:id="rId27"/>
    <p:sldLayoutId id="2147484104" r:id="rId28"/>
    <p:sldLayoutId id="2147484105" r:id="rId29"/>
    <p:sldLayoutId id="2147484106" r:id="rId30"/>
    <p:sldLayoutId id="2147484107" r:id="rId31"/>
    <p:sldLayoutId id="2147484108" r:id="rId32"/>
  </p:sldLayoutIdLst>
  <p:transition>
    <p:fade/>
  </p:transition>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16"/>
          <p:cNvSpPr>
            <a:spLocks noChangeArrowheads="1"/>
          </p:cNvSpPr>
          <p:nvPr userDrawn="1"/>
        </p:nvSpPr>
        <p:spPr bwMode="auto">
          <a:xfrm rot="16200000">
            <a:off x="11359822" y="3164631"/>
            <a:ext cx="1490793" cy="102657"/>
          </a:xfrm>
          <a:prstGeom prst="rect">
            <a:avLst/>
          </a:prstGeom>
          <a:noFill/>
          <a:ln>
            <a:noFill/>
          </a:ln>
        </p:spPr>
        <p:txBody>
          <a:bodyPr wrap="none" lIns="0" tIns="0" rIns="0" bIns="0"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363">
              <a:defRPr/>
            </a:pPr>
            <a:r>
              <a:rPr lang="en-US" altLang="en-US" sz="667">
                <a:solidFill>
                  <a:srgbClr val="44546A"/>
                </a:solidFill>
                <a:ea typeface="MS PGothic" charset="0"/>
              </a:rPr>
              <a:t>© 2018 </a:t>
            </a:r>
            <a:r>
              <a:rPr lang="en-US" altLang="en-US" sz="667" dirty="0">
                <a:solidFill>
                  <a:srgbClr val="44546A"/>
                </a:solidFill>
                <a:ea typeface="MS PGothic" charset="0"/>
              </a:rPr>
              <a:t>CRISIL Ltd. All rights reserved.</a:t>
            </a:r>
          </a:p>
        </p:txBody>
      </p:sp>
      <p:sp>
        <p:nvSpPr>
          <p:cNvPr id="7" name="TextBox 6"/>
          <p:cNvSpPr txBox="1"/>
          <p:nvPr userDrawn="1"/>
        </p:nvSpPr>
        <p:spPr>
          <a:xfrm>
            <a:off x="0" y="6586926"/>
            <a:ext cx="380232" cy="284693"/>
          </a:xfrm>
          <a:prstGeom prst="rect">
            <a:avLst/>
          </a:prstGeom>
          <a:noFill/>
        </p:spPr>
        <p:txBody>
          <a:bodyPr wrap="none" rtlCol="0">
            <a:spAutoFit/>
          </a:bodyPr>
          <a:lstStyle/>
          <a:p>
            <a:pPr defTabSz="914363"/>
            <a:fld id="{79CC3729-179F-4770-9C99-F2A6B9A2F6EE}" type="slidenum">
              <a:rPr lang="en-US" sz="1250" smtClean="0">
                <a:solidFill>
                  <a:prstClr val="black">
                    <a:lumMod val="65000"/>
                    <a:lumOff val="35000"/>
                  </a:prstClr>
                </a:solidFill>
                <a:latin typeface="Arial" panose="020B0604020202020204" pitchFamily="34" charset="0"/>
                <a:cs typeface="Arial" panose="020B0604020202020204" pitchFamily="34" charset="0"/>
              </a:rPr>
              <a:pPr defTabSz="914363"/>
              <a:t>‹#›</a:t>
            </a:fld>
            <a:endParaRPr lang="en-US" sz="1250" dirty="0">
              <a:solidFill>
                <a:prstClr val="black">
                  <a:lumMod val="65000"/>
                  <a:lumOff val="35000"/>
                </a:prstClr>
              </a:solidFill>
              <a:latin typeface="Arial" panose="020B0604020202020204" pitchFamily="34" charset="0"/>
              <a:cs typeface="Arial" panose="020B0604020202020204" pitchFamily="34" charset="0"/>
            </a:endParaRPr>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Tree>
    <p:extLst>
      <p:ext uri="{BB962C8B-B14F-4D97-AF65-F5344CB8AC3E}">
        <p14:creationId xmlns:p14="http://schemas.microsoft.com/office/powerpoint/2010/main" val="2102168539"/>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Lst>
  <p:txStyles>
    <p:titleStyle>
      <a:lvl1pPr algn="l" defTabSz="914363"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25" tIns="45713" rIns="91425" bIns="45713"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25" tIns="45713" rIns="91425" bIns="4571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3"/>
            <a:ext cx="2743200" cy="365125"/>
          </a:xfrm>
          <a:prstGeom prst="rect">
            <a:avLst/>
          </a:prstGeom>
        </p:spPr>
        <p:txBody>
          <a:bodyPr vert="horz" lIns="91425" tIns="45713" rIns="91425" bIns="45713" rtlCol="0" anchor="ctr"/>
          <a:lstStyle>
            <a:lvl1pPr algn="l">
              <a:defRPr sz="1200">
                <a:solidFill>
                  <a:schemeClr val="tx1">
                    <a:tint val="75000"/>
                  </a:schemeClr>
                </a:solidFill>
              </a:defRPr>
            </a:lvl1pPr>
          </a:lstStyle>
          <a:p>
            <a:pPr defTabSz="914217"/>
            <a:fld id="{B1B65FC7-8C14-4739-BD25-DCDD8001A95D}" type="datetimeFigureOut">
              <a:rPr lang="en-US" smtClean="0">
                <a:solidFill>
                  <a:prstClr val="black">
                    <a:tint val="75000"/>
                  </a:prstClr>
                </a:solidFill>
              </a:rPr>
              <a:pPr defTabSz="914217"/>
              <a:t>4/19/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3"/>
            <a:ext cx="4114800" cy="365125"/>
          </a:xfrm>
          <a:prstGeom prst="rect">
            <a:avLst/>
          </a:prstGeom>
        </p:spPr>
        <p:txBody>
          <a:bodyPr vert="horz" lIns="91425" tIns="45713" rIns="91425" bIns="45713" rtlCol="0" anchor="ctr"/>
          <a:lstStyle>
            <a:lvl1pPr algn="ctr">
              <a:defRPr sz="1200">
                <a:solidFill>
                  <a:schemeClr val="tx1">
                    <a:tint val="75000"/>
                  </a:schemeClr>
                </a:solidFill>
              </a:defRPr>
            </a:lvl1pPr>
          </a:lstStyle>
          <a:p>
            <a:pPr defTabSz="914217"/>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3"/>
            <a:ext cx="2743200" cy="365125"/>
          </a:xfrm>
          <a:prstGeom prst="rect">
            <a:avLst/>
          </a:prstGeom>
        </p:spPr>
        <p:txBody>
          <a:bodyPr vert="horz" lIns="91425" tIns="45713" rIns="91425" bIns="45713" rtlCol="0" anchor="ctr"/>
          <a:lstStyle>
            <a:lvl1pPr algn="r">
              <a:defRPr sz="1200">
                <a:solidFill>
                  <a:schemeClr val="tx1">
                    <a:tint val="75000"/>
                  </a:schemeClr>
                </a:solidFill>
              </a:defRPr>
            </a:lvl1pPr>
          </a:lstStyle>
          <a:p>
            <a:pPr defTabSz="914217"/>
            <a:fld id="{47FC1E78-8A1D-4B7B-BB49-A01A2C07F035}" type="slidenum">
              <a:rPr lang="en-US" smtClean="0">
                <a:solidFill>
                  <a:prstClr val="black">
                    <a:tint val="75000"/>
                  </a:prstClr>
                </a:solidFill>
              </a:rPr>
              <a:pPr defTabSz="914217"/>
              <a:t>‹#›</a:t>
            </a:fld>
            <a:endParaRPr lang="en-US">
              <a:solidFill>
                <a:prstClr val="black">
                  <a:tint val="75000"/>
                </a:prstClr>
              </a:solidFill>
            </a:endParaRPr>
          </a:p>
        </p:txBody>
      </p:sp>
      <p:pic>
        <p:nvPicPr>
          <p:cNvPr id="7" name="Picture 6"/>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
        <p:nvSpPr>
          <p:cNvPr id="8" name="TextBox 7"/>
          <p:cNvSpPr txBox="1"/>
          <p:nvPr userDrawn="1"/>
        </p:nvSpPr>
        <p:spPr>
          <a:xfrm>
            <a:off x="-3043" y="6635563"/>
            <a:ext cx="327334" cy="233462"/>
          </a:xfrm>
          <a:prstGeom prst="rect">
            <a:avLst/>
          </a:prstGeom>
          <a:noFill/>
        </p:spPr>
        <p:txBody>
          <a:bodyPr wrap="none" lIns="91425" tIns="45713" rIns="91425" bIns="45713" rtlCol="0">
            <a:spAutoFit/>
          </a:bodyPr>
          <a:lstStyle/>
          <a:p>
            <a:pPr defTabSz="914217"/>
            <a:fld id="{79CC3729-179F-4770-9C99-F2A6B9A2F6EE}" type="slidenum">
              <a:rPr lang="en-US" sz="900">
                <a:solidFill>
                  <a:prstClr val="black">
                    <a:lumMod val="65000"/>
                    <a:lumOff val="35000"/>
                  </a:prstClr>
                </a:solidFill>
                <a:latin typeface="Arial" panose="020B0604020202020204" pitchFamily="34" charset="0"/>
                <a:cs typeface="Arial" panose="020B0604020202020204" pitchFamily="34" charset="0"/>
              </a:rPr>
              <a:pPr defTabSz="914217"/>
              <a:t>‹#›</a:t>
            </a:fld>
            <a:endParaRPr lang="en-US" sz="900"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2117258"/>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Lst>
  <p:transition>
    <p:fade/>
  </p:transition>
  <p:txStyles>
    <p:titleStyle>
      <a:lvl1pPr algn="l" defTabSz="914253"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564" indent="-228564" algn="l" defTabSz="91425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91" indent="-228564" algn="l" defTabSz="91425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18" indent="-228564" algn="l" defTabSz="91425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44" indent="-228564" algn="l" defTabSz="9142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72" indent="-228564" algn="l" defTabSz="9142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99" indent="-228564" algn="l" defTabSz="9142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324" indent="-228564" algn="l" defTabSz="9142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52" indent="-228564" algn="l" defTabSz="9142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80" indent="-228564" algn="l" defTabSz="91425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8" algn="l" defTabSz="914253" rtl="0" eaLnBrk="1" latinLnBrk="0" hangingPunct="1">
        <a:defRPr sz="1800" kern="1200">
          <a:solidFill>
            <a:schemeClr val="tx1"/>
          </a:solidFill>
          <a:latin typeface="+mn-lt"/>
          <a:ea typeface="+mn-ea"/>
          <a:cs typeface="+mn-cs"/>
        </a:defRPr>
      </a:lvl5pPr>
      <a:lvl6pPr marL="2285635" algn="l" defTabSz="914253" rtl="0" eaLnBrk="1" latinLnBrk="0" hangingPunct="1">
        <a:defRPr sz="1800" kern="1200">
          <a:solidFill>
            <a:schemeClr val="tx1"/>
          </a:solidFill>
          <a:latin typeface="+mn-lt"/>
          <a:ea typeface="+mn-ea"/>
          <a:cs typeface="+mn-cs"/>
        </a:defRPr>
      </a:lvl6pPr>
      <a:lvl7pPr marL="2742760" algn="l" defTabSz="914253" rtl="0" eaLnBrk="1" latinLnBrk="0" hangingPunct="1">
        <a:defRPr sz="1800" kern="1200">
          <a:solidFill>
            <a:schemeClr val="tx1"/>
          </a:solidFill>
          <a:latin typeface="+mn-lt"/>
          <a:ea typeface="+mn-ea"/>
          <a:cs typeface="+mn-cs"/>
        </a:defRPr>
      </a:lvl7pPr>
      <a:lvl8pPr marL="3199888" algn="l" defTabSz="914253" rtl="0" eaLnBrk="1" latinLnBrk="0" hangingPunct="1">
        <a:defRPr sz="1800" kern="1200">
          <a:solidFill>
            <a:schemeClr val="tx1"/>
          </a:solidFill>
          <a:latin typeface="+mn-lt"/>
          <a:ea typeface="+mn-ea"/>
          <a:cs typeface="+mn-cs"/>
        </a:defRPr>
      </a:lvl8pPr>
      <a:lvl9pPr marL="3657015" algn="l" defTabSz="91425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3"/>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pic>
        <p:nvPicPr>
          <p:cNvPr id="8" name="Picture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
        <p:nvSpPr>
          <p:cNvPr id="9" name="TextBox 8"/>
          <p:cNvSpPr txBox="1"/>
          <p:nvPr userDrawn="1"/>
        </p:nvSpPr>
        <p:spPr>
          <a:xfrm>
            <a:off x="-3043" y="6635563"/>
            <a:ext cx="327334" cy="233462"/>
          </a:xfrm>
          <a:prstGeom prst="rect">
            <a:avLst/>
          </a:prstGeom>
          <a:noFill/>
        </p:spPr>
        <p:txBody>
          <a:bodyPr wrap="none" rtlCol="0">
            <a:spAutoFit/>
          </a:bodyPr>
          <a:lstStyle/>
          <a:p>
            <a:pPr defTabSz="914363"/>
            <a:fld id="{79CC3729-179F-4770-9C99-F2A6B9A2F6EE}" type="slidenum">
              <a:rPr lang="en-US" sz="917" smtClean="0">
                <a:solidFill>
                  <a:prstClr val="black">
                    <a:lumMod val="65000"/>
                    <a:lumOff val="35000"/>
                  </a:prstClr>
                </a:solidFill>
                <a:latin typeface="Arial" panose="020B0604020202020204" pitchFamily="34" charset="0"/>
                <a:cs typeface="Arial" panose="020B0604020202020204" pitchFamily="34" charset="0"/>
              </a:rPr>
              <a:pPr defTabSz="914363"/>
              <a:t>‹#›</a:t>
            </a:fld>
            <a:endParaRPr lang="en-US" sz="917"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3169438"/>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70" r:id="rId13"/>
    <p:sldLayoutId id="2147484009" r:id="rId14"/>
    <p:sldLayoutId id="2147484064" r:id="rId15"/>
    <p:sldLayoutId id="2147484065" r:id="rId16"/>
    <p:sldLayoutId id="2147484066" r:id="rId17"/>
    <p:sldLayoutId id="2147484103" r:id="rId18"/>
  </p:sldLayoutIdLst>
  <p:transition>
    <p:fade/>
  </p:transition>
  <p:txStyles>
    <p:titleStyle>
      <a:lvl1pPr algn="l" defTabSz="91436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63"/>
            <a:fld id="{B1B65FC7-8C14-4739-BD25-DCDD8001A95D}" type="datetimeFigureOut">
              <a:rPr lang="en-US" smtClean="0">
                <a:solidFill>
                  <a:prstClr val="black">
                    <a:tint val="75000"/>
                  </a:prstClr>
                </a:solidFill>
              </a:rPr>
              <a:pPr defTabSz="914363"/>
              <a:t>4/19/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63"/>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63"/>
            <a:fld id="{47FC1E78-8A1D-4B7B-BB49-A01A2C07F035}" type="slidenum">
              <a:rPr lang="en-US" smtClean="0">
                <a:solidFill>
                  <a:prstClr val="black">
                    <a:tint val="75000"/>
                  </a:prstClr>
                </a:solidFill>
              </a:rPr>
              <a:pPr defTabSz="914363"/>
              <a:t>‹#›</a:t>
            </a:fld>
            <a:endParaRPr lang="en-US">
              <a:solidFill>
                <a:prstClr val="black">
                  <a:tint val="75000"/>
                </a:prstClr>
              </a:solidFill>
            </a:endParaRPr>
          </a:p>
        </p:txBody>
      </p: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
        <p:nvSpPr>
          <p:cNvPr id="9" name="TextBox 8"/>
          <p:cNvSpPr txBox="1"/>
          <p:nvPr userDrawn="1"/>
        </p:nvSpPr>
        <p:spPr>
          <a:xfrm>
            <a:off x="-3043" y="6635563"/>
            <a:ext cx="327334" cy="233462"/>
          </a:xfrm>
          <a:prstGeom prst="rect">
            <a:avLst/>
          </a:prstGeom>
          <a:noFill/>
        </p:spPr>
        <p:txBody>
          <a:bodyPr wrap="none" rtlCol="0">
            <a:spAutoFit/>
          </a:bodyPr>
          <a:lstStyle/>
          <a:p>
            <a:pPr defTabSz="914363"/>
            <a:fld id="{79CC3729-179F-4770-9C99-F2A6B9A2F6EE}" type="slidenum">
              <a:rPr lang="en-US" sz="917" smtClean="0">
                <a:solidFill>
                  <a:prstClr val="black">
                    <a:lumMod val="65000"/>
                    <a:lumOff val="35000"/>
                  </a:prstClr>
                </a:solidFill>
                <a:latin typeface="Arial" panose="020B0604020202020204" pitchFamily="34" charset="0"/>
                <a:cs typeface="Arial" panose="020B0604020202020204" pitchFamily="34" charset="0"/>
              </a:rPr>
              <a:pPr defTabSz="914363"/>
              <a:t>‹#›</a:t>
            </a:fld>
            <a:endParaRPr lang="en-US" sz="917"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8957647"/>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6" r:id="rId14"/>
    <p:sldLayoutId id="2147483987" r:id="rId15"/>
  </p:sldLayoutIdLst>
  <p:transition>
    <p:fade/>
  </p:transition>
  <p:txStyles>
    <p:titleStyle>
      <a:lvl1pPr algn="l" defTabSz="91436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95" tIns="45700" rIns="91395" bIns="4570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395" tIns="45700" rIns="91395" bIns="457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3"/>
            <a:ext cx="2743200" cy="365125"/>
          </a:xfrm>
          <a:prstGeom prst="rect">
            <a:avLst/>
          </a:prstGeom>
        </p:spPr>
        <p:txBody>
          <a:bodyPr vert="horz" lIns="91395" tIns="45700" rIns="91395" bIns="45700" rtlCol="0" anchor="ctr"/>
          <a:lstStyle>
            <a:lvl1pPr algn="l">
              <a:defRPr sz="1200">
                <a:solidFill>
                  <a:schemeClr val="tx1">
                    <a:tint val="75000"/>
                  </a:schemeClr>
                </a:solidFill>
              </a:defRPr>
            </a:lvl1pPr>
          </a:lstStyle>
          <a:p>
            <a:pPr defTabSz="913923"/>
            <a:fld id="{B1B65FC7-8C14-4739-BD25-DCDD8001A95D}" type="datetimeFigureOut">
              <a:rPr lang="en-US" smtClean="0">
                <a:solidFill>
                  <a:prstClr val="black">
                    <a:tint val="75000"/>
                  </a:prstClr>
                </a:solidFill>
              </a:rPr>
              <a:pPr defTabSz="913923"/>
              <a:t>4/19/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3"/>
            <a:ext cx="4114800" cy="365125"/>
          </a:xfrm>
          <a:prstGeom prst="rect">
            <a:avLst/>
          </a:prstGeom>
        </p:spPr>
        <p:txBody>
          <a:bodyPr vert="horz" lIns="91395" tIns="45700" rIns="91395" bIns="45700" rtlCol="0" anchor="ctr"/>
          <a:lstStyle>
            <a:lvl1pPr algn="ctr">
              <a:defRPr sz="1200">
                <a:solidFill>
                  <a:schemeClr val="tx1">
                    <a:tint val="75000"/>
                  </a:schemeClr>
                </a:solidFill>
              </a:defRPr>
            </a:lvl1pPr>
          </a:lstStyle>
          <a:p>
            <a:pPr defTabSz="913923"/>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3"/>
            <a:ext cx="2743200" cy="365125"/>
          </a:xfrm>
          <a:prstGeom prst="rect">
            <a:avLst/>
          </a:prstGeom>
        </p:spPr>
        <p:txBody>
          <a:bodyPr vert="horz" lIns="91395" tIns="45700" rIns="91395" bIns="45700" rtlCol="0" anchor="ctr"/>
          <a:lstStyle>
            <a:lvl1pPr algn="r">
              <a:defRPr sz="1200">
                <a:solidFill>
                  <a:schemeClr val="tx1">
                    <a:tint val="75000"/>
                  </a:schemeClr>
                </a:solidFill>
              </a:defRPr>
            </a:lvl1pPr>
          </a:lstStyle>
          <a:p>
            <a:pPr defTabSz="913923"/>
            <a:fld id="{47FC1E78-8A1D-4B7B-BB49-A01A2C07F035}" type="slidenum">
              <a:rPr lang="en-US" smtClean="0">
                <a:solidFill>
                  <a:prstClr val="black">
                    <a:tint val="75000"/>
                  </a:prstClr>
                </a:solidFill>
              </a:rPr>
              <a:pPr defTabSz="913923"/>
              <a:t>‹#›</a:t>
            </a:fld>
            <a:endParaRPr lang="en-US">
              <a:solidFill>
                <a:prstClr val="black">
                  <a:tint val="75000"/>
                </a:prstClr>
              </a:solidFil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
        <p:nvSpPr>
          <p:cNvPr id="8" name="TextBox 7"/>
          <p:cNvSpPr txBox="1"/>
          <p:nvPr/>
        </p:nvSpPr>
        <p:spPr>
          <a:xfrm>
            <a:off x="-3043" y="6635563"/>
            <a:ext cx="327334" cy="233462"/>
          </a:xfrm>
          <a:prstGeom prst="rect">
            <a:avLst/>
          </a:prstGeom>
          <a:noFill/>
        </p:spPr>
        <p:txBody>
          <a:bodyPr wrap="none" lIns="91395" tIns="45700" rIns="91395" bIns="45700" rtlCol="0">
            <a:spAutoFit/>
          </a:bodyPr>
          <a:lstStyle/>
          <a:p>
            <a:pPr defTabSz="913923"/>
            <a:fld id="{79CC3729-179F-4770-9C99-F2A6B9A2F6EE}" type="slidenum">
              <a:rPr lang="en-US" sz="900" smtClean="0">
                <a:solidFill>
                  <a:prstClr val="black">
                    <a:lumMod val="65000"/>
                    <a:lumOff val="35000"/>
                  </a:prstClr>
                </a:solidFill>
                <a:latin typeface="Arial" panose="020B0604020202020204" pitchFamily="34" charset="0"/>
                <a:cs typeface="Arial" panose="020B0604020202020204" pitchFamily="34" charset="0"/>
              </a:rPr>
              <a:pPr defTabSz="913923"/>
              <a:t>‹#›</a:t>
            </a:fld>
            <a:endParaRPr lang="en-US" sz="900"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603250"/>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Lst>
  <p:transition>
    <p:fade/>
  </p:transition>
  <p:txStyles>
    <p:titleStyle>
      <a:lvl1pPr algn="l" defTabSz="91396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492" indent="-228492" algn="l" defTabSz="91396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71" indent="-228492" algn="l" defTabSz="91396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58" indent="-228492" algn="l" defTabSz="91396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432" indent="-228492" algn="l" defTabSz="9139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412" indent="-228492" algn="l" defTabSz="9139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99" indent="-228492" algn="l" defTabSz="9139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372" indent="-228492" algn="l" defTabSz="9139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356" indent="-228492" algn="l" defTabSz="9139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340" indent="-228492" algn="l" defTabSz="91396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960" rtl="0" eaLnBrk="1" latinLnBrk="0" hangingPunct="1">
        <a:defRPr sz="1800" kern="1200">
          <a:solidFill>
            <a:schemeClr val="tx1"/>
          </a:solidFill>
          <a:latin typeface="+mn-lt"/>
          <a:ea typeface="+mn-ea"/>
          <a:cs typeface="+mn-cs"/>
        </a:defRPr>
      </a:lvl1pPr>
      <a:lvl2pPr marL="456980" algn="l" defTabSz="913960" rtl="0" eaLnBrk="1" latinLnBrk="0" hangingPunct="1">
        <a:defRPr sz="1800" kern="1200">
          <a:solidFill>
            <a:schemeClr val="tx1"/>
          </a:solidFill>
          <a:latin typeface="+mn-lt"/>
          <a:ea typeface="+mn-ea"/>
          <a:cs typeface="+mn-cs"/>
        </a:defRPr>
      </a:lvl2pPr>
      <a:lvl3pPr marL="913960" algn="l" defTabSz="913960" rtl="0" eaLnBrk="1" latinLnBrk="0" hangingPunct="1">
        <a:defRPr sz="1800" kern="1200">
          <a:solidFill>
            <a:schemeClr val="tx1"/>
          </a:solidFill>
          <a:latin typeface="+mn-lt"/>
          <a:ea typeface="+mn-ea"/>
          <a:cs typeface="+mn-cs"/>
        </a:defRPr>
      </a:lvl3pPr>
      <a:lvl4pPr marL="1370940" algn="l" defTabSz="913960" rtl="0" eaLnBrk="1" latinLnBrk="0" hangingPunct="1">
        <a:defRPr sz="1800" kern="1200">
          <a:solidFill>
            <a:schemeClr val="tx1"/>
          </a:solidFill>
          <a:latin typeface="+mn-lt"/>
          <a:ea typeface="+mn-ea"/>
          <a:cs typeface="+mn-cs"/>
        </a:defRPr>
      </a:lvl4pPr>
      <a:lvl5pPr marL="1827924" algn="l" defTabSz="913960" rtl="0" eaLnBrk="1" latinLnBrk="0" hangingPunct="1">
        <a:defRPr sz="1800" kern="1200">
          <a:solidFill>
            <a:schemeClr val="tx1"/>
          </a:solidFill>
          <a:latin typeface="+mn-lt"/>
          <a:ea typeface="+mn-ea"/>
          <a:cs typeface="+mn-cs"/>
        </a:defRPr>
      </a:lvl5pPr>
      <a:lvl6pPr marL="2284905" algn="l" defTabSz="913960" rtl="0" eaLnBrk="1" latinLnBrk="0" hangingPunct="1">
        <a:defRPr sz="1800" kern="1200">
          <a:solidFill>
            <a:schemeClr val="tx1"/>
          </a:solidFill>
          <a:latin typeface="+mn-lt"/>
          <a:ea typeface="+mn-ea"/>
          <a:cs typeface="+mn-cs"/>
        </a:defRPr>
      </a:lvl6pPr>
      <a:lvl7pPr marL="2741880" algn="l" defTabSz="913960" rtl="0" eaLnBrk="1" latinLnBrk="0" hangingPunct="1">
        <a:defRPr sz="1800" kern="1200">
          <a:solidFill>
            <a:schemeClr val="tx1"/>
          </a:solidFill>
          <a:latin typeface="+mn-lt"/>
          <a:ea typeface="+mn-ea"/>
          <a:cs typeface="+mn-cs"/>
        </a:defRPr>
      </a:lvl7pPr>
      <a:lvl8pPr marL="3198864" algn="l" defTabSz="913960" rtl="0" eaLnBrk="1" latinLnBrk="0" hangingPunct="1">
        <a:defRPr sz="1800" kern="1200">
          <a:solidFill>
            <a:schemeClr val="tx1"/>
          </a:solidFill>
          <a:latin typeface="+mn-lt"/>
          <a:ea typeface="+mn-ea"/>
          <a:cs typeface="+mn-cs"/>
        </a:defRPr>
      </a:lvl8pPr>
      <a:lvl9pPr marL="3655845" algn="l" defTabSz="91396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B1B65FC7-8C14-4739-BD25-DCDD8001A95D}" type="datetimeFigureOut">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4/19/2022</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363" rtl="0" eaLnBrk="1" fontAlgn="auto" latinLnBrk="0" hangingPunct="1">
              <a:lnSpc>
                <a:spcPct val="100000"/>
              </a:lnSpc>
              <a:spcBef>
                <a:spcPts val="0"/>
              </a:spcBef>
              <a:spcAft>
                <a:spcPts val="0"/>
              </a:spcAft>
              <a:buClrTx/>
              <a:buSzTx/>
              <a:buFontTx/>
              <a:buNone/>
              <a:tabLst/>
              <a:defRPr/>
            </a:pPr>
            <a:fld id="{47FC1E78-8A1D-4B7B-BB49-A01A2C07F035}"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Picture 6"/>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6256656"/>
            <a:ext cx="12192000" cy="604520"/>
          </a:xfrm>
          <a:prstGeom prst="rect">
            <a:avLst/>
          </a:prstGeom>
        </p:spPr>
      </p:pic>
      <p:sp>
        <p:nvSpPr>
          <p:cNvPr id="8" name="TextBox 7"/>
          <p:cNvSpPr txBox="1"/>
          <p:nvPr userDrawn="1"/>
        </p:nvSpPr>
        <p:spPr>
          <a:xfrm>
            <a:off x="-3043" y="6635563"/>
            <a:ext cx="327334" cy="233462"/>
          </a:xfrm>
          <a:prstGeom prst="rect">
            <a:avLst/>
          </a:prstGeom>
          <a:noFill/>
        </p:spPr>
        <p:txBody>
          <a:bodyPr wrap="none"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fld id="{79CC3729-179F-4770-9C99-F2A6B9A2F6EE}" type="slidenum">
              <a:rPr kumimoji="0" lang="en-US" sz="917" b="0" i="0" u="none" strike="noStrike" kern="1200" cap="none" spc="0" normalizeH="0" baseline="0" noProof="0" smtClean="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917"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01953547"/>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 id="2147484025" r:id="rId14"/>
    <p:sldLayoutId id="2147484026" r:id="rId15"/>
    <p:sldLayoutId id="2147484027" r:id="rId16"/>
    <p:sldLayoutId id="2147484028" r:id="rId17"/>
    <p:sldLayoutId id="2147484029" r:id="rId18"/>
    <p:sldLayoutId id="2147484030" r:id="rId19"/>
    <p:sldLayoutId id="2147484031" r:id="rId20"/>
    <p:sldLayoutId id="2147484032" r:id="rId21"/>
  </p:sldLayoutIdLst>
  <p:transition>
    <p:fade/>
  </p:transition>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 Id="rId9" Type="http://schemas.openxmlformats.org/officeDocument/2006/relationships/chart" Target="../charts/chart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01.xml.rels><?xml version="1.0" encoding="UTF-8" standalone="yes"?>
<Relationships xmlns="http://schemas.openxmlformats.org/package/2006/relationships"><Relationship Id="rId2" Type="http://schemas.openxmlformats.org/officeDocument/2006/relationships/chart" Target="../charts/chart100.xml"/><Relationship Id="rId1" Type="http://schemas.openxmlformats.org/officeDocument/2006/relationships/slideLayout" Target="../slideLayouts/slideLayout62.xml"/></Relationships>
</file>

<file path=ppt/slides/_rels/slide102.xml.rels><?xml version="1.0" encoding="UTF-8" standalone="yes"?>
<Relationships xmlns="http://schemas.openxmlformats.org/package/2006/relationships"><Relationship Id="rId117" Type="http://schemas.openxmlformats.org/officeDocument/2006/relationships/tags" Target="../tags/tag1104.xml"/><Relationship Id="rId21" Type="http://schemas.openxmlformats.org/officeDocument/2006/relationships/tags" Target="../tags/tag1008.xml"/><Relationship Id="rId42" Type="http://schemas.openxmlformats.org/officeDocument/2006/relationships/tags" Target="../tags/tag1029.xml"/><Relationship Id="rId63" Type="http://schemas.openxmlformats.org/officeDocument/2006/relationships/tags" Target="../tags/tag1050.xml"/><Relationship Id="rId84" Type="http://schemas.openxmlformats.org/officeDocument/2006/relationships/tags" Target="../tags/tag1071.xml"/><Relationship Id="rId138" Type="http://schemas.openxmlformats.org/officeDocument/2006/relationships/tags" Target="../tags/tag1125.xml"/><Relationship Id="rId159" Type="http://schemas.openxmlformats.org/officeDocument/2006/relationships/tags" Target="../tags/tag1146.xml"/><Relationship Id="rId170" Type="http://schemas.openxmlformats.org/officeDocument/2006/relationships/tags" Target="../tags/tag1157.xml"/><Relationship Id="rId191" Type="http://schemas.openxmlformats.org/officeDocument/2006/relationships/tags" Target="../tags/tag1178.xml"/><Relationship Id="rId196" Type="http://schemas.openxmlformats.org/officeDocument/2006/relationships/tags" Target="../tags/tag1183.xml"/><Relationship Id="rId200" Type="http://schemas.openxmlformats.org/officeDocument/2006/relationships/tags" Target="../tags/tag1187.xml"/><Relationship Id="rId16" Type="http://schemas.openxmlformats.org/officeDocument/2006/relationships/tags" Target="../tags/tag1003.xml"/><Relationship Id="rId107" Type="http://schemas.openxmlformats.org/officeDocument/2006/relationships/tags" Target="../tags/tag1094.xml"/><Relationship Id="rId11" Type="http://schemas.openxmlformats.org/officeDocument/2006/relationships/tags" Target="../tags/tag998.xml"/><Relationship Id="rId32" Type="http://schemas.openxmlformats.org/officeDocument/2006/relationships/tags" Target="../tags/tag1019.xml"/><Relationship Id="rId37" Type="http://schemas.openxmlformats.org/officeDocument/2006/relationships/tags" Target="../tags/tag1024.xml"/><Relationship Id="rId53" Type="http://schemas.openxmlformats.org/officeDocument/2006/relationships/tags" Target="../tags/tag1040.xml"/><Relationship Id="rId58" Type="http://schemas.openxmlformats.org/officeDocument/2006/relationships/tags" Target="../tags/tag1045.xml"/><Relationship Id="rId74" Type="http://schemas.openxmlformats.org/officeDocument/2006/relationships/tags" Target="../tags/tag1061.xml"/><Relationship Id="rId79" Type="http://schemas.openxmlformats.org/officeDocument/2006/relationships/tags" Target="../tags/tag1066.xml"/><Relationship Id="rId102" Type="http://schemas.openxmlformats.org/officeDocument/2006/relationships/tags" Target="../tags/tag1089.xml"/><Relationship Id="rId123" Type="http://schemas.openxmlformats.org/officeDocument/2006/relationships/tags" Target="../tags/tag1110.xml"/><Relationship Id="rId128" Type="http://schemas.openxmlformats.org/officeDocument/2006/relationships/tags" Target="../tags/tag1115.xml"/><Relationship Id="rId144" Type="http://schemas.openxmlformats.org/officeDocument/2006/relationships/tags" Target="../tags/tag1131.xml"/><Relationship Id="rId149" Type="http://schemas.openxmlformats.org/officeDocument/2006/relationships/tags" Target="../tags/tag1136.xml"/><Relationship Id="rId5" Type="http://schemas.openxmlformats.org/officeDocument/2006/relationships/tags" Target="../tags/tag992.xml"/><Relationship Id="rId90" Type="http://schemas.openxmlformats.org/officeDocument/2006/relationships/tags" Target="../tags/tag1077.xml"/><Relationship Id="rId95" Type="http://schemas.openxmlformats.org/officeDocument/2006/relationships/tags" Target="../tags/tag1082.xml"/><Relationship Id="rId160" Type="http://schemas.openxmlformats.org/officeDocument/2006/relationships/tags" Target="../tags/tag1147.xml"/><Relationship Id="rId165" Type="http://schemas.openxmlformats.org/officeDocument/2006/relationships/tags" Target="../tags/tag1152.xml"/><Relationship Id="rId181" Type="http://schemas.openxmlformats.org/officeDocument/2006/relationships/tags" Target="../tags/tag1168.xml"/><Relationship Id="rId186" Type="http://schemas.openxmlformats.org/officeDocument/2006/relationships/tags" Target="../tags/tag1173.xml"/><Relationship Id="rId22" Type="http://schemas.openxmlformats.org/officeDocument/2006/relationships/tags" Target="../tags/tag1009.xml"/><Relationship Id="rId27" Type="http://schemas.openxmlformats.org/officeDocument/2006/relationships/tags" Target="../tags/tag1014.xml"/><Relationship Id="rId43" Type="http://schemas.openxmlformats.org/officeDocument/2006/relationships/tags" Target="../tags/tag1030.xml"/><Relationship Id="rId48" Type="http://schemas.openxmlformats.org/officeDocument/2006/relationships/tags" Target="../tags/tag1035.xml"/><Relationship Id="rId64" Type="http://schemas.openxmlformats.org/officeDocument/2006/relationships/tags" Target="../tags/tag1051.xml"/><Relationship Id="rId69" Type="http://schemas.openxmlformats.org/officeDocument/2006/relationships/tags" Target="../tags/tag1056.xml"/><Relationship Id="rId113" Type="http://schemas.openxmlformats.org/officeDocument/2006/relationships/tags" Target="../tags/tag1100.xml"/><Relationship Id="rId118" Type="http://schemas.openxmlformats.org/officeDocument/2006/relationships/tags" Target="../tags/tag1105.xml"/><Relationship Id="rId134" Type="http://schemas.openxmlformats.org/officeDocument/2006/relationships/tags" Target="../tags/tag1121.xml"/><Relationship Id="rId139" Type="http://schemas.openxmlformats.org/officeDocument/2006/relationships/tags" Target="../tags/tag1126.xml"/><Relationship Id="rId80" Type="http://schemas.openxmlformats.org/officeDocument/2006/relationships/tags" Target="../tags/tag1067.xml"/><Relationship Id="rId85" Type="http://schemas.openxmlformats.org/officeDocument/2006/relationships/tags" Target="../tags/tag1072.xml"/><Relationship Id="rId150" Type="http://schemas.openxmlformats.org/officeDocument/2006/relationships/tags" Target="../tags/tag1137.xml"/><Relationship Id="rId155" Type="http://schemas.openxmlformats.org/officeDocument/2006/relationships/tags" Target="../tags/tag1142.xml"/><Relationship Id="rId171" Type="http://schemas.openxmlformats.org/officeDocument/2006/relationships/tags" Target="../tags/tag1158.xml"/><Relationship Id="rId176" Type="http://schemas.openxmlformats.org/officeDocument/2006/relationships/tags" Target="../tags/tag1163.xml"/><Relationship Id="rId192" Type="http://schemas.openxmlformats.org/officeDocument/2006/relationships/tags" Target="../tags/tag1179.xml"/><Relationship Id="rId197" Type="http://schemas.openxmlformats.org/officeDocument/2006/relationships/tags" Target="../tags/tag1184.xml"/><Relationship Id="rId201" Type="http://schemas.openxmlformats.org/officeDocument/2006/relationships/slideLayout" Target="../slideLayouts/slideLayout74.xml"/><Relationship Id="rId12" Type="http://schemas.openxmlformats.org/officeDocument/2006/relationships/tags" Target="../tags/tag999.xml"/><Relationship Id="rId17" Type="http://schemas.openxmlformats.org/officeDocument/2006/relationships/tags" Target="../tags/tag1004.xml"/><Relationship Id="rId33" Type="http://schemas.openxmlformats.org/officeDocument/2006/relationships/tags" Target="../tags/tag1020.xml"/><Relationship Id="rId38" Type="http://schemas.openxmlformats.org/officeDocument/2006/relationships/tags" Target="../tags/tag1025.xml"/><Relationship Id="rId59" Type="http://schemas.openxmlformats.org/officeDocument/2006/relationships/tags" Target="../tags/tag1046.xml"/><Relationship Id="rId103" Type="http://schemas.openxmlformats.org/officeDocument/2006/relationships/tags" Target="../tags/tag1090.xml"/><Relationship Id="rId108" Type="http://schemas.openxmlformats.org/officeDocument/2006/relationships/tags" Target="../tags/tag1095.xml"/><Relationship Id="rId124" Type="http://schemas.openxmlformats.org/officeDocument/2006/relationships/tags" Target="../tags/tag1111.xml"/><Relationship Id="rId129" Type="http://schemas.openxmlformats.org/officeDocument/2006/relationships/tags" Target="../tags/tag1116.xml"/><Relationship Id="rId54" Type="http://schemas.openxmlformats.org/officeDocument/2006/relationships/tags" Target="../tags/tag1041.xml"/><Relationship Id="rId70" Type="http://schemas.openxmlformats.org/officeDocument/2006/relationships/tags" Target="../tags/tag1057.xml"/><Relationship Id="rId75" Type="http://schemas.openxmlformats.org/officeDocument/2006/relationships/tags" Target="../tags/tag1062.xml"/><Relationship Id="rId91" Type="http://schemas.openxmlformats.org/officeDocument/2006/relationships/tags" Target="../tags/tag1078.xml"/><Relationship Id="rId96" Type="http://schemas.openxmlformats.org/officeDocument/2006/relationships/tags" Target="../tags/tag1083.xml"/><Relationship Id="rId140" Type="http://schemas.openxmlformats.org/officeDocument/2006/relationships/tags" Target="../tags/tag1127.xml"/><Relationship Id="rId145" Type="http://schemas.openxmlformats.org/officeDocument/2006/relationships/tags" Target="../tags/tag1132.xml"/><Relationship Id="rId161" Type="http://schemas.openxmlformats.org/officeDocument/2006/relationships/tags" Target="../tags/tag1148.xml"/><Relationship Id="rId166" Type="http://schemas.openxmlformats.org/officeDocument/2006/relationships/tags" Target="../tags/tag1153.xml"/><Relationship Id="rId182" Type="http://schemas.openxmlformats.org/officeDocument/2006/relationships/tags" Target="../tags/tag1169.xml"/><Relationship Id="rId187" Type="http://schemas.openxmlformats.org/officeDocument/2006/relationships/tags" Target="../tags/tag1174.xml"/><Relationship Id="rId1" Type="http://schemas.openxmlformats.org/officeDocument/2006/relationships/tags" Target="../tags/tag988.xml"/><Relationship Id="rId6" Type="http://schemas.openxmlformats.org/officeDocument/2006/relationships/tags" Target="../tags/tag993.xml"/><Relationship Id="rId23" Type="http://schemas.openxmlformats.org/officeDocument/2006/relationships/tags" Target="../tags/tag1010.xml"/><Relationship Id="rId28" Type="http://schemas.openxmlformats.org/officeDocument/2006/relationships/tags" Target="../tags/tag1015.xml"/><Relationship Id="rId49" Type="http://schemas.openxmlformats.org/officeDocument/2006/relationships/tags" Target="../tags/tag1036.xml"/><Relationship Id="rId114" Type="http://schemas.openxmlformats.org/officeDocument/2006/relationships/tags" Target="../tags/tag1101.xml"/><Relationship Id="rId119" Type="http://schemas.openxmlformats.org/officeDocument/2006/relationships/tags" Target="../tags/tag1106.xml"/><Relationship Id="rId44" Type="http://schemas.openxmlformats.org/officeDocument/2006/relationships/tags" Target="../tags/tag1031.xml"/><Relationship Id="rId60" Type="http://schemas.openxmlformats.org/officeDocument/2006/relationships/tags" Target="../tags/tag1047.xml"/><Relationship Id="rId65" Type="http://schemas.openxmlformats.org/officeDocument/2006/relationships/tags" Target="../tags/tag1052.xml"/><Relationship Id="rId81" Type="http://schemas.openxmlformats.org/officeDocument/2006/relationships/tags" Target="../tags/tag1068.xml"/><Relationship Id="rId86" Type="http://schemas.openxmlformats.org/officeDocument/2006/relationships/tags" Target="../tags/tag1073.xml"/><Relationship Id="rId130" Type="http://schemas.openxmlformats.org/officeDocument/2006/relationships/tags" Target="../tags/tag1117.xml"/><Relationship Id="rId135" Type="http://schemas.openxmlformats.org/officeDocument/2006/relationships/tags" Target="../tags/tag1122.xml"/><Relationship Id="rId151" Type="http://schemas.openxmlformats.org/officeDocument/2006/relationships/tags" Target="../tags/tag1138.xml"/><Relationship Id="rId156" Type="http://schemas.openxmlformats.org/officeDocument/2006/relationships/tags" Target="../tags/tag1143.xml"/><Relationship Id="rId177" Type="http://schemas.openxmlformats.org/officeDocument/2006/relationships/tags" Target="../tags/tag1164.xml"/><Relationship Id="rId198" Type="http://schemas.openxmlformats.org/officeDocument/2006/relationships/tags" Target="../tags/tag1185.xml"/><Relationship Id="rId172" Type="http://schemas.openxmlformats.org/officeDocument/2006/relationships/tags" Target="../tags/tag1159.xml"/><Relationship Id="rId193" Type="http://schemas.openxmlformats.org/officeDocument/2006/relationships/tags" Target="../tags/tag1180.xml"/><Relationship Id="rId202" Type="http://schemas.openxmlformats.org/officeDocument/2006/relationships/notesSlide" Target="../notesSlides/notesSlide68.xml"/><Relationship Id="rId13" Type="http://schemas.openxmlformats.org/officeDocument/2006/relationships/tags" Target="../tags/tag1000.xml"/><Relationship Id="rId18" Type="http://schemas.openxmlformats.org/officeDocument/2006/relationships/tags" Target="../tags/tag1005.xml"/><Relationship Id="rId39" Type="http://schemas.openxmlformats.org/officeDocument/2006/relationships/tags" Target="../tags/tag1026.xml"/><Relationship Id="rId109" Type="http://schemas.openxmlformats.org/officeDocument/2006/relationships/tags" Target="../tags/tag1096.xml"/><Relationship Id="rId34" Type="http://schemas.openxmlformats.org/officeDocument/2006/relationships/tags" Target="../tags/tag1021.xml"/><Relationship Id="rId50" Type="http://schemas.openxmlformats.org/officeDocument/2006/relationships/tags" Target="../tags/tag1037.xml"/><Relationship Id="rId55" Type="http://schemas.openxmlformats.org/officeDocument/2006/relationships/tags" Target="../tags/tag1042.xml"/><Relationship Id="rId76" Type="http://schemas.openxmlformats.org/officeDocument/2006/relationships/tags" Target="../tags/tag1063.xml"/><Relationship Id="rId97" Type="http://schemas.openxmlformats.org/officeDocument/2006/relationships/tags" Target="../tags/tag1084.xml"/><Relationship Id="rId104" Type="http://schemas.openxmlformats.org/officeDocument/2006/relationships/tags" Target="../tags/tag1091.xml"/><Relationship Id="rId120" Type="http://schemas.openxmlformats.org/officeDocument/2006/relationships/tags" Target="../tags/tag1107.xml"/><Relationship Id="rId125" Type="http://schemas.openxmlformats.org/officeDocument/2006/relationships/tags" Target="../tags/tag1112.xml"/><Relationship Id="rId141" Type="http://schemas.openxmlformats.org/officeDocument/2006/relationships/tags" Target="../tags/tag1128.xml"/><Relationship Id="rId146" Type="http://schemas.openxmlformats.org/officeDocument/2006/relationships/tags" Target="../tags/tag1133.xml"/><Relationship Id="rId167" Type="http://schemas.openxmlformats.org/officeDocument/2006/relationships/tags" Target="../tags/tag1154.xml"/><Relationship Id="rId188" Type="http://schemas.openxmlformats.org/officeDocument/2006/relationships/tags" Target="../tags/tag1175.xml"/><Relationship Id="rId7" Type="http://schemas.openxmlformats.org/officeDocument/2006/relationships/tags" Target="../tags/tag994.xml"/><Relationship Id="rId71" Type="http://schemas.openxmlformats.org/officeDocument/2006/relationships/tags" Target="../tags/tag1058.xml"/><Relationship Id="rId92" Type="http://schemas.openxmlformats.org/officeDocument/2006/relationships/tags" Target="../tags/tag1079.xml"/><Relationship Id="rId162" Type="http://schemas.openxmlformats.org/officeDocument/2006/relationships/tags" Target="../tags/tag1149.xml"/><Relationship Id="rId183" Type="http://schemas.openxmlformats.org/officeDocument/2006/relationships/tags" Target="../tags/tag1170.xml"/><Relationship Id="rId2" Type="http://schemas.openxmlformats.org/officeDocument/2006/relationships/tags" Target="../tags/tag989.xml"/><Relationship Id="rId29" Type="http://schemas.openxmlformats.org/officeDocument/2006/relationships/tags" Target="../tags/tag1016.xml"/><Relationship Id="rId24" Type="http://schemas.openxmlformats.org/officeDocument/2006/relationships/tags" Target="../tags/tag1011.xml"/><Relationship Id="rId40" Type="http://schemas.openxmlformats.org/officeDocument/2006/relationships/tags" Target="../tags/tag1027.xml"/><Relationship Id="rId45" Type="http://schemas.openxmlformats.org/officeDocument/2006/relationships/tags" Target="../tags/tag1032.xml"/><Relationship Id="rId66" Type="http://schemas.openxmlformats.org/officeDocument/2006/relationships/tags" Target="../tags/tag1053.xml"/><Relationship Id="rId87" Type="http://schemas.openxmlformats.org/officeDocument/2006/relationships/tags" Target="../tags/tag1074.xml"/><Relationship Id="rId110" Type="http://schemas.openxmlformats.org/officeDocument/2006/relationships/tags" Target="../tags/tag1097.xml"/><Relationship Id="rId115" Type="http://schemas.openxmlformats.org/officeDocument/2006/relationships/tags" Target="../tags/tag1102.xml"/><Relationship Id="rId131" Type="http://schemas.openxmlformats.org/officeDocument/2006/relationships/tags" Target="../tags/tag1118.xml"/><Relationship Id="rId136" Type="http://schemas.openxmlformats.org/officeDocument/2006/relationships/tags" Target="../tags/tag1123.xml"/><Relationship Id="rId157" Type="http://schemas.openxmlformats.org/officeDocument/2006/relationships/tags" Target="../tags/tag1144.xml"/><Relationship Id="rId178" Type="http://schemas.openxmlformats.org/officeDocument/2006/relationships/tags" Target="../tags/tag1165.xml"/><Relationship Id="rId61" Type="http://schemas.openxmlformats.org/officeDocument/2006/relationships/tags" Target="../tags/tag1048.xml"/><Relationship Id="rId82" Type="http://schemas.openxmlformats.org/officeDocument/2006/relationships/tags" Target="../tags/tag1069.xml"/><Relationship Id="rId152" Type="http://schemas.openxmlformats.org/officeDocument/2006/relationships/tags" Target="../tags/tag1139.xml"/><Relationship Id="rId173" Type="http://schemas.openxmlformats.org/officeDocument/2006/relationships/tags" Target="../tags/tag1160.xml"/><Relationship Id="rId194" Type="http://schemas.openxmlformats.org/officeDocument/2006/relationships/tags" Target="../tags/tag1181.xml"/><Relationship Id="rId199" Type="http://schemas.openxmlformats.org/officeDocument/2006/relationships/tags" Target="../tags/tag1186.xml"/><Relationship Id="rId19" Type="http://schemas.openxmlformats.org/officeDocument/2006/relationships/tags" Target="../tags/tag1006.xml"/><Relationship Id="rId14" Type="http://schemas.openxmlformats.org/officeDocument/2006/relationships/tags" Target="../tags/tag1001.xml"/><Relationship Id="rId30" Type="http://schemas.openxmlformats.org/officeDocument/2006/relationships/tags" Target="../tags/tag1017.xml"/><Relationship Id="rId35" Type="http://schemas.openxmlformats.org/officeDocument/2006/relationships/tags" Target="../tags/tag1022.xml"/><Relationship Id="rId56" Type="http://schemas.openxmlformats.org/officeDocument/2006/relationships/tags" Target="../tags/tag1043.xml"/><Relationship Id="rId77" Type="http://schemas.openxmlformats.org/officeDocument/2006/relationships/tags" Target="../tags/tag1064.xml"/><Relationship Id="rId100" Type="http://schemas.openxmlformats.org/officeDocument/2006/relationships/tags" Target="../tags/tag1087.xml"/><Relationship Id="rId105" Type="http://schemas.openxmlformats.org/officeDocument/2006/relationships/tags" Target="../tags/tag1092.xml"/><Relationship Id="rId126" Type="http://schemas.openxmlformats.org/officeDocument/2006/relationships/tags" Target="../tags/tag1113.xml"/><Relationship Id="rId147" Type="http://schemas.openxmlformats.org/officeDocument/2006/relationships/tags" Target="../tags/tag1134.xml"/><Relationship Id="rId168" Type="http://schemas.openxmlformats.org/officeDocument/2006/relationships/tags" Target="../tags/tag1155.xml"/><Relationship Id="rId8" Type="http://schemas.openxmlformats.org/officeDocument/2006/relationships/tags" Target="../tags/tag995.xml"/><Relationship Id="rId51" Type="http://schemas.openxmlformats.org/officeDocument/2006/relationships/tags" Target="../tags/tag1038.xml"/><Relationship Id="rId72" Type="http://schemas.openxmlformats.org/officeDocument/2006/relationships/tags" Target="../tags/tag1059.xml"/><Relationship Id="rId93" Type="http://schemas.openxmlformats.org/officeDocument/2006/relationships/tags" Target="../tags/tag1080.xml"/><Relationship Id="rId98" Type="http://schemas.openxmlformats.org/officeDocument/2006/relationships/tags" Target="../tags/tag1085.xml"/><Relationship Id="rId121" Type="http://schemas.openxmlformats.org/officeDocument/2006/relationships/tags" Target="../tags/tag1108.xml"/><Relationship Id="rId142" Type="http://schemas.openxmlformats.org/officeDocument/2006/relationships/tags" Target="../tags/tag1129.xml"/><Relationship Id="rId163" Type="http://schemas.openxmlformats.org/officeDocument/2006/relationships/tags" Target="../tags/tag1150.xml"/><Relationship Id="rId184" Type="http://schemas.openxmlformats.org/officeDocument/2006/relationships/tags" Target="../tags/tag1171.xml"/><Relationship Id="rId189" Type="http://schemas.openxmlformats.org/officeDocument/2006/relationships/tags" Target="../tags/tag1176.xml"/><Relationship Id="rId3" Type="http://schemas.openxmlformats.org/officeDocument/2006/relationships/tags" Target="../tags/tag990.xml"/><Relationship Id="rId25" Type="http://schemas.openxmlformats.org/officeDocument/2006/relationships/tags" Target="../tags/tag1012.xml"/><Relationship Id="rId46" Type="http://schemas.openxmlformats.org/officeDocument/2006/relationships/tags" Target="../tags/tag1033.xml"/><Relationship Id="rId67" Type="http://schemas.openxmlformats.org/officeDocument/2006/relationships/tags" Target="../tags/tag1054.xml"/><Relationship Id="rId116" Type="http://schemas.openxmlformats.org/officeDocument/2006/relationships/tags" Target="../tags/tag1103.xml"/><Relationship Id="rId137" Type="http://schemas.openxmlformats.org/officeDocument/2006/relationships/tags" Target="../tags/tag1124.xml"/><Relationship Id="rId158" Type="http://schemas.openxmlformats.org/officeDocument/2006/relationships/tags" Target="../tags/tag1145.xml"/><Relationship Id="rId20" Type="http://schemas.openxmlformats.org/officeDocument/2006/relationships/tags" Target="../tags/tag1007.xml"/><Relationship Id="rId41" Type="http://schemas.openxmlformats.org/officeDocument/2006/relationships/tags" Target="../tags/tag1028.xml"/><Relationship Id="rId62" Type="http://schemas.openxmlformats.org/officeDocument/2006/relationships/tags" Target="../tags/tag1049.xml"/><Relationship Id="rId83" Type="http://schemas.openxmlformats.org/officeDocument/2006/relationships/tags" Target="../tags/tag1070.xml"/><Relationship Id="rId88" Type="http://schemas.openxmlformats.org/officeDocument/2006/relationships/tags" Target="../tags/tag1075.xml"/><Relationship Id="rId111" Type="http://schemas.openxmlformats.org/officeDocument/2006/relationships/tags" Target="../tags/tag1098.xml"/><Relationship Id="rId132" Type="http://schemas.openxmlformats.org/officeDocument/2006/relationships/tags" Target="../tags/tag1119.xml"/><Relationship Id="rId153" Type="http://schemas.openxmlformats.org/officeDocument/2006/relationships/tags" Target="../tags/tag1140.xml"/><Relationship Id="rId174" Type="http://schemas.openxmlformats.org/officeDocument/2006/relationships/tags" Target="../tags/tag1161.xml"/><Relationship Id="rId179" Type="http://schemas.openxmlformats.org/officeDocument/2006/relationships/tags" Target="../tags/tag1166.xml"/><Relationship Id="rId195" Type="http://schemas.openxmlformats.org/officeDocument/2006/relationships/tags" Target="../tags/tag1182.xml"/><Relationship Id="rId190" Type="http://schemas.openxmlformats.org/officeDocument/2006/relationships/tags" Target="../tags/tag1177.xml"/><Relationship Id="rId15" Type="http://schemas.openxmlformats.org/officeDocument/2006/relationships/tags" Target="../tags/tag1002.xml"/><Relationship Id="rId36" Type="http://schemas.openxmlformats.org/officeDocument/2006/relationships/tags" Target="../tags/tag1023.xml"/><Relationship Id="rId57" Type="http://schemas.openxmlformats.org/officeDocument/2006/relationships/tags" Target="../tags/tag1044.xml"/><Relationship Id="rId106" Type="http://schemas.openxmlformats.org/officeDocument/2006/relationships/tags" Target="../tags/tag1093.xml"/><Relationship Id="rId127" Type="http://schemas.openxmlformats.org/officeDocument/2006/relationships/tags" Target="../tags/tag1114.xml"/><Relationship Id="rId10" Type="http://schemas.openxmlformats.org/officeDocument/2006/relationships/tags" Target="../tags/tag997.xml"/><Relationship Id="rId31" Type="http://schemas.openxmlformats.org/officeDocument/2006/relationships/tags" Target="../tags/tag1018.xml"/><Relationship Id="rId52" Type="http://schemas.openxmlformats.org/officeDocument/2006/relationships/tags" Target="../tags/tag1039.xml"/><Relationship Id="rId73" Type="http://schemas.openxmlformats.org/officeDocument/2006/relationships/tags" Target="../tags/tag1060.xml"/><Relationship Id="rId78" Type="http://schemas.openxmlformats.org/officeDocument/2006/relationships/tags" Target="../tags/tag1065.xml"/><Relationship Id="rId94" Type="http://schemas.openxmlformats.org/officeDocument/2006/relationships/tags" Target="../tags/tag1081.xml"/><Relationship Id="rId99" Type="http://schemas.openxmlformats.org/officeDocument/2006/relationships/tags" Target="../tags/tag1086.xml"/><Relationship Id="rId101" Type="http://schemas.openxmlformats.org/officeDocument/2006/relationships/tags" Target="../tags/tag1088.xml"/><Relationship Id="rId122" Type="http://schemas.openxmlformats.org/officeDocument/2006/relationships/tags" Target="../tags/tag1109.xml"/><Relationship Id="rId143" Type="http://schemas.openxmlformats.org/officeDocument/2006/relationships/tags" Target="../tags/tag1130.xml"/><Relationship Id="rId148" Type="http://schemas.openxmlformats.org/officeDocument/2006/relationships/tags" Target="../tags/tag1135.xml"/><Relationship Id="rId164" Type="http://schemas.openxmlformats.org/officeDocument/2006/relationships/tags" Target="../tags/tag1151.xml"/><Relationship Id="rId169" Type="http://schemas.openxmlformats.org/officeDocument/2006/relationships/tags" Target="../tags/tag1156.xml"/><Relationship Id="rId185" Type="http://schemas.openxmlformats.org/officeDocument/2006/relationships/tags" Target="../tags/tag1172.xml"/><Relationship Id="rId4" Type="http://schemas.openxmlformats.org/officeDocument/2006/relationships/tags" Target="../tags/tag991.xml"/><Relationship Id="rId9" Type="http://schemas.openxmlformats.org/officeDocument/2006/relationships/tags" Target="../tags/tag996.xml"/><Relationship Id="rId180" Type="http://schemas.openxmlformats.org/officeDocument/2006/relationships/tags" Target="../tags/tag1167.xml"/><Relationship Id="rId26" Type="http://schemas.openxmlformats.org/officeDocument/2006/relationships/tags" Target="../tags/tag1013.xml"/><Relationship Id="rId47" Type="http://schemas.openxmlformats.org/officeDocument/2006/relationships/tags" Target="../tags/tag1034.xml"/><Relationship Id="rId68" Type="http://schemas.openxmlformats.org/officeDocument/2006/relationships/tags" Target="../tags/tag1055.xml"/><Relationship Id="rId89" Type="http://schemas.openxmlformats.org/officeDocument/2006/relationships/tags" Target="../tags/tag1076.xml"/><Relationship Id="rId112" Type="http://schemas.openxmlformats.org/officeDocument/2006/relationships/tags" Target="../tags/tag1099.xml"/><Relationship Id="rId133" Type="http://schemas.openxmlformats.org/officeDocument/2006/relationships/tags" Target="../tags/tag1120.xml"/><Relationship Id="rId154" Type="http://schemas.openxmlformats.org/officeDocument/2006/relationships/tags" Target="../tags/tag1141.xml"/><Relationship Id="rId175" Type="http://schemas.openxmlformats.org/officeDocument/2006/relationships/tags" Target="../tags/tag1162.xml"/></Relationships>
</file>

<file path=ppt/slides/_rels/slide103.xml.rels><?xml version="1.0" encoding="UTF-8" standalone="yes"?>
<Relationships xmlns="http://schemas.openxmlformats.org/package/2006/relationships"><Relationship Id="rId2" Type="http://schemas.openxmlformats.org/officeDocument/2006/relationships/slide" Target="slide34.xml"/><Relationship Id="rId1" Type="http://schemas.openxmlformats.org/officeDocument/2006/relationships/slideLayout" Target="../slideLayouts/slideLayout6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75.xml"/></Relationships>
</file>

<file path=ppt/slides/_rels/slide105.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chart" Target="../charts/chart101.xml"/><Relationship Id="rId1" Type="http://schemas.openxmlformats.org/officeDocument/2006/relationships/slideLayout" Target="../slideLayouts/slideLayout64.xml"/></Relationships>
</file>

<file path=ppt/slides/_rels/slide106.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chart" Target="../charts/chart103.xml"/><Relationship Id="rId1" Type="http://schemas.openxmlformats.org/officeDocument/2006/relationships/slideLayout" Target="../slideLayouts/slideLayout64.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72.xml"/></Relationships>
</file>

<file path=ppt/slides/_rels/slide108.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chart" Target="../charts/chart105.xml"/><Relationship Id="rId1" Type="http://schemas.openxmlformats.org/officeDocument/2006/relationships/slideLayout" Target="../slideLayouts/slideLayout64.xml"/></Relationships>
</file>

<file path=ppt/slides/_rels/slide109.xml.rels><?xml version="1.0" encoding="UTF-8" standalone="yes"?>
<Relationships xmlns="http://schemas.openxmlformats.org/package/2006/relationships"><Relationship Id="rId2" Type="http://schemas.openxmlformats.org/officeDocument/2006/relationships/chart" Target="../charts/chart107.xml"/><Relationship Id="rId1" Type="http://schemas.openxmlformats.org/officeDocument/2006/relationships/slideLayout" Target="../slideLayouts/slideLayout64.xml"/></Relationships>
</file>

<file path=ppt/slides/_rels/slide11.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chart" Target="../charts/chart12.xml"/><Relationship Id="rId4" Type="http://schemas.openxmlformats.org/officeDocument/2006/relationships/chart" Target="../charts/chart11.xml"/></Relationships>
</file>

<file path=ppt/slides/_rels/slide110.xml.rels><?xml version="1.0" encoding="UTF-8" standalone="yes"?>
<Relationships xmlns="http://schemas.openxmlformats.org/package/2006/relationships"><Relationship Id="rId3" Type="http://schemas.openxmlformats.org/officeDocument/2006/relationships/chart" Target="../charts/chart109.xml"/><Relationship Id="rId2" Type="http://schemas.openxmlformats.org/officeDocument/2006/relationships/chart" Target="../charts/chart108.xml"/><Relationship Id="rId1" Type="http://schemas.openxmlformats.org/officeDocument/2006/relationships/slideLayout" Target="../slideLayouts/slideLayout64.xml"/></Relationships>
</file>

<file path=ppt/slides/_rels/slide111.xml.rels><?xml version="1.0" encoding="UTF-8" standalone="yes"?>
<Relationships xmlns="http://schemas.openxmlformats.org/package/2006/relationships"><Relationship Id="rId2" Type="http://schemas.openxmlformats.org/officeDocument/2006/relationships/chart" Target="../charts/chart110.xml"/><Relationship Id="rId1" Type="http://schemas.openxmlformats.org/officeDocument/2006/relationships/slideLayout" Target="../slideLayouts/slideLayout6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13.xml.rels><?xml version="1.0" encoding="UTF-8" standalone="yes"?>
<Relationships xmlns="http://schemas.openxmlformats.org/package/2006/relationships"><Relationship Id="rId2" Type="http://schemas.openxmlformats.org/officeDocument/2006/relationships/chart" Target="../charts/chart111.xml"/><Relationship Id="rId1" Type="http://schemas.openxmlformats.org/officeDocument/2006/relationships/slideLayout" Target="../slideLayouts/slideLayout6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Layout" Target="../slideLayouts/slideLayout64.xml"/><Relationship Id="rId5" Type="http://schemas.openxmlformats.org/officeDocument/2006/relationships/image" Target="../media/image47.jpeg"/><Relationship Id="rId4" Type="http://schemas.microsoft.com/office/2007/relationships/hdphoto" Target="../media/hdphoto2.wdp"/></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17.xml.rels><?xml version="1.0" encoding="UTF-8" standalone="yes"?>
<Relationships xmlns="http://schemas.openxmlformats.org/package/2006/relationships"><Relationship Id="rId3" Type="http://schemas.openxmlformats.org/officeDocument/2006/relationships/chart" Target="../charts/chart112.xml"/><Relationship Id="rId2" Type="http://schemas.openxmlformats.org/officeDocument/2006/relationships/notesSlide" Target="../notesSlides/notesSlide71.xml"/><Relationship Id="rId1" Type="http://schemas.openxmlformats.org/officeDocument/2006/relationships/slideLayout" Target="../slideLayouts/slideLayout62.xml"/><Relationship Id="rId4" Type="http://schemas.openxmlformats.org/officeDocument/2006/relationships/chart" Target="../charts/chart113.xml"/></Relationships>
</file>

<file path=ppt/slides/_rels/slide118.xml.rels><?xml version="1.0" encoding="UTF-8" standalone="yes"?>
<Relationships xmlns="http://schemas.openxmlformats.org/package/2006/relationships"><Relationship Id="rId117" Type="http://schemas.openxmlformats.org/officeDocument/2006/relationships/tags" Target="../tags/tag1304.xml"/><Relationship Id="rId21" Type="http://schemas.openxmlformats.org/officeDocument/2006/relationships/tags" Target="../tags/tag1208.xml"/><Relationship Id="rId42" Type="http://schemas.openxmlformats.org/officeDocument/2006/relationships/tags" Target="../tags/tag1229.xml"/><Relationship Id="rId63" Type="http://schemas.openxmlformats.org/officeDocument/2006/relationships/tags" Target="../tags/tag1250.xml"/><Relationship Id="rId84" Type="http://schemas.openxmlformats.org/officeDocument/2006/relationships/tags" Target="../tags/tag1271.xml"/><Relationship Id="rId138" Type="http://schemas.openxmlformats.org/officeDocument/2006/relationships/tags" Target="../tags/tag1325.xml"/><Relationship Id="rId159" Type="http://schemas.openxmlformats.org/officeDocument/2006/relationships/tags" Target="../tags/tag1346.xml"/><Relationship Id="rId170" Type="http://schemas.openxmlformats.org/officeDocument/2006/relationships/tags" Target="../tags/tag1357.xml"/><Relationship Id="rId191" Type="http://schemas.openxmlformats.org/officeDocument/2006/relationships/tags" Target="../tags/tag1378.xml"/><Relationship Id="rId196" Type="http://schemas.openxmlformats.org/officeDocument/2006/relationships/tags" Target="../tags/tag1383.xml"/><Relationship Id="rId200" Type="http://schemas.openxmlformats.org/officeDocument/2006/relationships/tags" Target="../tags/tag1387.xml"/><Relationship Id="rId16" Type="http://schemas.openxmlformats.org/officeDocument/2006/relationships/tags" Target="../tags/tag1203.xml"/><Relationship Id="rId107" Type="http://schemas.openxmlformats.org/officeDocument/2006/relationships/tags" Target="../tags/tag1294.xml"/><Relationship Id="rId11" Type="http://schemas.openxmlformats.org/officeDocument/2006/relationships/tags" Target="../tags/tag1198.xml"/><Relationship Id="rId32" Type="http://schemas.openxmlformats.org/officeDocument/2006/relationships/tags" Target="../tags/tag1219.xml"/><Relationship Id="rId37" Type="http://schemas.openxmlformats.org/officeDocument/2006/relationships/tags" Target="../tags/tag1224.xml"/><Relationship Id="rId53" Type="http://schemas.openxmlformats.org/officeDocument/2006/relationships/tags" Target="../tags/tag1240.xml"/><Relationship Id="rId58" Type="http://schemas.openxmlformats.org/officeDocument/2006/relationships/tags" Target="../tags/tag1245.xml"/><Relationship Id="rId74" Type="http://schemas.openxmlformats.org/officeDocument/2006/relationships/tags" Target="../tags/tag1261.xml"/><Relationship Id="rId79" Type="http://schemas.openxmlformats.org/officeDocument/2006/relationships/tags" Target="../tags/tag1266.xml"/><Relationship Id="rId102" Type="http://schemas.openxmlformats.org/officeDocument/2006/relationships/tags" Target="../tags/tag1289.xml"/><Relationship Id="rId123" Type="http://schemas.openxmlformats.org/officeDocument/2006/relationships/tags" Target="../tags/tag1310.xml"/><Relationship Id="rId128" Type="http://schemas.openxmlformats.org/officeDocument/2006/relationships/tags" Target="../tags/tag1315.xml"/><Relationship Id="rId144" Type="http://schemas.openxmlformats.org/officeDocument/2006/relationships/tags" Target="../tags/tag1331.xml"/><Relationship Id="rId149" Type="http://schemas.openxmlformats.org/officeDocument/2006/relationships/tags" Target="../tags/tag1336.xml"/><Relationship Id="rId5" Type="http://schemas.openxmlformats.org/officeDocument/2006/relationships/tags" Target="../tags/tag1192.xml"/><Relationship Id="rId90" Type="http://schemas.openxmlformats.org/officeDocument/2006/relationships/tags" Target="../tags/tag1277.xml"/><Relationship Id="rId95" Type="http://schemas.openxmlformats.org/officeDocument/2006/relationships/tags" Target="../tags/tag1282.xml"/><Relationship Id="rId160" Type="http://schemas.openxmlformats.org/officeDocument/2006/relationships/tags" Target="../tags/tag1347.xml"/><Relationship Id="rId165" Type="http://schemas.openxmlformats.org/officeDocument/2006/relationships/tags" Target="../tags/tag1352.xml"/><Relationship Id="rId181" Type="http://schemas.openxmlformats.org/officeDocument/2006/relationships/tags" Target="../tags/tag1368.xml"/><Relationship Id="rId186" Type="http://schemas.openxmlformats.org/officeDocument/2006/relationships/tags" Target="../tags/tag1373.xml"/><Relationship Id="rId22" Type="http://schemas.openxmlformats.org/officeDocument/2006/relationships/tags" Target="../tags/tag1209.xml"/><Relationship Id="rId27" Type="http://schemas.openxmlformats.org/officeDocument/2006/relationships/tags" Target="../tags/tag1214.xml"/><Relationship Id="rId43" Type="http://schemas.openxmlformats.org/officeDocument/2006/relationships/tags" Target="../tags/tag1230.xml"/><Relationship Id="rId48" Type="http://schemas.openxmlformats.org/officeDocument/2006/relationships/tags" Target="../tags/tag1235.xml"/><Relationship Id="rId64" Type="http://schemas.openxmlformats.org/officeDocument/2006/relationships/tags" Target="../tags/tag1251.xml"/><Relationship Id="rId69" Type="http://schemas.openxmlformats.org/officeDocument/2006/relationships/tags" Target="../tags/tag1256.xml"/><Relationship Id="rId113" Type="http://schemas.openxmlformats.org/officeDocument/2006/relationships/tags" Target="../tags/tag1300.xml"/><Relationship Id="rId118" Type="http://schemas.openxmlformats.org/officeDocument/2006/relationships/tags" Target="../tags/tag1305.xml"/><Relationship Id="rId134" Type="http://schemas.openxmlformats.org/officeDocument/2006/relationships/tags" Target="../tags/tag1321.xml"/><Relationship Id="rId139" Type="http://schemas.openxmlformats.org/officeDocument/2006/relationships/tags" Target="../tags/tag1326.xml"/><Relationship Id="rId80" Type="http://schemas.openxmlformats.org/officeDocument/2006/relationships/tags" Target="../tags/tag1267.xml"/><Relationship Id="rId85" Type="http://schemas.openxmlformats.org/officeDocument/2006/relationships/tags" Target="../tags/tag1272.xml"/><Relationship Id="rId150" Type="http://schemas.openxmlformats.org/officeDocument/2006/relationships/tags" Target="../tags/tag1337.xml"/><Relationship Id="rId155" Type="http://schemas.openxmlformats.org/officeDocument/2006/relationships/tags" Target="../tags/tag1342.xml"/><Relationship Id="rId171" Type="http://schemas.openxmlformats.org/officeDocument/2006/relationships/tags" Target="../tags/tag1358.xml"/><Relationship Id="rId176" Type="http://schemas.openxmlformats.org/officeDocument/2006/relationships/tags" Target="../tags/tag1363.xml"/><Relationship Id="rId192" Type="http://schemas.openxmlformats.org/officeDocument/2006/relationships/tags" Target="../tags/tag1379.xml"/><Relationship Id="rId197" Type="http://schemas.openxmlformats.org/officeDocument/2006/relationships/tags" Target="../tags/tag1384.xml"/><Relationship Id="rId201" Type="http://schemas.openxmlformats.org/officeDocument/2006/relationships/slideLayout" Target="../slideLayouts/slideLayout74.xml"/><Relationship Id="rId12" Type="http://schemas.openxmlformats.org/officeDocument/2006/relationships/tags" Target="../tags/tag1199.xml"/><Relationship Id="rId17" Type="http://schemas.openxmlformats.org/officeDocument/2006/relationships/tags" Target="../tags/tag1204.xml"/><Relationship Id="rId33" Type="http://schemas.openxmlformats.org/officeDocument/2006/relationships/tags" Target="../tags/tag1220.xml"/><Relationship Id="rId38" Type="http://schemas.openxmlformats.org/officeDocument/2006/relationships/tags" Target="../tags/tag1225.xml"/><Relationship Id="rId59" Type="http://schemas.openxmlformats.org/officeDocument/2006/relationships/tags" Target="../tags/tag1246.xml"/><Relationship Id="rId103" Type="http://schemas.openxmlformats.org/officeDocument/2006/relationships/tags" Target="../tags/tag1290.xml"/><Relationship Id="rId108" Type="http://schemas.openxmlformats.org/officeDocument/2006/relationships/tags" Target="../tags/tag1295.xml"/><Relationship Id="rId124" Type="http://schemas.openxmlformats.org/officeDocument/2006/relationships/tags" Target="../tags/tag1311.xml"/><Relationship Id="rId129" Type="http://schemas.openxmlformats.org/officeDocument/2006/relationships/tags" Target="../tags/tag1316.xml"/><Relationship Id="rId54" Type="http://schemas.openxmlformats.org/officeDocument/2006/relationships/tags" Target="../tags/tag1241.xml"/><Relationship Id="rId70" Type="http://schemas.openxmlformats.org/officeDocument/2006/relationships/tags" Target="../tags/tag1257.xml"/><Relationship Id="rId75" Type="http://schemas.openxmlformats.org/officeDocument/2006/relationships/tags" Target="../tags/tag1262.xml"/><Relationship Id="rId91" Type="http://schemas.openxmlformats.org/officeDocument/2006/relationships/tags" Target="../tags/tag1278.xml"/><Relationship Id="rId96" Type="http://schemas.openxmlformats.org/officeDocument/2006/relationships/tags" Target="../tags/tag1283.xml"/><Relationship Id="rId140" Type="http://schemas.openxmlformats.org/officeDocument/2006/relationships/tags" Target="../tags/tag1327.xml"/><Relationship Id="rId145" Type="http://schemas.openxmlformats.org/officeDocument/2006/relationships/tags" Target="../tags/tag1332.xml"/><Relationship Id="rId161" Type="http://schemas.openxmlformats.org/officeDocument/2006/relationships/tags" Target="../tags/tag1348.xml"/><Relationship Id="rId166" Type="http://schemas.openxmlformats.org/officeDocument/2006/relationships/tags" Target="../tags/tag1353.xml"/><Relationship Id="rId182" Type="http://schemas.openxmlformats.org/officeDocument/2006/relationships/tags" Target="../tags/tag1369.xml"/><Relationship Id="rId187" Type="http://schemas.openxmlformats.org/officeDocument/2006/relationships/tags" Target="../tags/tag1374.xml"/><Relationship Id="rId1" Type="http://schemas.openxmlformats.org/officeDocument/2006/relationships/tags" Target="../tags/tag1188.xml"/><Relationship Id="rId6" Type="http://schemas.openxmlformats.org/officeDocument/2006/relationships/tags" Target="../tags/tag1193.xml"/><Relationship Id="rId23" Type="http://schemas.openxmlformats.org/officeDocument/2006/relationships/tags" Target="../tags/tag1210.xml"/><Relationship Id="rId28" Type="http://schemas.openxmlformats.org/officeDocument/2006/relationships/tags" Target="../tags/tag1215.xml"/><Relationship Id="rId49" Type="http://schemas.openxmlformats.org/officeDocument/2006/relationships/tags" Target="../tags/tag1236.xml"/><Relationship Id="rId114" Type="http://schemas.openxmlformats.org/officeDocument/2006/relationships/tags" Target="../tags/tag1301.xml"/><Relationship Id="rId119" Type="http://schemas.openxmlformats.org/officeDocument/2006/relationships/tags" Target="../tags/tag1306.xml"/><Relationship Id="rId44" Type="http://schemas.openxmlformats.org/officeDocument/2006/relationships/tags" Target="../tags/tag1231.xml"/><Relationship Id="rId60" Type="http://schemas.openxmlformats.org/officeDocument/2006/relationships/tags" Target="../tags/tag1247.xml"/><Relationship Id="rId65" Type="http://schemas.openxmlformats.org/officeDocument/2006/relationships/tags" Target="../tags/tag1252.xml"/><Relationship Id="rId81" Type="http://schemas.openxmlformats.org/officeDocument/2006/relationships/tags" Target="../tags/tag1268.xml"/><Relationship Id="rId86" Type="http://schemas.openxmlformats.org/officeDocument/2006/relationships/tags" Target="../tags/tag1273.xml"/><Relationship Id="rId130" Type="http://schemas.openxmlformats.org/officeDocument/2006/relationships/tags" Target="../tags/tag1317.xml"/><Relationship Id="rId135" Type="http://schemas.openxmlformats.org/officeDocument/2006/relationships/tags" Target="../tags/tag1322.xml"/><Relationship Id="rId151" Type="http://schemas.openxmlformats.org/officeDocument/2006/relationships/tags" Target="../tags/tag1338.xml"/><Relationship Id="rId156" Type="http://schemas.openxmlformats.org/officeDocument/2006/relationships/tags" Target="../tags/tag1343.xml"/><Relationship Id="rId177" Type="http://schemas.openxmlformats.org/officeDocument/2006/relationships/tags" Target="../tags/tag1364.xml"/><Relationship Id="rId198" Type="http://schemas.openxmlformats.org/officeDocument/2006/relationships/tags" Target="../tags/tag1385.xml"/><Relationship Id="rId172" Type="http://schemas.openxmlformats.org/officeDocument/2006/relationships/tags" Target="../tags/tag1359.xml"/><Relationship Id="rId193" Type="http://schemas.openxmlformats.org/officeDocument/2006/relationships/tags" Target="../tags/tag1380.xml"/><Relationship Id="rId202" Type="http://schemas.openxmlformats.org/officeDocument/2006/relationships/notesSlide" Target="../notesSlides/notesSlide72.xml"/><Relationship Id="rId13" Type="http://schemas.openxmlformats.org/officeDocument/2006/relationships/tags" Target="../tags/tag1200.xml"/><Relationship Id="rId18" Type="http://schemas.openxmlformats.org/officeDocument/2006/relationships/tags" Target="../tags/tag1205.xml"/><Relationship Id="rId39" Type="http://schemas.openxmlformats.org/officeDocument/2006/relationships/tags" Target="../tags/tag1226.xml"/><Relationship Id="rId109" Type="http://schemas.openxmlformats.org/officeDocument/2006/relationships/tags" Target="../tags/tag1296.xml"/><Relationship Id="rId34" Type="http://schemas.openxmlformats.org/officeDocument/2006/relationships/tags" Target="../tags/tag1221.xml"/><Relationship Id="rId50" Type="http://schemas.openxmlformats.org/officeDocument/2006/relationships/tags" Target="../tags/tag1237.xml"/><Relationship Id="rId55" Type="http://schemas.openxmlformats.org/officeDocument/2006/relationships/tags" Target="../tags/tag1242.xml"/><Relationship Id="rId76" Type="http://schemas.openxmlformats.org/officeDocument/2006/relationships/tags" Target="../tags/tag1263.xml"/><Relationship Id="rId97" Type="http://schemas.openxmlformats.org/officeDocument/2006/relationships/tags" Target="../tags/tag1284.xml"/><Relationship Id="rId104" Type="http://schemas.openxmlformats.org/officeDocument/2006/relationships/tags" Target="../tags/tag1291.xml"/><Relationship Id="rId120" Type="http://schemas.openxmlformats.org/officeDocument/2006/relationships/tags" Target="../tags/tag1307.xml"/><Relationship Id="rId125" Type="http://schemas.openxmlformats.org/officeDocument/2006/relationships/tags" Target="../tags/tag1312.xml"/><Relationship Id="rId141" Type="http://schemas.openxmlformats.org/officeDocument/2006/relationships/tags" Target="../tags/tag1328.xml"/><Relationship Id="rId146" Type="http://schemas.openxmlformats.org/officeDocument/2006/relationships/tags" Target="../tags/tag1333.xml"/><Relationship Id="rId167" Type="http://schemas.openxmlformats.org/officeDocument/2006/relationships/tags" Target="../tags/tag1354.xml"/><Relationship Id="rId188" Type="http://schemas.openxmlformats.org/officeDocument/2006/relationships/tags" Target="../tags/tag1375.xml"/><Relationship Id="rId7" Type="http://schemas.openxmlformats.org/officeDocument/2006/relationships/tags" Target="../tags/tag1194.xml"/><Relationship Id="rId71" Type="http://schemas.openxmlformats.org/officeDocument/2006/relationships/tags" Target="../tags/tag1258.xml"/><Relationship Id="rId92" Type="http://schemas.openxmlformats.org/officeDocument/2006/relationships/tags" Target="../tags/tag1279.xml"/><Relationship Id="rId162" Type="http://schemas.openxmlformats.org/officeDocument/2006/relationships/tags" Target="../tags/tag1349.xml"/><Relationship Id="rId183" Type="http://schemas.openxmlformats.org/officeDocument/2006/relationships/tags" Target="../tags/tag1370.xml"/><Relationship Id="rId2" Type="http://schemas.openxmlformats.org/officeDocument/2006/relationships/tags" Target="../tags/tag1189.xml"/><Relationship Id="rId29" Type="http://schemas.openxmlformats.org/officeDocument/2006/relationships/tags" Target="../tags/tag1216.xml"/><Relationship Id="rId24" Type="http://schemas.openxmlformats.org/officeDocument/2006/relationships/tags" Target="../tags/tag1211.xml"/><Relationship Id="rId40" Type="http://schemas.openxmlformats.org/officeDocument/2006/relationships/tags" Target="../tags/tag1227.xml"/><Relationship Id="rId45" Type="http://schemas.openxmlformats.org/officeDocument/2006/relationships/tags" Target="../tags/tag1232.xml"/><Relationship Id="rId66" Type="http://schemas.openxmlformats.org/officeDocument/2006/relationships/tags" Target="../tags/tag1253.xml"/><Relationship Id="rId87" Type="http://schemas.openxmlformats.org/officeDocument/2006/relationships/tags" Target="../tags/tag1274.xml"/><Relationship Id="rId110" Type="http://schemas.openxmlformats.org/officeDocument/2006/relationships/tags" Target="../tags/tag1297.xml"/><Relationship Id="rId115" Type="http://schemas.openxmlformats.org/officeDocument/2006/relationships/tags" Target="../tags/tag1302.xml"/><Relationship Id="rId131" Type="http://schemas.openxmlformats.org/officeDocument/2006/relationships/tags" Target="../tags/tag1318.xml"/><Relationship Id="rId136" Type="http://schemas.openxmlformats.org/officeDocument/2006/relationships/tags" Target="../tags/tag1323.xml"/><Relationship Id="rId157" Type="http://schemas.openxmlformats.org/officeDocument/2006/relationships/tags" Target="../tags/tag1344.xml"/><Relationship Id="rId178" Type="http://schemas.openxmlformats.org/officeDocument/2006/relationships/tags" Target="../tags/tag1365.xml"/><Relationship Id="rId61" Type="http://schemas.openxmlformats.org/officeDocument/2006/relationships/tags" Target="../tags/tag1248.xml"/><Relationship Id="rId82" Type="http://schemas.openxmlformats.org/officeDocument/2006/relationships/tags" Target="../tags/tag1269.xml"/><Relationship Id="rId152" Type="http://schemas.openxmlformats.org/officeDocument/2006/relationships/tags" Target="../tags/tag1339.xml"/><Relationship Id="rId173" Type="http://schemas.openxmlformats.org/officeDocument/2006/relationships/tags" Target="../tags/tag1360.xml"/><Relationship Id="rId194" Type="http://schemas.openxmlformats.org/officeDocument/2006/relationships/tags" Target="../tags/tag1381.xml"/><Relationship Id="rId199" Type="http://schemas.openxmlformats.org/officeDocument/2006/relationships/tags" Target="../tags/tag1386.xml"/><Relationship Id="rId19" Type="http://schemas.openxmlformats.org/officeDocument/2006/relationships/tags" Target="../tags/tag1206.xml"/><Relationship Id="rId14" Type="http://schemas.openxmlformats.org/officeDocument/2006/relationships/tags" Target="../tags/tag1201.xml"/><Relationship Id="rId30" Type="http://schemas.openxmlformats.org/officeDocument/2006/relationships/tags" Target="../tags/tag1217.xml"/><Relationship Id="rId35" Type="http://schemas.openxmlformats.org/officeDocument/2006/relationships/tags" Target="../tags/tag1222.xml"/><Relationship Id="rId56" Type="http://schemas.openxmlformats.org/officeDocument/2006/relationships/tags" Target="../tags/tag1243.xml"/><Relationship Id="rId77" Type="http://schemas.openxmlformats.org/officeDocument/2006/relationships/tags" Target="../tags/tag1264.xml"/><Relationship Id="rId100" Type="http://schemas.openxmlformats.org/officeDocument/2006/relationships/tags" Target="../tags/tag1287.xml"/><Relationship Id="rId105" Type="http://schemas.openxmlformats.org/officeDocument/2006/relationships/tags" Target="../tags/tag1292.xml"/><Relationship Id="rId126" Type="http://schemas.openxmlformats.org/officeDocument/2006/relationships/tags" Target="../tags/tag1313.xml"/><Relationship Id="rId147" Type="http://schemas.openxmlformats.org/officeDocument/2006/relationships/tags" Target="../tags/tag1334.xml"/><Relationship Id="rId168" Type="http://schemas.openxmlformats.org/officeDocument/2006/relationships/tags" Target="../tags/tag1355.xml"/><Relationship Id="rId8" Type="http://schemas.openxmlformats.org/officeDocument/2006/relationships/tags" Target="../tags/tag1195.xml"/><Relationship Id="rId51" Type="http://schemas.openxmlformats.org/officeDocument/2006/relationships/tags" Target="../tags/tag1238.xml"/><Relationship Id="rId72" Type="http://schemas.openxmlformats.org/officeDocument/2006/relationships/tags" Target="../tags/tag1259.xml"/><Relationship Id="rId93" Type="http://schemas.openxmlformats.org/officeDocument/2006/relationships/tags" Target="../tags/tag1280.xml"/><Relationship Id="rId98" Type="http://schemas.openxmlformats.org/officeDocument/2006/relationships/tags" Target="../tags/tag1285.xml"/><Relationship Id="rId121" Type="http://schemas.openxmlformats.org/officeDocument/2006/relationships/tags" Target="../tags/tag1308.xml"/><Relationship Id="rId142" Type="http://schemas.openxmlformats.org/officeDocument/2006/relationships/tags" Target="../tags/tag1329.xml"/><Relationship Id="rId163" Type="http://schemas.openxmlformats.org/officeDocument/2006/relationships/tags" Target="../tags/tag1350.xml"/><Relationship Id="rId184" Type="http://schemas.openxmlformats.org/officeDocument/2006/relationships/tags" Target="../tags/tag1371.xml"/><Relationship Id="rId189" Type="http://schemas.openxmlformats.org/officeDocument/2006/relationships/tags" Target="../tags/tag1376.xml"/><Relationship Id="rId3" Type="http://schemas.openxmlformats.org/officeDocument/2006/relationships/tags" Target="../tags/tag1190.xml"/><Relationship Id="rId25" Type="http://schemas.openxmlformats.org/officeDocument/2006/relationships/tags" Target="../tags/tag1212.xml"/><Relationship Id="rId46" Type="http://schemas.openxmlformats.org/officeDocument/2006/relationships/tags" Target="../tags/tag1233.xml"/><Relationship Id="rId67" Type="http://schemas.openxmlformats.org/officeDocument/2006/relationships/tags" Target="../tags/tag1254.xml"/><Relationship Id="rId116" Type="http://schemas.openxmlformats.org/officeDocument/2006/relationships/tags" Target="../tags/tag1303.xml"/><Relationship Id="rId137" Type="http://schemas.openxmlformats.org/officeDocument/2006/relationships/tags" Target="../tags/tag1324.xml"/><Relationship Id="rId158" Type="http://schemas.openxmlformats.org/officeDocument/2006/relationships/tags" Target="../tags/tag1345.xml"/><Relationship Id="rId20" Type="http://schemas.openxmlformats.org/officeDocument/2006/relationships/tags" Target="../tags/tag1207.xml"/><Relationship Id="rId41" Type="http://schemas.openxmlformats.org/officeDocument/2006/relationships/tags" Target="../tags/tag1228.xml"/><Relationship Id="rId62" Type="http://schemas.openxmlformats.org/officeDocument/2006/relationships/tags" Target="../tags/tag1249.xml"/><Relationship Id="rId83" Type="http://schemas.openxmlformats.org/officeDocument/2006/relationships/tags" Target="../tags/tag1270.xml"/><Relationship Id="rId88" Type="http://schemas.openxmlformats.org/officeDocument/2006/relationships/tags" Target="../tags/tag1275.xml"/><Relationship Id="rId111" Type="http://schemas.openxmlformats.org/officeDocument/2006/relationships/tags" Target="../tags/tag1298.xml"/><Relationship Id="rId132" Type="http://schemas.openxmlformats.org/officeDocument/2006/relationships/tags" Target="../tags/tag1319.xml"/><Relationship Id="rId153" Type="http://schemas.openxmlformats.org/officeDocument/2006/relationships/tags" Target="../tags/tag1340.xml"/><Relationship Id="rId174" Type="http://schemas.openxmlformats.org/officeDocument/2006/relationships/tags" Target="../tags/tag1361.xml"/><Relationship Id="rId179" Type="http://schemas.openxmlformats.org/officeDocument/2006/relationships/tags" Target="../tags/tag1366.xml"/><Relationship Id="rId195" Type="http://schemas.openxmlformats.org/officeDocument/2006/relationships/tags" Target="../tags/tag1382.xml"/><Relationship Id="rId190" Type="http://schemas.openxmlformats.org/officeDocument/2006/relationships/tags" Target="../tags/tag1377.xml"/><Relationship Id="rId15" Type="http://schemas.openxmlformats.org/officeDocument/2006/relationships/tags" Target="../tags/tag1202.xml"/><Relationship Id="rId36" Type="http://schemas.openxmlformats.org/officeDocument/2006/relationships/tags" Target="../tags/tag1223.xml"/><Relationship Id="rId57" Type="http://schemas.openxmlformats.org/officeDocument/2006/relationships/tags" Target="../tags/tag1244.xml"/><Relationship Id="rId106" Type="http://schemas.openxmlformats.org/officeDocument/2006/relationships/tags" Target="../tags/tag1293.xml"/><Relationship Id="rId127" Type="http://schemas.openxmlformats.org/officeDocument/2006/relationships/tags" Target="../tags/tag1314.xml"/><Relationship Id="rId10" Type="http://schemas.openxmlformats.org/officeDocument/2006/relationships/tags" Target="../tags/tag1197.xml"/><Relationship Id="rId31" Type="http://schemas.openxmlformats.org/officeDocument/2006/relationships/tags" Target="../tags/tag1218.xml"/><Relationship Id="rId52" Type="http://schemas.openxmlformats.org/officeDocument/2006/relationships/tags" Target="../tags/tag1239.xml"/><Relationship Id="rId73" Type="http://schemas.openxmlformats.org/officeDocument/2006/relationships/tags" Target="../tags/tag1260.xml"/><Relationship Id="rId78" Type="http://schemas.openxmlformats.org/officeDocument/2006/relationships/tags" Target="../tags/tag1265.xml"/><Relationship Id="rId94" Type="http://schemas.openxmlformats.org/officeDocument/2006/relationships/tags" Target="../tags/tag1281.xml"/><Relationship Id="rId99" Type="http://schemas.openxmlformats.org/officeDocument/2006/relationships/tags" Target="../tags/tag1286.xml"/><Relationship Id="rId101" Type="http://schemas.openxmlformats.org/officeDocument/2006/relationships/tags" Target="../tags/tag1288.xml"/><Relationship Id="rId122" Type="http://schemas.openxmlformats.org/officeDocument/2006/relationships/tags" Target="../tags/tag1309.xml"/><Relationship Id="rId143" Type="http://schemas.openxmlformats.org/officeDocument/2006/relationships/tags" Target="../tags/tag1330.xml"/><Relationship Id="rId148" Type="http://schemas.openxmlformats.org/officeDocument/2006/relationships/tags" Target="../tags/tag1335.xml"/><Relationship Id="rId164" Type="http://schemas.openxmlformats.org/officeDocument/2006/relationships/tags" Target="../tags/tag1351.xml"/><Relationship Id="rId169" Type="http://schemas.openxmlformats.org/officeDocument/2006/relationships/tags" Target="../tags/tag1356.xml"/><Relationship Id="rId185" Type="http://schemas.openxmlformats.org/officeDocument/2006/relationships/tags" Target="../tags/tag1372.xml"/><Relationship Id="rId4" Type="http://schemas.openxmlformats.org/officeDocument/2006/relationships/tags" Target="../tags/tag1191.xml"/><Relationship Id="rId9" Type="http://schemas.openxmlformats.org/officeDocument/2006/relationships/tags" Target="../tags/tag1196.xml"/><Relationship Id="rId180" Type="http://schemas.openxmlformats.org/officeDocument/2006/relationships/tags" Target="../tags/tag1367.xml"/><Relationship Id="rId26" Type="http://schemas.openxmlformats.org/officeDocument/2006/relationships/tags" Target="../tags/tag1213.xml"/><Relationship Id="rId47" Type="http://schemas.openxmlformats.org/officeDocument/2006/relationships/tags" Target="../tags/tag1234.xml"/><Relationship Id="rId68" Type="http://schemas.openxmlformats.org/officeDocument/2006/relationships/tags" Target="../tags/tag1255.xml"/><Relationship Id="rId89" Type="http://schemas.openxmlformats.org/officeDocument/2006/relationships/tags" Target="../tags/tag1276.xml"/><Relationship Id="rId112" Type="http://schemas.openxmlformats.org/officeDocument/2006/relationships/tags" Target="../tags/tag1299.xml"/><Relationship Id="rId133" Type="http://schemas.openxmlformats.org/officeDocument/2006/relationships/tags" Target="../tags/tag1320.xml"/><Relationship Id="rId154" Type="http://schemas.openxmlformats.org/officeDocument/2006/relationships/tags" Target="../tags/tag1341.xml"/><Relationship Id="rId175" Type="http://schemas.openxmlformats.org/officeDocument/2006/relationships/tags" Target="../tags/tag1362.xml"/></Relationships>
</file>

<file path=ppt/slides/_rels/slide119.xml.rels><?xml version="1.0" encoding="UTF-8" standalone="yes"?>
<Relationships xmlns="http://schemas.openxmlformats.org/package/2006/relationships"><Relationship Id="rId2" Type="http://schemas.openxmlformats.org/officeDocument/2006/relationships/slide" Target="slide120.xml"/><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14.xml"/></Relationships>
</file>

<file path=ppt/slides/_rels/slide120.xml.rels><?xml version="1.0" encoding="UTF-8" standalone="yes"?>
<Relationships xmlns="http://schemas.openxmlformats.org/package/2006/relationships"><Relationship Id="rId3" Type="http://schemas.openxmlformats.org/officeDocument/2006/relationships/chart" Target="../charts/chart114.xml"/><Relationship Id="rId2" Type="http://schemas.openxmlformats.org/officeDocument/2006/relationships/notesSlide" Target="../notesSlides/notesSlide73.xml"/><Relationship Id="rId1" Type="http://schemas.openxmlformats.org/officeDocument/2006/relationships/slideLayout" Target="../slideLayouts/slideLayout62.xml"/></Relationships>
</file>

<file path=ppt/slides/_rels/slide121.xml.rels><?xml version="1.0" encoding="UTF-8" standalone="yes"?>
<Relationships xmlns="http://schemas.openxmlformats.org/package/2006/relationships"><Relationship Id="rId3" Type="http://schemas.openxmlformats.org/officeDocument/2006/relationships/chart" Target="../charts/chart116.xml"/><Relationship Id="rId2" Type="http://schemas.openxmlformats.org/officeDocument/2006/relationships/chart" Target="../charts/chart115.xml"/><Relationship Id="rId1" Type="http://schemas.openxmlformats.org/officeDocument/2006/relationships/slideLayout" Target="../slideLayouts/slideLayout78.xml"/><Relationship Id="rId5" Type="http://schemas.openxmlformats.org/officeDocument/2006/relationships/chart" Target="../charts/chart118.xml"/><Relationship Id="rId4" Type="http://schemas.openxmlformats.org/officeDocument/2006/relationships/chart" Target="../charts/chart117.xml"/></Relationships>
</file>

<file path=ppt/slides/_rels/slide122.xml.rels><?xml version="1.0" encoding="UTF-8" standalone="yes"?>
<Relationships xmlns="http://schemas.openxmlformats.org/package/2006/relationships"><Relationship Id="rId3" Type="http://schemas.openxmlformats.org/officeDocument/2006/relationships/chart" Target="../charts/chart120.xml"/><Relationship Id="rId2" Type="http://schemas.openxmlformats.org/officeDocument/2006/relationships/chart" Target="../charts/chart119.xml"/><Relationship Id="rId1" Type="http://schemas.openxmlformats.org/officeDocument/2006/relationships/slideLayout" Target="../slideLayouts/slideLayout78.xml"/></Relationships>
</file>

<file path=ppt/slides/_rels/slide123.xml.rels><?xml version="1.0" encoding="UTF-8" standalone="yes"?>
<Relationships xmlns="http://schemas.openxmlformats.org/package/2006/relationships"><Relationship Id="rId3" Type="http://schemas.openxmlformats.org/officeDocument/2006/relationships/chart" Target="../charts/chart121.xml"/><Relationship Id="rId2" Type="http://schemas.openxmlformats.org/officeDocument/2006/relationships/notesSlide" Target="../notesSlides/notesSlide74.xml"/><Relationship Id="rId1" Type="http://schemas.openxmlformats.org/officeDocument/2006/relationships/slideLayout" Target="../slideLayouts/slideLayout62.xml"/><Relationship Id="rId4" Type="http://schemas.openxmlformats.org/officeDocument/2006/relationships/chart" Target="../charts/chart122.xml"/></Relationships>
</file>

<file path=ppt/slides/_rels/slide124.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62.xml"/></Relationships>
</file>

<file path=ppt/slides/_rels/slide125.xml.rels><?xml version="1.0" encoding="UTF-8" standalone="yes"?>
<Relationships xmlns="http://schemas.openxmlformats.org/package/2006/relationships"><Relationship Id="rId3" Type="http://schemas.openxmlformats.org/officeDocument/2006/relationships/slide" Target="slide38.xml"/><Relationship Id="rId7" Type="http://schemas.openxmlformats.org/officeDocument/2006/relationships/slide" Target="slide103.xml"/><Relationship Id="rId2" Type="http://schemas.openxmlformats.org/officeDocument/2006/relationships/notesSlide" Target="../notesSlides/notesSlide75.xml"/><Relationship Id="rId1" Type="http://schemas.openxmlformats.org/officeDocument/2006/relationships/slideLayout" Target="../slideLayouts/slideLayout62.xml"/><Relationship Id="rId6" Type="http://schemas.openxmlformats.org/officeDocument/2006/relationships/slide" Target="slide66.xml"/><Relationship Id="rId5" Type="http://schemas.openxmlformats.org/officeDocument/2006/relationships/slide" Target="slide94.xml"/><Relationship Id="rId4" Type="http://schemas.openxmlformats.org/officeDocument/2006/relationships/slide" Target="slide53.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2.xml"/></Relationships>
</file>

<file path=ppt/slides/_rels/slide127.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62.xml"/></Relationships>
</file>

<file path=ppt/slides/_rels/slide128.xml.rels><?xml version="1.0" encoding="UTF-8" standalone="yes"?>
<Relationships xmlns="http://schemas.openxmlformats.org/package/2006/relationships"><Relationship Id="rId2" Type="http://schemas.openxmlformats.org/officeDocument/2006/relationships/hyperlink" Target="http://www.crisil.com/" TargetMode="External"/><Relationship Id="rId1" Type="http://schemas.openxmlformats.org/officeDocument/2006/relationships/slideLayout" Target="../slideLayouts/slideLayout127.xml"/></Relationships>
</file>

<file path=ppt/slides/_rels/slide1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slide" Target="slide9.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chart" Target="../charts/chart23.xml"/><Relationship Id="rId4" Type="http://schemas.openxmlformats.org/officeDocument/2006/relationships/chart" Target="../charts/char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4.png"/><Relationship Id="rId7" Type="http://schemas.openxmlformats.org/officeDocument/2006/relationships/slide" Target="slide3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slide" Target="slide17.xml"/><Relationship Id="rId5" Type="http://schemas.openxmlformats.org/officeDocument/2006/relationships/slide" Target="slide68.xml"/><Relationship Id="rId4" Type="http://schemas.openxmlformats.org/officeDocument/2006/relationships/slide" Target="slide3.xml"/><Relationship Id="rId9" Type="http://schemas.openxmlformats.org/officeDocument/2006/relationships/slide" Target="slide119.xml"/></Relationships>
</file>

<file path=ppt/slides/_rels/slide20.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27.png"/><Relationship Id="rId1" Type="http://schemas.openxmlformats.org/officeDocument/2006/relationships/slideLayout" Target="../slideLayouts/slideLayout12.xml"/><Relationship Id="rId4" Type="http://schemas.openxmlformats.org/officeDocument/2006/relationships/chart" Target="../charts/char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6.xml"/><Relationship Id="rId1" Type="http://schemas.openxmlformats.org/officeDocument/2006/relationships/slideLayout" Target="../slideLayouts/slideLayout27.xml"/><Relationship Id="rId4" Type="http://schemas.openxmlformats.org/officeDocument/2006/relationships/chart" Target="../charts/chart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chart" Target="../charts/chart30.xml"/><Relationship Id="rId2" Type="http://schemas.openxmlformats.org/officeDocument/2006/relationships/image" Target="../media/image28.png"/><Relationship Id="rId1" Type="http://schemas.openxmlformats.org/officeDocument/2006/relationships/slideLayout" Target="../slideLayouts/slideLayout30.xml"/><Relationship Id="rId6" Type="http://schemas.openxmlformats.org/officeDocument/2006/relationships/image" Target="../media/image32.png"/><Relationship Id="rId11" Type="http://schemas.openxmlformats.org/officeDocument/2006/relationships/chart" Target="../charts/chart29.xml"/><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jpeg"/><Relationship Id="rId9" Type="http://schemas.openxmlformats.org/officeDocument/2006/relationships/image" Target="../media/image3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chart" Target="../charts/chart32.xml"/><Relationship Id="rId4" Type="http://schemas.openxmlformats.org/officeDocument/2006/relationships/chart" Target="../charts/chart31.xml"/></Relationships>
</file>

<file path=ppt/slides/_rels/slide3.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slide" Target="slide38.xml"/><Relationship Id="rId7" Type="http://schemas.openxmlformats.org/officeDocument/2006/relationships/slide" Target="slide103.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slide" Target="slide66.xml"/><Relationship Id="rId5" Type="http://schemas.openxmlformats.org/officeDocument/2006/relationships/slide" Target="slide94.xml"/><Relationship Id="rId4" Type="http://schemas.openxmlformats.org/officeDocument/2006/relationships/slide" Target="slide5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slide" Target="slide34.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24.xml"/><Relationship Id="rId1" Type="http://schemas.openxmlformats.org/officeDocument/2006/relationships/slideLayout" Target="../slideLayouts/slideLayout43.xml"/><Relationship Id="rId4" Type="http://schemas.openxmlformats.org/officeDocument/2006/relationships/chart" Target="../charts/chart36.xml"/></Relationships>
</file>

<file path=ppt/slides/_rels/slide4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25.xml"/><Relationship Id="rId1" Type="http://schemas.openxmlformats.org/officeDocument/2006/relationships/slideLayout" Target="../slideLayouts/slideLayout43.xml"/><Relationship Id="rId4" Type="http://schemas.openxmlformats.org/officeDocument/2006/relationships/chart" Target="../charts/chart38.xml"/></Relationships>
</file>

<file path=ppt/slides/_rels/slide42.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26.xml"/><Relationship Id="rId1" Type="http://schemas.openxmlformats.org/officeDocument/2006/relationships/slideLayout" Target="../slideLayouts/slideLayout43.xml"/><Relationship Id="rId5" Type="http://schemas.openxmlformats.org/officeDocument/2006/relationships/chart" Target="../charts/chart41.xml"/><Relationship Id="rId4" Type="http://schemas.openxmlformats.org/officeDocument/2006/relationships/chart" Target="../charts/chart40.xml"/></Relationships>
</file>

<file path=ppt/slides/_rels/slide4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7.xml"/><Relationship Id="rId1" Type="http://schemas.openxmlformats.org/officeDocument/2006/relationships/slideLayout" Target="../slideLayouts/slideLayout43.xml"/><Relationship Id="rId5" Type="http://schemas.openxmlformats.org/officeDocument/2006/relationships/chart" Target="../charts/chart44.xml"/><Relationship Id="rId4" Type="http://schemas.openxmlformats.org/officeDocument/2006/relationships/chart" Target="../charts/chart43.xml"/></Relationships>
</file>

<file path=ppt/slides/_rels/slide4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28.xml"/><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29.xml"/><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43.xml"/><Relationship Id="rId4" Type="http://schemas.openxmlformats.org/officeDocument/2006/relationships/image" Target="../media/image40.jpe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 Id="rId5" Type="http://schemas.openxmlformats.org/officeDocument/2006/relationships/image" Target="../media/image15.png"/><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1.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1.xml"/><Relationship Id="rId1" Type="http://schemas.openxmlformats.org/officeDocument/2006/relationships/slideLayout" Target="../slideLayouts/slideLayout62.xml"/><Relationship Id="rId4" Type="http://schemas.openxmlformats.org/officeDocument/2006/relationships/chart" Target="../charts/chart49.xml"/></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notesSlide" Target="../notesSlides/notesSlide32.xml"/></Relationships>
</file>

<file path=ppt/slides/_rels/slide53.xml.rels><?xml version="1.0" encoding="UTF-8" standalone="yes"?>
<Relationships xmlns="http://schemas.openxmlformats.org/package/2006/relationships"><Relationship Id="rId2" Type="http://schemas.openxmlformats.org/officeDocument/2006/relationships/slide" Target="slide34.xml"/><Relationship Id="rId1" Type="http://schemas.openxmlformats.org/officeDocument/2006/relationships/slideLayout" Target="../slideLayouts/slideLayout5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3.xml"/></Relationships>
</file>

<file path=ppt/slides/_rels/slide55.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34.xml"/><Relationship Id="rId1" Type="http://schemas.openxmlformats.org/officeDocument/2006/relationships/slideLayout" Target="../slideLayouts/slideLayout43.xml"/><Relationship Id="rId4" Type="http://schemas.openxmlformats.org/officeDocument/2006/relationships/chart" Target="../charts/chart51.xml"/></Relationships>
</file>

<file path=ppt/slides/_rels/slide56.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35.xml"/><Relationship Id="rId1" Type="http://schemas.openxmlformats.org/officeDocument/2006/relationships/slideLayout" Target="../slideLayouts/slideLayout43.xml"/><Relationship Id="rId5" Type="http://schemas.openxmlformats.org/officeDocument/2006/relationships/chart" Target="../charts/chart54.xml"/><Relationship Id="rId4" Type="http://schemas.openxmlformats.org/officeDocument/2006/relationships/chart" Target="../charts/chart53.xml"/></Relationships>
</file>

<file path=ppt/slides/_rels/slide57.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6.xml"/><Relationship Id="rId1" Type="http://schemas.openxmlformats.org/officeDocument/2006/relationships/slideLayout" Target="../slideLayouts/slideLayout48.xml"/></Relationships>
</file>

<file path=ppt/slides/_rels/slide58.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notesSlide" Target="../notesSlides/notesSlide37.xml"/><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3" Type="http://schemas.openxmlformats.org/officeDocument/2006/relationships/chart" Target="../charts/chart57.xml"/><Relationship Id="rId7" Type="http://schemas.openxmlformats.org/officeDocument/2006/relationships/chart" Target="../charts/chart61.xml"/><Relationship Id="rId2" Type="http://schemas.openxmlformats.org/officeDocument/2006/relationships/notesSlide" Target="../notesSlides/notesSlide38.xml"/><Relationship Id="rId1" Type="http://schemas.openxmlformats.org/officeDocument/2006/relationships/slideLayout" Target="../slideLayouts/slideLayout48.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chart" Target="../charts/chart58.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chart" Target="../charts/char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0.xml"/></Relationships>
</file>

<file path=ppt/slides/_rels/slide6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95.xml"/><Relationship Id="rId4" Type="http://schemas.openxmlformats.org/officeDocument/2006/relationships/image" Target="../media/image40.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64.xml.rels><?xml version="1.0" encoding="UTF-8" standalone="yes"?>
<Relationships xmlns="http://schemas.openxmlformats.org/package/2006/relationships"><Relationship Id="rId3" Type="http://schemas.openxmlformats.org/officeDocument/2006/relationships/chart" Target="../charts/chart62.xml"/><Relationship Id="rId2" Type="http://schemas.openxmlformats.org/officeDocument/2006/relationships/notesSlide" Target="../notesSlides/notesSlide40.xml"/><Relationship Id="rId1" Type="http://schemas.openxmlformats.org/officeDocument/2006/relationships/slideLayout" Target="../slideLayouts/slideLayout62.xml"/><Relationship Id="rId4" Type="http://schemas.openxmlformats.org/officeDocument/2006/relationships/chart" Target="../charts/chart63.xml"/></Relationships>
</file>

<file path=ppt/slides/_rels/slide65.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42" Type="http://schemas.openxmlformats.org/officeDocument/2006/relationships/tags" Target="../tags/tag50.xml"/><Relationship Id="rId63" Type="http://schemas.openxmlformats.org/officeDocument/2006/relationships/tags" Target="../tags/tag71.xml"/><Relationship Id="rId84" Type="http://schemas.openxmlformats.org/officeDocument/2006/relationships/tags" Target="../tags/tag92.xml"/><Relationship Id="rId138" Type="http://schemas.openxmlformats.org/officeDocument/2006/relationships/tags" Target="../tags/tag146.xml"/><Relationship Id="rId159" Type="http://schemas.openxmlformats.org/officeDocument/2006/relationships/tags" Target="../tags/tag167.xml"/><Relationship Id="rId170" Type="http://schemas.openxmlformats.org/officeDocument/2006/relationships/tags" Target="../tags/tag178.xml"/><Relationship Id="rId191" Type="http://schemas.openxmlformats.org/officeDocument/2006/relationships/tags" Target="../tags/tag199.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37" Type="http://schemas.openxmlformats.org/officeDocument/2006/relationships/tags" Target="../tags/tag45.xml"/><Relationship Id="rId53" Type="http://schemas.openxmlformats.org/officeDocument/2006/relationships/tags" Target="../tags/tag61.xml"/><Relationship Id="rId58" Type="http://schemas.openxmlformats.org/officeDocument/2006/relationships/tags" Target="../tags/tag66.xml"/><Relationship Id="rId74" Type="http://schemas.openxmlformats.org/officeDocument/2006/relationships/tags" Target="../tags/tag82.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28" Type="http://schemas.openxmlformats.org/officeDocument/2006/relationships/tags" Target="../tags/tag136.xml"/><Relationship Id="rId144" Type="http://schemas.openxmlformats.org/officeDocument/2006/relationships/tags" Target="../tags/tag152.xml"/><Relationship Id="rId149" Type="http://schemas.openxmlformats.org/officeDocument/2006/relationships/tags" Target="../tags/tag157.xml"/><Relationship Id="rId5" Type="http://schemas.openxmlformats.org/officeDocument/2006/relationships/tags" Target="../tags/tag13.xml"/><Relationship Id="rId90" Type="http://schemas.openxmlformats.org/officeDocument/2006/relationships/tags" Target="../tags/tag98.xml"/><Relationship Id="rId95" Type="http://schemas.openxmlformats.org/officeDocument/2006/relationships/tags" Target="../tags/tag103.xml"/><Relationship Id="rId160" Type="http://schemas.openxmlformats.org/officeDocument/2006/relationships/tags" Target="../tags/tag168.xml"/><Relationship Id="rId165" Type="http://schemas.openxmlformats.org/officeDocument/2006/relationships/tags" Target="../tags/tag173.xml"/><Relationship Id="rId181" Type="http://schemas.openxmlformats.org/officeDocument/2006/relationships/tags" Target="../tags/tag189.xml"/><Relationship Id="rId186" Type="http://schemas.openxmlformats.org/officeDocument/2006/relationships/tags" Target="../tags/tag194.xml"/><Relationship Id="rId22" Type="http://schemas.openxmlformats.org/officeDocument/2006/relationships/tags" Target="../tags/tag30.xml"/><Relationship Id="rId27" Type="http://schemas.openxmlformats.org/officeDocument/2006/relationships/tags" Target="../tags/tag35.xml"/><Relationship Id="rId43" Type="http://schemas.openxmlformats.org/officeDocument/2006/relationships/tags" Target="../tags/tag51.xml"/><Relationship Id="rId48" Type="http://schemas.openxmlformats.org/officeDocument/2006/relationships/tags" Target="../tags/tag56.xml"/><Relationship Id="rId64" Type="http://schemas.openxmlformats.org/officeDocument/2006/relationships/tags" Target="../tags/tag72.xml"/><Relationship Id="rId69" Type="http://schemas.openxmlformats.org/officeDocument/2006/relationships/tags" Target="../tags/tag77.xml"/><Relationship Id="rId113" Type="http://schemas.openxmlformats.org/officeDocument/2006/relationships/tags" Target="../tags/tag121.xml"/><Relationship Id="rId118" Type="http://schemas.openxmlformats.org/officeDocument/2006/relationships/tags" Target="../tags/tag126.xml"/><Relationship Id="rId134" Type="http://schemas.openxmlformats.org/officeDocument/2006/relationships/tags" Target="../tags/tag142.xml"/><Relationship Id="rId139" Type="http://schemas.openxmlformats.org/officeDocument/2006/relationships/tags" Target="../tags/tag147.xml"/><Relationship Id="rId80" Type="http://schemas.openxmlformats.org/officeDocument/2006/relationships/tags" Target="../tags/tag88.xml"/><Relationship Id="rId85" Type="http://schemas.openxmlformats.org/officeDocument/2006/relationships/tags" Target="../tags/tag93.xml"/><Relationship Id="rId150" Type="http://schemas.openxmlformats.org/officeDocument/2006/relationships/tags" Target="../tags/tag158.xml"/><Relationship Id="rId155" Type="http://schemas.openxmlformats.org/officeDocument/2006/relationships/tags" Target="../tags/tag163.xml"/><Relationship Id="rId171" Type="http://schemas.openxmlformats.org/officeDocument/2006/relationships/tags" Target="../tags/tag179.xml"/><Relationship Id="rId176" Type="http://schemas.openxmlformats.org/officeDocument/2006/relationships/tags" Target="../tags/tag184.xml"/><Relationship Id="rId192" Type="http://schemas.openxmlformats.org/officeDocument/2006/relationships/tags" Target="../tags/tag200.xml"/><Relationship Id="rId197" Type="http://schemas.openxmlformats.org/officeDocument/2006/relationships/tags" Target="../tags/tag205.xml"/><Relationship Id="rId201" Type="http://schemas.openxmlformats.org/officeDocument/2006/relationships/slideLayout" Target="../slideLayouts/slideLayout74.xml"/><Relationship Id="rId12" Type="http://schemas.openxmlformats.org/officeDocument/2006/relationships/tags" Target="../tags/tag20.xml"/><Relationship Id="rId17" Type="http://schemas.openxmlformats.org/officeDocument/2006/relationships/tags" Target="../tags/tag25.xml"/><Relationship Id="rId33" Type="http://schemas.openxmlformats.org/officeDocument/2006/relationships/tags" Target="../tags/tag41.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08" Type="http://schemas.openxmlformats.org/officeDocument/2006/relationships/tags" Target="../tags/tag116.xml"/><Relationship Id="rId124" Type="http://schemas.openxmlformats.org/officeDocument/2006/relationships/tags" Target="../tags/tag132.xml"/><Relationship Id="rId129" Type="http://schemas.openxmlformats.org/officeDocument/2006/relationships/tags" Target="../tags/tag137.xml"/><Relationship Id="rId54" Type="http://schemas.openxmlformats.org/officeDocument/2006/relationships/tags" Target="../tags/tag62.xml"/><Relationship Id="rId70" Type="http://schemas.openxmlformats.org/officeDocument/2006/relationships/tags" Target="../tags/tag78.xml"/><Relationship Id="rId75" Type="http://schemas.openxmlformats.org/officeDocument/2006/relationships/tags" Target="../tags/tag83.xml"/><Relationship Id="rId91" Type="http://schemas.openxmlformats.org/officeDocument/2006/relationships/tags" Target="../tags/tag99.xml"/><Relationship Id="rId96" Type="http://schemas.openxmlformats.org/officeDocument/2006/relationships/tags" Target="../tags/tag104.xml"/><Relationship Id="rId140" Type="http://schemas.openxmlformats.org/officeDocument/2006/relationships/tags" Target="../tags/tag148.xml"/><Relationship Id="rId145" Type="http://schemas.openxmlformats.org/officeDocument/2006/relationships/tags" Target="../tags/tag153.xml"/><Relationship Id="rId161" Type="http://schemas.openxmlformats.org/officeDocument/2006/relationships/tags" Target="../tags/tag169.xml"/><Relationship Id="rId166" Type="http://schemas.openxmlformats.org/officeDocument/2006/relationships/tags" Target="../tags/tag174.xml"/><Relationship Id="rId182" Type="http://schemas.openxmlformats.org/officeDocument/2006/relationships/tags" Target="../tags/tag190.xml"/><Relationship Id="rId187" Type="http://schemas.openxmlformats.org/officeDocument/2006/relationships/tags" Target="../tags/tag195.xml"/><Relationship Id="rId1" Type="http://schemas.openxmlformats.org/officeDocument/2006/relationships/tags" Target="../tags/tag9.xml"/><Relationship Id="rId6" Type="http://schemas.openxmlformats.org/officeDocument/2006/relationships/tags" Target="../tags/tag14.xml"/><Relationship Id="rId23" Type="http://schemas.openxmlformats.org/officeDocument/2006/relationships/tags" Target="../tags/tag31.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119" Type="http://schemas.openxmlformats.org/officeDocument/2006/relationships/tags" Target="../tags/tag127.xml"/><Relationship Id="rId44" Type="http://schemas.openxmlformats.org/officeDocument/2006/relationships/tags" Target="../tags/tag52.xml"/><Relationship Id="rId60" Type="http://schemas.openxmlformats.org/officeDocument/2006/relationships/tags" Target="../tags/tag68.xml"/><Relationship Id="rId65" Type="http://schemas.openxmlformats.org/officeDocument/2006/relationships/tags" Target="../tags/tag73.xml"/><Relationship Id="rId81" Type="http://schemas.openxmlformats.org/officeDocument/2006/relationships/tags" Target="../tags/tag89.xml"/><Relationship Id="rId86" Type="http://schemas.openxmlformats.org/officeDocument/2006/relationships/tags" Target="../tags/tag94.xml"/><Relationship Id="rId130" Type="http://schemas.openxmlformats.org/officeDocument/2006/relationships/tags" Target="../tags/tag138.xml"/><Relationship Id="rId135" Type="http://schemas.openxmlformats.org/officeDocument/2006/relationships/tags" Target="../tags/tag143.xml"/><Relationship Id="rId151" Type="http://schemas.openxmlformats.org/officeDocument/2006/relationships/tags" Target="../tags/tag159.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172" Type="http://schemas.openxmlformats.org/officeDocument/2006/relationships/tags" Target="../tags/tag180.xml"/><Relationship Id="rId193" Type="http://schemas.openxmlformats.org/officeDocument/2006/relationships/tags" Target="../tags/tag201.xml"/><Relationship Id="rId202" Type="http://schemas.openxmlformats.org/officeDocument/2006/relationships/notesSlide" Target="../notesSlides/notesSlide41.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109" Type="http://schemas.openxmlformats.org/officeDocument/2006/relationships/tags" Target="../tags/tag11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04" Type="http://schemas.openxmlformats.org/officeDocument/2006/relationships/tags" Target="../tags/tag112.xml"/><Relationship Id="rId120" Type="http://schemas.openxmlformats.org/officeDocument/2006/relationships/tags" Target="../tags/tag128.xml"/><Relationship Id="rId125" Type="http://schemas.openxmlformats.org/officeDocument/2006/relationships/tags" Target="../tags/tag133.xml"/><Relationship Id="rId141" Type="http://schemas.openxmlformats.org/officeDocument/2006/relationships/tags" Target="../tags/tag149.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 Type="http://schemas.openxmlformats.org/officeDocument/2006/relationships/tags" Target="../tags/tag15.xml"/><Relationship Id="rId71" Type="http://schemas.openxmlformats.org/officeDocument/2006/relationships/tags" Target="../tags/tag79.xml"/><Relationship Id="rId92" Type="http://schemas.openxmlformats.org/officeDocument/2006/relationships/tags" Target="../tags/tag100.xml"/><Relationship Id="rId162" Type="http://schemas.openxmlformats.org/officeDocument/2006/relationships/tags" Target="../tags/tag170.xml"/><Relationship Id="rId183" Type="http://schemas.openxmlformats.org/officeDocument/2006/relationships/tags" Target="../tags/tag191.xml"/><Relationship Id="rId2" Type="http://schemas.openxmlformats.org/officeDocument/2006/relationships/tags" Target="../tags/tag10.xml"/><Relationship Id="rId29" Type="http://schemas.openxmlformats.org/officeDocument/2006/relationships/tags" Target="../tags/tag37.xml"/><Relationship Id="rId24" Type="http://schemas.openxmlformats.org/officeDocument/2006/relationships/tags" Target="../tags/tag32.xml"/><Relationship Id="rId40" Type="http://schemas.openxmlformats.org/officeDocument/2006/relationships/tags" Target="../tags/tag48.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15" Type="http://schemas.openxmlformats.org/officeDocument/2006/relationships/tags" Target="../tags/tag123.xml"/><Relationship Id="rId131" Type="http://schemas.openxmlformats.org/officeDocument/2006/relationships/tags" Target="../tags/tag139.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199" Type="http://schemas.openxmlformats.org/officeDocument/2006/relationships/tags" Target="../tags/tag207.xml"/><Relationship Id="rId19" Type="http://schemas.openxmlformats.org/officeDocument/2006/relationships/tags" Target="../tags/tag27.xml"/><Relationship Id="rId14" Type="http://schemas.openxmlformats.org/officeDocument/2006/relationships/tags" Target="../tags/tag22.xml"/><Relationship Id="rId30" Type="http://schemas.openxmlformats.org/officeDocument/2006/relationships/tags" Target="../tags/tag38.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189" Type="http://schemas.openxmlformats.org/officeDocument/2006/relationships/tags" Target="../tags/tag197.xml"/><Relationship Id="rId3" Type="http://schemas.openxmlformats.org/officeDocument/2006/relationships/tags" Target="../tags/tag11.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79" Type="http://schemas.openxmlformats.org/officeDocument/2006/relationships/tags" Target="../tags/tag187.xml"/><Relationship Id="rId195" Type="http://schemas.openxmlformats.org/officeDocument/2006/relationships/tags" Target="../tags/tag203.xml"/><Relationship Id="rId190" Type="http://schemas.openxmlformats.org/officeDocument/2006/relationships/tags" Target="../tags/tag198.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78" Type="http://schemas.openxmlformats.org/officeDocument/2006/relationships/tags" Target="../tags/tag86.xml"/><Relationship Id="rId94" Type="http://schemas.openxmlformats.org/officeDocument/2006/relationships/tags" Target="../tags/tag102.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48" Type="http://schemas.openxmlformats.org/officeDocument/2006/relationships/tags" Target="../tags/tag156.xml"/><Relationship Id="rId164" Type="http://schemas.openxmlformats.org/officeDocument/2006/relationships/tags" Target="../tags/tag172.xml"/><Relationship Id="rId169" Type="http://schemas.openxmlformats.org/officeDocument/2006/relationships/tags" Target="../tags/tag177.xml"/><Relationship Id="rId185" Type="http://schemas.openxmlformats.org/officeDocument/2006/relationships/tags" Target="../tags/tag193.xml"/><Relationship Id="rId4" Type="http://schemas.openxmlformats.org/officeDocument/2006/relationships/tags" Target="../tags/tag12.xml"/><Relationship Id="rId9" Type="http://schemas.openxmlformats.org/officeDocument/2006/relationships/tags" Target="../tags/tag17.xml"/><Relationship Id="rId180" Type="http://schemas.openxmlformats.org/officeDocument/2006/relationships/tags" Target="../tags/tag188.xml"/><Relationship Id="rId26" Type="http://schemas.openxmlformats.org/officeDocument/2006/relationships/tags" Target="../tags/tag34.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s>
</file>

<file path=ppt/slides/_rels/slide66.xml.rels><?xml version="1.0" encoding="UTF-8" standalone="yes"?>
<Relationships xmlns="http://schemas.openxmlformats.org/package/2006/relationships"><Relationship Id="rId2" Type="http://schemas.openxmlformats.org/officeDocument/2006/relationships/slide" Target="slide34.xml"/><Relationship Id="rId1" Type="http://schemas.openxmlformats.org/officeDocument/2006/relationships/slideLayout" Target="../slideLayouts/slideLayout6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5.xml"/></Relationships>
</file>

<file path=ppt/slides/_rels/slide69.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44.xml"/><Relationship Id="rId1" Type="http://schemas.openxmlformats.org/officeDocument/2006/relationships/slideLayout" Target="../slideLayouts/slideLayout62.xml"/><Relationship Id="rId4" Type="http://schemas.openxmlformats.org/officeDocument/2006/relationships/chart" Target="../charts/chart66.xml"/></Relationships>
</file>

<file path=ppt/slides/_rels/slide71.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45.xml"/><Relationship Id="rId1" Type="http://schemas.openxmlformats.org/officeDocument/2006/relationships/slideLayout" Target="../slideLayouts/slideLayout62.xml"/><Relationship Id="rId4" Type="http://schemas.openxmlformats.org/officeDocument/2006/relationships/chart" Target="../charts/chart68.xml"/></Relationships>
</file>

<file path=ppt/slides/_rels/slide72.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46.xml"/><Relationship Id="rId1" Type="http://schemas.openxmlformats.org/officeDocument/2006/relationships/slideLayout" Target="../slideLayouts/slideLayout62.xml"/><Relationship Id="rId4" Type="http://schemas.openxmlformats.org/officeDocument/2006/relationships/chart" Target="../charts/chart70.xml"/></Relationships>
</file>

<file path=ppt/slides/_rels/slide73.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notesSlide" Target="../notesSlides/notesSlide47.xml"/><Relationship Id="rId1" Type="http://schemas.openxmlformats.org/officeDocument/2006/relationships/slideLayout" Target="../slideLayouts/slideLayout62.xml"/><Relationship Id="rId4" Type="http://schemas.openxmlformats.org/officeDocument/2006/relationships/chart" Target="../charts/chart72.xml"/></Relationships>
</file>

<file path=ppt/slides/_rels/slide74.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48.xml"/><Relationship Id="rId1" Type="http://schemas.openxmlformats.org/officeDocument/2006/relationships/slideLayout" Target="../slideLayouts/slideLayout62.xml"/></Relationships>
</file>

<file path=ppt/slides/_rels/slide75.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chart" Target="../charts/chart74.xml"/><Relationship Id="rId1" Type="http://schemas.openxmlformats.org/officeDocument/2006/relationships/slideLayout" Target="../slideLayouts/slideLayout72.xml"/></Relationships>
</file>

<file path=ppt/slides/_rels/slide76.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notesSlide" Target="../notesSlides/notesSlide49.xml"/><Relationship Id="rId1" Type="http://schemas.openxmlformats.org/officeDocument/2006/relationships/slideLayout" Target="../slideLayouts/slideLayout73.xml"/><Relationship Id="rId4" Type="http://schemas.openxmlformats.org/officeDocument/2006/relationships/chart" Target="../charts/chart77.xml"/></Relationships>
</file>

<file path=ppt/slides/_rels/slide77.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notesSlide" Target="../notesSlides/notesSlide50.xml"/><Relationship Id="rId1" Type="http://schemas.openxmlformats.org/officeDocument/2006/relationships/slideLayout" Target="../slideLayouts/slideLayout76.xml"/></Relationships>
</file>

<file path=ppt/slides/_rels/slide7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1.xml"/><Relationship Id="rId1" Type="http://schemas.openxmlformats.org/officeDocument/2006/relationships/slideLayout" Target="../slideLayouts/slideLayout75.xml"/><Relationship Id="rId5" Type="http://schemas.openxmlformats.org/officeDocument/2006/relationships/image" Target="../media/image44.png"/><Relationship Id="rId4" Type="http://schemas.openxmlformats.org/officeDocument/2006/relationships/image" Target="../media/image43.png"/></Relationships>
</file>

<file path=ppt/slides/_rels/slide79.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52.xml"/><Relationship Id="rId1" Type="http://schemas.openxmlformats.org/officeDocument/2006/relationships/slideLayout" Target="../slideLayouts/slideLayout72.xml"/><Relationship Id="rId4" Type="http://schemas.openxmlformats.org/officeDocument/2006/relationships/chart" Target="../charts/chart80.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8.xml"/><Relationship Id="rId7"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10" Type="http://schemas.openxmlformats.org/officeDocument/2006/relationships/image" Target="../media/image21.png"/><Relationship Id="rId4" Type="http://schemas.openxmlformats.org/officeDocument/2006/relationships/notesSlide" Target="../notesSlides/notesSlide4.xml"/><Relationship Id="rId9" Type="http://schemas.openxmlformats.org/officeDocument/2006/relationships/image" Target="../media/image20.png"/></Relationships>
</file>

<file path=ppt/slides/_rels/slide80.xml.rels><?xml version="1.0" encoding="UTF-8" standalone="yes"?>
<Relationships xmlns="http://schemas.openxmlformats.org/package/2006/relationships"><Relationship Id="rId3" Type="http://schemas.openxmlformats.org/officeDocument/2006/relationships/slide" Target="slide83.xml"/><Relationship Id="rId2" Type="http://schemas.openxmlformats.org/officeDocument/2006/relationships/notesSlide" Target="../notesSlides/notesSlide53.xml"/><Relationship Id="rId1" Type="http://schemas.openxmlformats.org/officeDocument/2006/relationships/slideLayout" Target="../slideLayouts/slideLayout72.xml"/><Relationship Id="rId5" Type="http://schemas.openxmlformats.org/officeDocument/2006/relationships/chart" Target="../charts/chart82.xml"/><Relationship Id="rId4" Type="http://schemas.openxmlformats.org/officeDocument/2006/relationships/chart" Target="../charts/chart81.xml"/></Relationships>
</file>

<file path=ppt/slides/_rels/slide81.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54.xml"/><Relationship Id="rId1" Type="http://schemas.openxmlformats.org/officeDocument/2006/relationships/slideLayout" Target="../slideLayouts/slideLayout77.xml"/></Relationships>
</file>

<file path=ppt/slides/_rels/slide82.xml.rels><?xml version="1.0" encoding="UTF-8" standalone="yes"?>
<Relationships xmlns="http://schemas.openxmlformats.org/package/2006/relationships"><Relationship Id="rId2" Type="http://schemas.openxmlformats.org/officeDocument/2006/relationships/chart" Target="../charts/chart84.xml"/><Relationship Id="rId1" Type="http://schemas.openxmlformats.org/officeDocument/2006/relationships/slideLayout" Target="../slideLayouts/slideLayout62.xml"/></Relationships>
</file>

<file path=ppt/slides/_rels/slide83.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55.xml"/><Relationship Id="rId1" Type="http://schemas.openxmlformats.org/officeDocument/2006/relationships/slideLayout" Target="../slideLayouts/slideLayout62.xml"/><Relationship Id="rId5" Type="http://schemas.openxmlformats.org/officeDocument/2006/relationships/chart" Target="../charts/chart87.xml"/><Relationship Id="rId4" Type="http://schemas.openxmlformats.org/officeDocument/2006/relationships/chart" Target="../charts/chart86.xml"/></Relationships>
</file>

<file path=ppt/slides/_rels/slide84.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notesSlide" Target="../notesSlides/notesSlide56.xml"/><Relationship Id="rId1" Type="http://schemas.openxmlformats.org/officeDocument/2006/relationships/slideLayout" Target="../slideLayouts/slideLayout62.xml"/></Relationships>
</file>

<file path=ppt/slides/_rels/slide85.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notesSlide" Target="../notesSlides/notesSlide57.xml"/><Relationship Id="rId1" Type="http://schemas.openxmlformats.org/officeDocument/2006/relationships/slideLayout" Target="../slideLayouts/slideLayout62.xml"/><Relationship Id="rId4" Type="http://schemas.openxmlformats.org/officeDocument/2006/relationships/chart" Target="../charts/chart90.xml"/></Relationships>
</file>

<file path=ppt/slides/_rels/slide86.xml.rels><?xml version="1.0" encoding="UTF-8" standalone="yes"?>
<Relationships xmlns="http://schemas.openxmlformats.org/package/2006/relationships"><Relationship Id="rId3" Type="http://schemas.openxmlformats.org/officeDocument/2006/relationships/chart" Target="../charts/chart91.xml"/><Relationship Id="rId2" Type="http://schemas.openxmlformats.org/officeDocument/2006/relationships/notesSlide" Target="../notesSlides/notesSlide58.xml"/><Relationship Id="rId1" Type="http://schemas.openxmlformats.org/officeDocument/2006/relationships/slideLayout" Target="../slideLayouts/slideLayout6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2.xml"/></Relationships>
</file>

<file path=ppt/slides/_rels/slide89.xml.rels><?xml version="1.0" encoding="UTF-8" standalone="yes"?>
<Relationships xmlns="http://schemas.openxmlformats.org/package/2006/relationships"><Relationship Id="rId3" Type="http://schemas.openxmlformats.org/officeDocument/2006/relationships/chart" Target="../charts/chart93.xml"/><Relationship Id="rId2" Type="http://schemas.openxmlformats.org/officeDocument/2006/relationships/chart" Target="../charts/chart92.xml"/><Relationship Id="rId1"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chart" Target="../charts/chart3.xml"/></Relationships>
</file>

<file path=ppt/slides/_rels/slide9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62.xml"/><Relationship Id="rId4" Type="http://schemas.openxmlformats.org/officeDocument/2006/relationships/image" Target="../media/image40.jpe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92.xml.rels><?xml version="1.0" encoding="UTF-8" standalone="yes"?>
<Relationships xmlns="http://schemas.openxmlformats.org/package/2006/relationships"><Relationship Id="rId3" Type="http://schemas.openxmlformats.org/officeDocument/2006/relationships/chart" Target="../charts/chart95.xml"/><Relationship Id="rId2" Type="http://schemas.openxmlformats.org/officeDocument/2006/relationships/chart" Target="../charts/chart94.xml"/><Relationship Id="rId1" Type="http://schemas.openxmlformats.org/officeDocument/2006/relationships/slideLayout" Target="../slideLayouts/slideLayout62.xml"/></Relationships>
</file>

<file path=ppt/slides/_rels/slide93.xml.rels><?xml version="1.0" encoding="UTF-8" standalone="yes"?>
<Relationships xmlns="http://schemas.openxmlformats.org/package/2006/relationships"><Relationship Id="rId117" Type="http://schemas.openxmlformats.org/officeDocument/2006/relationships/tags" Target="../tags/tag325.xml"/><Relationship Id="rId21" Type="http://schemas.openxmlformats.org/officeDocument/2006/relationships/tags" Target="../tags/tag229.xml"/><Relationship Id="rId42" Type="http://schemas.openxmlformats.org/officeDocument/2006/relationships/tags" Target="../tags/tag250.xml"/><Relationship Id="rId63" Type="http://schemas.openxmlformats.org/officeDocument/2006/relationships/tags" Target="../tags/tag271.xml"/><Relationship Id="rId84" Type="http://schemas.openxmlformats.org/officeDocument/2006/relationships/tags" Target="../tags/tag292.xml"/><Relationship Id="rId138" Type="http://schemas.openxmlformats.org/officeDocument/2006/relationships/tags" Target="../tags/tag346.xml"/><Relationship Id="rId159" Type="http://schemas.openxmlformats.org/officeDocument/2006/relationships/tags" Target="../tags/tag367.xml"/><Relationship Id="rId170" Type="http://schemas.openxmlformats.org/officeDocument/2006/relationships/tags" Target="../tags/tag378.xml"/><Relationship Id="rId191" Type="http://schemas.openxmlformats.org/officeDocument/2006/relationships/tags" Target="../tags/tag399.xml"/><Relationship Id="rId196" Type="http://schemas.openxmlformats.org/officeDocument/2006/relationships/tags" Target="../tags/tag404.xml"/><Relationship Id="rId200" Type="http://schemas.openxmlformats.org/officeDocument/2006/relationships/tags" Target="../tags/tag408.xml"/><Relationship Id="rId16" Type="http://schemas.openxmlformats.org/officeDocument/2006/relationships/tags" Target="../tags/tag224.xml"/><Relationship Id="rId107" Type="http://schemas.openxmlformats.org/officeDocument/2006/relationships/tags" Target="../tags/tag315.xml"/><Relationship Id="rId11" Type="http://schemas.openxmlformats.org/officeDocument/2006/relationships/tags" Target="../tags/tag219.xml"/><Relationship Id="rId32" Type="http://schemas.openxmlformats.org/officeDocument/2006/relationships/tags" Target="../tags/tag240.xml"/><Relationship Id="rId37" Type="http://schemas.openxmlformats.org/officeDocument/2006/relationships/tags" Target="../tags/tag245.xml"/><Relationship Id="rId53" Type="http://schemas.openxmlformats.org/officeDocument/2006/relationships/tags" Target="../tags/tag261.xml"/><Relationship Id="rId58" Type="http://schemas.openxmlformats.org/officeDocument/2006/relationships/tags" Target="../tags/tag266.xml"/><Relationship Id="rId74" Type="http://schemas.openxmlformats.org/officeDocument/2006/relationships/tags" Target="../tags/tag282.xml"/><Relationship Id="rId79" Type="http://schemas.openxmlformats.org/officeDocument/2006/relationships/tags" Target="../tags/tag287.xml"/><Relationship Id="rId102" Type="http://schemas.openxmlformats.org/officeDocument/2006/relationships/tags" Target="../tags/tag310.xml"/><Relationship Id="rId123" Type="http://schemas.openxmlformats.org/officeDocument/2006/relationships/tags" Target="../tags/tag331.xml"/><Relationship Id="rId128" Type="http://schemas.openxmlformats.org/officeDocument/2006/relationships/tags" Target="../tags/tag336.xml"/><Relationship Id="rId144" Type="http://schemas.openxmlformats.org/officeDocument/2006/relationships/tags" Target="../tags/tag352.xml"/><Relationship Id="rId149" Type="http://schemas.openxmlformats.org/officeDocument/2006/relationships/tags" Target="../tags/tag357.xml"/><Relationship Id="rId5" Type="http://schemas.openxmlformats.org/officeDocument/2006/relationships/tags" Target="../tags/tag213.xml"/><Relationship Id="rId90" Type="http://schemas.openxmlformats.org/officeDocument/2006/relationships/tags" Target="../tags/tag298.xml"/><Relationship Id="rId95" Type="http://schemas.openxmlformats.org/officeDocument/2006/relationships/tags" Target="../tags/tag303.xml"/><Relationship Id="rId160" Type="http://schemas.openxmlformats.org/officeDocument/2006/relationships/tags" Target="../tags/tag368.xml"/><Relationship Id="rId165" Type="http://schemas.openxmlformats.org/officeDocument/2006/relationships/tags" Target="../tags/tag373.xml"/><Relationship Id="rId181" Type="http://schemas.openxmlformats.org/officeDocument/2006/relationships/tags" Target="../tags/tag389.xml"/><Relationship Id="rId186" Type="http://schemas.openxmlformats.org/officeDocument/2006/relationships/tags" Target="../tags/tag394.xml"/><Relationship Id="rId22" Type="http://schemas.openxmlformats.org/officeDocument/2006/relationships/tags" Target="../tags/tag230.xml"/><Relationship Id="rId27" Type="http://schemas.openxmlformats.org/officeDocument/2006/relationships/tags" Target="../tags/tag235.xml"/><Relationship Id="rId43" Type="http://schemas.openxmlformats.org/officeDocument/2006/relationships/tags" Target="../tags/tag251.xml"/><Relationship Id="rId48" Type="http://schemas.openxmlformats.org/officeDocument/2006/relationships/tags" Target="../tags/tag256.xml"/><Relationship Id="rId64" Type="http://schemas.openxmlformats.org/officeDocument/2006/relationships/tags" Target="../tags/tag272.xml"/><Relationship Id="rId69" Type="http://schemas.openxmlformats.org/officeDocument/2006/relationships/tags" Target="../tags/tag277.xml"/><Relationship Id="rId113" Type="http://schemas.openxmlformats.org/officeDocument/2006/relationships/tags" Target="../tags/tag321.xml"/><Relationship Id="rId118" Type="http://schemas.openxmlformats.org/officeDocument/2006/relationships/tags" Target="../tags/tag326.xml"/><Relationship Id="rId134" Type="http://schemas.openxmlformats.org/officeDocument/2006/relationships/tags" Target="../tags/tag342.xml"/><Relationship Id="rId139" Type="http://schemas.openxmlformats.org/officeDocument/2006/relationships/tags" Target="../tags/tag347.xml"/><Relationship Id="rId80" Type="http://schemas.openxmlformats.org/officeDocument/2006/relationships/tags" Target="../tags/tag288.xml"/><Relationship Id="rId85" Type="http://schemas.openxmlformats.org/officeDocument/2006/relationships/tags" Target="../tags/tag293.xml"/><Relationship Id="rId150" Type="http://schemas.openxmlformats.org/officeDocument/2006/relationships/tags" Target="../tags/tag358.xml"/><Relationship Id="rId155" Type="http://schemas.openxmlformats.org/officeDocument/2006/relationships/tags" Target="../tags/tag363.xml"/><Relationship Id="rId171" Type="http://schemas.openxmlformats.org/officeDocument/2006/relationships/tags" Target="../tags/tag379.xml"/><Relationship Id="rId176" Type="http://schemas.openxmlformats.org/officeDocument/2006/relationships/tags" Target="../tags/tag384.xml"/><Relationship Id="rId192" Type="http://schemas.openxmlformats.org/officeDocument/2006/relationships/tags" Target="../tags/tag400.xml"/><Relationship Id="rId197" Type="http://schemas.openxmlformats.org/officeDocument/2006/relationships/tags" Target="../tags/tag405.xml"/><Relationship Id="rId201" Type="http://schemas.openxmlformats.org/officeDocument/2006/relationships/slideLayout" Target="../slideLayouts/slideLayout74.xml"/><Relationship Id="rId12" Type="http://schemas.openxmlformats.org/officeDocument/2006/relationships/tags" Target="../tags/tag220.xml"/><Relationship Id="rId17" Type="http://schemas.openxmlformats.org/officeDocument/2006/relationships/tags" Target="../tags/tag225.xml"/><Relationship Id="rId33" Type="http://schemas.openxmlformats.org/officeDocument/2006/relationships/tags" Target="../tags/tag241.xml"/><Relationship Id="rId38" Type="http://schemas.openxmlformats.org/officeDocument/2006/relationships/tags" Target="../tags/tag246.xml"/><Relationship Id="rId59" Type="http://schemas.openxmlformats.org/officeDocument/2006/relationships/tags" Target="../tags/tag267.xml"/><Relationship Id="rId103" Type="http://schemas.openxmlformats.org/officeDocument/2006/relationships/tags" Target="../tags/tag311.xml"/><Relationship Id="rId108" Type="http://schemas.openxmlformats.org/officeDocument/2006/relationships/tags" Target="../tags/tag316.xml"/><Relationship Id="rId124" Type="http://schemas.openxmlformats.org/officeDocument/2006/relationships/tags" Target="../tags/tag332.xml"/><Relationship Id="rId129" Type="http://schemas.openxmlformats.org/officeDocument/2006/relationships/tags" Target="../tags/tag337.xml"/><Relationship Id="rId54" Type="http://schemas.openxmlformats.org/officeDocument/2006/relationships/tags" Target="../tags/tag262.xml"/><Relationship Id="rId70" Type="http://schemas.openxmlformats.org/officeDocument/2006/relationships/tags" Target="../tags/tag278.xml"/><Relationship Id="rId75" Type="http://schemas.openxmlformats.org/officeDocument/2006/relationships/tags" Target="../tags/tag283.xml"/><Relationship Id="rId91" Type="http://schemas.openxmlformats.org/officeDocument/2006/relationships/tags" Target="../tags/tag299.xml"/><Relationship Id="rId96" Type="http://schemas.openxmlformats.org/officeDocument/2006/relationships/tags" Target="../tags/tag304.xml"/><Relationship Id="rId140" Type="http://schemas.openxmlformats.org/officeDocument/2006/relationships/tags" Target="../tags/tag348.xml"/><Relationship Id="rId145" Type="http://schemas.openxmlformats.org/officeDocument/2006/relationships/tags" Target="../tags/tag353.xml"/><Relationship Id="rId161" Type="http://schemas.openxmlformats.org/officeDocument/2006/relationships/tags" Target="../tags/tag369.xml"/><Relationship Id="rId166" Type="http://schemas.openxmlformats.org/officeDocument/2006/relationships/tags" Target="../tags/tag374.xml"/><Relationship Id="rId182" Type="http://schemas.openxmlformats.org/officeDocument/2006/relationships/tags" Target="../tags/tag390.xml"/><Relationship Id="rId187" Type="http://schemas.openxmlformats.org/officeDocument/2006/relationships/tags" Target="../tags/tag395.xml"/><Relationship Id="rId1" Type="http://schemas.openxmlformats.org/officeDocument/2006/relationships/tags" Target="../tags/tag209.xml"/><Relationship Id="rId6" Type="http://schemas.openxmlformats.org/officeDocument/2006/relationships/tags" Target="../tags/tag214.xml"/><Relationship Id="rId23" Type="http://schemas.openxmlformats.org/officeDocument/2006/relationships/tags" Target="../tags/tag231.xml"/><Relationship Id="rId28" Type="http://schemas.openxmlformats.org/officeDocument/2006/relationships/tags" Target="../tags/tag236.xml"/><Relationship Id="rId49" Type="http://schemas.openxmlformats.org/officeDocument/2006/relationships/tags" Target="../tags/tag257.xml"/><Relationship Id="rId114" Type="http://schemas.openxmlformats.org/officeDocument/2006/relationships/tags" Target="../tags/tag322.xml"/><Relationship Id="rId119" Type="http://schemas.openxmlformats.org/officeDocument/2006/relationships/tags" Target="../tags/tag327.xml"/><Relationship Id="rId44" Type="http://schemas.openxmlformats.org/officeDocument/2006/relationships/tags" Target="../tags/tag252.xml"/><Relationship Id="rId60" Type="http://schemas.openxmlformats.org/officeDocument/2006/relationships/tags" Target="../tags/tag268.xml"/><Relationship Id="rId65" Type="http://schemas.openxmlformats.org/officeDocument/2006/relationships/tags" Target="../tags/tag273.xml"/><Relationship Id="rId81" Type="http://schemas.openxmlformats.org/officeDocument/2006/relationships/tags" Target="../tags/tag289.xml"/><Relationship Id="rId86" Type="http://schemas.openxmlformats.org/officeDocument/2006/relationships/tags" Target="../tags/tag294.xml"/><Relationship Id="rId130" Type="http://schemas.openxmlformats.org/officeDocument/2006/relationships/tags" Target="../tags/tag338.xml"/><Relationship Id="rId135" Type="http://schemas.openxmlformats.org/officeDocument/2006/relationships/tags" Target="../tags/tag343.xml"/><Relationship Id="rId151" Type="http://schemas.openxmlformats.org/officeDocument/2006/relationships/tags" Target="../tags/tag359.xml"/><Relationship Id="rId156" Type="http://schemas.openxmlformats.org/officeDocument/2006/relationships/tags" Target="../tags/tag364.xml"/><Relationship Id="rId177" Type="http://schemas.openxmlformats.org/officeDocument/2006/relationships/tags" Target="../tags/tag385.xml"/><Relationship Id="rId198" Type="http://schemas.openxmlformats.org/officeDocument/2006/relationships/tags" Target="../tags/tag406.xml"/><Relationship Id="rId172" Type="http://schemas.openxmlformats.org/officeDocument/2006/relationships/tags" Target="../tags/tag380.xml"/><Relationship Id="rId193" Type="http://schemas.openxmlformats.org/officeDocument/2006/relationships/tags" Target="../tags/tag401.xml"/><Relationship Id="rId202" Type="http://schemas.openxmlformats.org/officeDocument/2006/relationships/notesSlide" Target="../notesSlides/notesSlide61.xml"/><Relationship Id="rId13" Type="http://schemas.openxmlformats.org/officeDocument/2006/relationships/tags" Target="../tags/tag221.xml"/><Relationship Id="rId18" Type="http://schemas.openxmlformats.org/officeDocument/2006/relationships/tags" Target="../tags/tag226.xml"/><Relationship Id="rId39" Type="http://schemas.openxmlformats.org/officeDocument/2006/relationships/tags" Target="../tags/tag247.xml"/><Relationship Id="rId109" Type="http://schemas.openxmlformats.org/officeDocument/2006/relationships/tags" Target="../tags/tag317.xml"/><Relationship Id="rId34" Type="http://schemas.openxmlformats.org/officeDocument/2006/relationships/tags" Target="../tags/tag242.xml"/><Relationship Id="rId50" Type="http://schemas.openxmlformats.org/officeDocument/2006/relationships/tags" Target="../tags/tag258.xml"/><Relationship Id="rId55" Type="http://schemas.openxmlformats.org/officeDocument/2006/relationships/tags" Target="../tags/tag263.xml"/><Relationship Id="rId76" Type="http://schemas.openxmlformats.org/officeDocument/2006/relationships/tags" Target="../tags/tag284.xml"/><Relationship Id="rId97" Type="http://schemas.openxmlformats.org/officeDocument/2006/relationships/tags" Target="../tags/tag305.xml"/><Relationship Id="rId104" Type="http://schemas.openxmlformats.org/officeDocument/2006/relationships/tags" Target="../tags/tag312.xml"/><Relationship Id="rId120" Type="http://schemas.openxmlformats.org/officeDocument/2006/relationships/tags" Target="../tags/tag328.xml"/><Relationship Id="rId125" Type="http://schemas.openxmlformats.org/officeDocument/2006/relationships/tags" Target="../tags/tag333.xml"/><Relationship Id="rId141" Type="http://schemas.openxmlformats.org/officeDocument/2006/relationships/tags" Target="../tags/tag349.xml"/><Relationship Id="rId146" Type="http://schemas.openxmlformats.org/officeDocument/2006/relationships/tags" Target="../tags/tag354.xml"/><Relationship Id="rId167" Type="http://schemas.openxmlformats.org/officeDocument/2006/relationships/tags" Target="../tags/tag375.xml"/><Relationship Id="rId188" Type="http://schemas.openxmlformats.org/officeDocument/2006/relationships/tags" Target="../tags/tag396.xml"/><Relationship Id="rId7" Type="http://schemas.openxmlformats.org/officeDocument/2006/relationships/tags" Target="../tags/tag215.xml"/><Relationship Id="rId71" Type="http://schemas.openxmlformats.org/officeDocument/2006/relationships/tags" Target="../tags/tag279.xml"/><Relationship Id="rId92" Type="http://schemas.openxmlformats.org/officeDocument/2006/relationships/tags" Target="../tags/tag300.xml"/><Relationship Id="rId162" Type="http://schemas.openxmlformats.org/officeDocument/2006/relationships/tags" Target="../tags/tag370.xml"/><Relationship Id="rId183" Type="http://schemas.openxmlformats.org/officeDocument/2006/relationships/tags" Target="../tags/tag391.xml"/><Relationship Id="rId2" Type="http://schemas.openxmlformats.org/officeDocument/2006/relationships/tags" Target="../tags/tag210.xml"/><Relationship Id="rId29" Type="http://schemas.openxmlformats.org/officeDocument/2006/relationships/tags" Target="../tags/tag237.xml"/><Relationship Id="rId24" Type="http://schemas.openxmlformats.org/officeDocument/2006/relationships/tags" Target="../tags/tag232.xml"/><Relationship Id="rId40" Type="http://schemas.openxmlformats.org/officeDocument/2006/relationships/tags" Target="../tags/tag248.xml"/><Relationship Id="rId45" Type="http://schemas.openxmlformats.org/officeDocument/2006/relationships/tags" Target="../tags/tag253.xml"/><Relationship Id="rId66" Type="http://schemas.openxmlformats.org/officeDocument/2006/relationships/tags" Target="../tags/tag274.xml"/><Relationship Id="rId87" Type="http://schemas.openxmlformats.org/officeDocument/2006/relationships/tags" Target="../tags/tag295.xml"/><Relationship Id="rId110" Type="http://schemas.openxmlformats.org/officeDocument/2006/relationships/tags" Target="../tags/tag318.xml"/><Relationship Id="rId115" Type="http://schemas.openxmlformats.org/officeDocument/2006/relationships/tags" Target="../tags/tag323.xml"/><Relationship Id="rId131" Type="http://schemas.openxmlformats.org/officeDocument/2006/relationships/tags" Target="../tags/tag339.xml"/><Relationship Id="rId136" Type="http://schemas.openxmlformats.org/officeDocument/2006/relationships/tags" Target="../tags/tag344.xml"/><Relationship Id="rId157" Type="http://schemas.openxmlformats.org/officeDocument/2006/relationships/tags" Target="../tags/tag365.xml"/><Relationship Id="rId178" Type="http://schemas.openxmlformats.org/officeDocument/2006/relationships/tags" Target="../tags/tag386.xml"/><Relationship Id="rId61" Type="http://schemas.openxmlformats.org/officeDocument/2006/relationships/tags" Target="../tags/tag269.xml"/><Relationship Id="rId82" Type="http://schemas.openxmlformats.org/officeDocument/2006/relationships/tags" Target="../tags/tag290.xml"/><Relationship Id="rId152" Type="http://schemas.openxmlformats.org/officeDocument/2006/relationships/tags" Target="../tags/tag360.xml"/><Relationship Id="rId173" Type="http://schemas.openxmlformats.org/officeDocument/2006/relationships/tags" Target="../tags/tag381.xml"/><Relationship Id="rId194" Type="http://schemas.openxmlformats.org/officeDocument/2006/relationships/tags" Target="../tags/tag402.xml"/><Relationship Id="rId199" Type="http://schemas.openxmlformats.org/officeDocument/2006/relationships/tags" Target="../tags/tag407.xml"/><Relationship Id="rId19" Type="http://schemas.openxmlformats.org/officeDocument/2006/relationships/tags" Target="../tags/tag227.xml"/><Relationship Id="rId14" Type="http://schemas.openxmlformats.org/officeDocument/2006/relationships/tags" Target="../tags/tag222.xml"/><Relationship Id="rId30" Type="http://schemas.openxmlformats.org/officeDocument/2006/relationships/tags" Target="../tags/tag238.xml"/><Relationship Id="rId35" Type="http://schemas.openxmlformats.org/officeDocument/2006/relationships/tags" Target="../tags/tag243.xml"/><Relationship Id="rId56" Type="http://schemas.openxmlformats.org/officeDocument/2006/relationships/tags" Target="../tags/tag264.xml"/><Relationship Id="rId77" Type="http://schemas.openxmlformats.org/officeDocument/2006/relationships/tags" Target="../tags/tag285.xml"/><Relationship Id="rId100" Type="http://schemas.openxmlformats.org/officeDocument/2006/relationships/tags" Target="../tags/tag308.xml"/><Relationship Id="rId105" Type="http://schemas.openxmlformats.org/officeDocument/2006/relationships/tags" Target="../tags/tag313.xml"/><Relationship Id="rId126" Type="http://schemas.openxmlformats.org/officeDocument/2006/relationships/tags" Target="../tags/tag334.xml"/><Relationship Id="rId147" Type="http://schemas.openxmlformats.org/officeDocument/2006/relationships/tags" Target="../tags/tag355.xml"/><Relationship Id="rId168" Type="http://schemas.openxmlformats.org/officeDocument/2006/relationships/tags" Target="../tags/tag376.xml"/><Relationship Id="rId8" Type="http://schemas.openxmlformats.org/officeDocument/2006/relationships/tags" Target="../tags/tag216.xml"/><Relationship Id="rId51" Type="http://schemas.openxmlformats.org/officeDocument/2006/relationships/tags" Target="../tags/tag259.xml"/><Relationship Id="rId72" Type="http://schemas.openxmlformats.org/officeDocument/2006/relationships/tags" Target="../tags/tag280.xml"/><Relationship Id="rId93" Type="http://schemas.openxmlformats.org/officeDocument/2006/relationships/tags" Target="../tags/tag301.xml"/><Relationship Id="rId98" Type="http://schemas.openxmlformats.org/officeDocument/2006/relationships/tags" Target="../tags/tag306.xml"/><Relationship Id="rId121" Type="http://schemas.openxmlformats.org/officeDocument/2006/relationships/tags" Target="../tags/tag329.xml"/><Relationship Id="rId142" Type="http://schemas.openxmlformats.org/officeDocument/2006/relationships/tags" Target="../tags/tag350.xml"/><Relationship Id="rId163" Type="http://schemas.openxmlformats.org/officeDocument/2006/relationships/tags" Target="../tags/tag371.xml"/><Relationship Id="rId184" Type="http://schemas.openxmlformats.org/officeDocument/2006/relationships/tags" Target="../tags/tag392.xml"/><Relationship Id="rId189" Type="http://schemas.openxmlformats.org/officeDocument/2006/relationships/tags" Target="../tags/tag397.xml"/><Relationship Id="rId3" Type="http://schemas.openxmlformats.org/officeDocument/2006/relationships/tags" Target="../tags/tag211.xml"/><Relationship Id="rId25" Type="http://schemas.openxmlformats.org/officeDocument/2006/relationships/tags" Target="../tags/tag233.xml"/><Relationship Id="rId46" Type="http://schemas.openxmlformats.org/officeDocument/2006/relationships/tags" Target="../tags/tag254.xml"/><Relationship Id="rId67" Type="http://schemas.openxmlformats.org/officeDocument/2006/relationships/tags" Target="../tags/tag275.xml"/><Relationship Id="rId116" Type="http://schemas.openxmlformats.org/officeDocument/2006/relationships/tags" Target="../tags/tag324.xml"/><Relationship Id="rId137" Type="http://schemas.openxmlformats.org/officeDocument/2006/relationships/tags" Target="../tags/tag345.xml"/><Relationship Id="rId158" Type="http://schemas.openxmlformats.org/officeDocument/2006/relationships/tags" Target="../tags/tag366.xml"/><Relationship Id="rId20" Type="http://schemas.openxmlformats.org/officeDocument/2006/relationships/tags" Target="../tags/tag228.xml"/><Relationship Id="rId41" Type="http://schemas.openxmlformats.org/officeDocument/2006/relationships/tags" Target="../tags/tag249.xml"/><Relationship Id="rId62" Type="http://schemas.openxmlformats.org/officeDocument/2006/relationships/tags" Target="../tags/tag270.xml"/><Relationship Id="rId83" Type="http://schemas.openxmlformats.org/officeDocument/2006/relationships/tags" Target="../tags/tag291.xml"/><Relationship Id="rId88" Type="http://schemas.openxmlformats.org/officeDocument/2006/relationships/tags" Target="../tags/tag296.xml"/><Relationship Id="rId111" Type="http://schemas.openxmlformats.org/officeDocument/2006/relationships/tags" Target="../tags/tag319.xml"/><Relationship Id="rId132" Type="http://schemas.openxmlformats.org/officeDocument/2006/relationships/tags" Target="../tags/tag340.xml"/><Relationship Id="rId153" Type="http://schemas.openxmlformats.org/officeDocument/2006/relationships/tags" Target="../tags/tag361.xml"/><Relationship Id="rId174" Type="http://schemas.openxmlformats.org/officeDocument/2006/relationships/tags" Target="../tags/tag382.xml"/><Relationship Id="rId179" Type="http://schemas.openxmlformats.org/officeDocument/2006/relationships/tags" Target="../tags/tag387.xml"/><Relationship Id="rId195" Type="http://schemas.openxmlformats.org/officeDocument/2006/relationships/tags" Target="../tags/tag403.xml"/><Relationship Id="rId190" Type="http://schemas.openxmlformats.org/officeDocument/2006/relationships/tags" Target="../tags/tag398.xml"/><Relationship Id="rId15" Type="http://schemas.openxmlformats.org/officeDocument/2006/relationships/tags" Target="../tags/tag223.xml"/><Relationship Id="rId36" Type="http://schemas.openxmlformats.org/officeDocument/2006/relationships/tags" Target="../tags/tag244.xml"/><Relationship Id="rId57" Type="http://schemas.openxmlformats.org/officeDocument/2006/relationships/tags" Target="../tags/tag265.xml"/><Relationship Id="rId106" Type="http://schemas.openxmlformats.org/officeDocument/2006/relationships/tags" Target="../tags/tag314.xml"/><Relationship Id="rId127" Type="http://schemas.openxmlformats.org/officeDocument/2006/relationships/tags" Target="../tags/tag335.xml"/><Relationship Id="rId10" Type="http://schemas.openxmlformats.org/officeDocument/2006/relationships/tags" Target="../tags/tag218.xml"/><Relationship Id="rId31" Type="http://schemas.openxmlformats.org/officeDocument/2006/relationships/tags" Target="../tags/tag239.xml"/><Relationship Id="rId52" Type="http://schemas.openxmlformats.org/officeDocument/2006/relationships/tags" Target="../tags/tag260.xml"/><Relationship Id="rId73" Type="http://schemas.openxmlformats.org/officeDocument/2006/relationships/tags" Target="../tags/tag281.xml"/><Relationship Id="rId78" Type="http://schemas.openxmlformats.org/officeDocument/2006/relationships/tags" Target="../tags/tag286.xml"/><Relationship Id="rId94" Type="http://schemas.openxmlformats.org/officeDocument/2006/relationships/tags" Target="../tags/tag302.xml"/><Relationship Id="rId99" Type="http://schemas.openxmlformats.org/officeDocument/2006/relationships/tags" Target="../tags/tag307.xml"/><Relationship Id="rId101" Type="http://schemas.openxmlformats.org/officeDocument/2006/relationships/tags" Target="../tags/tag309.xml"/><Relationship Id="rId122" Type="http://schemas.openxmlformats.org/officeDocument/2006/relationships/tags" Target="../tags/tag330.xml"/><Relationship Id="rId143" Type="http://schemas.openxmlformats.org/officeDocument/2006/relationships/tags" Target="../tags/tag351.xml"/><Relationship Id="rId148" Type="http://schemas.openxmlformats.org/officeDocument/2006/relationships/tags" Target="../tags/tag356.xml"/><Relationship Id="rId164" Type="http://schemas.openxmlformats.org/officeDocument/2006/relationships/tags" Target="../tags/tag372.xml"/><Relationship Id="rId169" Type="http://schemas.openxmlformats.org/officeDocument/2006/relationships/tags" Target="../tags/tag377.xml"/><Relationship Id="rId185" Type="http://schemas.openxmlformats.org/officeDocument/2006/relationships/tags" Target="../tags/tag393.xml"/><Relationship Id="rId4" Type="http://schemas.openxmlformats.org/officeDocument/2006/relationships/tags" Target="../tags/tag212.xml"/><Relationship Id="rId9" Type="http://schemas.openxmlformats.org/officeDocument/2006/relationships/tags" Target="../tags/tag217.xml"/><Relationship Id="rId180" Type="http://schemas.openxmlformats.org/officeDocument/2006/relationships/tags" Target="../tags/tag388.xml"/><Relationship Id="rId26" Type="http://schemas.openxmlformats.org/officeDocument/2006/relationships/tags" Target="../tags/tag234.xml"/><Relationship Id="rId47" Type="http://schemas.openxmlformats.org/officeDocument/2006/relationships/tags" Target="../tags/tag255.xml"/><Relationship Id="rId68" Type="http://schemas.openxmlformats.org/officeDocument/2006/relationships/tags" Target="../tags/tag276.xml"/><Relationship Id="rId89" Type="http://schemas.openxmlformats.org/officeDocument/2006/relationships/tags" Target="../tags/tag297.xml"/><Relationship Id="rId112" Type="http://schemas.openxmlformats.org/officeDocument/2006/relationships/tags" Target="../tags/tag320.xml"/><Relationship Id="rId133" Type="http://schemas.openxmlformats.org/officeDocument/2006/relationships/tags" Target="../tags/tag341.xml"/><Relationship Id="rId154" Type="http://schemas.openxmlformats.org/officeDocument/2006/relationships/tags" Target="../tags/tag362.xml"/><Relationship Id="rId175" Type="http://schemas.openxmlformats.org/officeDocument/2006/relationships/tags" Target="../tags/tag383.xml"/></Relationships>
</file>

<file path=ppt/slides/_rels/slide94.xml.rels><?xml version="1.0" encoding="UTF-8" standalone="yes"?>
<Relationships xmlns="http://schemas.openxmlformats.org/package/2006/relationships"><Relationship Id="rId117" Type="http://schemas.openxmlformats.org/officeDocument/2006/relationships/tags" Target="../tags/tag525.xml"/><Relationship Id="rId21" Type="http://schemas.openxmlformats.org/officeDocument/2006/relationships/tags" Target="../tags/tag429.xml"/><Relationship Id="rId42" Type="http://schemas.openxmlformats.org/officeDocument/2006/relationships/tags" Target="../tags/tag450.xml"/><Relationship Id="rId47" Type="http://schemas.openxmlformats.org/officeDocument/2006/relationships/tags" Target="../tags/tag455.xml"/><Relationship Id="rId63" Type="http://schemas.openxmlformats.org/officeDocument/2006/relationships/tags" Target="../tags/tag471.xml"/><Relationship Id="rId68" Type="http://schemas.openxmlformats.org/officeDocument/2006/relationships/tags" Target="../tags/tag476.xml"/><Relationship Id="rId84" Type="http://schemas.openxmlformats.org/officeDocument/2006/relationships/tags" Target="../tags/tag492.xml"/><Relationship Id="rId89" Type="http://schemas.openxmlformats.org/officeDocument/2006/relationships/tags" Target="../tags/tag497.xml"/><Relationship Id="rId112" Type="http://schemas.openxmlformats.org/officeDocument/2006/relationships/tags" Target="../tags/tag520.xml"/><Relationship Id="rId133" Type="http://schemas.openxmlformats.org/officeDocument/2006/relationships/tags" Target="../tags/tag541.xml"/><Relationship Id="rId138" Type="http://schemas.openxmlformats.org/officeDocument/2006/relationships/tags" Target="../tags/tag546.xml"/><Relationship Id="rId154" Type="http://schemas.openxmlformats.org/officeDocument/2006/relationships/tags" Target="../tags/tag562.xml"/><Relationship Id="rId159" Type="http://schemas.openxmlformats.org/officeDocument/2006/relationships/tags" Target="../tags/tag567.xml"/><Relationship Id="rId175" Type="http://schemas.openxmlformats.org/officeDocument/2006/relationships/tags" Target="../tags/tag583.xml"/><Relationship Id="rId170" Type="http://schemas.openxmlformats.org/officeDocument/2006/relationships/tags" Target="../tags/tag578.xml"/><Relationship Id="rId191" Type="http://schemas.openxmlformats.org/officeDocument/2006/relationships/tags" Target="../tags/tag599.xml"/><Relationship Id="rId196" Type="http://schemas.openxmlformats.org/officeDocument/2006/relationships/slide" Target="slide34.xml"/><Relationship Id="rId16" Type="http://schemas.openxmlformats.org/officeDocument/2006/relationships/tags" Target="../tags/tag424.xml"/><Relationship Id="rId107" Type="http://schemas.openxmlformats.org/officeDocument/2006/relationships/tags" Target="../tags/tag515.xml"/><Relationship Id="rId11" Type="http://schemas.openxmlformats.org/officeDocument/2006/relationships/tags" Target="../tags/tag419.xml"/><Relationship Id="rId32" Type="http://schemas.openxmlformats.org/officeDocument/2006/relationships/tags" Target="../tags/tag440.xml"/><Relationship Id="rId37" Type="http://schemas.openxmlformats.org/officeDocument/2006/relationships/tags" Target="../tags/tag445.xml"/><Relationship Id="rId53" Type="http://schemas.openxmlformats.org/officeDocument/2006/relationships/tags" Target="../tags/tag461.xml"/><Relationship Id="rId58" Type="http://schemas.openxmlformats.org/officeDocument/2006/relationships/tags" Target="../tags/tag466.xml"/><Relationship Id="rId74" Type="http://schemas.openxmlformats.org/officeDocument/2006/relationships/tags" Target="../tags/tag482.xml"/><Relationship Id="rId79" Type="http://schemas.openxmlformats.org/officeDocument/2006/relationships/tags" Target="../tags/tag487.xml"/><Relationship Id="rId102" Type="http://schemas.openxmlformats.org/officeDocument/2006/relationships/tags" Target="../tags/tag510.xml"/><Relationship Id="rId123" Type="http://schemas.openxmlformats.org/officeDocument/2006/relationships/tags" Target="../tags/tag531.xml"/><Relationship Id="rId128" Type="http://schemas.openxmlformats.org/officeDocument/2006/relationships/tags" Target="../tags/tag536.xml"/><Relationship Id="rId144" Type="http://schemas.openxmlformats.org/officeDocument/2006/relationships/tags" Target="../tags/tag552.xml"/><Relationship Id="rId149" Type="http://schemas.openxmlformats.org/officeDocument/2006/relationships/tags" Target="../tags/tag557.xml"/><Relationship Id="rId5" Type="http://schemas.openxmlformats.org/officeDocument/2006/relationships/tags" Target="../tags/tag413.xml"/><Relationship Id="rId90" Type="http://schemas.openxmlformats.org/officeDocument/2006/relationships/tags" Target="../tags/tag498.xml"/><Relationship Id="rId95" Type="http://schemas.openxmlformats.org/officeDocument/2006/relationships/tags" Target="../tags/tag503.xml"/><Relationship Id="rId160" Type="http://schemas.openxmlformats.org/officeDocument/2006/relationships/tags" Target="../tags/tag568.xml"/><Relationship Id="rId165" Type="http://schemas.openxmlformats.org/officeDocument/2006/relationships/tags" Target="../tags/tag573.xml"/><Relationship Id="rId181" Type="http://schemas.openxmlformats.org/officeDocument/2006/relationships/tags" Target="../tags/tag589.xml"/><Relationship Id="rId186" Type="http://schemas.openxmlformats.org/officeDocument/2006/relationships/tags" Target="../tags/tag594.xml"/><Relationship Id="rId22" Type="http://schemas.openxmlformats.org/officeDocument/2006/relationships/tags" Target="../tags/tag430.xml"/><Relationship Id="rId27" Type="http://schemas.openxmlformats.org/officeDocument/2006/relationships/tags" Target="../tags/tag435.xml"/><Relationship Id="rId43" Type="http://schemas.openxmlformats.org/officeDocument/2006/relationships/tags" Target="../tags/tag451.xml"/><Relationship Id="rId48" Type="http://schemas.openxmlformats.org/officeDocument/2006/relationships/tags" Target="../tags/tag456.xml"/><Relationship Id="rId64" Type="http://schemas.openxmlformats.org/officeDocument/2006/relationships/tags" Target="../tags/tag472.xml"/><Relationship Id="rId69" Type="http://schemas.openxmlformats.org/officeDocument/2006/relationships/tags" Target="../tags/tag477.xml"/><Relationship Id="rId113" Type="http://schemas.openxmlformats.org/officeDocument/2006/relationships/tags" Target="../tags/tag521.xml"/><Relationship Id="rId118" Type="http://schemas.openxmlformats.org/officeDocument/2006/relationships/tags" Target="../tags/tag526.xml"/><Relationship Id="rId134" Type="http://schemas.openxmlformats.org/officeDocument/2006/relationships/tags" Target="../tags/tag542.xml"/><Relationship Id="rId139" Type="http://schemas.openxmlformats.org/officeDocument/2006/relationships/tags" Target="../tags/tag547.xml"/><Relationship Id="rId80" Type="http://schemas.openxmlformats.org/officeDocument/2006/relationships/tags" Target="../tags/tag488.xml"/><Relationship Id="rId85" Type="http://schemas.openxmlformats.org/officeDocument/2006/relationships/tags" Target="../tags/tag493.xml"/><Relationship Id="rId150" Type="http://schemas.openxmlformats.org/officeDocument/2006/relationships/tags" Target="../tags/tag558.xml"/><Relationship Id="rId155" Type="http://schemas.openxmlformats.org/officeDocument/2006/relationships/tags" Target="../tags/tag563.xml"/><Relationship Id="rId171" Type="http://schemas.openxmlformats.org/officeDocument/2006/relationships/tags" Target="../tags/tag579.xml"/><Relationship Id="rId176" Type="http://schemas.openxmlformats.org/officeDocument/2006/relationships/tags" Target="../tags/tag584.xml"/><Relationship Id="rId192" Type="http://schemas.openxmlformats.org/officeDocument/2006/relationships/tags" Target="../tags/tag600.xml"/><Relationship Id="rId12" Type="http://schemas.openxmlformats.org/officeDocument/2006/relationships/tags" Target="../tags/tag420.xml"/><Relationship Id="rId17" Type="http://schemas.openxmlformats.org/officeDocument/2006/relationships/tags" Target="../tags/tag425.xml"/><Relationship Id="rId33" Type="http://schemas.openxmlformats.org/officeDocument/2006/relationships/tags" Target="../tags/tag441.xml"/><Relationship Id="rId38" Type="http://schemas.openxmlformats.org/officeDocument/2006/relationships/tags" Target="../tags/tag446.xml"/><Relationship Id="rId59" Type="http://schemas.openxmlformats.org/officeDocument/2006/relationships/tags" Target="../tags/tag467.xml"/><Relationship Id="rId103" Type="http://schemas.openxmlformats.org/officeDocument/2006/relationships/tags" Target="../tags/tag511.xml"/><Relationship Id="rId108" Type="http://schemas.openxmlformats.org/officeDocument/2006/relationships/tags" Target="../tags/tag516.xml"/><Relationship Id="rId124" Type="http://schemas.openxmlformats.org/officeDocument/2006/relationships/tags" Target="../tags/tag532.xml"/><Relationship Id="rId129" Type="http://schemas.openxmlformats.org/officeDocument/2006/relationships/tags" Target="../tags/tag537.xml"/><Relationship Id="rId54" Type="http://schemas.openxmlformats.org/officeDocument/2006/relationships/tags" Target="../tags/tag462.xml"/><Relationship Id="rId70" Type="http://schemas.openxmlformats.org/officeDocument/2006/relationships/tags" Target="../tags/tag478.xml"/><Relationship Id="rId75" Type="http://schemas.openxmlformats.org/officeDocument/2006/relationships/tags" Target="../tags/tag483.xml"/><Relationship Id="rId91" Type="http://schemas.openxmlformats.org/officeDocument/2006/relationships/tags" Target="../tags/tag499.xml"/><Relationship Id="rId96" Type="http://schemas.openxmlformats.org/officeDocument/2006/relationships/tags" Target="../tags/tag504.xml"/><Relationship Id="rId140" Type="http://schemas.openxmlformats.org/officeDocument/2006/relationships/tags" Target="../tags/tag548.xml"/><Relationship Id="rId145" Type="http://schemas.openxmlformats.org/officeDocument/2006/relationships/tags" Target="../tags/tag553.xml"/><Relationship Id="rId161" Type="http://schemas.openxmlformats.org/officeDocument/2006/relationships/tags" Target="../tags/tag569.xml"/><Relationship Id="rId166" Type="http://schemas.openxmlformats.org/officeDocument/2006/relationships/tags" Target="../tags/tag574.xml"/><Relationship Id="rId182" Type="http://schemas.openxmlformats.org/officeDocument/2006/relationships/tags" Target="../tags/tag590.xml"/><Relationship Id="rId187" Type="http://schemas.openxmlformats.org/officeDocument/2006/relationships/tags" Target="../tags/tag595.xml"/><Relationship Id="rId1" Type="http://schemas.openxmlformats.org/officeDocument/2006/relationships/tags" Target="../tags/tag409.xml"/><Relationship Id="rId6" Type="http://schemas.openxmlformats.org/officeDocument/2006/relationships/tags" Target="../tags/tag414.xml"/><Relationship Id="rId23" Type="http://schemas.openxmlformats.org/officeDocument/2006/relationships/tags" Target="../tags/tag431.xml"/><Relationship Id="rId28" Type="http://schemas.openxmlformats.org/officeDocument/2006/relationships/tags" Target="../tags/tag436.xml"/><Relationship Id="rId49" Type="http://schemas.openxmlformats.org/officeDocument/2006/relationships/tags" Target="../tags/tag457.xml"/><Relationship Id="rId114" Type="http://schemas.openxmlformats.org/officeDocument/2006/relationships/tags" Target="../tags/tag522.xml"/><Relationship Id="rId119" Type="http://schemas.openxmlformats.org/officeDocument/2006/relationships/tags" Target="../tags/tag527.xml"/><Relationship Id="rId44" Type="http://schemas.openxmlformats.org/officeDocument/2006/relationships/tags" Target="../tags/tag452.xml"/><Relationship Id="rId60" Type="http://schemas.openxmlformats.org/officeDocument/2006/relationships/tags" Target="../tags/tag468.xml"/><Relationship Id="rId65" Type="http://schemas.openxmlformats.org/officeDocument/2006/relationships/tags" Target="../tags/tag473.xml"/><Relationship Id="rId81" Type="http://schemas.openxmlformats.org/officeDocument/2006/relationships/tags" Target="../tags/tag489.xml"/><Relationship Id="rId86" Type="http://schemas.openxmlformats.org/officeDocument/2006/relationships/tags" Target="../tags/tag494.xml"/><Relationship Id="rId130" Type="http://schemas.openxmlformats.org/officeDocument/2006/relationships/tags" Target="../tags/tag538.xml"/><Relationship Id="rId135" Type="http://schemas.openxmlformats.org/officeDocument/2006/relationships/tags" Target="../tags/tag543.xml"/><Relationship Id="rId151" Type="http://schemas.openxmlformats.org/officeDocument/2006/relationships/tags" Target="../tags/tag559.xml"/><Relationship Id="rId156" Type="http://schemas.openxmlformats.org/officeDocument/2006/relationships/tags" Target="../tags/tag564.xml"/><Relationship Id="rId177" Type="http://schemas.openxmlformats.org/officeDocument/2006/relationships/tags" Target="../tags/tag585.xml"/><Relationship Id="rId172" Type="http://schemas.openxmlformats.org/officeDocument/2006/relationships/tags" Target="../tags/tag580.xml"/><Relationship Id="rId193" Type="http://schemas.openxmlformats.org/officeDocument/2006/relationships/tags" Target="../tags/tag601.xml"/><Relationship Id="rId13" Type="http://schemas.openxmlformats.org/officeDocument/2006/relationships/tags" Target="../tags/tag421.xml"/><Relationship Id="rId18" Type="http://schemas.openxmlformats.org/officeDocument/2006/relationships/tags" Target="../tags/tag426.xml"/><Relationship Id="rId39" Type="http://schemas.openxmlformats.org/officeDocument/2006/relationships/tags" Target="../tags/tag447.xml"/><Relationship Id="rId109" Type="http://schemas.openxmlformats.org/officeDocument/2006/relationships/tags" Target="../tags/tag517.xml"/><Relationship Id="rId34" Type="http://schemas.openxmlformats.org/officeDocument/2006/relationships/tags" Target="../tags/tag442.xml"/><Relationship Id="rId50" Type="http://schemas.openxmlformats.org/officeDocument/2006/relationships/tags" Target="../tags/tag458.xml"/><Relationship Id="rId55" Type="http://schemas.openxmlformats.org/officeDocument/2006/relationships/tags" Target="../tags/tag463.xml"/><Relationship Id="rId76" Type="http://schemas.openxmlformats.org/officeDocument/2006/relationships/tags" Target="../tags/tag484.xml"/><Relationship Id="rId97" Type="http://schemas.openxmlformats.org/officeDocument/2006/relationships/tags" Target="../tags/tag505.xml"/><Relationship Id="rId104" Type="http://schemas.openxmlformats.org/officeDocument/2006/relationships/tags" Target="../tags/tag512.xml"/><Relationship Id="rId120" Type="http://schemas.openxmlformats.org/officeDocument/2006/relationships/tags" Target="../tags/tag528.xml"/><Relationship Id="rId125" Type="http://schemas.openxmlformats.org/officeDocument/2006/relationships/tags" Target="../tags/tag533.xml"/><Relationship Id="rId141" Type="http://schemas.openxmlformats.org/officeDocument/2006/relationships/tags" Target="../tags/tag549.xml"/><Relationship Id="rId146" Type="http://schemas.openxmlformats.org/officeDocument/2006/relationships/tags" Target="../tags/tag554.xml"/><Relationship Id="rId167" Type="http://schemas.openxmlformats.org/officeDocument/2006/relationships/tags" Target="../tags/tag575.xml"/><Relationship Id="rId188" Type="http://schemas.openxmlformats.org/officeDocument/2006/relationships/tags" Target="../tags/tag596.xml"/><Relationship Id="rId7" Type="http://schemas.openxmlformats.org/officeDocument/2006/relationships/tags" Target="../tags/tag415.xml"/><Relationship Id="rId71" Type="http://schemas.openxmlformats.org/officeDocument/2006/relationships/tags" Target="../tags/tag479.xml"/><Relationship Id="rId92" Type="http://schemas.openxmlformats.org/officeDocument/2006/relationships/tags" Target="../tags/tag500.xml"/><Relationship Id="rId162" Type="http://schemas.openxmlformats.org/officeDocument/2006/relationships/tags" Target="../tags/tag570.xml"/><Relationship Id="rId183" Type="http://schemas.openxmlformats.org/officeDocument/2006/relationships/tags" Target="../tags/tag591.xml"/><Relationship Id="rId2" Type="http://schemas.openxmlformats.org/officeDocument/2006/relationships/tags" Target="../tags/tag410.xml"/><Relationship Id="rId29" Type="http://schemas.openxmlformats.org/officeDocument/2006/relationships/tags" Target="../tags/tag437.xml"/><Relationship Id="rId24" Type="http://schemas.openxmlformats.org/officeDocument/2006/relationships/tags" Target="../tags/tag432.xml"/><Relationship Id="rId40" Type="http://schemas.openxmlformats.org/officeDocument/2006/relationships/tags" Target="../tags/tag448.xml"/><Relationship Id="rId45" Type="http://schemas.openxmlformats.org/officeDocument/2006/relationships/tags" Target="../tags/tag453.xml"/><Relationship Id="rId66" Type="http://schemas.openxmlformats.org/officeDocument/2006/relationships/tags" Target="../tags/tag474.xml"/><Relationship Id="rId87" Type="http://schemas.openxmlformats.org/officeDocument/2006/relationships/tags" Target="../tags/tag495.xml"/><Relationship Id="rId110" Type="http://schemas.openxmlformats.org/officeDocument/2006/relationships/tags" Target="../tags/tag518.xml"/><Relationship Id="rId115" Type="http://schemas.openxmlformats.org/officeDocument/2006/relationships/tags" Target="../tags/tag523.xml"/><Relationship Id="rId131" Type="http://schemas.openxmlformats.org/officeDocument/2006/relationships/tags" Target="../tags/tag539.xml"/><Relationship Id="rId136" Type="http://schemas.openxmlformats.org/officeDocument/2006/relationships/tags" Target="../tags/tag544.xml"/><Relationship Id="rId157" Type="http://schemas.openxmlformats.org/officeDocument/2006/relationships/tags" Target="../tags/tag565.xml"/><Relationship Id="rId178" Type="http://schemas.openxmlformats.org/officeDocument/2006/relationships/tags" Target="../tags/tag586.xml"/><Relationship Id="rId61" Type="http://schemas.openxmlformats.org/officeDocument/2006/relationships/tags" Target="../tags/tag469.xml"/><Relationship Id="rId82" Type="http://schemas.openxmlformats.org/officeDocument/2006/relationships/tags" Target="../tags/tag490.xml"/><Relationship Id="rId152" Type="http://schemas.openxmlformats.org/officeDocument/2006/relationships/tags" Target="../tags/tag560.xml"/><Relationship Id="rId173" Type="http://schemas.openxmlformats.org/officeDocument/2006/relationships/tags" Target="../tags/tag581.xml"/><Relationship Id="rId194" Type="http://schemas.openxmlformats.org/officeDocument/2006/relationships/slideLayout" Target="../slideLayouts/slideLayout90.xml"/><Relationship Id="rId19" Type="http://schemas.openxmlformats.org/officeDocument/2006/relationships/tags" Target="../tags/tag427.xml"/><Relationship Id="rId14" Type="http://schemas.openxmlformats.org/officeDocument/2006/relationships/tags" Target="../tags/tag422.xml"/><Relationship Id="rId30" Type="http://schemas.openxmlformats.org/officeDocument/2006/relationships/tags" Target="../tags/tag438.xml"/><Relationship Id="rId35" Type="http://schemas.openxmlformats.org/officeDocument/2006/relationships/tags" Target="../tags/tag443.xml"/><Relationship Id="rId56" Type="http://schemas.openxmlformats.org/officeDocument/2006/relationships/tags" Target="../tags/tag464.xml"/><Relationship Id="rId77" Type="http://schemas.openxmlformats.org/officeDocument/2006/relationships/tags" Target="../tags/tag485.xml"/><Relationship Id="rId100" Type="http://schemas.openxmlformats.org/officeDocument/2006/relationships/tags" Target="../tags/tag508.xml"/><Relationship Id="rId105" Type="http://schemas.openxmlformats.org/officeDocument/2006/relationships/tags" Target="../tags/tag513.xml"/><Relationship Id="rId126" Type="http://schemas.openxmlformats.org/officeDocument/2006/relationships/tags" Target="../tags/tag534.xml"/><Relationship Id="rId147" Type="http://schemas.openxmlformats.org/officeDocument/2006/relationships/tags" Target="../tags/tag555.xml"/><Relationship Id="rId168" Type="http://schemas.openxmlformats.org/officeDocument/2006/relationships/tags" Target="../tags/tag576.xml"/><Relationship Id="rId8" Type="http://schemas.openxmlformats.org/officeDocument/2006/relationships/tags" Target="../tags/tag416.xml"/><Relationship Id="rId51" Type="http://schemas.openxmlformats.org/officeDocument/2006/relationships/tags" Target="../tags/tag459.xml"/><Relationship Id="rId72" Type="http://schemas.openxmlformats.org/officeDocument/2006/relationships/tags" Target="../tags/tag480.xml"/><Relationship Id="rId93" Type="http://schemas.openxmlformats.org/officeDocument/2006/relationships/tags" Target="../tags/tag501.xml"/><Relationship Id="rId98" Type="http://schemas.openxmlformats.org/officeDocument/2006/relationships/tags" Target="../tags/tag506.xml"/><Relationship Id="rId121" Type="http://schemas.openxmlformats.org/officeDocument/2006/relationships/tags" Target="../tags/tag529.xml"/><Relationship Id="rId142" Type="http://schemas.openxmlformats.org/officeDocument/2006/relationships/tags" Target="../tags/tag550.xml"/><Relationship Id="rId163" Type="http://schemas.openxmlformats.org/officeDocument/2006/relationships/tags" Target="../tags/tag571.xml"/><Relationship Id="rId184" Type="http://schemas.openxmlformats.org/officeDocument/2006/relationships/tags" Target="../tags/tag592.xml"/><Relationship Id="rId189" Type="http://schemas.openxmlformats.org/officeDocument/2006/relationships/tags" Target="../tags/tag597.xml"/><Relationship Id="rId3" Type="http://schemas.openxmlformats.org/officeDocument/2006/relationships/tags" Target="../tags/tag411.xml"/><Relationship Id="rId25" Type="http://schemas.openxmlformats.org/officeDocument/2006/relationships/tags" Target="../tags/tag433.xml"/><Relationship Id="rId46" Type="http://schemas.openxmlformats.org/officeDocument/2006/relationships/tags" Target="../tags/tag454.xml"/><Relationship Id="rId67" Type="http://schemas.openxmlformats.org/officeDocument/2006/relationships/tags" Target="../tags/tag475.xml"/><Relationship Id="rId116" Type="http://schemas.openxmlformats.org/officeDocument/2006/relationships/tags" Target="../tags/tag524.xml"/><Relationship Id="rId137" Type="http://schemas.openxmlformats.org/officeDocument/2006/relationships/tags" Target="../tags/tag545.xml"/><Relationship Id="rId158" Type="http://schemas.openxmlformats.org/officeDocument/2006/relationships/tags" Target="../tags/tag566.xml"/><Relationship Id="rId20" Type="http://schemas.openxmlformats.org/officeDocument/2006/relationships/tags" Target="../tags/tag428.xml"/><Relationship Id="rId41" Type="http://schemas.openxmlformats.org/officeDocument/2006/relationships/tags" Target="../tags/tag449.xml"/><Relationship Id="rId62" Type="http://schemas.openxmlformats.org/officeDocument/2006/relationships/tags" Target="../tags/tag470.xml"/><Relationship Id="rId83" Type="http://schemas.openxmlformats.org/officeDocument/2006/relationships/tags" Target="../tags/tag491.xml"/><Relationship Id="rId88" Type="http://schemas.openxmlformats.org/officeDocument/2006/relationships/tags" Target="../tags/tag496.xml"/><Relationship Id="rId111" Type="http://schemas.openxmlformats.org/officeDocument/2006/relationships/tags" Target="../tags/tag519.xml"/><Relationship Id="rId132" Type="http://schemas.openxmlformats.org/officeDocument/2006/relationships/tags" Target="../tags/tag540.xml"/><Relationship Id="rId153" Type="http://schemas.openxmlformats.org/officeDocument/2006/relationships/tags" Target="../tags/tag561.xml"/><Relationship Id="rId174" Type="http://schemas.openxmlformats.org/officeDocument/2006/relationships/tags" Target="../tags/tag582.xml"/><Relationship Id="rId179" Type="http://schemas.openxmlformats.org/officeDocument/2006/relationships/tags" Target="../tags/tag587.xml"/><Relationship Id="rId195" Type="http://schemas.openxmlformats.org/officeDocument/2006/relationships/notesSlide" Target="../notesSlides/notesSlide62.xml"/><Relationship Id="rId190" Type="http://schemas.openxmlformats.org/officeDocument/2006/relationships/tags" Target="../tags/tag598.xml"/><Relationship Id="rId15" Type="http://schemas.openxmlformats.org/officeDocument/2006/relationships/tags" Target="../tags/tag423.xml"/><Relationship Id="rId36" Type="http://schemas.openxmlformats.org/officeDocument/2006/relationships/tags" Target="../tags/tag444.xml"/><Relationship Id="rId57" Type="http://schemas.openxmlformats.org/officeDocument/2006/relationships/tags" Target="../tags/tag465.xml"/><Relationship Id="rId106" Type="http://schemas.openxmlformats.org/officeDocument/2006/relationships/tags" Target="../tags/tag514.xml"/><Relationship Id="rId127" Type="http://schemas.openxmlformats.org/officeDocument/2006/relationships/tags" Target="../tags/tag535.xml"/><Relationship Id="rId10" Type="http://schemas.openxmlformats.org/officeDocument/2006/relationships/tags" Target="../tags/tag418.xml"/><Relationship Id="rId31" Type="http://schemas.openxmlformats.org/officeDocument/2006/relationships/tags" Target="../tags/tag439.xml"/><Relationship Id="rId52" Type="http://schemas.openxmlformats.org/officeDocument/2006/relationships/tags" Target="../tags/tag460.xml"/><Relationship Id="rId73" Type="http://schemas.openxmlformats.org/officeDocument/2006/relationships/tags" Target="../tags/tag481.xml"/><Relationship Id="rId78" Type="http://schemas.openxmlformats.org/officeDocument/2006/relationships/tags" Target="../tags/tag486.xml"/><Relationship Id="rId94" Type="http://schemas.openxmlformats.org/officeDocument/2006/relationships/tags" Target="../tags/tag502.xml"/><Relationship Id="rId99" Type="http://schemas.openxmlformats.org/officeDocument/2006/relationships/tags" Target="../tags/tag507.xml"/><Relationship Id="rId101" Type="http://schemas.openxmlformats.org/officeDocument/2006/relationships/tags" Target="../tags/tag509.xml"/><Relationship Id="rId122" Type="http://schemas.openxmlformats.org/officeDocument/2006/relationships/tags" Target="../tags/tag530.xml"/><Relationship Id="rId143" Type="http://schemas.openxmlformats.org/officeDocument/2006/relationships/tags" Target="../tags/tag551.xml"/><Relationship Id="rId148" Type="http://schemas.openxmlformats.org/officeDocument/2006/relationships/tags" Target="../tags/tag556.xml"/><Relationship Id="rId164" Type="http://schemas.openxmlformats.org/officeDocument/2006/relationships/tags" Target="../tags/tag572.xml"/><Relationship Id="rId169" Type="http://schemas.openxmlformats.org/officeDocument/2006/relationships/tags" Target="../tags/tag577.xml"/><Relationship Id="rId185" Type="http://schemas.openxmlformats.org/officeDocument/2006/relationships/tags" Target="../tags/tag593.xml"/><Relationship Id="rId4" Type="http://schemas.openxmlformats.org/officeDocument/2006/relationships/tags" Target="../tags/tag412.xml"/><Relationship Id="rId9" Type="http://schemas.openxmlformats.org/officeDocument/2006/relationships/tags" Target="../tags/tag417.xml"/><Relationship Id="rId180" Type="http://schemas.openxmlformats.org/officeDocument/2006/relationships/tags" Target="../tags/tag588.xml"/><Relationship Id="rId26" Type="http://schemas.openxmlformats.org/officeDocument/2006/relationships/tags" Target="../tags/tag434.xml"/></Relationships>
</file>

<file path=ppt/slides/_rels/slide95.xml.rels><?xml version="1.0" encoding="UTF-8" standalone="yes"?>
<Relationships xmlns="http://schemas.openxmlformats.org/package/2006/relationships"><Relationship Id="rId117" Type="http://schemas.openxmlformats.org/officeDocument/2006/relationships/tags" Target="../tags/tag718.xml"/><Relationship Id="rId21" Type="http://schemas.openxmlformats.org/officeDocument/2006/relationships/tags" Target="../tags/tag622.xml"/><Relationship Id="rId42" Type="http://schemas.openxmlformats.org/officeDocument/2006/relationships/tags" Target="../tags/tag643.xml"/><Relationship Id="rId47" Type="http://schemas.openxmlformats.org/officeDocument/2006/relationships/tags" Target="../tags/tag648.xml"/><Relationship Id="rId63" Type="http://schemas.openxmlformats.org/officeDocument/2006/relationships/tags" Target="../tags/tag664.xml"/><Relationship Id="rId68" Type="http://schemas.openxmlformats.org/officeDocument/2006/relationships/tags" Target="../tags/tag669.xml"/><Relationship Id="rId84" Type="http://schemas.openxmlformats.org/officeDocument/2006/relationships/tags" Target="../tags/tag685.xml"/><Relationship Id="rId89" Type="http://schemas.openxmlformats.org/officeDocument/2006/relationships/tags" Target="../tags/tag690.xml"/><Relationship Id="rId112" Type="http://schemas.openxmlformats.org/officeDocument/2006/relationships/tags" Target="../tags/tag713.xml"/><Relationship Id="rId133" Type="http://schemas.openxmlformats.org/officeDocument/2006/relationships/tags" Target="../tags/tag734.xml"/><Relationship Id="rId138" Type="http://schemas.openxmlformats.org/officeDocument/2006/relationships/tags" Target="../tags/tag739.xml"/><Relationship Id="rId154" Type="http://schemas.openxmlformats.org/officeDocument/2006/relationships/tags" Target="../tags/tag755.xml"/><Relationship Id="rId159" Type="http://schemas.openxmlformats.org/officeDocument/2006/relationships/tags" Target="../tags/tag760.xml"/><Relationship Id="rId175" Type="http://schemas.openxmlformats.org/officeDocument/2006/relationships/tags" Target="../tags/tag776.xml"/><Relationship Id="rId170" Type="http://schemas.openxmlformats.org/officeDocument/2006/relationships/tags" Target="../tags/tag771.xml"/><Relationship Id="rId191" Type="http://schemas.openxmlformats.org/officeDocument/2006/relationships/tags" Target="../tags/tag792.xml"/><Relationship Id="rId196" Type="http://schemas.openxmlformats.org/officeDocument/2006/relationships/chart" Target="../charts/chart96.xml"/><Relationship Id="rId16" Type="http://schemas.openxmlformats.org/officeDocument/2006/relationships/tags" Target="../tags/tag617.xml"/><Relationship Id="rId107" Type="http://schemas.openxmlformats.org/officeDocument/2006/relationships/tags" Target="../tags/tag708.xml"/><Relationship Id="rId11" Type="http://schemas.openxmlformats.org/officeDocument/2006/relationships/tags" Target="../tags/tag612.xml"/><Relationship Id="rId32" Type="http://schemas.openxmlformats.org/officeDocument/2006/relationships/tags" Target="../tags/tag633.xml"/><Relationship Id="rId37" Type="http://schemas.openxmlformats.org/officeDocument/2006/relationships/tags" Target="../tags/tag638.xml"/><Relationship Id="rId53" Type="http://schemas.openxmlformats.org/officeDocument/2006/relationships/tags" Target="../tags/tag654.xml"/><Relationship Id="rId58" Type="http://schemas.openxmlformats.org/officeDocument/2006/relationships/tags" Target="../tags/tag659.xml"/><Relationship Id="rId74" Type="http://schemas.openxmlformats.org/officeDocument/2006/relationships/tags" Target="../tags/tag675.xml"/><Relationship Id="rId79" Type="http://schemas.openxmlformats.org/officeDocument/2006/relationships/tags" Target="../tags/tag680.xml"/><Relationship Id="rId102" Type="http://schemas.openxmlformats.org/officeDocument/2006/relationships/tags" Target="../tags/tag703.xml"/><Relationship Id="rId123" Type="http://schemas.openxmlformats.org/officeDocument/2006/relationships/tags" Target="../tags/tag724.xml"/><Relationship Id="rId128" Type="http://schemas.openxmlformats.org/officeDocument/2006/relationships/tags" Target="../tags/tag729.xml"/><Relationship Id="rId144" Type="http://schemas.openxmlformats.org/officeDocument/2006/relationships/tags" Target="../tags/tag745.xml"/><Relationship Id="rId149" Type="http://schemas.openxmlformats.org/officeDocument/2006/relationships/tags" Target="../tags/tag750.xml"/><Relationship Id="rId5" Type="http://schemas.openxmlformats.org/officeDocument/2006/relationships/tags" Target="../tags/tag606.xml"/><Relationship Id="rId90" Type="http://schemas.openxmlformats.org/officeDocument/2006/relationships/tags" Target="../tags/tag691.xml"/><Relationship Id="rId95" Type="http://schemas.openxmlformats.org/officeDocument/2006/relationships/tags" Target="../tags/tag696.xml"/><Relationship Id="rId160" Type="http://schemas.openxmlformats.org/officeDocument/2006/relationships/tags" Target="../tags/tag761.xml"/><Relationship Id="rId165" Type="http://schemas.openxmlformats.org/officeDocument/2006/relationships/tags" Target="../tags/tag766.xml"/><Relationship Id="rId181" Type="http://schemas.openxmlformats.org/officeDocument/2006/relationships/tags" Target="../tags/tag782.xml"/><Relationship Id="rId186" Type="http://schemas.openxmlformats.org/officeDocument/2006/relationships/tags" Target="../tags/tag787.xml"/><Relationship Id="rId22" Type="http://schemas.openxmlformats.org/officeDocument/2006/relationships/tags" Target="../tags/tag623.xml"/><Relationship Id="rId27" Type="http://schemas.openxmlformats.org/officeDocument/2006/relationships/tags" Target="../tags/tag628.xml"/><Relationship Id="rId43" Type="http://schemas.openxmlformats.org/officeDocument/2006/relationships/tags" Target="../tags/tag644.xml"/><Relationship Id="rId48" Type="http://schemas.openxmlformats.org/officeDocument/2006/relationships/tags" Target="../tags/tag649.xml"/><Relationship Id="rId64" Type="http://schemas.openxmlformats.org/officeDocument/2006/relationships/tags" Target="../tags/tag665.xml"/><Relationship Id="rId69" Type="http://schemas.openxmlformats.org/officeDocument/2006/relationships/tags" Target="../tags/tag670.xml"/><Relationship Id="rId113" Type="http://schemas.openxmlformats.org/officeDocument/2006/relationships/tags" Target="../tags/tag714.xml"/><Relationship Id="rId118" Type="http://schemas.openxmlformats.org/officeDocument/2006/relationships/tags" Target="../tags/tag719.xml"/><Relationship Id="rId134" Type="http://schemas.openxmlformats.org/officeDocument/2006/relationships/tags" Target="../tags/tag735.xml"/><Relationship Id="rId139" Type="http://schemas.openxmlformats.org/officeDocument/2006/relationships/tags" Target="../tags/tag740.xml"/><Relationship Id="rId80" Type="http://schemas.openxmlformats.org/officeDocument/2006/relationships/tags" Target="../tags/tag681.xml"/><Relationship Id="rId85" Type="http://schemas.openxmlformats.org/officeDocument/2006/relationships/tags" Target="../tags/tag686.xml"/><Relationship Id="rId150" Type="http://schemas.openxmlformats.org/officeDocument/2006/relationships/tags" Target="../tags/tag751.xml"/><Relationship Id="rId155" Type="http://schemas.openxmlformats.org/officeDocument/2006/relationships/tags" Target="../tags/tag756.xml"/><Relationship Id="rId171" Type="http://schemas.openxmlformats.org/officeDocument/2006/relationships/tags" Target="../tags/tag772.xml"/><Relationship Id="rId176" Type="http://schemas.openxmlformats.org/officeDocument/2006/relationships/tags" Target="../tags/tag777.xml"/><Relationship Id="rId192" Type="http://schemas.openxmlformats.org/officeDocument/2006/relationships/tags" Target="../tags/tag793.xml"/><Relationship Id="rId197" Type="http://schemas.openxmlformats.org/officeDocument/2006/relationships/chart" Target="../charts/chart97.xml"/><Relationship Id="rId12" Type="http://schemas.openxmlformats.org/officeDocument/2006/relationships/tags" Target="../tags/tag613.xml"/><Relationship Id="rId17" Type="http://schemas.openxmlformats.org/officeDocument/2006/relationships/tags" Target="../tags/tag618.xml"/><Relationship Id="rId33" Type="http://schemas.openxmlformats.org/officeDocument/2006/relationships/tags" Target="../tags/tag634.xml"/><Relationship Id="rId38" Type="http://schemas.openxmlformats.org/officeDocument/2006/relationships/tags" Target="../tags/tag639.xml"/><Relationship Id="rId59" Type="http://schemas.openxmlformats.org/officeDocument/2006/relationships/tags" Target="../tags/tag660.xml"/><Relationship Id="rId103" Type="http://schemas.openxmlformats.org/officeDocument/2006/relationships/tags" Target="../tags/tag704.xml"/><Relationship Id="rId108" Type="http://schemas.openxmlformats.org/officeDocument/2006/relationships/tags" Target="../tags/tag709.xml"/><Relationship Id="rId124" Type="http://schemas.openxmlformats.org/officeDocument/2006/relationships/tags" Target="../tags/tag725.xml"/><Relationship Id="rId129" Type="http://schemas.openxmlformats.org/officeDocument/2006/relationships/tags" Target="../tags/tag730.xml"/><Relationship Id="rId54" Type="http://schemas.openxmlformats.org/officeDocument/2006/relationships/tags" Target="../tags/tag655.xml"/><Relationship Id="rId70" Type="http://schemas.openxmlformats.org/officeDocument/2006/relationships/tags" Target="../tags/tag671.xml"/><Relationship Id="rId75" Type="http://schemas.openxmlformats.org/officeDocument/2006/relationships/tags" Target="../tags/tag676.xml"/><Relationship Id="rId91" Type="http://schemas.openxmlformats.org/officeDocument/2006/relationships/tags" Target="../tags/tag692.xml"/><Relationship Id="rId96" Type="http://schemas.openxmlformats.org/officeDocument/2006/relationships/tags" Target="../tags/tag697.xml"/><Relationship Id="rId140" Type="http://schemas.openxmlformats.org/officeDocument/2006/relationships/tags" Target="../tags/tag741.xml"/><Relationship Id="rId145" Type="http://schemas.openxmlformats.org/officeDocument/2006/relationships/tags" Target="../tags/tag746.xml"/><Relationship Id="rId161" Type="http://schemas.openxmlformats.org/officeDocument/2006/relationships/tags" Target="../tags/tag762.xml"/><Relationship Id="rId166" Type="http://schemas.openxmlformats.org/officeDocument/2006/relationships/tags" Target="../tags/tag767.xml"/><Relationship Id="rId182" Type="http://schemas.openxmlformats.org/officeDocument/2006/relationships/tags" Target="../tags/tag783.xml"/><Relationship Id="rId187" Type="http://schemas.openxmlformats.org/officeDocument/2006/relationships/tags" Target="../tags/tag788.xml"/><Relationship Id="rId1" Type="http://schemas.openxmlformats.org/officeDocument/2006/relationships/tags" Target="../tags/tag602.xml"/><Relationship Id="rId6" Type="http://schemas.openxmlformats.org/officeDocument/2006/relationships/tags" Target="../tags/tag607.xml"/><Relationship Id="rId23" Type="http://schemas.openxmlformats.org/officeDocument/2006/relationships/tags" Target="../tags/tag624.xml"/><Relationship Id="rId28" Type="http://schemas.openxmlformats.org/officeDocument/2006/relationships/tags" Target="../tags/tag629.xml"/><Relationship Id="rId49" Type="http://schemas.openxmlformats.org/officeDocument/2006/relationships/tags" Target="../tags/tag650.xml"/><Relationship Id="rId114" Type="http://schemas.openxmlformats.org/officeDocument/2006/relationships/tags" Target="../tags/tag715.xml"/><Relationship Id="rId119" Type="http://schemas.openxmlformats.org/officeDocument/2006/relationships/tags" Target="../tags/tag720.xml"/><Relationship Id="rId44" Type="http://schemas.openxmlformats.org/officeDocument/2006/relationships/tags" Target="../tags/tag645.xml"/><Relationship Id="rId60" Type="http://schemas.openxmlformats.org/officeDocument/2006/relationships/tags" Target="../tags/tag661.xml"/><Relationship Id="rId65" Type="http://schemas.openxmlformats.org/officeDocument/2006/relationships/tags" Target="../tags/tag666.xml"/><Relationship Id="rId81" Type="http://schemas.openxmlformats.org/officeDocument/2006/relationships/tags" Target="../tags/tag682.xml"/><Relationship Id="rId86" Type="http://schemas.openxmlformats.org/officeDocument/2006/relationships/tags" Target="../tags/tag687.xml"/><Relationship Id="rId130" Type="http://schemas.openxmlformats.org/officeDocument/2006/relationships/tags" Target="../tags/tag731.xml"/><Relationship Id="rId135" Type="http://schemas.openxmlformats.org/officeDocument/2006/relationships/tags" Target="../tags/tag736.xml"/><Relationship Id="rId151" Type="http://schemas.openxmlformats.org/officeDocument/2006/relationships/tags" Target="../tags/tag752.xml"/><Relationship Id="rId156" Type="http://schemas.openxmlformats.org/officeDocument/2006/relationships/tags" Target="../tags/tag757.xml"/><Relationship Id="rId177" Type="http://schemas.openxmlformats.org/officeDocument/2006/relationships/tags" Target="../tags/tag778.xml"/><Relationship Id="rId198" Type="http://schemas.openxmlformats.org/officeDocument/2006/relationships/chart" Target="../charts/chart98.xml"/><Relationship Id="rId172" Type="http://schemas.openxmlformats.org/officeDocument/2006/relationships/tags" Target="../tags/tag773.xml"/><Relationship Id="rId193" Type="http://schemas.openxmlformats.org/officeDocument/2006/relationships/tags" Target="../tags/tag794.xml"/><Relationship Id="rId13" Type="http://schemas.openxmlformats.org/officeDocument/2006/relationships/tags" Target="../tags/tag614.xml"/><Relationship Id="rId18" Type="http://schemas.openxmlformats.org/officeDocument/2006/relationships/tags" Target="../tags/tag619.xml"/><Relationship Id="rId39" Type="http://schemas.openxmlformats.org/officeDocument/2006/relationships/tags" Target="../tags/tag640.xml"/><Relationship Id="rId109" Type="http://schemas.openxmlformats.org/officeDocument/2006/relationships/tags" Target="../tags/tag710.xml"/><Relationship Id="rId34" Type="http://schemas.openxmlformats.org/officeDocument/2006/relationships/tags" Target="../tags/tag635.xml"/><Relationship Id="rId50" Type="http://schemas.openxmlformats.org/officeDocument/2006/relationships/tags" Target="../tags/tag651.xml"/><Relationship Id="rId55" Type="http://schemas.openxmlformats.org/officeDocument/2006/relationships/tags" Target="../tags/tag656.xml"/><Relationship Id="rId76" Type="http://schemas.openxmlformats.org/officeDocument/2006/relationships/tags" Target="../tags/tag677.xml"/><Relationship Id="rId97" Type="http://schemas.openxmlformats.org/officeDocument/2006/relationships/tags" Target="../tags/tag698.xml"/><Relationship Id="rId104" Type="http://schemas.openxmlformats.org/officeDocument/2006/relationships/tags" Target="../tags/tag705.xml"/><Relationship Id="rId120" Type="http://schemas.openxmlformats.org/officeDocument/2006/relationships/tags" Target="../tags/tag721.xml"/><Relationship Id="rId125" Type="http://schemas.openxmlformats.org/officeDocument/2006/relationships/tags" Target="../tags/tag726.xml"/><Relationship Id="rId141" Type="http://schemas.openxmlformats.org/officeDocument/2006/relationships/tags" Target="../tags/tag742.xml"/><Relationship Id="rId146" Type="http://schemas.openxmlformats.org/officeDocument/2006/relationships/tags" Target="../tags/tag747.xml"/><Relationship Id="rId167" Type="http://schemas.openxmlformats.org/officeDocument/2006/relationships/tags" Target="../tags/tag768.xml"/><Relationship Id="rId188" Type="http://schemas.openxmlformats.org/officeDocument/2006/relationships/tags" Target="../tags/tag789.xml"/><Relationship Id="rId7" Type="http://schemas.openxmlformats.org/officeDocument/2006/relationships/tags" Target="../tags/tag608.xml"/><Relationship Id="rId71" Type="http://schemas.openxmlformats.org/officeDocument/2006/relationships/tags" Target="../tags/tag672.xml"/><Relationship Id="rId92" Type="http://schemas.openxmlformats.org/officeDocument/2006/relationships/tags" Target="../tags/tag693.xml"/><Relationship Id="rId162" Type="http://schemas.openxmlformats.org/officeDocument/2006/relationships/tags" Target="../tags/tag763.xml"/><Relationship Id="rId183" Type="http://schemas.openxmlformats.org/officeDocument/2006/relationships/tags" Target="../tags/tag784.xml"/><Relationship Id="rId2" Type="http://schemas.openxmlformats.org/officeDocument/2006/relationships/tags" Target="../tags/tag603.xml"/><Relationship Id="rId29" Type="http://schemas.openxmlformats.org/officeDocument/2006/relationships/tags" Target="../tags/tag630.xml"/><Relationship Id="rId24" Type="http://schemas.openxmlformats.org/officeDocument/2006/relationships/tags" Target="../tags/tag625.xml"/><Relationship Id="rId40" Type="http://schemas.openxmlformats.org/officeDocument/2006/relationships/tags" Target="../tags/tag641.xml"/><Relationship Id="rId45" Type="http://schemas.openxmlformats.org/officeDocument/2006/relationships/tags" Target="../tags/tag646.xml"/><Relationship Id="rId66" Type="http://schemas.openxmlformats.org/officeDocument/2006/relationships/tags" Target="../tags/tag667.xml"/><Relationship Id="rId87" Type="http://schemas.openxmlformats.org/officeDocument/2006/relationships/tags" Target="../tags/tag688.xml"/><Relationship Id="rId110" Type="http://schemas.openxmlformats.org/officeDocument/2006/relationships/tags" Target="../tags/tag711.xml"/><Relationship Id="rId115" Type="http://schemas.openxmlformats.org/officeDocument/2006/relationships/tags" Target="../tags/tag716.xml"/><Relationship Id="rId131" Type="http://schemas.openxmlformats.org/officeDocument/2006/relationships/tags" Target="../tags/tag732.xml"/><Relationship Id="rId136" Type="http://schemas.openxmlformats.org/officeDocument/2006/relationships/tags" Target="../tags/tag737.xml"/><Relationship Id="rId157" Type="http://schemas.openxmlformats.org/officeDocument/2006/relationships/tags" Target="../tags/tag758.xml"/><Relationship Id="rId178" Type="http://schemas.openxmlformats.org/officeDocument/2006/relationships/tags" Target="../tags/tag779.xml"/><Relationship Id="rId61" Type="http://schemas.openxmlformats.org/officeDocument/2006/relationships/tags" Target="../tags/tag662.xml"/><Relationship Id="rId82" Type="http://schemas.openxmlformats.org/officeDocument/2006/relationships/tags" Target="../tags/tag683.xml"/><Relationship Id="rId152" Type="http://schemas.openxmlformats.org/officeDocument/2006/relationships/tags" Target="../tags/tag753.xml"/><Relationship Id="rId173" Type="http://schemas.openxmlformats.org/officeDocument/2006/relationships/tags" Target="../tags/tag774.xml"/><Relationship Id="rId194" Type="http://schemas.openxmlformats.org/officeDocument/2006/relationships/slideLayout" Target="../slideLayouts/slideLayout90.xml"/><Relationship Id="rId19" Type="http://schemas.openxmlformats.org/officeDocument/2006/relationships/tags" Target="../tags/tag620.xml"/><Relationship Id="rId14" Type="http://schemas.openxmlformats.org/officeDocument/2006/relationships/tags" Target="../tags/tag615.xml"/><Relationship Id="rId30" Type="http://schemas.openxmlformats.org/officeDocument/2006/relationships/tags" Target="../tags/tag631.xml"/><Relationship Id="rId35" Type="http://schemas.openxmlformats.org/officeDocument/2006/relationships/tags" Target="../tags/tag636.xml"/><Relationship Id="rId56" Type="http://schemas.openxmlformats.org/officeDocument/2006/relationships/tags" Target="../tags/tag657.xml"/><Relationship Id="rId77" Type="http://schemas.openxmlformats.org/officeDocument/2006/relationships/tags" Target="../tags/tag678.xml"/><Relationship Id="rId100" Type="http://schemas.openxmlformats.org/officeDocument/2006/relationships/tags" Target="../tags/tag701.xml"/><Relationship Id="rId105" Type="http://schemas.openxmlformats.org/officeDocument/2006/relationships/tags" Target="../tags/tag706.xml"/><Relationship Id="rId126" Type="http://schemas.openxmlformats.org/officeDocument/2006/relationships/tags" Target="../tags/tag727.xml"/><Relationship Id="rId147" Type="http://schemas.openxmlformats.org/officeDocument/2006/relationships/tags" Target="../tags/tag748.xml"/><Relationship Id="rId168" Type="http://schemas.openxmlformats.org/officeDocument/2006/relationships/tags" Target="../tags/tag769.xml"/><Relationship Id="rId8" Type="http://schemas.openxmlformats.org/officeDocument/2006/relationships/tags" Target="../tags/tag609.xml"/><Relationship Id="rId51" Type="http://schemas.openxmlformats.org/officeDocument/2006/relationships/tags" Target="../tags/tag652.xml"/><Relationship Id="rId72" Type="http://schemas.openxmlformats.org/officeDocument/2006/relationships/tags" Target="../tags/tag673.xml"/><Relationship Id="rId93" Type="http://schemas.openxmlformats.org/officeDocument/2006/relationships/tags" Target="../tags/tag694.xml"/><Relationship Id="rId98" Type="http://schemas.openxmlformats.org/officeDocument/2006/relationships/tags" Target="../tags/tag699.xml"/><Relationship Id="rId121" Type="http://schemas.openxmlformats.org/officeDocument/2006/relationships/tags" Target="../tags/tag722.xml"/><Relationship Id="rId142" Type="http://schemas.openxmlformats.org/officeDocument/2006/relationships/tags" Target="../tags/tag743.xml"/><Relationship Id="rId163" Type="http://schemas.openxmlformats.org/officeDocument/2006/relationships/tags" Target="../tags/tag764.xml"/><Relationship Id="rId184" Type="http://schemas.openxmlformats.org/officeDocument/2006/relationships/tags" Target="../tags/tag785.xml"/><Relationship Id="rId189" Type="http://schemas.openxmlformats.org/officeDocument/2006/relationships/tags" Target="../tags/tag790.xml"/><Relationship Id="rId3" Type="http://schemas.openxmlformats.org/officeDocument/2006/relationships/tags" Target="../tags/tag604.xml"/><Relationship Id="rId25" Type="http://schemas.openxmlformats.org/officeDocument/2006/relationships/tags" Target="../tags/tag626.xml"/><Relationship Id="rId46" Type="http://schemas.openxmlformats.org/officeDocument/2006/relationships/tags" Target="../tags/tag647.xml"/><Relationship Id="rId67" Type="http://schemas.openxmlformats.org/officeDocument/2006/relationships/tags" Target="../tags/tag668.xml"/><Relationship Id="rId116" Type="http://schemas.openxmlformats.org/officeDocument/2006/relationships/tags" Target="../tags/tag717.xml"/><Relationship Id="rId137" Type="http://schemas.openxmlformats.org/officeDocument/2006/relationships/tags" Target="../tags/tag738.xml"/><Relationship Id="rId158" Type="http://schemas.openxmlformats.org/officeDocument/2006/relationships/tags" Target="../tags/tag759.xml"/><Relationship Id="rId20" Type="http://schemas.openxmlformats.org/officeDocument/2006/relationships/tags" Target="../tags/tag621.xml"/><Relationship Id="rId41" Type="http://schemas.openxmlformats.org/officeDocument/2006/relationships/tags" Target="../tags/tag642.xml"/><Relationship Id="rId62" Type="http://schemas.openxmlformats.org/officeDocument/2006/relationships/tags" Target="../tags/tag663.xml"/><Relationship Id="rId83" Type="http://schemas.openxmlformats.org/officeDocument/2006/relationships/tags" Target="../tags/tag684.xml"/><Relationship Id="rId88" Type="http://schemas.openxmlformats.org/officeDocument/2006/relationships/tags" Target="../tags/tag689.xml"/><Relationship Id="rId111" Type="http://schemas.openxmlformats.org/officeDocument/2006/relationships/tags" Target="../tags/tag712.xml"/><Relationship Id="rId132" Type="http://schemas.openxmlformats.org/officeDocument/2006/relationships/tags" Target="../tags/tag733.xml"/><Relationship Id="rId153" Type="http://schemas.openxmlformats.org/officeDocument/2006/relationships/tags" Target="../tags/tag754.xml"/><Relationship Id="rId174" Type="http://schemas.openxmlformats.org/officeDocument/2006/relationships/tags" Target="../tags/tag775.xml"/><Relationship Id="rId179" Type="http://schemas.openxmlformats.org/officeDocument/2006/relationships/tags" Target="../tags/tag780.xml"/><Relationship Id="rId195" Type="http://schemas.openxmlformats.org/officeDocument/2006/relationships/notesSlide" Target="../notesSlides/notesSlide63.xml"/><Relationship Id="rId190" Type="http://schemas.openxmlformats.org/officeDocument/2006/relationships/tags" Target="../tags/tag791.xml"/><Relationship Id="rId15" Type="http://schemas.openxmlformats.org/officeDocument/2006/relationships/tags" Target="../tags/tag616.xml"/><Relationship Id="rId36" Type="http://schemas.openxmlformats.org/officeDocument/2006/relationships/tags" Target="../tags/tag637.xml"/><Relationship Id="rId57" Type="http://schemas.openxmlformats.org/officeDocument/2006/relationships/tags" Target="../tags/tag658.xml"/><Relationship Id="rId106" Type="http://schemas.openxmlformats.org/officeDocument/2006/relationships/tags" Target="../tags/tag707.xml"/><Relationship Id="rId127" Type="http://schemas.openxmlformats.org/officeDocument/2006/relationships/tags" Target="../tags/tag728.xml"/><Relationship Id="rId10" Type="http://schemas.openxmlformats.org/officeDocument/2006/relationships/tags" Target="../tags/tag611.xml"/><Relationship Id="rId31" Type="http://schemas.openxmlformats.org/officeDocument/2006/relationships/tags" Target="../tags/tag632.xml"/><Relationship Id="rId52" Type="http://schemas.openxmlformats.org/officeDocument/2006/relationships/tags" Target="../tags/tag653.xml"/><Relationship Id="rId73" Type="http://schemas.openxmlformats.org/officeDocument/2006/relationships/tags" Target="../tags/tag674.xml"/><Relationship Id="rId78" Type="http://schemas.openxmlformats.org/officeDocument/2006/relationships/tags" Target="../tags/tag679.xml"/><Relationship Id="rId94" Type="http://schemas.openxmlformats.org/officeDocument/2006/relationships/tags" Target="../tags/tag695.xml"/><Relationship Id="rId99" Type="http://schemas.openxmlformats.org/officeDocument/2006/relationships/tags" Target="../tags/tag700.xml"/><Relationship Id="rId101" Type="http://schemas.openxmlformats.org/officeDocument/2006/relationships/tags" Target="../tags/tag702.xml"/><Relationship Id="rId122" Type="http://schemas.openxmlformats.org/officeDocument/2006/relationships/tags" Target="../tags/tag723.xml"/><Relationship Id="rId143" Type="http://schemas.openxmlformats.org/officeDocument/2006/relationships/tags" Target="../tags/tag744.xml"/><Relationship Id="rId148" Type="http://schemas.openxmlformats.org/officeDocument/2006/relationships/tags" Target="../tags/tag749.xml"/><Relationship Id="rId164" Type="http://schemas.openxmlformats.org/officeDocument/2006/relationships/tags" Target="../tags/tag765.xml"/><Relationship Id="rId169" Type="http://schemas.openxmlformats.org/officeDocument/2006/relationships/tags" Target="../tags/tag770.xml"/><Relationship Id="rId185" Type="http://schemas.openxmlformats.org/officeDocument/2006/relationships/tags" Target="../tags/tag786.xml"/><Relationship Id="rId4" Type="http://schemas.openxmlformats.org/officeDocument/2006/relationships/tags" Target="../tags/tag605.xml"/><Relationship Id="rId9" Type="http://schemas.openxmlformats.org/officeDocument/2006/relationships/tags" Target="../tags/tag610.xml"/><Relationship Id="rId180" Type="http://schemas.openxmlformats.org/officeDocument/2006/relationships/tags" Target="../tags/tag781.xml"/><Relationship Id="rId26" Type="http://schemas.openxmlformats.org/officeDocument/2006/relationships/tags" Target="../tags/tag627.xml"/></Relationships>
</file>

<file path=ppt/slides/_rels/slide96.xml.rels><?xml version="1.0" encoding="UTF-8" standalone="yes"?>
<Relationships xmlns="http://schemas.openxmlformats.org/package/2006/relationships"><Relationship Id="rId117" Type="http://schemas.openxmlformats.org/officeDocument/2006/relationships/tags" Target="../tags/tag911.xml"/><Relationship Id="rId21" Type="http://schemas.openxmlformats.org/officeDocument/2006/relationships/tags" Target="../tags/tag815.xml"/><Relationship Id="rId42" Type="http://schemas.openxmlformats.org/officeDocument/2006/relationships/tags" Target="../tags/tag836.xml"/><Relationship Id="rId47" Type="http://schemas.openxmlformats.org/officeDocument/2006/relationships/tags" Target="../tags/tag841.xml"/><Relationship Id="rId63" Type="http://schemas.openxmlformats.org/officeDocument/2006/relationships/tags" Target="../tags/tag857.xml"/><Relationship Id="rId68" Type="http://schemas.openxmlformats.org/officeDocument/2006/relationships/tags" Target="../tags/tag862.xml"/><Relationship Id="rId84" Type="http://schemas.openxmlformats.org/officeDocument/2006/relationships/tags" Target="../tags/tag878.xml"/><Relationship Id="rId89" Type="http://schemas.openxmlformats.org/officeDocument/2006/relationships/tags" Target="../tags/tag883.xml"/><Relationship Id="rId112" Type="http://schemas.openxmlformats.org/officeDocument/2006/relationships/tags" Target="../tags/tag906.xml"/><Relationship Id="rId133" Type="http://schemas.openxmlformats.org/officeDocument/2006/relationships/tags" Target="../tags/tag927.xml"/><Relationship Id="rId138" Type="http://schemas.openxmlformats.org/officeDocument/2006/relationships/tags" Target="../tags/tag932.xml"/><Relationship Id="rId154" Type="http://schemas.openxmlformats.org/officeDocument/2006/relationships/tags" Target="../tags/tag948.xml"/><Relationship Id="rId159" Type="http://schemas.openxmlformats.org/officeDocument/2006/relationships/tags" Target="../tags/tag953.xml"/><Relationship Id="rId175" Type="http://schemas.openxmlformats.org/officeDocument/2006/relationships/tags" Target="../tags/tag969.xml"/><Relationship Id="rId170" Type="http://schemas.openxmlformats.org/officeDocument/2006/relationships/tags" Target="../tags/tag964.xml"/><Relationship Id="rId191" Type="http://schemas.openxmlformats.org/officeDocument/2006/relationships/tags" Target="../tags/tag985.xml"/><Relationship Id="rId196" Type="http://schemas.openxmlformats.org/officeDocument/2006/relationships/chart" Target="../charts/chart99.xml"/><Relationship Id="rId16" Type="http://schemas.openxmlformats.org/officeDocument/2006/relationships/tags" Target="../tags/tag810.xml"/><Relationship Id="rId107" Type="http://schemas.openxmlformats.org/officeDocument/2006/relationships/tags" Target="../tags/tag901.xml"/><Relationship Id="rId11" Type="http://schemas.openxmlformats.org/officeDocument/2006/relationships/tags" Target="../tags/tag805.xml"/><Relationship Id="rId32" Type="http://schemas.openxmlformats.org/officeDocument/2006/relationships/tags" Target="../tags/tag826.xml"/><Relationship Id="rId37" Type="http://schemas.openxmlformats.org/officeDocument/2006/relationships/tags" Target="../tags/tag831.xml"/><Relationship Id="rId53" Type="http://schemas.openxmlformats.org/officeDocument/2006/relationships/tags" Target="../tags/tag847.xml"/><Relationship Id="rId58" Type="http://schemas.openxmlformats.org/officeDocument/2006/relationships/tags" Target="../tags/tag852.xml"/><Relationship Id="rId74" Type="http://schemas.openxmlformats.org/officeDocument/2006/relationships/tags" Target="../tags/tag868.xml"/><Relationship Id="rId79" Type="http://schemas.openxmlformats.org/officeDocument/2006/relationships/tags" Target="../tags/tag873.xml"/><Relationship Id="rId102" Type="http://schemas.openxmlformats.org/officeDocument/2006/relationships/tags" Target="../tags/tag896.xml"/><Relationship Id="rId123" Type="http://schemas.openxmlformats.org/officeDocument/2006/relationships/tags" Target="../tags/tag917.xml"/><Relationship Id="rId128" Type="http://schemas.openxmlformats.org/officeDocument/2006/relationships/tags" Target="../tags/tag922.xml"/><Relationship Id="rId144" Type="http://schemas.openxmlformats.org/officeDocument/2006/relationships/tags" Target="../tags/tag938.xml"/><Relationship Id="rId149" Type="http://schemas.openxmlformats.org/officeDocument/2006/relationships/tags" Target="../tags/tag943.xml"/><Relationship Id="rId5" Type="http://schemas.openxmlformats.org/officeDocument/2006/relationships/tags" Target="../tags/tag799.xml"/><Relationship Id="rId90" Type="http://schemas.openxmlformats.org/officeDocument/2006/relationships/tags" Target="../tags/tag884.xml"/><Relationship Id="rId95" Type="http://schemas.openxmlformats.org/officeDocument/2006/relationships/tags" Target="../tags/tag889.xml"/><Relationship Id="rId160" Type="http://schemas.openxmlformats.org/officeDocument/2006/relationships/tags" Target="../tags/tag954.xml"/><Relationship Id="rId165" Type="http://schemas.openxmlformats.org/officeDocument/2006/relationships/tags" Target="../tags/tag959.xml"/><Relationship Id="rId181" Type="http://schemas.openxmlformats.org/officeDocument/2006/relationships/tags" Target="../tags/tag975.xml"/><Relationship Id="rId186" Type="http://schemas.openxmlformats.org/officeDocument/2006/relationships/tags" Target="../tags/tag980.xml"/><Relationship Id="rId22" Type="http://schemas.openxmlformats.org/officeDocument/2006/relationships/tags" Target="../tags/tag816.xml"/><Relationship Id="rId27" Type="http://schemas.openxmlformats.org/officeDocument/2006/relationships/tags" Target="../tags/tag821.xml"/><Relationship Id="rId43" Type="http://schemas.openxmlformats.org/officeDocument/2006/relationships/tags" Target="../tags/tag837.xml"/><Relationship Id="rId48" Type="http://schemas.openxmlformats.org/officeDocument/2006/relationships/tags" Target="../tags/tag842.xml"/><Relationship Id="rId64" Type="http://schemas.openxmlformats.org/officeDocument/2006/relationships/tags" Target="../tags/tag858.xml"/><Relationship Id="rId69" Type="http://schemas.openxmlformats.org/officeDocument/2006/relationships/tags" Target="../tags/tag863.xml"/><Relationship Id="rId113" Type="http://schemas.openxmlformats.org/officeDocument/2006/relationships/tags" Target="../tags/tag907.xml"/><Relationship Id="rId118" Type="http://schemas.openxmlformats.org/officeDocument/2006/relationships/tags" Target="../tags/tag912.xml"/><Relationship Id="rId134" Type="http://schemas.openxmlformats.org/officeDocument/2006/relationships/tags" Target="../tags/tag928.xml"/><Relationship Id="rId139" Type="http://schemas.openxmlformats.org/officeDocument/2006/relationships/tags" Target="../tags/tag933.xml"/><Relationship Id="rId80" Type="http://schemas.openxmlformats.org/officeDocument/2006/relationships/tags" Target="../tags/tag874.xml"/><Relationship Id="rId85" Type="http://schemas.openxmlformats.org/officeDocument/2006/relationships/tags" Target="../tags/tag879.xml"/><Relationship Id="rId150" Type="http://schemas.openxmlformats.org/officeDocument/2006/relationships/tags" Target="../tags/tag944.xml"/><Relationship Id="rId155" Type="http://schemas.openxmlformats.org/officeDocument/2006/relationships/tags" Target="../tags/tag949.xml"/><Relationship Id="rId171" Type="http://schemas.openxmlformats.org/officeDocument/2006/relationships/tags" Target="../tags/tag965.xml"/><Relationship Id="rId176" Type="http://schemas.openxmlformats.org/officeDocument/2006/relationships/tags" Target="../tags/tag970.xml"/><Relationship Id="rId192" Type="http://schemas.openxmlformats.org/officeDocument/2006/relationships/tags" Target="../tags/tag986.xml"/><Relationship Id="rId12" Type="http://schemas.openxmlformats.org/officeDocument/2006/relationships/tags" Target="../tags/tag806.xml"/><Relationship Id="rId17" Type="http://schemas.openxmlformats.org/officeDocument/2006/relationships/tags" Target="../tags/tag811.xml"/><Relationship Id="rId33" Type="http://schemas.openxmlformats.org/officeDocument/2006/relationships/tags" Target="../tags/tag827.xml"/><Relationship Id="rId38" Type="http://schemas.openxmlformats.org/officeDocument/2006/relationships/tags" Target="../tags/tag832.xml"/><Relationship Id="rId59" Type="http://schemas.openxmlformats.org/officeDocument/2006/relationships/tags" Target="../tags/tag853.xml"/><Relationship Id="rId103" Type="http://schemas.openxmlformats.org/officeDocument/2006/relationships/tags" Target="../tags/tag897.xml"/><Relationship Id="rId108" Type="http://schemas.openxmlformats.org/officeDocument/2006/relationships/tags" Target="../tags/tag902.xml"/><Relationship Id="rId124" Type="http://schemas.openxmlformats.org/officeDocument/2006/relationships/tags" Target="../tags/tag918.xml"/><Relationship Id="rId129" Type="http://schemas.openxmlformats.org/officeDocument/2006/relationships/tags" Target="../tags/tag923.xml"/><Relationship Id="rId54" Type="http://schemas.openxmlformats.org/officeDocument/2006/relationships/tags" Target="../tags/tag848.xml"/><Relationship Id="rId70" Type="http://schemas.openxmlformats.org/officeDocument/2006/relationships/tags" Target="../tags/tag864.xml"/><Relationship Id="rId75" Type="http://schemas.openxmlformats.org/officeDocument/2006/relationships/tags" Target="../tags/tag869.xml"/><Relationship Id="rId91" Type="http://schemas.openxmlformats.org/officeDocument/2006/relationships/tags" Target="../tags/tag885.xml"/><Relationship Id="rId96" Type="http://schemas.openxmlformats.org/officeDocument/2006/relationships/tags" Target="../tags/tag890.xml"/><Relationship Id="rId140" Type="http://schemas.openxmlformats.org/officeDocument/2006/relationships/tags" Target="../tags/tag934.xml"/><Relationship Id="rId145" Type="http://schemas.openxmlformats.org/officeDocument/2006/relationships/tags" Target="../tags/tag939.xml"/><Relationship Id="rId161" Type="http://schemas.openxmlformats.org/officeDocument/2006/relationships/tags" Target="../tags/tag955.xml"/><Relationship Id="rId166" Type="http://schemas.openxmlformats.org/officeDocument/2006/relationships/tags" Target="../tags/tag960.xml"/><Relationship Id="rId182" Type="http://schemas.openxmlformats.org/officeDocument/2006/relationships/tags" Target="../tags/tag976.xml"/><Relationship Id="rId187" Type="http://schemas.openxmlformats.org/officeDocument/2006/relationships/tags" Target="../tags/tag981.xml"/><Relationship Id="rId1" Type="http://schemas.openxmlformats.org/officeDocument/2006/relationships/tags" Target="../tags/tag795.xml"/><Relationship Id="rId6" Type="http://schemas.openxmlformats.org/officeDocument/2006/relationships/tags" Target="../tags/tag800.xml"/><Relationship Id="rId23" Type="http://schemas.openxmlformats.org/officeDocument/2006/relationships/tags" Target="../tags/tag817.xml"/><Relationship Id="rId28" Type="http://schemas.openxmlformats.org/officeDocument/2006/relationships/tags" Target="../tags/tag822.xml"/><Relationship Id="rId49" Type="http://schemas.openxmlformats.org/officeDocument/2006/relationships/tags" Target="../tags/tag843.xml"/><Relationship Id="rId114" Type="http://schemas.openxmlformats.org/officeDocument/2006/relationships/tags" Target="../tags/tag908.xml"/><Relationship Id="rId119" Type="http://schemas.openxmlformats.org/officeDocument/2006/relationships/tags" Target="../tags/tag913.xml"/><Relationship Id="rId44" Type="http://schemas.openxmlformats.org/officeDocument/2006/relationships/tags" Target="../tags/tag838.xml"/><Relationship Id="rId60" Type="http://schemas.openxmlformats.org/officeDocument/2006/relationships/tags" Target="../tags/tag854.xml"/><Relationship Id="rId65" Type="http://schemas.openxmlformats.org/officeDocument/2006/relationships/tags" Target="../tags/tag859.xml"/><Relationship Id="rId81" Type="http://schemas.openxmlformats.org/officeDocument/2006/relationships/tags" Target="../tags/tag875.xml"/><Relationship Id="rId86" Type="http://schemas.openxmlformats.org/officeDocument/2006/relationships/tags" Target="../tags/tag880.xml"/><Relationship Id="rId130" Type="http://schemas.openxmlformats.org/officeDocument/2006/relationships/tags" Target="../tags/tag924.xml"/><Relationship Id="rId135" Type="http://schemas.openxmlformats.org/officeDocument/2006/relationships/tags" Target="../tags/tag929.xml"/><Relationship Id="rId151" Type="http://schemas.openxmlformats.org/officeDocument/2006/relationships/tags" Target="../tags/tag945.xml"/><Relationship Id="rId156" Type="http://schemas.openxmlformats.org/officeDocument/2006/relationships/tags" Target="../tags/tag950.xml"/><Relationship Id="rId177" Type="http://schemas.openxmlformats.org/officeDocument/2006/relationships/tags" Target="../tags/tag971.xml"/><Relationship Id="rId172" Type="http://schemas.openxmlformats.org/officeDocument/2006/relationships/tags" Target="../tags/tag966.xml"/><Relationship Id="rId193" Type="http://schemas.openxmlformats.org/officeDocument/2006/relationships/tags" Target="../tags/tag987.xml"/><Relationship Id="rId13" Type="http://schemas.openxmlformats.org/officeDocument/2006/relationships/tags" Target="../tags/tag807.xml"/><Relationship Id="rId18" Type="http://schemas.openxmlformats.org/officeDocument/2006/relationships/tags" Target="../tags/tag812.xml"/><Relationship Id="rId39" Type="http://schemas.openxmlformats.org/officeDocument/2006/relationships/tags" Target="../tags/tag833.xml"/><Relationship Id="rId109" Type="http://schemas.openxmlformats.org/officeDocument/2006/relationships/tags" Target="../tags/tag903.xml"/><Relationship Id="rId34" Type="http://schemas.openxmlformats.org/officeDocument/2006/relationships/tags" Target="../tags/tag828.xml"/><Relationship Id="rId50" Type="http://schemas.openxmlformats.org/officeDocument/2006/relationships/tags" Target="../tags/tag844.xml"/><Relationship Id="rId55" Type="http://schemas.openxmlformats.org/officeDocument/2006/relationships/tags" Target="../tags/tag849.xml"/><Relationship Id="rId76" Type="http://schemas.openxmlformats.org/officeDocument/2006/relationships/tags" Target="../tags/tag870.xml"/><Relationship Id="rId97" Type="http://schemas.openxmlformats.org/officeDocument/2006/relationships/tags" Target="../tags/tag891.xml"/><Relationship Id="rId104" Type="http://schemas.openxmlformats.org/officeDocument/2006/relationships/tags" Target="../tags/tag898.xml"/><Relationship Id="rId120" Type="http://schemas.openxmlformats.org/officeDocument/2006/relationships/tags" Target="../tags/tag914.xml"/><Relationship Id="rId125" Type="http://schemas.openxmlformats.org/officeDocument/2006/relationships/tags" Target="../tags/tag919.xml"/><Relationship Id="rId141" Type="http://schemas.openxmlformats.org/officeDocument/2006/relationships/tags" Target="../tags/tag935.xml"/><Relationship Id="rId146" Type="http://schemas.openxmlformats.org/officeDocument/2006/relationships/tags" Target="../tags/tag940.xml"/><Relationship Id="rId167" Type="http://schemas.openxmlformats.org/officeDocument/2006/relationships/tags" Target="../tags/tag961.xml"/><Relationship Id="rId188" Type="http://schemas.openxmlformats.org/officeDocument/2006/relationships/tags" Target="../tags/tag982.xml"/><Relationship Id="rId7" Type="http://schemas.openxmlformats.org/officeDocument/2006/relationships/tags" Target="../tags/tag801.xml"/><Relationship Id="rId71" Type="http://schemas.openxmlformats.org/officeDocument/2006/relationships/tags" Target="../tags/tag865.xml"/><Relationship Id="rId92" Type="http://schemas.openxmlformats.org/officeDocument/2006/relationships/tags" Target="../tags/tag886.xml"/><Relationship Id="rId162" Type="http://schemas.openxmlformats.org/officeDocument/2006/relationships/tags" Target="../tags/tag956.xml"/><Relationship Id="rId183" Type="http://schemas.openxmlformats.org/officeDocument/2006/relationships/tags" Target="../tags/tag977.xml"/><Relationship Id="rId2" Type="http://schemas.openxmlformats.org/officeDocument/2006/relationships/tags" Target="../tags/tag796.xml"/><Relationship Id="rId29" Type="http://schemas.openxmlformats.org/officeDocument/2006/relationships/tags" Target="../tags/tag823.xml"/><Relationship Id="rId24" Type="http://schemas.openxmlformats.org/officeDocument/2006/relationships/tags" Target="../tags/tag818.xml"/><Relationship Id="rId40" Type="http://schemas.openxmlformats.org/officeDocument/2006/relationships/tags" Target="../tags/tag834.xml"/><Relationship Id="rId45" Type="http://schemas.openxmlformats.org/officeDocument/2006/relationships/tags" Target="../tags/tag839.xml"/><Relationship Id="rId66" Type="http://schemas.openxmlformats.org/officeDocument/2006/relationships/tags" Target="../tags/tag860.xml"/><Relationship Id="rId87" Type="http://schemas.openxmlformats.org/officeDocument/2006/relationships/tags" Target="../tags/tag881.xml"/><Relationship Id="rId110" Type="http://schemas.openxmlformats.org/officeDocument/2006/relationships/tags" Target="../tags/tag904.xml"/><Relationship Id="rId115" Type="http://schemas.openxmlformats.org/officeDocument/2006/relationships/tags" Target="../tags/tag909.xml"/><Relationship Id="rId131" Type="http://schemas.openxmlformats.org/officeDocument/2006/relationships/tags" Target="../tags/tag925.xml"/><Relationship Id="rId136" Type="http://schemas.openxmlformats.org/officeDocument/2006/relationships/tags" Target="../tags/tag930.xml"/><Relationship Id="rId157" Type="http://schemas.openxmlformats.org/officeDocument/2006/relationships/tags" Target="../tags/tag951.xml"/><Relationship Id="rId178" Type="http://schemas.openxmlformats.org/officeDocument/2006/relationships/tags" Target="../tags/tag972.xml"/><Relationship Id="rId61" Type="http://schemas.openxmlformats.org/officeDocument/2006/relationships/tags" Target="../tags/tag855.xml"/><Relationship Id="rId82" Type="http://schemas.openxmlformats.org/officeDocument/2006/relationships/tags" Target="../tags/tag876.xml"/><Relationship Id="rId152" Type="http://schemas.openxmlformats.org/officeDocument/2006/relationships/tags" Target="../tags/tag946.xml"/><Relationship Id="rId173" Type="http://schemas.openxmlformats.org/officeDocument/2006/relationships/tags" Target="../tags/tag967.xml"/><Relationship Id="rId194" Type="http://schemas.openxmlformats.org/officeDocument/2006/relationships/slideLayout" Target="../slideLayouts/slideLayout90.xml"/><Relationship Id="rId19" Type="http://schemas.openxmlformats.org/officeDocument/2006/relationships/tags" Target="../tags/tag813.xml"/><Relationship Id="rId14" Type="http://schemas.openxmlformats.org/officeDocument/2006/relationships/tags" Target="../tags/tag808.xml"/><Relationship Id="rId30" Type="http://schemas.openxmlformats.org/officeDocument/2006/relationships/tags" Target="../tags/tag824.xml"/><Relationship Id="rId35" Type="http://schemas.openxmlformats.org/officeDocument/2006/relationships/tags" Target="../tags/tag829.xml"/><Relationship Id="rId56" Type="http://schemas.openxmlformats.org/officeDocument/2006/relationships/tags" Target="../tags/tag850.xml"/><Relationship Id="rId77" Type="http://schemas.openxmlformats.org/officeDocument/2006/relationships/tags" Target="../tags/tag871.xml"/><Relationship Id="rId100" Type="http://schemas.openxmlformats.org/officeDocument/2006/relationships/tags" Target="../tags/tag894.xml"/><Relationship Id="rId105" Type="http://schemas.openxmlformats.org/officeDocument/2006/relationships/tags" Target="../tags/tag899.xml"/><Relationship Id="rId126" Type="http://schemas.openxmlformats.org/officeDocument/2006/relationships/tags" Target="../tags/tag920.xml"/><Relationship Id="rId147" Type="http://schemas.openxmlformats.org/officeDocument/2006/relationships/tags" Target="../tags/tag941.xml"/><Relationship Id="rId168" Type="http://schemas.openxmlformats.org/officeDocument/2006/relationships/tags" Target="../tags/tag962.xml"/><Relationship Id="rId8" Type="http://schemas.openxmlformats.org/officeDocument/2006/relationships/tags" Target="../tags/tag802.xml"/><Relationship Id="rId51" Type="http://schemas.openxmlformats.org/officeDocument/2006/relationships/tags" Target="../tags/tag845.xml"/><Relationship Id="rId72" Type="http://schemas.openxmlformats.org/officeDocument/2006/relationships/tags" Target="../tags/tag866.xml"/><Relationship Id="rId93" Type="http://schemas.openxmlformats.org/officeDocument/2006/relationships/tags" Target="../tags/tag887.xml"/><Relationship Id="rId98" Type="http://schemas.openxmlformats.org/officeDocument/2006/relationships/tags" Target="../tags/tag892.xml"/><Relationship Id="rId121" Type="http://schemas.openxmlformats.org/officeDocument/2006/relationships/tags" Target="../tags/tag915.xml"/><Relationship Id="rId142" Type="http://schemas.openxmlformats.org/officeDocument/2006/relationships/tags" Target="../tags/tag936.xml"/><Relationship Id="rId163" Type="http://schemas.openxmlformats.org/officeDocument/2006/relationships/tags" Target="../tags/tag957.xml"/><Relationship Id="rId184" Type="http://schemas.openxmlformats.org/officeDocument/2006/relationships/tags" Target="../tags/tag978.xml"/><Relationship Id="rId189" Type="http://schemas.openxmlformats.org/officeDocument/2006/relationships/tags" Target="../tags/tag983.xml"/><Relationship Id="rId3" Type="http://schemas.openxmlformats.org/officeDocument/2006/relationships/tags" Target="../tags/tag797.xml"/><Relationship Id="rId25" Type="http://schemas.openxmlformats.org/officeDocument/2006/relationships/tags" Target="../tags/tag819.xml"/><Relationship Id="rId46" Type="http://schemas.openxmlformats.org/officeDocument/2006/relationships/tags" Target="../tags/tag840.xml"/><Relationship Id="rId67" Type="http://schemas.openxmlformats.org/officeDocument/2006/relationships/tags" Target="../tags/tag861.xml"/><Relationship Id="rId116" Type="http://schemas.openxmlformats.org/officeDocument/2006/relationships/tags" Target="../tags/tag910.xml"/><Relationship Id="rId137" Type="http://schemas.openxmlformats.org/officeDocument/2006/relationships/tags" Target="../tags/tag931.xml"/><Relationship Id="rId158" Type="http://schemas.openxmlformats.org/officeDocument/2006/relationships/tags" Target="../tags/tag952.xml"/><Relationship Id="rId20" Type="http://schemas.openxmlformats.org/officeDocument/2006/relationships/tags" Target="../tags/tag814.xml"/><Relationship Id="rId41" Type="http://schemas.openxmlformats.org/officeDocument/2006/relationships/tags" Target="../tags/tag835.xml"/><Relationship Id="rId62" Type="http://schemas.openxmlformats.org/officeDocument/2006/relationships/tags" Target="../tags/tag856.xml"/><Relationship Id="rId83" Type="http://schemas.openxmlformats.org/officeDocument/2006/relationships/tags" Target="../tags/tag877.xml"/><Relationship Id="rId88" Type="http://schemas.openxmlformats.org/officeDocument/2006/relationships/tags" Target="../tags/tag882.xml"/><Relationship Id="rId111" Type="http://schemas.openxmlformats.org/officeDocument/2006/relationships/tags" Target="../tags/tag905.xml"/><Relationship Id="rId132" Type="http://schemas.openxmlformats.org/officeDocument/2006/relationships/tags" Target="../tags/tag926.xml"/><Relationship Id="rId153" Type="http://schemas.openxmlformats.org/officeDocument/2006/relationships/tags" Target="../tags/tag947.xml"/><Relationship Id="rId174" Type="http://schemas.openxmlformats.org/officeDocument/2006/relationships/tags" Target="../tags/tag968.xml"/><Relationship Id="rId179" Type="http://schemas.openxmlformats.org/officeDocument/2006/relationships/tags" Target="../tags/tag973.xml"/><Relationship Id="rId195" Type="http://schemas.openxmlformats.org/officeDocument/2006/relationships/notesSlide" Target="../notesSlides/notesSlide64.xml"/><Relationship Id="rId190" Type="http://schemas.openxmlformats.org/officeDocument/2006/relationships/tags" Target="../tags/tag984.xml"/><Relationship Id="rId15" Type="http://schemas.openxmlformats.org/officeDocument/2006/relationships/tags" Target="../tags/tag809.xml"/><Relationship Id="rId36" Type="http://schemas.openxmlformats.org/officeDocument/2006/relationships/tags" Target="../tags/tag830.xml"/><Relationship Id="rId57" Type="http://schemas.openxmlformats.org/officeDocument/2006/relationships/tags" Target="../tags/tag851.xml"/><Relationship Id="rId106" Type="http://schemas.openxmlformats.org/officeDocument/2006/relationships/tags" Target="../tags/tag900.xml"/><Relationship Id="rId127" Type="http://schemas.openxmlformats.org/officeDocument/2006/relationships/tags" Target="../tags/tag921.xml"/><Relationship Id="rId10" Type="http://schemas.openxmlformats.org/officeDocument/2006/relationships/tags" Target="../tags/tag804.xml"/><Relationship Id="rId31" Type="http://schemas.openxmlformats.org/officeDocument/2006/relationships/tags" Target="../tags/tag825.xml"/><Relationship Id="rId52" Type="http://schemas.openxmlformats.org/officeDocument/2006/relationships/tags" Target="../tags/tag846.xml"/><Relationship Id="rId73" Type="http://schemas.openxmlformats.org/officeDocument/2006/relationships/tags" Target="../tags/tag867.xml"/><Relationship Id="rId78" Type="http://schemas.openxmlformats.org/officeDocument/2006/relationships/tags" Target="../tags/tag872.xml"/><Relationship Id="rId94" Type="http://schemas.openxmlformats.org/officeDocument/2006/relationships/tags" Target="../tags/tag888.xml"/><Relationship Id="rId99" Type="http://schemas.openxmlformats.org/officeDocument/2006/relationships/tags" Target="../tags/tag893.xml"/><Relationship Id="rId101" Type="http://schemas.openxmlformats.org/officeDocument/2006/relationships/tags" Target="../tags/tag895.xml"/><Relationship Id="rId122" Type="http://schemas.openxmlformats.org/officeDocument/2006/relationships/tags" Target="../tags/tag916.xml"/><Relationship Id="rId143" Type="http://schemas.openxmlformats.org/officeDocument/2006/relationships/tags" Target="../tags/tag937.xml"/><Relationship Id="rId148" Type="http://schemas.openxmlformats.org/officeDocument/2006/relationships/tags" Target="../tags/tag942.xml"/><Relationship Id="rId164" Type="http://schemas.openxmlformats.org/officeDocument/2006/relationships/tags" Target="../tags/tag958.xml"/><Relationship Id="rId169" Type="http://schemas.openxmlformats.org/officeDocument/2006/relationships/tags" Target="../tags/tag963.xml"/><Relationship Id="rId185" Type="http://schemas.openxmlformats.org/officeDocument/2006/relationships/tags" Target="../tags/tag979.xml"/><Relationship Id="rId4" Type="http://schemas.openxmlformats.org/officeDocument/2006/relationships/tags" Target="../tags/tag798.xml"/><Relationship Id="rId9" Type="http://schemas.openxmlformats.org/officeDocument/2006/relationships/tags" Target="../tags/tag803.xml"/><Relationship Id="rId180" Type="http://schemas.openxmlformats.org/officeDocument/2006/relationships/tags" Target="../tags/tag974.xml"/><Relationship Id="rId26" Type="http://schemas.openxmlformats.org/officeDocument/2006/relationships/tags" Target="../tags/tag820.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93.xml"/></Relationships>
</file>

<file path=ppt/slides/_rels/slide9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7.xml"/><Relationship Id="rId1" Type="http://schemas.openxmlformats.org/officeDocument/2006/relationships/slideLayout" Target="../slideLayouts/slideLayout80.xml"/><Relationship Id="rId5" Type="http://schemas.openxmlformats.org/officeDocument/2006/relationships/image" Target="../media/image40.jpeg"/><Relationship Id="rId4"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ctrTitle"/>
          </p:nvPr>
        </p:nvSpPr>
        <p:spPr>
          <a:xfrm>
            <a:off x="392430" y="169864"/>
            <a:ext cx="11246488" cy="1130701"/>
          </a:xfrm>
        </p:spPr>
        <p:txBody>
          <a:bodyPr vert="horz" lIns="0" tIns="0" rIns="0" bIns="0" rtlCol="0" anchor="ctr">
            <a:noAutofit/>
          </a:bodyPr>
          <a:lstStyle/>
          <a:p>
            <a:pPr algn="l"/>
            <a:r>
              <a:rPr lang="en-US" sz="4400" b="1" dirty="0">
                <a:solidFill>
                  <a:schemeClr val="tx1"/>
                </a:solidFill>
                <a:latin typeface="Arial" panose="020B0604020202020204" pitchFamily="34" charset="0"/>
                <a:cs typeface="Arial" panose="020B0604020202020204" pitchFamily="34" charset="0"/>
              </a:rPr>
              <a:t>Impact of macro-economic environment on the automotive industry</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43277"/>
          <a:stretch/>
        </p:blipFill>
        <p:spPr>
          <a:xfrm>
            <a:off x="-2933700" y="1436915"/>
            <a:ext cx="2572158" cy="4544996"/>
          </a:xfrm>
          <a:prstGeom prst="rect">
            <a:avLst/>
          </a:prstGeom>
        </p:spPr>
      </p:pic>
      <p:sp>
        <p:nvSpPr>
          <p:cNvPr id="6" name="Subtitle 5">
            <a:extLst>
              <a:ext uri="{FF2B5EF4-FFF2-40B4-BE49-F238E27FC236}">
                <a16:creationId xmlns:a16="http://schemas.microsoft.com/office/drawing/2014/main" id="{7F8D1879-4E8B-424D-9032-42F92CD42A7E}"/>
              </a:ext>
            </a:extLst>
          </p:cNvPr>
          <p:cNvSpPr>
            <a:spLocks noGrp="1"/>
          </p:cNvSpPr>
          <p:nvPr/>
        </p:nvSpPr>
        <p:spPr>
          <a:xfrm>
            <a:off x="392430" y="2287050"/>
            <a:ext cx="2769809" cy="853913"/>
          </a:xfrm>
          <a:prstGeom prst="rect">
            <a:avLst/>
          </a:prstGeom>
        </p:spPr>
        <p:txBody>
          <a:bodyPr vert="horz" lIns="91440" tIns="45720" rIns="91440" bIns="45720" rtlCol="0">
            <a:normAutofit/>
          </a:bodyPr>
          <a:lstStyle>
            <a:lvl1pPr marL="228591" indent="-228591" algn="l" defTabSz="914363" rtl="0" eaLnBrk="1" latinLnBrk="0" hangingPunct="1">
              <a:lnSpc>
                <a:spcPct val="90000"/>
              </a:lnSpc>
              <a:spcBef>
                <a:spcPts val="1000"/>
              </a:spcBef>
              <a:buFont typeface="Arial" panose="020B0604020202020204" pitchFamily="34" charset="0"/>
              <a:buNone/>
              <a:defRPr lang="en-US" sz="1500" kern="1200" dirty="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1" marR="0" lvl="0" indent="-228591" algn="l" defTabSz="91436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MA</a:t>
            </a:r>
          </a:p>
          <a:p>
            <a:pPr marL="228591" marR="0" lvl="0" indent="-228591" algn="l" defTabSz="91436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ril 2022</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2239" y="1709566"/>
            <a:ext cx="8603041" cy="3999693"/>
          </a:xfrm>
          <a:prstGeom prst="rect">
            <a:avLst/>
          </a:prstGeom>
        </p:spPr>
      </p:pic>
    </p:spTree>
    <p:extLst>
      <p:ext uri="{BB962C8B-B14F-4D97-AF65-F5344CB8AC3E}">
        <p14:creationId xmlns:p14="http://schemas.microsoft.com/office/powerpoint/2010/main" val="283193078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691" y="182940"/>
            <a:ext cx="11468100" cy="387798"/>
          </a:xfrm>
        </p:spPr>
        <p:txBody>
          <a:bodyPr/>
          <a:lstStyle/>
          <a:p>
            <a:r>
              <a:rPr lang="en-US" sz="2800" dirty="0">
                <a:solidFill>
                  <a:schemeClr val="tx1"/>
                </a:solidFill>
              </a:rPr>
              <a:t>Overall mobility showing mix trends month on month</a:t>
            </a:r>
          </a:p>
        </p:txBody>
      </p:sp>
      <p:sp>
        <p:nvSpPr>
          <p:cNvPr id="13" name="Text Placeholder 6"/>
          <p:cNvSpPr txBox="1">
            <a:spLocks/>
          </p:cNvSpPr>
          <p:nvPr/>
        </p:nvSpPr>
        <p:spPr>
          <a:xfrm>
            <a:off x="351691" y="3626967"/>
            <a:ext cx="3750000" cy="242174"/>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defPPr>
              <a:defRPr lang="en-US"/>
            </a:defPPr>
            <a:lvl1pPr indent="0">
              <a:lnSpc>
                <a:spcPct val="90000"/>
              </a:lnSpc>
              <a:spcBef>
                <a:spcPct val="50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000" dirty="0"/>
              <a:t>Monthly diesel consumption</a:t>
            </a:r>
          </a:p>
        </p:txBody>
      </p:sp>
      <p:sp>
        <p:nvSpPr>
          <p:cNvPr id="3" name="Slide Number Placeholder 2"/>
          <p:cNvSpPr>
            <a:spLocks noGrp="1"/>
          </p:cNvSpPr>
          <p:nvPr>
            <p:ph type="sldNum" sz="quarter" idx="4294967295"/>
          </p:nvPr>
        </p:nvSpPr>
        <p:spPr>
          <a:xfrm>
            <a:off x="8305800" y="6356351"/>
            <a:ext cx="2743200" cy="365125"/>
          </a:xfrm>
        </p:spPr>
        <p:txBody>
          <a:bodyPr/>
          <a:lstStyle/>
          <a:p>
            <a:fld id="{47FC1E78-8A1D-4B7B-BB49-A01A2C07F035}" type="slidenum">
              <a:rPr lang="en-US" smtClean="0"/>
              <a:t>10</a:t>
            </a:fld>
            <a:endParaRPr lang="en-US" dirty="0"/>
          </a:p>
        </p:txBody>
      </p:sp>
      <p:sp>
        <p:nvSpPr>
          <p:cNvPr id="8" name="Text Placeholder 4"/>
          <p:cNvSpPr txBox="1">
            <a:spLocks/>
          </p:cNvSpPr>
          <p:nvPr/>
        </p:nvSpPr>
        <p:spPr>
          <a:xfrm>
            <a:off x="8339926" y="3647032"/>
            <a:ext cx="3750000" cy="226063"/>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defPPr>
              <a:defRPr lang="en-US"/>
            </a:defPPr>
            <a:lvl1pPr indent="0">
              <a:lnSpc>
                <a:spcPct val="90000"/>
              </a:lnSpc>
              <a:spcBef>
                <a:spcPct val="50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IN" sz="1000" dirty="0"/>
              <a:t>NETC/Fastag collections-Indexed to Feb-20 levels</a:t>
            </a:r>
          </a:p>
        </p:txBody>
      </p:sp>
      <p:sp>
        <p:nvSpPr>
          <p:cNvPr id="10" name="Text Placeholder 4"/>
          <p:cNvSpPr txBox="1">
            <a:spLocks/>
          </p:cNvSpPr>
          <p:nvPr/>
        </p:nvSpPr>
        <p:spPr>
          <a:xfrm>
            <a:off x="351691" y="819432"/>
            <a:ext cx="2850000" cy="300000"/>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schemeClr val="bg1"/>
                </a:solidFill>
                <a:latin typeface="Arial" panose="020B0604020202020204" pitchFamily="34" charset="0"/>
                <a:cs typeface="Arial" panose="020B0604020202020204" pitchFamily="34" charset="0"/>
              </a:rPr>
              <a:t>Port Traffic</a:t>
            </a:r>
          </a:p>
        </p:txBody>
      </p:sp>
      <p:sp>
        <p:nvSpPr>
          <p:cNvPr id="11" name="Text Placeholder 4"/>
          <p:cNvSpPr txBox="1">
            <a:spLocks/>
          </p:cNvSpPr>
          <p:nvPr/>
        </p:nvSpPr>
        <p:spPr>
          <a:xfrm>
            <a:off x="3282419" y="800675"/>
            <a:ext cx="2850000" cy="300000"/>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schemeClr val="bg1"/>
                </a:solidFill>
                <a:latin typeface="Arial" panose="020B0604020202020204" pitchFamily="34" charset="0"/>
                <a:cs typeface="Arial" panose="020B0604020202020204" pitchFamily="34" charset="0"/>
              </a:rPr>
              <a:t>Air traffic (Domestic)</a:t>
            </a:r>
          </a:p>
        </p:txBody>
      </p:sp>
      <p:sp>
        <p:nvSpPr>
          <p:cNvPr id="12" name="Text Placeholder 4"/>
          <p:cNvSpPr txBox="1">
            <a:spLocks/>
          </p:cNvSpPr>
          <p:nvPr/>
        </p:nvSpPr>
        <p:spPr>
          <a:xfrm>
            <a:off x="6234198" y="800675"/>
            <a:ext cx="2850000" cy="300000"/>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schemeClr val="bg1"/>
                </a:solidFill>
                <a:latin typeface="Arial" panose="020B0604020202020204" pitchFamily="34" charset="0"/>
                <a:cs typeface="Arial" panose="020B0604020202020204" pitchFamily="34" charset="0"/>
              </a:rPr>
              <a:t>Rail Cargo</a:t>
            </a:r>
          </a:p>
        </p:txBody>
      </p:sp>
      <p:sp>
        <p:nvSpPr>
          <p:cNvPr id="14" name="Text Placeholder 4"/>
          <p:cNvSpPr txBox="1">
            <a:spLocks/>
          </p:cNvSpPr>
          <p:nvPr/>
        </p:nvSpPr>
        <p:spPr>
          <a:xfrm>
            <a:off x="9164926" y="819432"/>
            <a:ext cx="2850000" cy="300000"/>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schemeClr val="bg1"/>
                </a:solidFill>
                <a:latin typeface="Arial" panose="020B0604020202020204" pitchFamily="34" charset="0"/>
                <a:cs typeface="Arial" panose="020B0604020202020204" pitchFamily="34" charset="0"/>
              </a:rPr>
              <a:t>Rail passenger</a:t>
            </a:r>
          </a:p>
        </p:txBody>
      </p:sp>
      <p:sp>
        <p:nvSpPr>
          <p:cNvPr id="4" name="Rectangle 3"/>
          <p:cNvSpPr/>
          <p:nvPr/>
        </p:nvSpPr>
        <p:spPr>
          <a:xfrm>
            <a:off x="1203013" y="6410500"/>
            <a:ext cx="4307589" cy="246221"/>
          </a:xfrm>
          <a:prstGeom prst="rect">
            <a:avLst/>
          </a:prstGeom>
        </p:spPr>
        <p:txBody>
          <a:bodyPr wrap="none">
            <a:spAutoFit/>
          </a:bodyPr>
          <a:lstStyle/>
          <a:p>
            <a:r>
              <a:rPr lang="en-US" sz="1000" i="1" dirty="0">
                <a:latin typeface="Arial" panose="020B0604020202020204" pitchFamily="34" charset="0"/>
                <a:cs typeface="Arial" panose="020B0604020202020204" pitchFamily="34" charset="0"/>
              </a:rPr>
              <a:t>Source: IPA,DGCA, Indian Railways, PPAC,NPCI,RBI,CRISIL Research,</a:t>
            </a:r>
            <a:endParaRPr lang="en-GB" sz="1000" i="1" dirty="0">
              <a:latin typeface="Arial" panose="020B0604020202020204" pitchFamily="34" charset="0"/>
              <a:cs typeface="Arial" panose="020B0604020202020204" pitchFamily="34" charset="0"/>
            </a:endParaRPr>
          </a:p>
        </p:txBody>
      </p:sp>
      <p:sp>
        <p:nvSpPr>
          <p:cNvPr id="28" name="Text Placeholder 6"/>
          <p:cNvSpPr txBox="1">
            <a:spLocks/>
          </p:cNvSpPr>
          <p:nvPr/>
        </p:nvSpPr>
        <p:spPr>
          <a:xfrm>
            <a:off x="4281541" y="3638977"/>
            <a:ext cx="3750000" cy="242174"/>
          </a:xfrm>
          <a:prstGeom prst="rect">
            <a:avLst/>
          </a:prstGeom>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defPPr>
              <a:defRPr lang="en-US"/>
            </a:defPPr>
            <a:lvl1pPr indent="0">
              <a:lnSpc>
                <a:spcPct val="90000"/>
              </a:lnSpc>
              <a:spcBef>
                <a:spcPct val="50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000" dirty="0"/>
              <a:t>Monthly petrol consumption</a:t>
            </a:r>
          </a:p>
        </p:txBody>
      </p:sp>
      <p:graphicFrame>
        <p:nvGraphicFramePr>
          <p:cNvPr id="21" name="Chart 20">
            <a:extLst>
              <a:ext uri="{FF2B5EF4-FFF2-40B4-BE49-F238E27FC236}">
                <a16:creationId xmlns:a16="http://schemas.microsoft.com/office/drawing/2014/main" id="{C0A30EC3-2C04-479A-8973-79042236F64D}"/>
              </a:ext>
            </a:extLst>
          </p:cNvPr>
          <p:cNvGraphicFramePr>
            <a:graphicFrameLocks/>
          </p:cNvGraphicFramePr>
          <p:nvPr>
            <p:extLst>
              <p:ext uri="{D42A27DB-BD31-4B8C-83A1-F6EECF244321}">
                <p14:modId xmlns:p14="http://schemas.microsoft.com/office/powerpoint/2010/main" val="4053956325"/>
              </p:ext>
            </p:extLst>
          </p:nvPr>
        </p:nvGraphicFramePr>
        <p:xfrm>
          <a:off x="351692" y="3937200"/>
          <a:ext cx="3750000" cy="23095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20FE81A1-8F04-49AD-99CF-92C57E597774}"/>
              </a:ext>
            </a:extLst>
          </p:cNvPr>
          <p:cNvGraphicFramePr>
            <a:graphicFrameLocks/>
          </p:cNvGraphicFramePr>
          <p:nvPr>
            <p:extLst>
              <p:ext uri="{D42A27DB-BD31-4B8C-83A1-F6EECF244321}">
                <p14:modId xmlns:p14="http://schemas.microsoft.com/office/powerpoint/2010/main" val="306580211"/>
              </p:ext>
            </p:extLst>
          </p:nvPr>
        </p:nvGraphicFramePr>
        <p:xfrm>
          <a:off x="4281541" y="3954487"/>
          <a:ext cx="3750000" cy="230951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822802441"/>
              </p:ext>
            </p:extLst>
          </p:nvPr>
        </p:nvGraphicFramePr>
        <p:xfrm>
          <a:off x="3252368" y="1186577"/>
          <a:ext cx="2880051" cy="22424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Chart 23">
            <a:extLst>
              <a:ext uri="{FF2B5EF4-FFF2-40B4-BE49-F238E27FC236}">
                <a16:creationId xmlns:a16="http://schemas.microsoft.com/office/drawing/2014/main" id="{534043FD-FB18-41E3-8D49-BFC54FB2FF5C}"/>
              </a:ext>
            </a:extLst>
          </p:cNvPr>
          <p:cNvGraphicFramePr>
            <a:graphicFrameLocks/>
          </p:cNvGraphicFramePr>
          <p:nvPr/>
        </p:nvGraphicFramePr>
        <p:xfrm>
          <a:off x="9164926" y="1144946"/>
          <a:ext cx="2850000" cy="23719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hart 24">
            <a:extLst>
              <a:ext uri="{FF2B5EF4-FFF2-40B4-BE49-F238E27FC236}">
                <a16:creationId xmlns:a16="http://schemas.microsoft.com/office/drawing/2014/main" id="{B6FF94C2-BA21-40B6-8399-79A344D474CC}"/>
              </a:ext>
            </a:extLst>
          </p:cNvPr>
          <p:cNvGraphicFramePr>
            <a:graphicFrameLocks/>
          </p:cNvGraphicFramePr>
          <p:nvPr/>
        </p:nvGraphicFramePr>
        <p:xfrm>
          <a:off x="6234198" y="1153462"/>
          <a:ext cx="2850000" cy="22755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6" name="Chart 25">
            <a:extLst>
              <a:ext uri="{FF2B5EF4-FFF2-40B4-BE49-F238E27FC236}">
                <a16:creationId xmlns:a16="http://schemas.microsoft.com/office/drawing/2014/main" id="{D99C4257-CF8B-4F06-9C48-143ED0C08B71}"/>
              </a:ext>
            </a:extLst>
          </p:cNvPr>
          <p:cNvGraphicFramePr>
            <a:graphicFrameLocks/>
          </p:cNvGraphicFramePr>
          <p:nvPr/>
        </p:nvGraphicFramePr>
        <p:xfrm>
          <a:off x="8339925" y="3937199"/>
          <a:ext cx="3721021" cy="218016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 name="Chart 19">
            <a:extLst>
              <a:ext uri="{FF2B5EF4-FFF2-40B4-BE49-F238E27FC236}">
                <a16:creationId xmlns:a16="http://schemas.microsoft.com/office/drawing/2014/main" id="{C66C340A-BE55-4723-91E5-9DEBB31649A0}"/>
              </a:ext>
            </a:extLst>
          </p:cNvPr>
          <p:cNvGraphicFramePr>
            <a:graphicFrameLocks/>
          </p:cNvGraphicFramePr>
          <p:nvPr>
            <p:extLst>
              <p:ext uri="{D42A27DB-BD31-4B8C-83A1-F6EECF244321}">
                <p14:modId xmlns:p14="http://schemas.microsoft.com/office/powerpoint/2010/main" val="785868369"/>
              </p:ext>
            </p:extLst>
          </p:nvPr>
        </p:nvGraphicFramePr>
        <p:xfrm>
          <a:off x="351691" y="1153461"/>
          <a:ext cx="2819949" cy="227553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84386952"/>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ree-wheeler exports</a:t>
            </a:r>
            <a:endParaRPr lang="en-IN" dirty="0"/>
          </a:p>
        </p:txBody>
      </p:sp>
    </p:spTree>
    <p:extLst>
      <p:ext uri="{BB962C8B-B14F-4D97-AF65-F5344CB8AC3E}">
        <p14:creationId xmlns:p14="http://schemas.microsoft.com/office/powerpoint/2010/main" val="2916227850"/>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8" y="29041"/>
            <a:ext cx="11056142" cy="784702"/>
          </a:xfrm>
        </p:spPr>
        <p:txBody>
          <a:bodyPr/>
          <a:lstStyle/>
          <a:p>
            <a:r>
              <a:rPr lang="en-US" dirty="0"/>
              <a:t>Cargo segment gains some share, exports witness robust growth in FY22</a:t>
            </a:r>
          </a:p>
        </p:txBody>
      </p:sp>
      <p:sp>
        <p:nvSpPr>
          <p:cNvPr id="6" name="TextBox 5">
            <a:extLst>
              <a:ext uri="{FF2B5EF4-FFF2-40B4-BE49-F238E27FC236}">
                <a16:creationId xmlns:a16="http://schemas.microsoft.com/office/drawing/2014/main" id="{9F0EF2B2-6994-4980-B288-1804AD6B73F9}"/>
              </a:ext>
            </a:extLst>
          </p:cNvPr>
          <p:cNvSpPr txBox="1"/>
          <p:nvPr/>
        </p:nvSpPr>
        <p:spPr>
          <a:xfrm>
            <a:off x="373858" y="5422606"/>
            <a:ext cx="11360942" cy="646315"/>
          </a:xfrm>
          <a:prstGeom prst="rect">
            <a:avLst/>
          </a:prstGeom>
          <a:solidFill>
            <a:schemeClr val="bg1">
              <a:lumMod val="85000"/>
            </a:schemeClr>
          </a:solidFill>
        </p:spPr>
        <p:txBody>
          <a:bodyPr wrap="square" lIns="91421" tIns="45712" rIns="91421" bIns="45712" rtlCol="0" anchor="ctr">
            <a:spAutoFit/>
          </a:bodyPr>
          <a:lstStyle/>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Y22 witnessed some improvement in exports</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with passenger carrier segment driving growth</a:t>
            </a:r>
          </a:p>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Bajaj continues to dominate the 3W exports, </a:t>
            </a:r>
          </a:p>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However, TVS improved its market share by 400 bps in FY 22 and captured into some market share of Bajaj</a:t>
            </a:r>
            <a:endPar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Box 9"/>
          <p:cNvSpPr txBox="1"/>
          <p:nvPr/>
        </p:nvSpPr>
        <p:spPr>
          <a:xfrm>
            <a:off x="325932" y="4896817"/>
            <a:ext cx="5581172" cy="246205"/>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SIAM, CRISIL Research</a:t>
            </a:r>
          </a:p>
        </p:txBody>
      </p:sp>
      <p:sp>
        <p:nvSpPr>
          <p:cNvPr id="11" name="Title 1">
            <a:extLst>
              <a:ext uri="{FF2B5EF4-FFF2-40B4-BE49-F238E27FC236}">
                <a16:creationId xmlns:a16="http://schemas.microsoft.com/office/drawing/2014/main" id="{F44079A9-B61B-4322-AB77-854F8276047E}"/>
              </a:ext>
            </a:extLst>
          </p:cNvPr>
          <p:cNvSpPr txBox="1">
            <a:spLocks/>
          </p:cNvSpPr>
          <p:nvPr/>
        </p:nvSpPr>
        <p:spPr>
          <a:xfrm>
            <a:off x="362972" y="898074"/>
            <a:ext cx="11371828" cy="292608"/>
          </a:xfrm>
          <a:prstGeom prst="rect">
            <a:avLst/>
          </a:prstGeom>
          <a:solidFill>
            <a:srgbClr val="3C3C3B"/>
          </a:solidFill>
          <a:ln>
            <a:noFill/>
          </a:ln>
        </p:spPr>
        <p:txBody>
          <a:bodyPr wrap="square" lIns="0" tIns="0" rIns="0" bIns="0" anchor="ctr" anchorCtr="0">
            <a:spAutoFit/>
          </a:bodyPr>
          <a:lstStyle>
            <a:lvl1pPr algn="l" rtl="0" eaLnBrk="0" fontAlgn="base" hangingPunct="0">
              <a:spcBef>
                <a:spcPct val="0"/>
              </a:spcBef>
              <a:spcAft>
                <a:spcPct val="0"/>
              </a:spcAft>
              <a:defRPr sz="2000" b="1" kern="1200" baseline="0">
                <a:solidFill>
                  <a:schemeClr val="tx2"/>
                </a:solidFill>
                <a:latin typeface="+mj-lt"/>
                <a:ea typeface="+mj-ea"/>
                <a:cs typeface="Arial" pitchFamily="34" charset="0"/>
              </a:defRPr>
            </a:lvl1pPr>
            <a:lvl2pPr algn="ctr" rtl="0" eaLnBrk="0" fontAlgn="base" hangingPunct="0">
              <a:spcBef>
                <a:spcPct val="0"/>
              </a:spcBef>
              <a:spcAft>
                <a:spcPct val="0"/>
              </a:spcAft>
              <a:defRPr sz="4400">
                <a:solidFill>
                  <a:schemeClr val="tx1"/>
                </a:solidFill>
                <a:latin typeface="Arial" charset="0"/>
              </a:defRPr>
            </a:lvl2pPr>
            <a:lvl3pPr algn="ctr" rtl="0" eaLnBrk="0" fontAlgn="base" hangingPunct="0">
              <a:spcBef>
                <a:spcPct val="0"/>
              </a:spcBef>
              <a:spcAft>
                <a:spcPct val="0"/>
              </a:spcAft>
              <a:defRPr sz="4400">
                <a:solidFill>
                  <a:schemeClr val="tx1"/>
                </a:solidFill>
                <a:latin typeface="Arial" charset="0"/>
              </a:defRPr>
            </a:lvl3pPr>
            <a:lvl4pPr algn="ctr" rtl="0" eaLnBrk="0" fontAlgn="base" hangingPunct="0">
              <a:spcBef>
                <a:spcPct val="0"/>
              </a:spcBef>
              <a:spcAft>
                <a:spcPct val="0"/>
              </a:spcAft>
              <a:defRPr sz="4400">
                <a:solidFill>
                  <a:schemeClr val="tx1"/>
                </a:solidFill>
                <a:latin typeface="Arial" charset="0"/>
              </a:defRPr>
            </a:lvl4pPr>
            <a:lvl5pPr algn="ctr" rtl="0" eaLnBrk="0" fontAlgn="base" hangingPunct="0">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itchFamily="34" charset="0"/>
              </a:rPr>
              <a:t>Bajaj maintains its top position</a:t>
            </a:r>
          </a:p>
        </p:txBody>
      </p:sp>
      <p:graphicFrame>
        <p:nvGraphicFramePr>
          <p:cNvPr id="7" name="Chart 6"/>
          <p:cNvGraphicFramePr>
            <a:graphicFrameLocks/>
          </p:cNvGraphicFramePr>
          <p:nvPr>
            <p:extLst>
              <p:ext uri="{D42A27DB-BD31-4B8C-83A1-F6EECF244321}">
                <p14:modId xmlns:p14="http://schemas.microsoft.com/office/powerpoint/2010/main" val="1085374217"/>
              </p:ext>
            </p:extLst>
          </p:nvPr>
        </p:nvGraphicFramePr>
        <p:xfrm>
          <a:off x="373858" y="1190682"/>
          <a:ext cx="11360942" cy="36921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80120021"/>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6"/>
            <a:ext cx="8112314" cy="3973880"/>
            <a:chOff x="166688" y="2049463"/>
            <a:chExt cx="8683576" cy="4253716"/>
          </a:xfrm>
        </p:grpSpPr>
        <p:sp>
          <p:nvSpPr>
            <p:cNvPr id="231" name="Rectangle 406"/>
            <p:cNvSpPr>
              <a:spLocks noChangeArrowheads="1"/>
            </p:cNvSpPr>
            <p:nvPr>
              <p:custDataLst>
                <p:tags r:id="rId8"/>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9"/>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10"/>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11"/>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12"/>
              </p:custDataLst>
            </p:nvPr>
          </p:nvSpPr>
          <p:spPr bwMode="gray">
            <a:xfrm>
              <a:off x="5181601"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13"/>
              </p:custDataLst>
            </p:nvPr>
          </p:nvSpPr>
          <p:spPr bwMode="gray">
            <a:xfrm>
              <a:off x="4978401" y="2940050"/>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14"/>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15"/>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16"/>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7"/>
              </p:custDataLst>
            </p:nvPr>
          </p:nvSpPr>
          <p:spPr bwMode="gray">
            <a:xfrm>
              <a:off x="4657725"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8"/>
              </p:custDataLst>
            </p:nvPr>
          </p:nvSpPr>
          <p:spPr bwMode="gray">
            <a:xfrm>
              <a:off x="4449763"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9"/>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20"/>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21"/>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22"/>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23"/>
              </p:custDataLst>
            </p:nvPr>
          </p:nvSpPr>
          <p:spPr bwMode="gray">
            <a:xfrm>
              <a:off x="4938713"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24"/>
              </p:custDataLst>
            </p:nvPr>
          </p:nvSpPr>
          <p:spPr bwMode="gray">
            <a:xfrm>
              <a:off x="4872038"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25"/>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26"/>
              </p:custDataLst>
            </p:nvPr>
          </p:nvSpPr>
          <p:spPr bwMode="gray">
            <a:xfrm>
              <a:off x="4624388" y="269240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7"/>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8"/>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9"/>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30"/>
              </p:custDataLst>
            </p:nvPr>
          </p:nvSpPr>
          <p:spPr bwMode="gray">
            <a:xfrm>
              <a:off x="4743450"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31"/>
              </p:custDataLst>
            </p:nvPr>
          </p:nvSpPr>
          <p:spPr bwMode="gray">
            <a:xfrm>
              <a:off x="5105402"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32"/>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33"/>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34"/>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35"/>
              </p:custDataLst>
            </p:nvPr>
          </p:nvSpPr>
          <p:spPr bwMode="gray">
            <a:xfrm>
              <a:off x="5126037"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36"/>
              </p:custDataLst>
            </p:nvPr>
          </p:nvSpPr>
          <p:spPr bwMode="gray">
            <a:xfrm>
              <a:off x="5092702"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7"/>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8"/>
              </p:custDataLst>
            </p:nvPr>
          </p:nvSpPr>
          <p:spPr bwMode="gray">
            <a:xfrm>
              <a:off x="4567238"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9"/>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40"/>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41"/>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42"/>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43"/>
              </p:custDataLst>
            </p:nvPr>
          </p:nvSpPr>
          <p:spPr bwMode="gray">
            <a:xfrm>
              <a:off x="4875213" y="3451226"/>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44"/>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45"/>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46"/>
              </p:custDataLst>
            </p:nvPr>
          </p:nvSpPr>
          <p:spPr bwMode="gray">
            <a:xfrm>
              <a:off x="3785174" y="3217863"/>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7"/>
              </p:custDataLst>
            </p:nvPr>
          </p:nvSpPr>
          <p:spPr bwMode="gray">
            <a:xfrm>
              <a:off x="3987800"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8"/>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9"/>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200"/>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8"/>
              </p:custDataLst>
            </p:nvPr>
          </p:nvSpPr>
          <p:spPr bwMode="gray">
            <a:xfrm>
              <a:off x="5373688" y="3621088"/>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9"/>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50"/>
              </p:custDataLst>
            </p:nvPr>
          </p:nvSpPr>
          <p:spPr bwMode="gray">
            <a:xfrm>
              <a:off x="5743575"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51"/>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52"/>
              </p:custDataLst>
            </p:nvPr>
          </p:nvSpPr>
          <p:spPr bwMode="gray">
            <a:xfrm>
              <a:off x="7832724"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53"/>
              </p:custDataLst>
            </p:nvPr>
          </p:nvSpPr>
          <p:spPr bwMode="gray">
            <a:xfrm>
              <a:off x="8181977"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54"/>
              </p:custDataLst>
            </p:nvPr>
          </p:nvSpPr>
          <p:spPr bwMode="gray">
            <a:xfrm>
              <a:off x="6951662"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55"/>
              </p:custDataLst>
            </p:nvPr>
          </p:nvSpPr>
          <p:spPr bwMode="gray">
            <a:xfrm>
              <a:off x="8447088" y="4151313"/>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56"/>
              </p:custDataLst>
            </p:nvPr>
          </p:nvSpPr>
          <p:spPr bwMode="gray">
            <a:xfrm>
              <a:off x="8596313" y="4411662"/>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7"/>
              </p:custDataLst>
            </p:nvPr>
          </p:nvSpPr>
          <p:spPr bwMode="gray">
            <a:xfrm>
              <a:off x="6186487" y="4559301"/>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8"/>
              </p:custDataLst>
            </p:nvPr>
          </p:nvSpPr>
          <p:spPr bwMode="gray">
            <a:xfrm>
              <a:off x="7048500"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9"/>
              </p:custDataLst>
            </p:nvPr>
          </p:nvSpPr>
          <p:spPr bwMode="gray">
            <a:xfrm>
              <a:off x="6789738"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60"/>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61"/>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62"/>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63"/>
              </p:custDataLst>
            </p:nvPr>
          </p:nvSpPr>
          <p:spPr bwMode="gray">
            <a:xfrm>
              <a:off x="6075363" y="3190876"/>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64"/>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65"/>
              </p:custDataLst>
            </p:nvPr>
          </p:nvSpPr>
          <p:spPr bwMode="gray">
            <a:xfrm>
              <a:off x="5478463"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66"/>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7"/>
              </p:custDataLst>
            </p:nvPr>
          </p:nvSpPr>
          <p:spPr bwMode="gray">
            <a:xfrm>
              <a:off x="5537199" y="37274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8"/>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9"/>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70"/>
              </p:custDataLst>
            </p:nvPr>
          </p:nvSpPr>
          <p:spPr bwMode="gray">
            <a:xfrm>
              <a:off x="5962650" y="3665538"/>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71"/>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72"/>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73"/>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74"/>
              </p:custDataLst>
            </p:nvPr>
          </p:nvSpPr>
          <p:spPr bwMode="gray">
            <a:xfrm>
              <a:off x="5557838" y="4214813"/>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75"/>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76"/>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7"/>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8"/>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9"/>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80"/>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81"/>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82"/>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83"/>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84"/>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85"/>
              </p:custDataLst>
            </p:nvPr>
          </p:nvSpPr>
          <p:spPr bwMode="gray">
            <a:xfrm>
              <a:off x="5345113" y="3763963"/>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86"/>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7"/>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8"/>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9"/>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90"/>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91"/>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92"/>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93"/>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94"/>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95"/>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96"/>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7"/>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8"/>
              </p:custDataLst>
            </p:nvPr>
          </p:nvSpPr>
          <p:spPr bwMode="gray">
            <a:xfrm>
              <a:off x="5218112" y="37274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9"/>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100"/>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101"/>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102"/>
              </p:custDataLst>
            </p:nvPr>
          </p:nvSpPr>
          <p:spPr bwMode="gray">
            <a:xfrm>
              <a:off x="5453063"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103"/>
              </p:custDataLst>
            </p:nvPr>
          </p:nvSpPr>
          <p:spPr bwMode="gray">
            <a:xfrm>
              <a:off x="5440363" y="3468688"/>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104"/>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105"/>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106"/>
              </p:custDataLst>
            </p:nvPr>
          </p:nvSpPr>
          <p:spPr bwMode="gray">
            <a:xfrm>
              <a:off x="4491038" y="4375150"/>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7"/>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8"/>
              </p:custDataLst>
            </p:nvPr>
          </p:nvSpPr>
          <p:spPr bwMode="gray">
            <a:xfrm>
              <a:off x="4152900"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9"/>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10"/>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11"/>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12"/>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13"/>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14"/>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15"/>
              </p:custDataLst>
            </p:nvPr>
          </p:nvSpPr>
          <p:spPr bwMode="gray">
            <a:xfrm>
              <a:off x="4487863" y="3868738"/>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16"/>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7"/>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8"/>
              </p:custDataLst>
            </p:nvPr>
          </p:nvSpPr>
          <p:spPr bwMode="gray">
            <a:xfrm>
              <a:off x="4430713" y="4140201"/>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9"/>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20"/>
              </p:custDataLst>
            </p:nvPr>
          </p:nvSpPr>
          <p:spPr bwMode="gray">
            <a:xfrm>
              <a:off x="4681538" y="41719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21"/>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22"/>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23"/>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24"/>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25"/>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26"/>
              </p:custDataLst>
            </p:nvPr>
          </p:nvSpPr>
          <p:spPr bwMode="gray">
            <a:xfrm>
              <a:off x="4643438"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7"/>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8"/>
              </p:custDataLst>
            </p:nvPr>
          </p:nvSpPr>
          <p:spPr bwMode="gray">
            <a:xfrm>
              <a:off x="4127500"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9"/>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30"/>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31"/>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32"/>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33"/>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34"/>
              </p:custDataLst>
            </p:nvPr>
          </p:nvSpPr>
          <p:spPr bwMode="gray">
            <a:xfrm>
              <a:off x="5262563" y="5154613"/>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35"/>
              </p:custDataLst>
            </p:nvPr>
          </p:nvSpPr>
          <p:spPr bwMode="gray">
            <a:xfrm>
              <a:off x="4251325"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36"/>
              </p:custDataLst>
            </p:nvPr>
          </p:nvSpPr>
          <p:spPr bwMode="gray">
            <a:xfrm>
              <a:off x="5705475" y="5233989"/>
              <a:ext cx="2693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7"/>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8"/>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9"/>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40"/>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41"/>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42"/>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43"/>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44"/>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45"/>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46"/>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7"/>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8"/>
              </p:custDataLst>
            </p:nvPr>
          </p:nvSpPr>
          <p:spPr bwMode="gray">
            <a:xfrm>
              <a:off x="5284788" y="5024439"/>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9"/>
              </p:custDataLst>
            </p:nvPr>
          </p:nvSpPr>
          <p:spPr bwMode="gray">
            <a:xfrm>
              <a:off x="5299075"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50"/>
              </p:custDataLst>
            </p:nvPr>
          </p:nvSpPr>
          <p:spPr bwMode="gray">
            <a:xfrm>
              <a:off x="5222875" y="5562602"/>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51"/>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52"/>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53"/>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54"/>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55"/>
              </p:custDataLst>
            </p:nvPr>
          </p:nvSpPr>
          <p:spPr bwMode="gray">
            <a:xfrm>
              <a:off x="4445000" y="4637089"/>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56"/>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7"/>
              </p:custDataLst>
            </p:nvPr>
          </p:nvSpPr>
          <p:spPr bwMode="gray">
            <a:xfrm>
              <a:off x="5365750" y="433863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8"/>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9"/>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60"/>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61"/>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62"/>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63"/>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64"/>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65"/>
              </p:custDataLst>
            </p:nvPr>
          </p:nvSpPr>
          <p:spPr bwMode="gray">
            <a:xfrm>
              <a:off x="2873375" y="5173664"/>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66"/>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7"/>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8"/>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9"/>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70"/>
              </p:custDataLst>
            </p:nvPr>
          </p:nvSpPr>
          <p:spPr bwMode="gray">
            <a:xfrm>
              <a:off x="2482850" y="4713289"/>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71"/>
              </p:custDataLst>
            </p:nvPr>
          </p:nvSpPr>
          <p:spPr bwMode="gray">
            <a:xfrm>
              <a:off x="3049588" y="4443414"/>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72"/>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73"/>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74"/>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75"/>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76"/>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7"/>
              </p:custDataLst>
            </p:nvPr>
          </p:nvSpPr>
          <p:spPr bwMode="gray">
            <a:xfrm>
              <a:off x="1968500" y="4699001"/>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8"/>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9"/>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80"/>
              </p:custDataLst>
            </p:nvPr>
          </p:nvSpPr>
          <p:spPr bwMode="gray">
            <a:xfrm>
              <a:off x="2747963" y="3925888"/>
              <a:ext cx="2985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81"/>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82"/>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83"/>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84"/>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85"/>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86"/>
              </p:custDataLst>
            </p:nvPr>
          </p:nvSpPr>
          <p:spPr bwMode="gray">
            <a:xfrm>
              <a:off x="1952626"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7"/>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8"/>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9"/>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90"/>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91"/>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92"/>
              </p:custDataLst>
            </p:nvPr>
          </p:nvSpPr>
          <p:spPr bwMode="gray">
            <a:xfrm>
              <a:off x="2098676"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93"/>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94"/>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95"/>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96"/>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7"/>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450" name="Title 1"/>
          <p:cNvSpPr>
            <a:spLocks noGrp="1"/>
          </p:cNvSpPr>
          <p:nvPr>
            <p:ph type="title"/>
          </p:nvPr>
        </p:nvSpPr>
        <p:spPr>
          <a:xfrm>
            <a:off x="380318" y="184792"/>
            <a:ext cx="10515600" cy="392415"/>
          </a:xfrm>
        </p:spPr>
        <p:txBody>
          <a:bodyPr/>
          <a:lstStyle/>
          <a:p>
            <a:r>
              <a:rPr lang="en-US" sz="3200" b="1" dirty="0">
                <a:latin typeface="Arial" panose="020B0604020202020204" pitchFamily="34" charset="0"/>
                <a:cs typeface="Arial" panose="020B0604020202020204" pitchFamily="34" charset="0"/>
              </a:rPr>
              <a:t>Three-wheeler exports</a:t>
            </a:r>
          </a:p>
        </p:txBody>
      </p:sp>
      <p:grpSp>
        <p:nvGrpSpPr>
          <p:cNvPr id="25" name="Group 24"/>
          <p:cNvGrpSpPr/>
          <p:nvPr/>
        </p:nvGrpSpPr>
        <p:grpSpPr>
          <a:xfrm>
            <a:off x="-224670" y="1368928"/>
            <a:ext cx="9796464" cy="4525086"/>
            <a:chOff x="2374534" y="1750126"/>
            <a:chExt cx="9936480" cy="5936343"/>
          </a:xfrm>
        </p:grpSpPr>
        <p:grpSp>
          <p:nvGrpSpPr>
            <p:cNvPr id="461" name="Group 460"/>
            <p:cNvGrpSpPr/>
            <p:nvPr/>
          </p:nvGrpSpPr>
          <p:grpSpPr>
            <a:xfrm>
              <a:off x="2374534" y="2240665"/>
              <a:ext cx="9936480" cy="5311140"/>
              <a:chOff x="393700" y="1781243"/>
              <a:chExt cx="8280400" cy="4425950"/>
            </a:xfrm>
            <a:solidFill>
              <a:schemeClr val="bg1">
                <a:lumMod val="85000"/>
              </a:schemeClr>
            </a:solidFill>
          </p:grpSpPr>
          <p:sp>
            <p:nvSpPr>
              <p:cNvPr id="462"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3"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4"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5"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6"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7"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8"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9"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0"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1"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2"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3"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4"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5"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6"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7"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8"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9"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0"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1"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2"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3"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4"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5"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6"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7"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8"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9"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0"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1"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2"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3"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4"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5"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3"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4"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5"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6"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7"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8"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9"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0"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1"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2"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3"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4"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5"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6"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7"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8"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9"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0"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1"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2"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3"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4"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5"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6"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7"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8"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9"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0"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1"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2"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3"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4"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5"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6"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7"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8"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9"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0"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1"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2"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3"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4"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5"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6"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7"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8"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9"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0"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1"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2"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3"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4"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5"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6"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7"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8"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9"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0"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1"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2"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3"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4"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5"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6"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7"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8"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9"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0"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1"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2"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3"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4"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5"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6"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7"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8"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9"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0"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1"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2"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3"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4"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5"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6"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7"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8"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9"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0"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1"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2"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3"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4"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5"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6"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7"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8"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9"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0"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1"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2"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3"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4"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5"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6"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7"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8"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9"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0"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1"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2"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3"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4"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5"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6"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7"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8"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9"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0"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1"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2"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3"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4"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5"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6"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7"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8"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9"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0"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1"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2"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3"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4"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5"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6"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7"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8"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9"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0"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1"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2"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3"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4"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5"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6"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7"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8"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9"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0"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1"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2"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3"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4"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5"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6"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7"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8"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9"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0"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1"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2"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3"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4"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5"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6"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7"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8"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9"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0"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1"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2"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3"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4"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5"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5" name="Freeform 367"/>
            <p:cNvSpPr>
              <a:spLocks/>
            </p:cNvSpPr>
            <p:nvPr>
              <p:custDataLst>
                <p:tags r:id="rId1"/>
              </p:custDataLst>
            </p:nvPr>
          </p:nvSpPr>
          <p:spPr bwMode="gray">
            <a:xfrm>
              <a:off x="2459632" y="5461121"/>
              <a:ext cx="8899" cy="5340"/>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reeform 368"/>
            <p:cNvSpPr>
              <a:spLocks noEditPoints="1"/>
            </p:cNvSpPr>
            <p:nvPr>
              <p:custDataLst>
                <p:tags r:id="rId2"/>
              </p:custDataLst>
            </p:nvPr>
          </p:nvSpPr>
          <p:spPr bwMode="gray">
            <a:xfrm>
              <a:off x="2530819" y="5249339"/>
              <a:ext cx="37374" cy="16018"/>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reeform 369"/>
            <p:cNvSpPr>
              <a:spLocks/>
            </p:cNvSpPr>
            <p:nvPr>
              <p:custDataLst>
                <p:tags r:id="rId3"/>
              </p:custDataLst>
            </p:nvPr>
          </p:nvSpPr>
          <p:spPr bwMode="gray">
            <a:xfrm>
              <a:off x="2582429" y="5268916"/>
              <a:ext cx="5340" cy="5340"/>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Freeform 370"/>
            <p:cNvSpPr>
              <a:spLocks/>
            </p:cNvSpPr>
            <p:nvPr>
              <p:custDataLst>
                <p:tags r:id="rId4"/>
              </p:custDataLst>
            </p:nvPr>
          </p:nvSpPr>
          <p:spPr bwMode="gray">
            <a:xfrm>
              <a:off x="2607345" y="5402390"/>
              <a:ext cx="3559" cy="5340"/>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tangle 371"/>
            <p:cNvSpPr>
              <a:spLocks noChangeArrowheads="1"/>
            </p:cNvSpPr>
            <p:nvPr>
              <p:custDataLst>
                <p:tags r:id="rId5"/>
              </p:custDataLst>
            </p:nvPr>
          </p:nvSpPr>
          <p:spPr bwMode="gray">
            <a:xfrm>
              <a:off x="2386665" y="5268916"/>
              <a:ext cx="3559" cy="355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372"/>
            <p:cNvSpPr>
              <a:spLocks noChangeArrowheads="1"/>
            </p:cNvSpPr>
            <p:nvPr>
              <p:custDataLst>
                <p:tags r:id="rId6"/>
              </p:custDataLst>
            </p:nvPr>
          </p:nvSpPr>
          <p:spPr bwMode="gray">
            <a:xfrm>
              <a:off x="2938363" y="5470019"/>
              <a:ext cx="3559" cy="1781"/>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reeform 373"/>
            <p:cNvSpPr>
              <a:spLocks/>
            </p:cNvSpPr>
            <p:nvPr>
              <p:custDataLst>
                <p:tags r:id="rId7"/>
              </p:custDataLst>
            </p:nvPr>
          </p:nvSpPr>
          <p:spPr bwMode="gray">
            <a:xfrm>
              <a:off x="3178621" y="5345441"/>
              <a:ext cx="14238" cy="889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45" name="Straight Connector 444"/>
            <p:cNvCxnSpPr>
              <a:cxnSpLocks/>
            </p:cNvCxnSpPr>
            <p:nvPr/>
          </p:nvCxnSpPr>
          <p:spPr>
            <a:xfrm flipH="1">
              <a:off x="9911329" y="2722121"/>
              <a:ext cx="3332" cy="1799366"/>
            </a:xfrm>
            <a:prstGeom prst="line">
              <a:avLst/>
            </a:prstGeom>
            <a:ln w="19050" cap="rnd">
              <a:solidFill>
                <a:schemeClr val="accent5"/>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a:cxnSpLocks/>
            </p:cNvCxnSpPr>
            <p:nvPr/>
          </p:nvCxnSpPr>
          <p:spPr>
            <a:xfrm flipV="1">
              <a:off x="7449809" y="5095749"/>
              <a:ext cx="10718" cy="1891489"/>
            </a:xfrm>
            <a:prstGeom prst="line">
              <a:avLst/>
            </a:prstGeom>
            <a:ln w="19050">
              <a:solidFill>
                <a:srgbClr val="8B3842"/>
              </a:solidFill>
              <a:tailEnd type="oval" w="lg" len="lg"/>
            </a:ln>
          </p:spPr>
          <p:style>
            <a:lnRef idx="1">
              <a:schemeClr val="accent1"/>
            </a:lnRef>
            <a:fillRef idx="0">
              <a:schemeClr val="accent1"/>
            </a:fillRef>
            <a:effectRef idx="0">
              <a:schemeClr val="accent1"/>
            </a:effectRef>
            <a:fontRef idx="minor">
              <a:schemeClr val="tx1"/>
            </a:fontRef>
          </p:style>
        </p:cxnSp>
        <p:sp>
          <p:nvSpPr>
            <p:cNvPr id="454" name="TextBox 453"/>
            <p:cNvSpPr txBox="1"/>
            <p:nvPr/>
          </p:nvSpPr>
          <p:spPr>
            <a:xfrm>
              <a:off x="6984231" y="7114470"/>
              <a:ext cx="1042333"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Af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61%</a:t>
              </a:r>
            </a:p>
          </p:txBody>
        </p:sp>
        <p:sp>
          <p:nvSpPr>
            <p:cNvPr id="455" name="TextBox 454"/>
            <p:cNvSpPr txBox="1"/>
            <p:nvPr/>
          </p:nvSpPr>
          <p:spPr>
            <a:xfrm>
              <a:off x="9382463" y="1750126"/>
              <a:ext cx="1042333"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A79886"/>
                  </a:solidFill>
                  <a:effectLst/>
                  <a:uLnTx/>
                  <a:uFillTx/>
                  <a:latin typeface="Arial" panose="020B0604020202020204" pitchFamily="34" charset="0"/>
                  <a:ea typeface="+mn-ea"/>
                  <a:cs typeface="Arial" panose="020B0604020202020204" pitchFamily="34" charset="0"/>
                </a:rPr>
                <a:t>Asi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400" dirty="0">
                  <a:solidFill>
                    <a:srgbClr val="A79886"/>
                  </a:solidFill>
                  <a:latin typeface="Arial" panose="020B0604020202020204" pitchFamily="34" charset="0"/>
                  <a:cs typeface="Arial" panose="020B0604020202020204" pitchFamily="34" charset="0"/>
                </a:rPr>
                <a:t>7</a:t>
              </a:r>
              <a:r>
                <a:rPr kumimoji="0" lang="en-GB" sz="1400" b="0" i="0" u="none" strike="noStrike" kern="1200" cap="none" spc="0" normalizeH="0" baseline="0" noProof="0" dirty="0">
                  <a:ln>
                    <a:noFill/>
                  </a:ln>
                  <a:solidFill>
                    <a:srgbClr val="A79886"/>
                  </a:solidFill>
                  <a:effectLst/>
                  <a:uLnTx/>
                  <a:uFillTx/>
                  <a:latin typeface="Arial" panose="020B0604020202020204" pitchFamily="34" charset="0"/>
                  <a:ea typeface="+mn-ea"/>
                  <a:cs typeface="Arial" panose="020B0604020202020204" pitchFamily="34" charset="0"/>
                </a:rPr>
                <a:t>%</a:t>
              </a:r>
            </a:p>
          </p:txBody>
        </p:sp>
        <p:cxnSp>
          <p:nvCxnSpPr>
            <p:cNvPr id="460" name="Straight Connector 459"/>
            <p:cNvCxnSpPr/>
            <p:nvPr/>
          </p:nvCxnSpPr>
          <p:spPr>
            <a:xfrm>
              <a:off x="4489956" y="6356667"/>
              <a:ext cx="1065929" cy="5216"/>
            </a:xfrm>
            <a:prstGeom prst="line">
              <a:avLst/>
            </a:prstGeom>
            <a:ln w="19050">
              <a:solidFill>
                <a:schemeClr val="accent3">
                  <a:lumMod val="60000"/>
                  <a:lumOff val="4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676" name="TextBox 675"/>
            <p:cNvSpPr txBox="1"/>
            <p:nvPr/>
          </p:nvSpPr>
          <p:spPr>
            <a:xfrm>
              <a:off x="2931197" y="6166775"/>
              <a:ext cx="1432468"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Latin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400" noProof="0" dirty="0">
                  <a:solidFill>
                    <a:srgbClr val="F18167"/>
                  </a:solidFill>
                  <a:latin typeface="Arial" panose="020B0604020202020204" pitchFamily="34" charset="0"/>
                  <a:cs typeface="Arial" panose="020B0604020202020204" pitchFamily="34" charset="0"/>
                </a:rPr>
                <a:t>9</a:t>
              </a:r>
              <a:r>
                <a:rPr kumimoji="0" lang="en-GB" sz="14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a:t>
              </a:r>
            </a:p>
          </p:txBody>
        </p:sp>
        <p:sp>
          <p:nvSpPr>
            <p:cNvPr id="23" name="Oval 22"/>
            <p:cNvSpPr/>
            <p:nvPr/>
          </p:nvSpPr>
          <p:spPr>
            <a:xfrm>
              <a:off x="9776564" y="4525926"/>
              <a:ext cx="263197" cy="34227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7" name="Oval 676"/>
            <p:cNvSpPr/>
            <p:nvPr/>
          </p:nvSpPr>
          <p:spPr>
            <a:xfrm>
              <a:off x="7322414" y="4951403"/>
              <a:ext cx="290229" cy="334100"/>
            </a:xfrm>
            <a:prstGeom prst="ellipse">
              <a:avLst/>
            </a:prstGeom>
            <a:solidFill>
              <a:srgbClr val="7B1E29"/>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2" name="Freeform 11"/>
          <p:cNvSpPr/>
          <p:nvPr/>
        </p:nvSpPr>
        <p:spPr>
          <a:xfrm>
            <a:off x="4769165" y="3434103"/>
            <a:ext cx="1774213" cy="505199"/>
          </a:xfrm>
          <a:custGeom>
            <a:avLst/>
            <a:gdLst>
              <a:gd name="connsiteX0" fmla="*/ 2601311 w 2601311"/>
              <a:gd name="connsiteY0" fmla="*/ 307755 h 654596"/>
              <a:gd name="connsiteX1" fmla="*/ 1765738 w 2601311"/>
              <a:gd name="connsiteY1" fmla="*/ 23976 h 654596"/>
              <a:gd name="connsiteX2" fmla="*/ 993228 w 2601311"/>
              <a:gd name="connsiteY2" fmla="*/ 87038 h 654596"/>
              <a:gd name="connsiteX3" fmla="*/ 0 w 2601311"/>
              <a:gd name="connsiteY3" fmla="*/ 654596 h 654596"/>
            </a:gdLst>
            <a:ahLst/>
            <a:cxnLst>
              <a:cxn ang="0">
                <a:pos x="connsiteX0" y="connsiteY0"/>
              </a:cxn>
              <a:cxn ang="0">
                <a:pos x="connsiteX1" y="connsiteY1"/>
              </a:cxn>
              <a:cxn ang="0">
                <a:pos x="connsiteX2" y="connsiteY2"/>
              </a:cxn>
              <a:cxn ang="0">
                <a:pos x="connsiteX3" y="connsiteY3"/>
              </a:cxn>
            </a:cxnLst>
            <a:rect l="l" t="t" r="r" b="b"/>
            <a:pathLst>
              <a:path w="2601311" h="654596">
                <a:moveTo>
                  <a:pt x="2601311" y="307755"/>
                </a:moveTo>
                <a:cubicBezTo>
                  <a:pt x="2317531" y="184258"/>
                  <a:pt x="2033752" y="60762"/>
                  <a:pt x="1765738" y="23976"/>
                </a:cubicBezTo>
                <a:cubicBezTo>
                  <a:pt x="1497724" y="-12810"/>
                  <a:pt x="1287518" y="-18065"/>
                  <a:pt x="993228" y="87038"/>
                </a:cubicBezTo>
                <a:cubicBezTo>
                  <a:pt x="698938" y="192141"/>
                  <a:pt x="144517" y="528472"/>
                  <a:pt x="0" y="654596"/>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13"/>
          <p:cNvSpPr/>
          <p:nvPr/>
        </p:nvSpPr>
        <p:spPr>
          <a:xfrm>
            <a:off x="2939736" y="3225741"/>
            <a:ext cx="3629644" cy="1674144"/>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Lst>
            <a:ahLst/>
            <a:cxnLst>
              <a:cxn ang="0">
                <a:pos x="connsiteX0" y="connsiteY0"/>
              </a:cxn>
              <a:cxn ang="0">
                <a:pos x="connsiteX1" y="connsiteY1"/>
              </a:cxn>
              <a:cxn ang="0">
                <a:pos x="connsiteX2" y="connsiteY2"/>
              </a:cxn>
              <a:cxn ang="0">
                <a:pos x="connsiteX3" y="connsiteY3"/>
              </a:cxn>
            </a:cxnLst>
            <a:rect l="l" t="t" r="r" b="b"/>
            <a:pathLst>
              <a:path w="4713889" h="2008212">
                <a:moveTo>
                  <a:pt x="4713889" y="557784"/>
                </a:moveTo>
                <a:cubicBezTo>
                  <a:pt x="4306613" y="255611"/>
                  <a:pt x="3899337" y="-46561"/>
                  <a:pt x="3279227" y="5991"/>
                </a:cubicBezTo>
                <a:cubicBezTo>
                  <a:pt x="2659117" y="58543"/>
                  <a:pt x="1539765" y="539391"/>
                  <a:pt x="993227" y="873094"/>
                </a:cubicBezTo>
                <a:cubicBezTo>
                  <a:pt x="446689" y="1206797"/>
                  <a:pt x="73572" y="1845302"/>
                  <a:pt x="0" y="2008212"/>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9" name="Straight Connector 448"/>
          <p:cNvCxnSpPr>
            <a:cxnSpLocks/>
          </p:cNvCxnSpPr>
          <p:nvPr/>
        </p:nvCxnSpPr>
        <p:spPr>
          <a:xfrm>
            <a:off x="5957567" y="1490109"/>
            <a:ext cx="0" cy="1280160"/>
          </a:xfrm>
          <a:prstGeom prst="line">
            <a:avLst/>
          </a:prstGeom>
          <a:ln w="19050" cap="rnd">
            <a:solidFill>
              <a:schemeClr val="accent6">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452" name="TextBox 451"/>
          <p:cNvSpPr txBox="1"/>
          <p:nvPr/>
        </p:nvSpPr>
        <p:spPr>
          <a:xfrm>
            <a:off x="5467060" y="1014108"/>
            <a:ext cx="102764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95B3CC">
                    <a:lumMod val="75000"/>
                  </a:srgbClr>
                </a:solidFill>
                <a:effectLst/>
                <a:uLnTx/>
                <a:uFillTx/>
                <a:latin typeface="Arial" panose="020B0604020202020204" pitchFamily="34" charset="0"/>
                <a:ea typeface="+mn-ea"/>
                <a:cs typeface="Arial" panose="020B0604020202020204" pitchFamily="34" charset="0"/>
              </a:rPr>
              <a:t>Middle East</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400" dirty="0">
                <a:solidFill>
                  <a:srgbClr val="95B3CC">
                    <a:lumMod val="75000"/>
                  </a:srgbClr>
                </a:solidFill>
                <a:latin typeface="Arial" panose="020B0604020202020204" pitchFamily="34" charset="0"/>
                <a:cs typeface="Arial" panose="020B0604020202020204" pitchFamily="34" charset="0"/>
              </a:rPr>
              <a:t>22</a:t>
            </a:r>
            <a:r>
              <a:rPr kumimoji="0" lang="en-GB" sz="1400" b="0" i="0" u="none" strike="noStrike" kern="1200" cap="none" spc="0" normalizeH="0" baseline="0" noProof="0" dirty="0">
                <a:ln>
                  <a:noFill/>
                </a:ln>
                <a:solidFill>
                  <a:srgbClr val="95B3CC">
                    <a:lumMod val="75000"/>
                  </a:srgbClr>
                </a:solidFill>
                <a:effectLst/>
                <a:uLnTx/>
                <a:uFillTx/>
                <a:latin typeface="Arial" panose="020B0604020202020204" pitchFamily="34" charset="0"/>
                <a:ea typeface="+mn-ea"/>
                <a:cs typeface="Arial" panose="020B0604020202020204" pitchFamily="34" charset="0"/>
              </a:rPr>
              <a:t>%</a:t>
            </a:r>
          </a:p>
        </p:txBody>
      </p:sp>
      <p:sp>
        <p:nvSpPr>
          <p:cNvPr id="443" name="Freeform 12">
            <a:extLst>
              <a:ext uri="{FF2B5EF4-FFF2-40B4-BE49-F238E27FC236}">
                <a16:creationId xmlns:a16="http://schemas.microsoft.com/office/drawing/2014/main" id="{17A93E06-6428-4DF5-8986-DF4C3DF41C20}"/>
              </a:ext>
            </a:extLst>
          </p:cNvPr>
          <p:cNvSpPr/>
          <p:nvPr/>
        </p:nvSpPr>
        <p:spPr>
          <a:xfrm>
            <a:off x="5939615" y="2681149"/>
            <a:ext cx="629766" cy="1001733"/>
          </a:xfrm>
          <a:custGeom>
            <a:avLst/>
            <a:gdLst>
              <a:gd name="connsiteX0" fmla="*/ 6463862 w 6463862"/>
              <a:gd name="connsiteY0" fmla="*/ 699764 h 699764"/>
              <a:gd name="connsiteX1" fmla="*/ 5596759 w 6463862"/>
              <a:gd name="connsiteY1" fmla="*/ 84909 h 699764"/>
              <a:gd name="connsiteX2" fmla="*/ 3972911 w 6463862"/>
              <a:gd name="connsiteY2" fmla="*/ 132205 h 699764"/>
              <a:gd name="connsiteX3" fmla="*/ 2207173 w 6463862"/>
              <a:gd name="connsiteY3" fmla="*/ 53378 h 699764"/>
              <a:gd name="connsiteX4" fmla="*/ 0 w 6463862"/>
              <a:gd name="connsiteY4" fmla="*/ 84909 h 699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862" h="699764">
                <a:moveTo>
                  <a:pt x="6463862" y="699764"/>
                </a:moveTo>
                <a:cubicBezTo>
                  <a:pt x="6237890" y="439633"/>
                  <a:pt x="6011918" y="179502"/>
                  <a:pt x="5596759" y="84909"/>
                </a:cubicBezTo>
                <a:cubicBezTo>
                  <a:pt x="5181600" y="-9684"/>
                  <a:pt x="4537842" y="137460"/>
                  <a:pt x="3972911" y="132205"/>
                </a:cubicBezTo>
                <a:cubicBezTo>
                  <a:pt x="3407980" y="126950"/>
                  <a:pt x="2207173" y="53378"/>
                  <a:pt x="2207173" y="53378"/>
                </a:cubicBezTo>
                <a:cubicBezTo>
                  <a:pt x="1545021" y="45495"/>
                  <a:pt x="152400" y="-80629"/>
                  <a:pt x="0" y="84909"/>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1" name="Oval 440"/>
          <p:cNvSpPr/>
          <p:nvPr/>
        </p:nvSpPr>
        <p:spPr>
          <a:xfrm>
            <a:off x="5844569" y="2614364"/>
            <a:ext cx="259488" cy="26090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8" name="Freeform 437"/>
          <p:cNvSpPr/>
          <p:nvPr/>
        </p:nvSpPr>
        <p:spPr>
          <a:xfrm>
            <a:off x="6556579" y="3296810"/>
            <a:ext cx="557410" cy="437148"/>
          </a:xfrm>
          <a:custGeom>
            <a:avLst/>
            <a:gdLst>
              <a:gd name="connsiteX0" fmla="*/ 2601311 w 2601311"/>
              <a:gd name="connsiteY0" fmla="*/ 307755 h 654596"/>
              <a:gd name="connsiteX1" fmla="*/ 1765738 w 2601311"/>
              <a:gd name="connsiteY1" fmla="*/ 23976 h 654596"/>
              <a:gd name="connsiteX2" fmla="*/ 993228 w 2601311"/>
              <a:gd name="connsiteY2" fmla="*/ 87038 h 654596"/>
              <a:gd name="connsiteX3" fmla="*/ 0 w 2601311"/>
              <a:gd name="connsiteY3" fmla="*/ 654596 h 654596"/>
            </a:gdLst>
            <a:ahLst/>
            <a:cxnLst>
              <a:cxn ang="0">
                <a:pos x="connsiteX0" y="connsiteY0"/>
              </a:cxn>
              <a:cxn ang="0">
                <a:pos x="connsiteX1" y="connsiteY1"/>
              </a:cxn>
              <a:cxn ang="0">
                <a:pos x="connsiteX2" y="connsiteY2"/>
              </a:cxn>
              <a:cxn ang="0">
                <a:pos x="connsiteX3" y="connsiteY3"/>
              </a:cxn>
            </a:cxnLst>
            <a:rect l="l" t="t" r="r" b="b"/>
            <a:pathLst>
              <a:path w="2601311" h="654596">
                <a:moveTo>
                  <a:pt x="2601311" y="307755"/>
                </a:moveTo>
                <a:cubicBezTo>
                  <a:pt x="2317531" y="184258"/>
                  <a:pt x="2033752" y="60762"/>
                  <a:pt x="1765738" y="23976"/>
                </a:cubicBezTo>
                <a:cubicBezTo>
                  <a:pt x="1497724" y="-12810"/>
                  <a:pt x="1287518" y="-18065"/>
                  <a:pt x="993228" y="87038"/>
                </a:cubicBezTo>
                <a:cubicBezTo>
                  <a:pt x="698938" y="192141"/>
                  <a:pt x="144517" y="528472"/>
                  <a:pt x="0" y="654596"/>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9" name="Rounded Rectangle 438"/>
          <p:cNvSpPr/>
          <p:nvPr/>
        </p:nvSpPr>
        <p:spPr>
          <a:xfrm>
            <a:off x="9624872" y="373374"/>
            <a:ext cx="2165446" cy="5908431"/>
          </a:xfrm>
          <a:prstGeom prst="roundRect">
            <a:avLst/>
          </a:prstGeom>
          <a:solidFill>
            <a:schemeClr val="accent6">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285694" indent="-285694">
              <a:buFont typeface="Arial" panose="020B0604020202020204" pitchFamily="34" charset="0"/>
              <a:buChar char="•"/>
            </a:pPr>
            <a:r>
              <a:rPr lang="en-US" sz="1200" dirty="0" err="1">
                <a:solidFill>
                  <a:prstClr val="black"/>
                </a:solidFill>
                <a:latin typeface="Arial" panose="020B0604020202020204" pitchFamily="34" charset="0"/>
                <a:cs typeface="Arial" panose="020B0604020202020204" pitchFamily="34" charset="0"/>
              </a:rPr>
              <a:t>Covid</a:t>
            </a:r>
            <a:r>
              <a:rPr lang="en-US" sz="1200" dirty="0">
                <a:solidFill>
                  <a:prstClr val="black"/>
                </a:solidFill>
                <a:latin typeface="Arial" panose="020B0604020202020204" pitchFamily="34" charset="0"/>
                <a:cs typeface="Arial" panose="020B0604020202020204" pitchFamily="34" charset="0"/>
              </a:rPr>
              <a:t> has impacted demand from Asia &amp; only gradual recovery is expected </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ports share of Middle East countries increased aided by limited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vi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pread and crude prices firming up</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ubstantial recovery is seen in exports to Egypt after the ban  of auto-rickshaw was lifted which has aided  exports growth.</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mand from Iraq has supported expansion of Middle East share </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impact on the demand due to the resurgence of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vi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mains a key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onitorable</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40" name="TextBox 439">
            <a:extLst>
              <a:ext uri="{FF2B5EF4-FFF2-40B4-BE49-F238E27FC236}">
                <a16:creationId xmlns:a16="http://schemas.microsoft.com/office/drawing/2014/main" id="{D061B491-9398-4CBF-A9F0-9BA8A5C4692C}"/>
              </a:ext>
            </a:extLst>
          </p:cNvPr>
          <p:cNvSpPr txBox="1"/>
          <p:nvPr/>
        </p:nvSpPr>
        <p:spPr>
          <a:xfrm>
            <a:off x="1144034" y="6409997"/>
            <a:ext cx="9341878" cy="430871"/>
          </a:xfrm>
          <a:prstGeom prst="rect">
            <a:avLst/>
          </a:prstGeom>
          <a:noFill/>
        </p:spPr>
        <p:txBody>
          <a:bodyPr wrap="square" lIns="91421" tIns="45712" rIns="91421" bIns="45712" rtlCol="0">
            <a:spAutoFit/>
          </a:bodyPr>
          <a:lstStyle/>
          <a:p>
            <a:r>
              <a:rPr lang="en-IN" sz="1100" b="1" i="1" dirty="0">
                <a:solidFill>
                  <a:prstClr val="black"/>
                </a:solidFill>
                <a:latin typeface="Arial" panose="020B0604020202020204" pitchFamily="34" charset="0"/>
                <a:cs typeface="Arial" panose="020B0604020202020204" pitchFamily="34" charset="0"/>
              </a:rPr>
              <a:t>Note: : Represents volume data for FY21 exports, % in dotted boxes indicates change in market share from FY20 to FY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DGFT, CRISIL Research</a:t>
            </a:r>
          </a:p>
        </p:txBody>
      </p:sp>
      <p:grpSp>
        <p:nvGrpSpPr>
          <p:cNvPr id="13" name="Group 12"/>
          <p:cNvGrpSpPr/>
          <p:nvPr/>
        </p:nvGrpSpPr>
        <p:grpSpPr>
          <a:xfrm>
            <a:off x="5161883" y="5513596"/>
            <a:ext cx="693039" cy="326275"/>
            <a:chOff x="5161883" y="5513596"/>
            <a:chExt cx="693039" cy="326275"/>
          </a:xfrm>
        </p:grpSpPr>
        <p:sp>
          <p:nvSpPr>
            <p:cNvPr id="2" name="TextBox 1"/>
            <p:cNvSpPr txBox="1"/>
            <p:nvPr/>
          </p:nvSpPr>
          <p:spPr>
            <a:xfrm>
              <a:off x="5161883" y="5549221"/>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5</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4" name="Rounded Rectangle 3"/>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42" name="Group 441"/>
          <p:cNvGrpSpPr/>
          <p:nvPr/>
        </p:nvGrpSpPr>
        <p:grpSpPr>
          <a:xfrm>
            <a:off x="675811" y="5178848"/>
            <a:ext cx="640451" cy="326275"/>
            <a:chOff x="5131346" y="5525471"/>
            <a:chExt cx="640451" cy="326275"/>
          </a:xfrm>
        </p:grpSpPr>
        <p:sp>
          <p:nvSpPr>
            <p:cNvPr id="444" name="TextBox 443"/>
            <p:cNvSpPr txBox="1"/>
            <p:nvPr/>
          </p:nvSpPr>
          <p:spPr>
            <a:xfrm>
              <a:off x="5161883" y="5549221"/>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prstClr val="black"/>
                  </a:solidFill>
                  <a:latin typeface="Arial" panose="020B0604020202020204" pitchFamily="34" charset="0"/>
                  <a:cs typeface="Arial" panose="020B0604020202020204" pitchFamily="34" charset="0"/>
                </a:rPr>
                <a:t>3</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447" name="Rounded Rectangle 446"/>
            <p:cNvSpPr/>
            <p:nvPr/>
          </p:nvSpPr>
          <p:spPr>
            <a:xfrm>
              <a:off x="5131346" y="5525471"/>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48" name="Group 447"/>
          <p:cNvGrpSpPr/>
          <p:nvPr/>
        </p:nvGrpSpPr>
        <p:grpSpPr>
          <a:xfrm>
            <a:off x="7496665" y="1389128"/>
            <a:ext cx="758639" cy="326275"/>
            <a:chOff x="5143222" y="5525471"/>
            <a:chExt cx="580303" cy="326275"/>
          </a:xfrm>
        </p:grpSpPr>
        <p:sp>
          <p:nvSpPr>
            <p:cNvPr id="451" name="TextBox 450"/>
            <p:cNvSpPr txBox="1"/>
            <p:nvPr/>
          </p:nvSpPr>
          <p:spPr>
            <a:xfrm>
              <a:off x="5161883" y="5549221"/>
              <a:ext cx="31046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3</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456" name="Isosceles Triangle 455"/>
            <p:cNvSpPr/>
            <p:nvPr/>
          </p:nvSpPr>
          <p:spPr>
            <a:xfrm flipH="1" flipV="1">
              <a:off x="5493652" y="5603627"/>
              <a:ext cx="139890"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7" name="Rounded Rectangle 456"/>
            <p:cNvSpPr/>
            <p:nvPr/>
          </p:nvSpPr>
          <p:spPr>
            <a:xfrm>
              <a:off x="5143222" y="5525471"/>
              <a:ext cx="580303"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58" name="Group 457"/>
          <p:cNvGrpSpPr/>
          <p:nvPr/>
        </p:nvGrpSpPr>
        <p:grpSpPr>
          <a:xfrm>
            <a:off x="5141789" y="1465001"/>
            <a:ext cx="669289" cy="326275"/>
            <a:chOff x="5161883" y="5525471"/>
            <a:chExt cx="669289" cy="326275"/>
          </a:xfrm>
        </p:grpSpPr>
        <p:sp>
          <p:nvSpPr>
            <p:cNvPr id="459" name="TextBox 458"/>
            <p:cNvSpPr txBox="1"/>
            <p:nvPr/>
          </p:nvSpPr>
          <p:spPr>
            <a:xfrm>
              <a:off x="5161883" y="5549221"/>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prstClr val="black"/>
                  </a:solidFill>
                  <a:latin typeface="Arial" panose="020B0604020202020204" pitchFamily="34" charset="0"/>
                  <a:cs typeface="Arial" panose="020B0604020202020204" pitchFamily="34" charset="0"/>
                </a:rPr>
                <a:t>5</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678" name="Isosceles Triangle 677"/>
            <p:cNvSpPr/>
            <p:nvPr/>
          </p:nvSpPr>
          <p:spPr>
            <a:xfrm>
              <a:off x="5592153" y="5579877"/>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9" name="Rounded Rectangle 678"/>
            <p:cNvSpPr/>
            <p:nvPr/>
          </p:nvSpPr>
          <p:spPr>
            <a:xfrm>
              <a:off x="5190721" y="5525471"/>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80" name="Isosceles Triangle 679"/>
          <p:cNvSpPr/>
          <p:nvPr/>
        </p:nvSpPr>
        <p:spPr>
          <a:xfrm flipH="1" flipV="1">
            <a:off x="5574878" y="5615500"/>
            <a:ext cx="167156"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1" name="Isosceles Triangle 680"/>
          <p:cNvSpPr/>
          <p:nvPr/>
        </p:nvSpPr>
        <p:spPr>
          <a:xfrm>
            <a:off x="1082135" y="5245194"/>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471792"/>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60717-90A0-4E54-8C47-8E1ACE6EE2EC}"/>
              </a:ext>
            </a:extLst>
          </p:cNvPr>
          <p:cNvSpPr>
            <a:spLocks noGrp="1"/>
          </p:cNvSpPr>
          <p:nvPr>
            <p:ph type="title"/>
          </p:nvPr>
        </p:nvSpPr>
        <p:spPr/>
        <p:txBody>
          <a:bodyPr>
            <a:noAutofit/>
          </a:bodyPr>
          <a:lstStyle/>
          <a:p>
            <a:r>
              <a:rPr lang="en-US" sz="3600" dirty="0"/>
              <a:t>Tractors</a:t>
            </a:r>
          </a:p>
        </p:txBody>
      </p:sp>
      <p:sp>
        <p:nvSpPr>
          <p:cNvPr id="4" name="Rectangle 3">
            <a:hlinkClick r:id="rId2" action="ppaction://hlinksldjump"/>
            <a:extLst>
              <a:ext uri="{FF2B5EF4-FFF2-40B4-BE49-F238E27FC236}">
                <a16:creationId xmlns:a16="http://schemas.microsoft.com/office/drawing/2014/main" id="{F5A9BC90-396A-481F-A4FC-F1DC0F70D754}"/>
              </a:ext>
            </a:extLst>
          </p:cNvPr>
          <p:cNvSpPr/>
          <p:nvPr/>
        </p:nvSpPr>
        <p:spPr>
          <a:xfrm>
            <a:off x="7949525" y="6390244"/>
            <a:ext cx="3094687"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ction="ppaction://hlinksldjump"/>
              </a:rPr>
              <a:t>Back to Summary Forecast Slide</a:t>
            </a:r>
            <a:endPar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14150122"/>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bwMode="auto">
          <a:xfrm>
            <a:off x="949179" y="201438"/>
            <a:ext cx="10656667" cy="8863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defRPr/>
            </a:pPr>
            <a:r>
              <a:rPr lang="en-US" sz="3200" dirty="0"/>
              <a:t>Tractor demand to decline in FY22 over a high base of last year</a:t>
            </a:r>
            <a:endParaRPr lang="en-US" altLang="en-US" sz="3200" dirty="0"/>
          </a:p>
        </p:txBody>
      </p:sp>
      <p:sp>
        <p:nvSpPr>
          <p:cNvPr id="48" name="Rectangle 47"/>
          <p:cNvSpPr>
            <a:spLocks noChangeArrowheads="1"/>
          </p:cNvSpPr>
          <p:nvPr/>
        </p:nvSpPr>
        <p:spPr bwMode="auto">
          <a:xfrm>
            <a:off x="911884" y="5735085"/>
            <a:ext cx="8358336" cy="66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872" marR="0" lvl="0" indent="-342872" algn="l" defTabSz="914400" rtl="0" eaLnBrk="1" fontAlgn="auto" latinLnBrk="0" hangingPunct="1">
              <a:lnSpc>
                <a:spcPct val="100000"/>
              </a:lnSpc>
              <a:spcBef>
                <a:spcPct val="20000"/>
              </a:spcBef>
              <a:spcAft>
                <a:spcPts val="0"/>
              </a:spcAft>
              <a:buClrTx/>
              <a:buSzTx/>
              <a:buFontTx/>
              <a:buNone/>
              <a:tabLst/>
              <a:defRPr/>
            </a:pPr>
            <a:r>
              <a:rPr kumimoji="0" lang="en-US" alt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 ** FY22 assumed neutral assuming normal monsoon, </a:t>
            </a:r>
          </a:p>
          <a:p>
            <a:pPr marL="342872" marR="0" lvl="0" indent="-342872" algn="l" defTabSz="914400" rtl="0" eaLnBrk="1" fontAlgn="auto" latinLnBrk="0" hangingPunct="1">
              <a:lnSpc>
                <a:spcPct val="100000"/>
              </a:lnSpc>
              <a:spcBef>
                <a:spcPct val="20000"/>
              </a:spcBef>
              <a:spcAft>
                <a:spcPts val="0"/>
              </a:spcAft>
              <a:buClrTx/>
              <a:buSzTx/>
              <a:buFontTx/>
              <a:buNone/>
              <a:tabLst/>
              <a:defRPr/>
            </a:pPr>
            <a:r>
              <a:rPr kumimoji="0" lang="en-US" alt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RISIL Research  </a:t>
            </a:r>
          </a:p>
          <a:p>
            <a:pPr marL="342872" marR="0" lvl="0" indent="-342872" algn="l" defTabSz="914400" rtl="0" eaLnBrk="1" fontAlgn="auto" latinLnBrk="0" hangingPunct="1">
              <a:lnSpc>
                <a:spcPct val="100000"/>
              </a:lnSpc>
              <a:spcBef>
                <a:spcPct val="20000"/>
              </a:spcBef>
              <a:spcAft>
                <a:spcPts val="0"/>
              </a:spcAft>
              <a:buClrTx/>
              <a:buSzTx/>
              <a:buFontTx/>
              <a:buNone/>
              <a:tabLst/>
              <a:defRPr/>
            </a:pPr>
            <a:endParaRPr kumimoji="0" lang="en-US" altLang="en-US" sz="11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aphicFrame>
        <p:nvGraphicFramePr>
          <p:cNvPr id="5" name="Table 4">
            <a:extLst>
              <a:ext uri="{FF2B5EF4-FFF2-40B4-BE49-F238E27FC236}">
                <a16:creationId xmlns:a16="http://schemas.microsoft.com/office/drawing/2014/main" id="{C5F31E89-94B9-49EC-80FE-415AB8A49B87}"/>
              </a:ext>
            </a:extLst>
          </p:cNvPr>
          <p:cNvGraphicFramePr>
            <a:graphicFrameLocks noGrp="1"/>
          </p:cNvGraphicFramePr>
          <p:nvPr/>
        </p:nvGraphicFramePr>
        <p:xfrm>
          <a:off x="949179" y="1241613"/>
          <a:ext cx="8321041" cy="4478345"/>
        </p:xfrm>
        <a:graphic>
          <a:graphicData uri="http://schemas.openxmlformats.org/drawingml/2006/table">
            <a:tbl>
              <a:tblPr/>
              <a:tblGrid>
                <a:gridCol w="4631814">
                  <a:extLst>
                    <a:ext uri="{9D8B030D-6E8A-4147-A177-3AD203B41FA5}">
                      <a16:colId xmlns:a16="http://schemas.microsoft.com/office/drawing/2014/main" val="87141604"/>
                    </a:ext>
                  </a:extLst>
                </a:gridCol>
                <a:gridCol w="1205148">
                  <a:extLst>
                    <a:ext uri="{9D8B030D-6E8A-4147-A177-3AD203B41FA5}">
                      <a16:colId xmlns:a16="http://schemas.microsoft.com/office/drawing/2014/main" val="2939527644"/>
                    </a:ext>
                  </a:extLst>
                </a:gridCol>
                <a:gridCol w="1278931">
                  <a:extLst>
                    <a:ext uri="{9D8B030D-6E8A-4147-A177-3AD203B41FA5}">
                      <a16:colId xmlns:a16="http://schemas.microsoft.com/office/drawing/2014/main" val="979535572"/>
                    </a:ext>
                  </a:extLst>
                </a:gridCol>
                <a:gridCol w="1205148">
                  <a:extLst>
                    <a:ext uri="{9D8B030D-6E8A-4147-A177-3AD203B41FA5}">
                      <a16:colId xmlns:a16="http://schemas.microsoft.com/office/drawing/2014/main" val="20005"/>
                    </a:ext>
                  </a:extLst>
                </a:gridCol>
              </a:tblGrid>
              <a:tr h="327692">
                <a:tc>
                  <a:txBody>
                    <a:bodyPr/>
                    <a:lstStyle/>
                    <a:p>
                      <a:pPr algn="ctr" rtl="0" fontAlgn="b"/>
                      <a:r>
                        <a:rPr lang="en-US" sz="1400" b="1" i="0" u="none" strike="noStrike" dirty="0">
                          <a:solidFill>
                            <a:srgbClr val="FFFFFF"/>
                          </a:solidFill>
                          <a:effectLst/>
                          <a:latin typeface="Arial" panose="020B0604020202020204" pitchFamily="34" charset="0"/>
                          <a:cs typeface="Arial" panose="020B0604020202020204" pitchFamily="34" charset="0"/>
                        </a:rPr>
                        <a:t> Parameters</a:t>
                      </a:r>
                    </a:p>
                  </a:txBody>
                  <a:tcPr marL="7938" marR="7938" marT="7938" marB="381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gridSpan="3">
                  <a:txBody>
                    <a:bodyPr/>
                    <a:lstStyle/>
                    <a:p>
                      <a:pPr algn="ctr"/>
                      <a:r>
                        <a:rPr lang="en-US" sz="1400" b="1" dirty="0">
                          <a:solidFill>
                            <a:schemeClr val="bg1"/>
                          </a:solidFill>
                          <a:latin typeface="Arial" panose="020B0604020202020204" pitchFamily="34" charset="0"/>
                          <a:cs typeface="Arial" panose="020B0604020202020204" pitchFamily="34" charset="0"/>
                        </a:rPr>
                        <a:t>Impac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rgbClr val="44546A"/>
                    </a:solidFill>
                  </a:tcPr>
                </a:tc>
                <a:tc hMerge="1">
                  <a:txBody>
                    <a:bodyPr/>
                    <a:lstStyle/>
                    <a:p>
                      <a:endParaRPr lang="en-US"/>
                    </a:p>
                  </a:txBody>
                  <a:tcPr/>
                </a:tc>
                <a:tc hMerge="1">
                  <a:txBody>
                    <a:bodyPr/>
                    <a:lstStyle/>
                    <a:p>
                      <a:pPr algn="ctr" rtl="0" fontAlgn="b"/>
                      <a:endParaRPr lang="en-US" sz="1200" b="1" i="0" u="none" strike="noStrike" dirty="0">
                        <a:solidFill>
                          <a:srgbClr val="FFFFFF"/>
                        </a:solidFill>
                        <a:effectLst/>
                        <a:latin typeface="Arial" panose="020B0604020202020204" pitchFamily="34" charset="0"/>
                      </a:endParaRPr>
                    </a:p>
                  </a:txBody>
                  <a:tcPr marL="7938" marR="7938" marT="7938" marB="38100" anchor="b">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5"/>
                    </a:solidFill>
                  </a:tcPr>
                </a:tc>
                <a:extLst>
                  <a:ext uri="{0D108BD9-81ED-4DB2-BD59-A6C34878D82A}">
                    <a16:rowId xmlns:a16="http://schemas.microsoft.com/office/drawing/2014/main" val="2242335293"/>
                  </a:ext>
                </a:extLst>
              </a:tr>
              <a:tr h="310422">
                <a:tc>
                  <a:txBody>
                    <a:bodyPr/>
                    <a:lstStyle/>
                    <a:p>
                      <a:pPr algn="l" rtl="0" fontAlgn="b"/>
                      <a:r>
                        <a:rPr lang="en-US" sz="1400" b="1" i="0" u="none" strike="noStrike" dirty="0">
                          <a:solidFill>
                            <a:srgbClr val="FFFFFF"/>
                          </a:solidFill>
                          <a:effectLst/>
                          <a:latin typeface="Arial" panose="020B0604020202020204" pitchFamily="34" charset="0"/>
                          <a:cs typeface="Arial" panose="020B0604020202020204" pitchFamily="34" charset="0"/>
                        </a:rPr>
                        <a:t> </a:t>
                      </a:r>
                    </a:p>
                  </a:txBody>
                  <a:tcPr marL="7938" marR="7938" marT="7938" marB="381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r>
                        <a:rPr lang="en-US" sz="1400" b="1" i="0" u="none" strike="noStrike" dirty="0">
                          <a:solidFill>
                            <a:srgbClr val="FFFFFF"/>
                          </a:solidFill>
                          <a:effectLst/>
                          <a:latin typeface="Arial" panose="020B0604020202020204" pitchFamily="34" charset="0"/>
                          <a:cs typeface="Arial" panose="020B0604020202020204" pitchFamily="34" charset="0"/>
                        </a:rPr>
                        <a:t>FY 20</a:t>
                      </a:r>
                    </a:p>
                  </a:txBody>
                  <a:tcPr marL="7938" marR="7938" marT="7938" marB="381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r>
                        <a:rPr lang="en-US" sz="1400" b="1" i="0" u="none" strike="noStrike" dirty="0">
                          <a:solidFill>
                            <a:srgbClr val="FFFFFF"/>
                          </a:solidFill>
                          <a:effectLst/>
                          <a:latin typeface="Arial" panose="020B0604020202020204" pitchFamily="34" charset="0"/>
                          <a:cs typeface="Arial" panose="020B0604020202020204" pitchFamily="34" charset="0"/>
                        </a:rPr>
                        <a:t>FY21</a:t>
                      </a:r>
                    </a:p>
                  </a:txBody>
                  <a:tcPr marL="7938" marR="7938" marT="7938" marB="381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r>
                        <a:rPr lang="en-US" sz="1400" b="1" i="0" u="none" strike="noStrike" dirty="0">
                          <a:solidFill>
                            <a:srgbClr val="FFFFFF"/>
                          </a:solidFill>
                          <a:effectLst/>
                          <a:latin typeface="Arial" panose="020B0604020202020204" pitchFamily="34" charset="0"/>
                          <a:cs typeface="Arial" panose="020B0604020202020204" pitchFamily="34" charset="0"/>
                        </a:rPr>
                        <a:t>FY22E</a:t>
                      </a:r>
                    </a:p>
                  </a:txBody>
                  <a:tcPr marL="7938" marR="7938" marT="7938" marB="381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624410841"/>
                  </a:ext>
                </a:extLst>
              </a:tr>
              <a:tr h="310422">
                <a:tc>
                  <a:txBody>
                    <a:bodyPr/>
                    <a:lstStyle/>
                    <a:p>
                      <a:pPr algn="l" rtl="0" fontAlgn="b"/>
                      <a:r>
                        <a:rPr lang="en-US" sz="1200" b="1" i="0" u="none" strike="noStrike" dirty="0">
                          <a:solidFill>
                            <a:srgbClr val="000000"/>
                          </a:solidFill>
                          <a:effectLst/>
                          <a:latin typeface="Arial" panose="020B0604020202020204" pitchFamily="34" charset="0"/>
                          <a:cs typeface="Arial" panose="020B0604020202020204" pitchFamily="34" charset="0"/>
                        </a:rPr>
                        <a:t> Farm</a:t>
                      </a:r>
                      <a:r>
                        <a:rPr lang="en-US" sz="1200" b="1" i="0" u="none" strike="noStrike" baseline="0" dirty="0">
                          <a:solidFill>
                            <a:srgbClr val="000000"/>
                          </a:solidFill>
                          <a:effectLst/>
                          <a:latin typeface="Arial" panose="020B0604020202020204" pitchFamily="34" charset="0"/>
                          <a:cs typeface="Arial" panose="020B0604020202020204" pitchFamily="34" charset="0"/>
                        </a:rPr>
                        <a:t> Income**</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736975"/>
                  </a:ext>
                </a:extLst>
              </a:tr>
              <a:tr h="31042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Crop</a:t>
                      </a:r>
                      <a:r>
                        <a:rPr lang="en-US" sz="1200" b="1" i="0" u="none" strike="noStrike" baseline="0" dirty="0">
                          <a:solidFill>
                            <a:schemeClr val="bg1"/>
                          </a:solidFill>
                          <a:effectLst/>
                          <a:latin typeface="Arial" panose="020B0604020202020204" pitchFamily="34" charset="0"/>
                          <a:cs typeface="Arial" panose="020B0604020202020204" pitchFamily="34" charset="0"/>
                        </a:rPr>
                        <a:t> Prices</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580492"/>
                  </a:ext>
                </a:extLst>
              </a:tr>
              <a:tr h="31042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Crop</a:t>
                      </a:r>
                      <a:r>
                        <a:rPr lang="en-US" sz="1200" b="1" i="0" u="none" strike="noStrike" baseline="0" dirty="0">
                          <a:solidFill>
                            <a:schemeClr val="bg1"/>
                          </a:solidFill>
                          <a:effectLst/>
                          <a:latin typeface="Arial" panose="020B0604020202020204" pitchFamily="34" charset="0"/>
                          <a:cs typeface="Arial" panose="020B0604020202020204" pitchFamily="34" charset="0"/>
                        </a:rPr>
                        <a:t> Output</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1830632"/>
                  </a:ext>
                </a:extLst>
              </a:tr>
              <a:tr h="31042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Kharif</a:t>
                      </a:r>
                      <a:r>
                        <a:rPr lang="en-US" sz="1200" b="1" i="0" u="none" strike="noStrike" baseline="0" dirty="0">
                          <a:solidFill>
                            <a:schemeClr val="bg1"/>
                          </a:solidFill>
                          <a:effectLst/>
                          <a:latin typeface="Arial" panose="020B0604020202020204" pitchFamily="34" charset="0"/>
                          <a:cs typeface="Arial" panose="020B0604020202020204" pitchFamily="34" charset="0"/>
                        </a:rPr>
                        <a:t> Output</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430193"/>
                  </a:ext>
                </a:extLst>
              </a:tr>
              <a:tr h="310422">
                <a:tc>
                  <a:txBody>
                    <a:bodyPr/>
                    <a:lstStyle/>
                    <a:p>
                      <a:pPr algn="l" rtl="0" fontAlgn="b"/>
                      <a:r>
                        <a:rPr lang="en-US" sz="1200" b="1" i="1" u="none" strike="noStrike" dirty="0">
                          <a:solidFill>
                            <a:schemeClr val="bg1"/>
                          </a:solidFill>
                          <a:effectLst/>
                          <a:latin typeface="Arial" panose="020B0604020202020204" pitchFamily="34" charset="0"/>
                          <a:cs typeface="Arial" panose="020B0604020202020204" pitchFamily="34" charset="0"/>
                        </a:rPr>
                        <a:t>       </a:t>
                      </a:r>
                      <a:r>
                        <a:rPr lang="en-US" sz="1200" b="1" i="0" u="none" strike="noStrike" kern="1200" dirty="0">
                          <a:solidFill>
                            <a:schemeClr val="bg1"/>
                          </a:solidFill>
                          <a:effectLst/>
                          <a:latin typeface="Arial" panose="020B0604020202020204" pitchFamily="34" charset="0"/>
                          <a:ea typeface="+mn-ea"/>
                          <a:cs typeface="Arial" panose="020B0604020202020204" pitchFamily="34" charset="0"/>
                        </a:rPr>
                        <a:t>-- Rabi Output</a:t>
                      </a: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3576446"/>
                  </a:ext>
                </a:extLst>
              </a:tr>
              <a:tr h="310422">
                <a:tc>
                  <a:txBody>
                    <a:bodyPr/>
                    <a:lstStyle/>
                    <a:p>
                      <a:pPr algn="l" rtl="0" fontAlgn="b"/>
                      <a:r>
                        <a:rPr lang="en-US" sz="1200" b="1" i="0" u="none" strike="noStrike" dirty="0">
                          <a:solidFill>
                            <a:srgbClr val="000000"/>
                          </a:solidFill>
                          <a:effectLst/>
                          <a:latin typeface="Arial" panose="020B0604020202020204" pitchFamily="34" charset="0"/>
                          <a:cs typeface="Arial" panose="020B0604020202020204" pitchFamily="34" charset="0"/>
                        </a:rPr>
                        <a:t>Demand</a:t>
                      </a:r>
                      <a:r>
                        <a:rPr lang="en-US" sz="1200" b="1" i="0" u="none" strike="noStrike" baseline="0" dirty="0">
                          <a:solidFill>
                            <a:srgbClr val="000000"/>
                          </a:solidFill>
                          <a:effectLst/>
                          <a:latin typeface="Arial" panose="020B0604020202020204" pitchFamily="34" charset="0"/>
                          <a:cs typeface="Arial" panose="020B0604020202020204" pitchFamily="34" charset="0"/>
                        </a:rPr>
                        <a:t> Indicators</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382251"/>
                  </a:ext>
                </a:extLst>
              </a:tr>
              <a:tr h="31042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Infrastructure</a:t>
                      </a:r>
                      <a:r>
                        <a:rPr lang="en-US" sz="1200" b="1" i="0" u="none" strike="noStrike" baseline="0" dirty="0">
                          <a:solidFill>
                            <a:schemeClr val="bg1"/>
                          </a:solidFill>
                          <a:effectLst/>
                          <a:latin typeface="Arial" panose="020B0604020202020204" pitchFamily="34" charset="0"/>
                          <a:cs typeface="Arial" panose="020B0604020202020204" pitchFamily="34" charset="0"/>
                        </a:rPr>
                        <a:t> Development</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1853884"/>
                  </a:ext>
                </a:extLst>
              </a:tr>
              <a:tr h="31042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Sand</a:t>
                      </a:r>
                      <a:r>
                        <a:rPr lang="en-US" sz="1200" b="1" i="0" u="none" strike="noStrike" baseline="0" dirty="0">
                          <a:solidFill>
                            <a:schemeClr val="bg1"/>
                          </a:solidFill>
                          <a:effectLst/>
                          <a:latin typeface="Arial" panose="020B0604020202020204" pitchFamily="34" charset="0"/>
                          <a:cs typeface="Arial" panose="020B0604020202020204" pitchFamily="34" charset="0"/>
                        </a:rPr>
                        <a:t> Mining</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4875936"/>
                  </a:ext>
                </a:extLst>
              </a:tr>
              <a:tr h="310422">
                <a:tc>
                  <a:txBody>
                    <a:bodyPr/>
                    <a:lstStyle/>
                    <a:p>
                      <a:pPr algn="l" rtl="0" fontAlgn="b"/>
                      <a:r>
                        <a:rPr lang="en-US" sz="1200" b="1" i="0" u="none" strike="noStrike" dirty="0">
                          <a:solidFill>
                            <a:srgbClr val="000000"/>
                          </a:solidFill>
                          <a:effectLst/>
                          <a:latin typeface="Arial" panose="020B0604020202020204" pitchFamily="34" charset="0"/>
                          <a:cs typeface="Arial" panose="020B0604020202020204" pitchFamily="34" charset="0"/>
                        </a:rPr>
                        <a:t> Supply side variables &amp; financing</a:t>
                      </a: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9304210"/>
                  </a:ext>
                </a:extLst>
              </a:tr>
              <a:tr h="38124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Finance Availability</a:t>
                      </a: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0"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4465782"/>
                  </a:ext>
                </a:extLst>
              </a:tr>
              <a:tr h="310422">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Channel</a:t>
                      </a:r>
                      <a:r>
                        <a:rPr lang="en-US" sz="1200" b="1" i="0" u="none" strike="noStrike" baseline="0" dirty="0">
                          <a:solidFill>
                            <a:schemeClr val="bg1"/>
                          </a:solidFill>
                          <a:effectLst/>
                          <a:latin typeface="Arial" panose="020B0604020202020204" pitchFamily="34" charset="0"/>
                          <a:cs typeface="Arial" panose="020B0604020202020204" pitchFamily="34" charset="0"/>
                        </a:rPr>
                        <a:t> Inventory</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1" u="none" strike="noStrike" dirty="0">
                        <a:solidFill>
                          <a:srgbClr val="282828"/>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1"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1" u="none" strike="noStrike" dirty="0">
                        <a:solidFill>
                          <a:schemeClr val="accent3"/>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3611742"/>
                  </a:ext>
                </a:extLst>
              </a:tr>
              <a:tr h="354769">
                <a:tc>
                  <a:txBody>
                    <a:bodyPr/>
                    <a:lstStyle/>
                    <a:p>
                      <a:pPr algn="l" rtl="0" fontAlgn="b"/>
                      <a:r>
                        <a:rPr lang="en-US" sz="1200" b="1" i="0" u="none" strike="noStrike" dirty="0">
                          <a:solidFill>
                            <a:schemeClr val="bg1"/>
                          </a:solidFill>
                          <a:effectLst/>
                          <a:latin typeface="Arial" panose="020B0604020202020204" pitchFamily="34" charset="0"/>
                          <a:cs typeface="Arial" panose="020B0604020202020204" pitchFamily="34" charset="0"/>
                        </a:rPr>
                        <a:t>   -- Player</a:t>
                      </a:r>
                      <a:r>
                        <a:rPr lang="en-US" sz="1200" b="1" i="0" u="none" strike="noStrike" baseline="0" dirty="0">
                          <a:solidFill>
                            <a:schemeClr val="bg1"/>
                          </a:solidFill>
                          <a:effectLst/>
                          <a:latin typeface="Arial" panose="020B0604020202020204" pitchFamily="34" charset="0"/>
                          <a:cs typeface="Arial" panose="020B0604020202020204" pitchFamily="34" charset="0"/>
                        </a:rPr>
                        <a:t> Action</a:t>
                      </a:r>
                      <a:endParaRPr lang="en-US" sz="12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3810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rtl="0" fontAlgn="b"/>
                      <a:endParaRPr lang="en-US" sz="1200" b="0" i="1" u="none" strike="noStrike" dirty="0">
                        <a:solidFill>
                          <a:srgbClr val="282828"/>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1" u="none" strike="noStrike" dirty="0">
                        <a:solidFill>
                          <a:srgbClr val="282828"/>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1" u="none" strike="noStrike" dirty="0">
                        <a:solidFill>
                          <a:srgbClr val="282828"/>
                        </a:solidFill>
                        <a:effectLst/>
                        <a:latin typeface="Arial" panose="020B0604020202020204" pitchFamily="34" charset="0"/>
                        <a:cs typeface="Arial" panose="020B0604020202020204" pitchFamily="34" charset="0"/>
                      </a:endParaRPr>
                    </a:p>
                  </a:txBody>
                  <a:tcPr marL="7938" marR="7938" marT="7938" marB="381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0394716"/>
                  </a:ext>
                </a:extLst>
              </a:tr>
            </a:tbl>
          </a:graphicData>
        </a:graphic>
      </p:graphicFrame>
      <p:sp>
        <p:nvSpPr>
          <p:cNvPr id="25" name="Rounded Rectangle 24"/>
          <p:cNvSpPr/>
          <p:nvPr/>
        </p:nvSpPr>
        <p:spPr>
          <a:xfrm>
            <a:off x="7194695" y="1927157"/>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Rounded Rectangle 27"/>
          <p:cNvSpPr/>
          <p:nvPr/>
        </p:nvSpPr>
        <p:spPr>
          <a:xfrm>
            <a:off x="5928059" y="2226411"/>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Rounded Rectangle 28"/>
          <p:cNvSpPr/>
          <p:nvPr/>
        </p:nvSpPr>
        <p:spPr>
          <a:xfrm>
            <a:off x="7194695" y="2219254"/>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Rounded Rectangle 21"/>
          <p:cNvSpPr/>
          <p:nvPr/>
        </p:nvSpPr>
        <p:spPr>
          <a:xfrm>
            <a:off x="5928059" y="1934314"/>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ounded Rectangle 22"/>
          <p:cNvSpPr/>
          <p:nvPr/>
        </p:nvSpPr>
        <p:spPr>
          <a:xfrm>
            <a:off x="8461331" y="1924615"/>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Rounded Rectangle 23"/>
          <p:cNvSpPr/>
          <p:nvPr/>
        </p:nvSpPr>
        <p:spPr>
          <a:xfrm>
            <a:off x="8461331" y="2226411"/>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IN" sz="1200" b="1" dirty="0">
              <a:solidFill>
                <a:prstClr val="white"/>
              </a:solidFill>
              <a:latin typeface="Arial" panose="020B0604020202020204" pitchFamily="34" charset="0"/>
              <a:cs typeface="Arial" panose="020B0604020202020204" pitchFamily="34" charset="0"/>
            </a:endParaRPr>
          </a:p>
        </p:txBody>
      </p:sp>
      <p:sp>
        <p:nvSpPr>
          <p:cNvPr id="26" name="Rounded Rectangle 25"/>
          <p:cNvSpPr/>
          <p:nvPr/>
        </p:nvSpPr>
        <p:spPr>
          <a:xfrm>
            <a:off x="5928059" y="2533737"/>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ounded Rectangle 29"/>
          <p:cNvSpPr/>
          <p:nvPr/>
        </p:nvSpPr>
        <p:spPr>
          <a:xfrm>
            <a:off x="7194695" y="2526580"/>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7" name="Rounded Rectangle 36"/>
          <p:cNvSpPr/>
          <p:nvPr/>
        </p:nvSpPr>
        <p:spPr>
          <a:xfrm>
            <a:off x="8461331" y="2533737"/>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endParaRPr lang="en-IN" sz="1200" b="1" dirty="0">
              <a:solidFill>
                <a:prstClr val="white"/>
              </a:solidFill>
              <a:latin typeface="Arial" panose="020B0604020202020204" pitchFamily="34" charset="0"/>
              <a:cs typeface="Arial" panose="020B0604020202020204" pitchFamily="34" charset="0"/>
            </a:endParaRPr>
          </a:p>
        </p:txBody>
      </p:sp>
      <p:sp>
        <p:nvSpPr>
          <p:cNvPr id="38" name="Rounded Rectangle 37"/>
          <p:cNvSpPr/>
          <p:nvPr/>
        </p:nvSpPr>
        <p:spPr>
          <a:xfrm>
            <a:off x="5928059" y="2839183"/>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Rounded Rectangle 38"/>
          <p:cNvSpPr/>
          <p:nvPr/>
        </p:nvSpPr>
        <p:spPr>
          <a:xfrm>
            <a:off x="7194695" y="2832026"/>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Rounded Rectangle 39"/>
          <p:cNvSpPr/>
          <p:nvPr/>
        </p:nvSpPr>
        <p:spPr>
          <a:xfrm>
            <a:off x="8461331" y="2839183"/>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1" name="Rounded Rectangle 40"/>
          <p:cNvSpPr/>
          <p:nvPr/>
        </p:nvSpPr>
        <p:spPr>
          <a:xfrm>
            <a:off x="5928059" y="3164017"/>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 name="Rounded Rectangle 41"/>
          <p:cNvSpPr/>
          <p:nvPr/>
        </p:nvSpPr>
        <p:spPr>
          <a:xfrm>
            <a:off x="7194695" y="3156860"/>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 name="Rounded Rectangle 42"/>
          <p:cNvSpPr/>
          <p:nvPr/>
        </p:nvSpPr>
        <p:spPr>
          <a:xfrm>
            <a:off x="8461331" y="3164017"/>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9" name="Rounded Rectangle 48"/>
          <p:cNvSpPr/>
          <p:nvPr/>
        </p:nvSpPr>
        <p:spPr>
          <a:xfrm>
            <a:off x="5928059" y="3462422"/>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0" name="Rounded Rectangle 49"/>
          <p:cNvSpPr/>
          <p:nvPr/>
        </p:nvSpPr>
        <p:spPr>
          <a:xfrm>
            <a:off x="7194695" y="3455265"/>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1" name="Rounded Rectangle 50"/>
          <p:cNvSpPr/>
          <p:nvPr/>
        </p:nvSpPr>
        <p:spPr>
          <a:xfrm>
            <a:off x="8461331" y="3462422"/>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2" name="Rounded Rectangle 51"/>
          <p:cNvSpPr/>
          <p:nvPr/>
        </p:nvSpPr>
        <p:spPr>
          <a:xfrm>
            <a:off x="5928059" y="3775863"/>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3" name="Rounded Rectangle 52"/>
          <p:cNvSpPr/>
          <p:nvPr/>
        </p:nvSpPr>
        <p:spPr>
          <a:xfrm>
            <a:off x="7194695" y="3768706"/>
            <a:ext cx="457200" cy="2286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4" name="Rounded Rectangle 53"/>
          <p:cNvSpPr/>
          <p:nvPr/>
        </p:nvSpPr>
        <p:spPr>
          <a:xfrm>
            <a:off x="8461331" y="3775863"/>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5" name="Rounded Rectangle 54"/>
          <p:cNvSpPr/>
          <p:nvPr/>
        </p:nvSpPr>
        <p:spPr>
          <a:xfrm>
            <a:off x="5928059" y="4078930"/>
            <a:ext cx="457200" cy="2286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6" name="Rounded Rectangle 55"/>
          <p:cNvSpPr/>
          <p:nvPr/>
        </p:nvSpPr>
        <p:spPr>
          <a:xfrm>
            <a:off x="7194695" y="4071773"/>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7" name="Rounded Rectangle 56"/>
          <p:cNvSpPr/>
          <p:nvPr/>
        </p:nvSpPr>
        <p:spPr>
          <a:xfrm>
            <a:off x="8461331" y="4078930"/>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8" name="Rounded Rectangle 57"/>
          <p:cNvSpPr/>
          <p:nvPr/>
        </p:nvSpPr>
        <p:spPr>
          <a:xfrm>
            <a:off x="5928059" y="4398703"/>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9" name="Rounded Rectangle 58"/>
          <p:cNvSpPr/>
          <p:nvPr/>
        </p:nvSpPr>
        <p:spPr>
          <a:xfrm>
            <a:off x="7194695" y="4391546"/>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0" name="Rounded Rectangle 59"/>
          <p:cNvSpPr/>
          <p:nvPr/>
        </p:nvSpPr>
        <p:spPr>
          <a:xfrm>
            <a:off x="8461331" y="4398703"/>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1" name="Rounded Rectangle 60"/>
          <p:cNvSpPr/>
          <p:nvPr/>
        </p:nvSpPr>
        <p:spPr>
          <a:xfrm>
            <a:off x="5928059" y="4742837"/>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Rounded Rectangle 61"/>
          <p:cNvSpPr/>
          <p:nvPr/>
        </p:nvSpPr>
        <p:spPr>
          <a:xfrm>
            <a:off x="7194695" y="4735680"/>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3" name="Rounded Rectangle 62"/>
          <p:cNvSpPr/>
          <p:nvPr/>
        </p:nvSpPr>
        <p:spPr>
          <a:xfrm>
            <a:off x="8461331" y="4742837"/>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Rounded Rectangle 63"/>
          <p:cNvSpPr/>
          <p:nvPr/>
        </p:nvSpPr>
        <p:spPr>
          <a:xfrm>
            <a:off x="5928059" y="5086936"/>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ounded Rectangle 64"/>
          <p:cNvSpPr/>
          <p:nvPr/>
        </p:nvSpPr>
        <p:spPr>
          <a:xfrm>
            <a:off x="7194695" y="5079779"/>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6" name="Rounded Rectangle 65"/>
          <p:cNvSpPr/>
          <p:nvPr/>
        </p:nvSpPr>
        <p:spPr>
          <a:xfrm>
            <a:off x="8461331" y="5086936"/>
            <a:ext cx="457200" cy="228600"/>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 name="Rounded Rectangle 66"/>
          <p:cNvSpPr/>
          <p:nvPr/>
        </p:nvSpPr>
        <p:spPr>
          <a:xfrm>
            <a:off x="7194695" y="5424752"/>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8" name="Rounded Rectangle 67"/>
          <p:cNvSpPr/>
          <p:nvPr/>
        </p:nvSpPr>
        <p:spPr>
          <a:xfrm>
            <a:off x="8461331" y="5431909"/>
            <a:ext cx="457200" cy="22860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ounded Rectangle 68"/>
          <p:cNvSpPr/>
          <p:nvPr/>
        </p:nvSpPr>
        <p:spPr>
          <a:xfrm>
            <a:off x="5928059" y="5431909"/>
            <a:ext cx="457200" cy="228600"/>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1" name="Rounded Rectangle 59">
            <a:extLst>
              <a:ext uri="{FF2B5EF4-FFF2-40B4-BE49-F238E27FC236}">
                <a16:creationId xmlns:a16="http://schemas.microsoft.com/office/drawing/2014/main" id="{50FDE921-F1FD-4702-A5A4-2FD20C5C4A9B}"/>
              </a:ext>
            </a:extLst>
          </p:cNvPr>
          <p:cNvSpPr/>
          <p:nvPr/>
        </p:nvSpPr>
        <p:spPr>
          <a:xfrm>
            <a:off x="9951658" y="3691022"/>
            <a:ext cx="398207" cy="262975"/>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ounded Rectangle 60">
            <a:extLst>
              <a:ext uri="{FF2B5EF4-FFF2-40B4-BE49-F238E27FC236}">
                <a16:creationId xmlns:a16="http://schemas.microsoft.com/office/drawing/2014/main" id="{B0031453-E4E8-45B1-8DA2-561FCD61E0D4}"/>
              </a:ext>
            </a:extLst>
          </p:cNvPr>
          <p:cNvSpPr/>
          <p:nvPr/>
        </p:nvSpPr>
        <p:spPr>
          <a:xfrm>
            <a:off x="9951658" y="3274269"/>
            <a:ext cx="398207" cy="262975"/>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ounded Rectangle 61">
            <a:extLst>
              <a:ext uri="{FF2B5EF4-FFF2-40B4-BE49-F238E27FC236}">
                <a16:creationId xmlns:a16="http://schemas.microsoft.com/office/drawing/2014/main" id="{9EE2CE34-D0C6-4048-A48C-B44D3C868A81}"/>
              </a:ext>
            </a:extLst>
          </p:cNvPr>
          <p:cNvSpPr/>
          <p:nvPr/>
        </p:nvSpPr>
        <p:spPr>
          <a:xfrm>
            <a:off x="9951659" y="2889164"/>
            <a:ext cx="398207" cy="262975"/>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56847F68-8EE0-40A4-8D06-7003805920B2}"/>
              </a:ext>
            </a:extLst>
          </p:cNvPr>
          <p:cNvSpPr/>
          <p:nvPr/>
        </p:nvSpPr>
        <p:spPr>
          <a:xfrm>
            <a:off x="10401487" y="2857516"/>
            <a:ext cx="1460090" cy="26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vorable</a:t>
            </a:r>
          </a:p>
        </p:txBody>
      </p:sp>
      <p:sp>
        <p:nvSpPr>
          <p:cNvPr id="75" name="Rectangle 74">
            <a:extLst>
              <a:ext uri="{FF2B5EF4-FFF2-40B4-BE49-F238E27FC236}">
                <a16:creationId xmlns:a16="http://schemas.microsoft.com/office/drawing/2014/main" id="{7885128F-098F-4216-87C2-D09F6D39CFD5}"/>
              </a:ext>
            </a:extLst>
          </p:cNvPr>
          <p:cNvSpPr/>
          <p:nvPr/>
        </p:nvSpPr>
        <p:spPr>
          <a:xfrm>
            <a:off x="10401487" y="3274269"/>
            <a:ext cx="1460090" cy="26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utral</a:t>
            </a:r>
          </a:p>
        </p:txBody>
      </p:sp>
      <p:sp>
        <p:nvSpPr>
          <p:cNvPr id="76" name="Rectangle 75">
            <a:extLst>
              <a:ext uri="{FF2B5EF4-FFF2-40B4-BE49-F238E27FC236}">
                <a16:creationId xmlns:a16="http://schemas.microsoft.com/office/drawing/2014/main" id="{2D49052E-58A7-4612-BB62-1E5E40607B1B}"/>
              </a:ext>
            </a:extLst>
          </p:cNvPr>
          <p:cNvSpPr/>
          <p:nvPr/>
        </p:nvSpPr>
        <p:spPr>
          <a:xfrm>
            <a:off x="10401487" y="3691022"/>
            <a:ext cx="1460090" cy="26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Favorable</a:t>
            </a:r>
          </a:p>
        </p:txBody>
      </p:sp>
    </p:spTree>
    <p:extLst>
      <p:ext uri="{BB962C8B-B14F-4D97-AF65-F5344CB8AC3E}">
        <p14:creationId xmlns:p14="http://schemas.microsoft.com/office/powerpoint/2010/main" val="414596024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4D66F93-F7D3-4652-81A5-36FAECAAFF48}"/>
              </a:ext>
            </a:extLst>
          </p:cNvPr>
          <p:cNvSpPr>
            <a:spLocks noGrp="1"/>
          </p:cNvSpPr>
          <p:nvPr>
            <p:ph type="title"/>
          </p:nvPr>
        </p:nvSpPr>
        <p:spPr>
          <a:xfrm>
            <a:off x="380966" y="287449"/>
            <a:ext cx="11564291" cy="387798"/>
          </a:xfrm>
        </p:spPr>
        <p:txBody>
          <a:bodyPr/>
          <a:lstStyle/>
          <a:p>
            <a:pPr algn="l"/>
            <a:r>
              <a:rPr lang="en-US" sz="2800" dirty="0"/>
              <a:t>Southwest Monsoon has been normal in fiscal 2022</a:t>
            </a:r>
          </a:p>
        </p:txBody>
      </p:sp>
      <p:sp>
        <p:nvSpPr>
          <p:cNvPr id="7" name="TextBox 6">
            <a:extLst>
              <a:ext uri="{FF2B5EF4-FFF2-40B4-BE49-F238E27FC236}">
                <a16:creationId xmlns:a16="http://schemas.microsoft.com/office/drawing/2014/main" id="{B87AE953-5CE3-47C5-891D-EC8AFE4717B1}"/>
              </a:ext>
            </a:extLst>
          </p:cNvPr>
          <p:cNvSpPr txBox="1"/>
          <p:nvPr/>
        </p:nvSpPr>
        <p:spPr>
          <a:xfrm>
            <a:off x="545353" y="3570027"/>
            <a:ext cx="9198463"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infall deficiency in the range of -10% to 10% of the long period average 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idered as normal as per IMD. P: Proje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 IMD, CRISIL Research</a:t>
            </a:r>
            <a:endPar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rot="5400000">
            <a:off x="3265110" y="-1787597"/>
            <a:ext cx="401156" cy="548640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ormal rainfall in FY22</a:t>
            </a:r>
          </a:p>
        </p:txBody>
      </p:sp>
      <p:sp>
        <p:nvSpPr>
          <p:cNvPr id="10" name="Rectangle 9"/>
          <p:cNvSpPr/>
          <p:nvPr/>
        </p:nvSpPr>
        <p:spPr>
          <a:xfrm rot="5400000">
            <a:off x="9001479" y="-1765216"/>
            <a:ext cx="401156" cy="548640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servoir Levels are higher</a:t>
            </a:r>
          </a:p>
        </p:txBody>
      </p:sp>
      <p:sp>
        <p:nvSpPr>
          <p:cNvPr id="11" name="TextBox 10"/>
          <p:cNvSpPr txBox="1"/>
          <p:nvPr/>
        </p:nvSpPr>
        <p:spPr>
          <a:xfrm>
            <a:off x="6636774" y="3777144"/>
            <a:ext cx="4331427" cy="24622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s: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orage Status of 140 Reservoirs of the Country</a:t>
            </a:r>
            <a:endPar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0D77BAE8-E9E6-4BF7-BB74-9E7F61CFFDCF}"/>
              </a:ext>
            </a:extLst>
          </p:cNvPr>
          <p:cNvSpPr txBox="1"/>
          <p:nvPr/>
        </p:nvSpPr>
        <p:spPr>
          <a:xfrm>
            <a:off x="545353" y="4316824"/>
            <a:ext cx="11430068" cy="1384995"/>
          </a:xfrm>
          <a:prstGeom prst="rect">
            <a:avLst/>
          </a:prstGeom>
          <a:solidFill>
            <a:schemeClr val="bg1">
              <a:lumMod val="85000"/>
            </a:schemeClr>
          </a:solidFill>
        </p:spPr>
        <p:txBody>
          <a:bodyPr wrap="square" rtlCol="0" anchor="ctr">
            <a:spAutoFit/>
          </a:bodyPr>
          <a:lstStyle/>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The southwest monsoon seasonal rainfall during June to September for the country as a  whole has been normal.</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Considering month to month rainfall variation over India as a whole, the season is very uniquely placed in the historical record for its distinct and contrasting month to month variation</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 After excess rainfall in June, deficit  rainfall was recorded in July and  August respectively. The monsoon started pouring like cats and dogs during September and refused to quit well into October.</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The wide fluctuations in the rainfall during this monsoon season had only marginal impact on the reservoir levels.</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Bountiful rain in September and October has ensured that the water levels in India’s main reservoirs are into their optimum levels. </a:t>
            </a:r>
          </a:p>
        </p:txBody>
      </p:sp>
      <p:graphicFrame>
        <p:nvGraphicFramePr>
          <p:cNvPr id="13" name="Chart 12">
            <a:extLst>
              <a:ext uri="{FF2B5EF4-FFF2-40B4-BE49-F238E27FC236}">
                <a16:creationId xmlns:a16="http://schemas.microsoft.com/office/drawing/2014/main" id="{4173C518-2184-40AF-A87B-1F01F361DF1D}"/>
              </a:ext>
            </a:extLst>
          </p:cNvPr>
          <p:cNvGraphicFramePr>
            <a:graphicFrameLocks/>
          </p:cNvGraphicFramePr>
          <p:nvPr/>
        </p:nvGraphicFramePr>
        <p:xfrm>
          <a:off x="722488" y="1190200"/>
          <a:ext cx="5486400" cy="24927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253C7EB5-839B-4EB1-8E78-A7CCB6E98ACA}"/>
              </a:ext>
            </a:extLst>
          </p:cNvPr>
          <p:cNvGraphicFramePr>
            <a:graphicFrameLocks/>
          </p:cNvGraphicFramePr>
          <p:nvPr/>
        </p:nvGraphicFramePr>
        <p:xfrm>
          <a:off x="6458856" y="1156181"/>
          <a:ext cx="5407795" cy="24362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77087182"/>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E1AB7C2-0C30-433B-BA2C-2DE1E0514305}"/>
              </a:ext>
            </a:extLst>
          </p:cNvPr>
          <p:cNvGrpSpPr/>
          <p:nvPr/>
        </p:nvGrpSpPr>
        <p:grpSpPr>
          <a:xfrm>
            <a:off x="378241" y="783401"/>
            <a:ext cx="11380099" cy="3907719"/>
            <a:chOff x="583722" y="1909705"/>
            <a:chExt cx="11380099" cy="3473847"/>
          </a:xfrm>
        </p:grpSpPr>
        <p:sp>
          <p:nvSpPr>
            <p:cNvPr id="3" name="Rectangle 2"/>
            <p:cNvSpPr/>
            <p:nvPr/>
          </p:nvSpPr>
          <p:spPr>
            <a:xfrm rot="5400000">
              <a:off x="9042313" y="-627844"/>
              <a:ext cx="356616" cy="548640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12699" marR="0" lvl="0" indent="0" algn="ctr" defTabSz="914400" rtl="0" eaLnBrk="1" fontAlgn="auto" latinLnBrk="0" hangingPunct="1">
                <a:lnSpc>
                  <a:spcPct val="100000"/>
                </a:lnSpc>
                <a:spcBef>
                  <a:spcPts val="0"/>
                </a:spcBef>
                <a:spcAft>
                  <a:spcPts val="0"/>
                </a:spcAft>
                <a:buClrTx/>
                <a:buSzTx/>
                <a:buFontTx/>
                <a:buNone/>
                <a:tabLst/>
                <a:defRPr/>
              </a:pPr>
              <a:r>
                <a:rPr kumimoji="0" lang="en-US" sz="133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rop production growth higher for MY20</a:t>
              </a:r>
            </a:p>
          </p:txBody>
        </p:sp>
        <p:sp>
          <p:nvSpPr>
            <p:cNvPr id="4" name="Rectangle 3"/>
            <p:cNvSpPr/>
            <p:nvPr/>
          </p:nvSpPr>
          <p:spPr>
            <a:xfrm rot="5400000">
              <a:off x="3148614" y="-655187"/>
              <a:ext cx="356616" cy="548640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12699" marR="0" lvl="0" indent="0" algn="ctr" defTabSz="914400" rtl="0" eaLnBrk="1" fontAlgn="auto" latinLnBrk="0" hangingPunct="1">
                <a:lnSpc>
                  <a:spcPct val="100000"/>
                </a:lnSpc>
                <a:spcBef>
                  <a:spcPts val="0"/>
                </a:spcBef>
                <a:spcAft>
                  <a:spcPts val="0"/>
                </a:spcAft>
                <a:buClrTx/>
                <a:buSzTx/>
                <a:buFontTx/>
                <a:buNone/>
                <a:tabLst/>
                <a:defRPr/>
              </a:pPr>
              <a:r>
                <a:rPr kumimoji="0" lang="en-US" sz="133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MAY-G</a:t>
              </a:r>
            </a:p>
          </p:txBody>
        </p:sp>
        <p:sp>
          <p:nvSpPr>
            <p:cNvPr id="5" name="TextBox 4"/>
            <p:cNvSpPr txBox="1"/>
            <p:nvPr/>
          </p:nvSpPr>
          <p:spPr>
            <a:xfrm>
              <a:off x="6301481" y="5027866"/>
              <a:ext cx="5482718" cy="355686"/>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Y: Marketing year, P: Proje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s: 1) Base of 100 for Index (kharif and </a:t>
              </a:r>
              <a:r>
                <a:rPr kumimoji="0" lang="en-IN"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bi</a:t>
              </a: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aken in MY Jan-Dec 2015 </a:t>
              </a:r>
            </a:p>
          </p:txBody>
        </p:sp>
      </p:grpSp>
      <p:sp>
        <p:nvSpPr>
          <p:cNvPr id="7" name="TextBox 6"/>
          <p:cNvSpPr txBox="1"/>
          <p:nvPr/>
        </p:nvSpPr>
        <p:spPr>
          <a:xfrm>
            <a:off x="6074459" y="4641231"/>
            <a:ext cx="5683881" cy="24622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stry of Agriculture, CRISIL Research</a:t>
            </a:r>
          </a:p>
        </p:txBody>
      </p:sp>
      <p:sp>
        <p:nvSpPr>
          <p:cNvPr id="8" name="Title 4"/>
          <p:cNvSpPr>
            <a:spLocks noGrp="1"/>
          </p:cNvSpPr>
          <p:nvPr>
            <p:ph type="title"/>
          </p:nvPr>
        </p:nvSpPr>
        <p:spPr>
          <a:xfrm>
            <a:off x="394069" y="60541"/>
            <a:ext cx="11683854" cy="664797"/>
          </a:xfrm>
        </p:spPr>
        <p:txBody>
          <a:bodyPr/>
          <a:lstStyle/>
          <a:p>
            <a:pPr algn="l"/>
            <a:r>
              <a:rPr lang="en-US" sz="2400" dirty="0"/>
              <a:t>The cost of agricultural inputs such as seeds, fertilizers, and farm labour is rising, affecting farmers' profitability</a:t>
            </a:r>
          </a:p>
        </p:txBody>
      </p:sp>
      <p:sp>
        <p:nvSpPr>
          <p:cNvPr id="9" name="TextBox 8">
            <a:extLst>
              <a:ext uri="{FF2B5EF4-FFF2-40B4-BE49-F238E27FC236}">
                <a16:creationId xmlns:a16="http://schemas.microsoft.com/office/drawing/2014/main" id="{B87AE953-5CE3-47C5-891D-EC8AFE4717B1}"/>
              </a:ext>
            </a:extLst>
          </p:cNvPr>
          <p:cNvSpPr txBox="1"/>
          <p:nvPr/>
        </p:nvSpPr>
        <p:spPr>
          <a:xfrm>
            <a:off x="378241" y="4352452"/>
            <a:ext cx="522264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Ministry of Rural Development, CRISIL Research</a:t>
            </a:r>
            <a:endPar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63358ACC-80A7-4B7F-83B0-717B8EDD4B19}"/>
              </a:ext>
            </a:extLst>
          </p:cNvPr>
          <p:cNvSpPr txBox="1"/>
          <p:nvPr/>
        </p:nvSpPr>
        <p:spPr>
          <a:xfrm>
            <a:off x="179578" y="5268564"/>
            <a:ext cx="11902899" cy="830997"/>
          </a:xfrm>
          <a:prstGeom prst="rect">
            <a:avLst/>
          </a:prstGeom>
          <a:solidFill>
            <a:schemeClr val="bg1">
              <a:lumMod val="85000"/>
            </a:schemeClr>
          </a:solidFill>
        </p:spPr>
        <p:txBody>
          <a:bodyPr wrap="square" rtlCol="0" anchor="ctr">
            <a:spAutoFit/>
          </a:bodyPr>
          <a:lstStyle/>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High growth in minimum support prices is unlikely to continue in view of the central government's fiscal constraints and fixing of inflation control emerging as the central pillar of economic policy.</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Moreover, the cost of agricultural inputs such as seeds, fertilizers, and farm labour is rising, affecting farmers' profitability.</a:t>
            </a:r>
          </a:p>
          <a:p>
            <a:pPr marL="171450" indent="-171450">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p:txBody>
      </p:sp>
      <p:graphicFrame>
        <p:nvGraphicFramePr>
          <p:cNvPr id="16" name="Chart 15">
            <a:extLst>
              <a:ext uri="{FF2B5EF4-FFF2-40B4-BE49-F238E27FC236}">
                <a16:creationId xmlns:a16="http://schemas.microsoft.com/office/drawing/2014/main" id="{0A8BDB70-911E-4169-8E6E-5EE716FE25B7}"/>
              </a:ext>
            </a:extLst>
          </p:cNvPr>
          <p:cNvGraphicFramePr>
            <a:graphicFrameLocks/>
          </p:cNvGraphicFramePr>
          <p:nvPr/>
        </p:nvGraphicFramePr>
        <p:xfrm>
          <a:off x="6271940" y="1173727"/>
          <a:ext cx="5530905" cy="28661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CA59EB7C-5DA8-4F60-9553-24982C06B713}"/>
              </a:ext>
            </a:extLst>
          </p:cNvPr>
          <p:cNvGraphicFramePr>
            <a:graphicFrameLocks/>
          </p:cNvGraphicFramePr>
          <p:nvPr/>
        </p:nvGraphicFramePr>
        <p:xfrm>
          <a:off x="389155" y="1184556"/>
          <a:ext cx="5475486" cy="31064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0149963"/>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9" y="283695"/>
            <a:ext cx="11631238" cy="387798"/>
          </a:xfrm>
        </p:spPr>
        <p:txBody>
          <a:bodyPr/>
          <a:lstStyle/>
          <a:p>
            <a:r>
              <a:rPr lang="en-US" sz="2800" dirty="0">
                <a:solidFill>
                  <a:schemeClr val="tx1"/>
                </a:solidFill>
              </a:rPr>
              <a:t>State wise Crop Value Index </a:t>
            </a:r>
          </a:p>
        </p:txBody>
      </p:sp>
      <p:sp>
        <p:nvSpPr>
          <p:cNvPr id="31" name="Rounded Rectangle 30"/>
          <p:cNvSpPr/>
          <p:nvPr/>
        </p:nvSpPr>
        <p:spPr>
          <a:xfrm>
            <a:off x="373859" y="976793"/>
            <a:ext cx="5436393" cy="335473"/>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167" b="1" dirty="0">
                <a:solidFill>
                  <a:prstClr val="white"/>
                </a:solidFill>
                <a:latin typeface="Arial" panose="020B0604020202020204" pitchFamily="34" charset="0"/>
                <a:cs typeface="Arial" panose="020B0604020202020204" pitchFamily="34" charset="0"/>
              </a:rPr>
              <a:t>Kharif CVI heat Map for FY22</a:t>
            </a:r>
          </a:p>
        </p:txBody>
      </p:sp>
      <p:sp>
        <p:nvSpPr>
          <p:cNvPr id="35" name="Rounded Rectangle 34"/>
          <p:cNvSpPr/>
          <p:nvPr/>
        </p:nvSpPr>
        <p:spPr>
          <a:xfrm>
            <a:off x="6338065" y="956244"/>
            <a:ext cx="5436393" cy="335473"/>
          </a:xfrm>
          <a:prstGeom prst="round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167" b="1" dirty="0">
                <a:solidFill>
                  <a:prstClr val="white"/>
                </a:solidFill>
                <a:latin typeface="Arial" panose="020B0604020202020204" pitchFamily="34" charset="0"/>
                <a:cs typeface="Arial" panose="020B0604020202020204" pitchFamily="34" charset="0"/>
              </a:rPr>
              <a:t>Rabi CVI heat map for FY22</a:t>
            </a:r>
          </a:p>
        </p:txBody>
      </p:sp>
      <p:grpSp>
        <p:nvGrpSpPr>
          <p:cNvPr id="6" name="Group 5"/>
          <p:cNvGrpSpPr/>
          <p:nvPr/>
        </p:nvGrpSpPr>
        <p:grpSpPr>
          <a:xfrm>
            <a:off x="3381686" y="6422090"/>
            <a:ext cx="5912758" cy="380751"/>
            <a:chOff x="3710464" y="7332453"/>
            <a:chExt cx="7095309" cy="456897"/>
          </a:xfrm>
        </p:grpSpPr>
        <p:sp>
          <p:nvSpPr>
            <p:cNvPr id="17" name="TextBox 16"/>
            <p:cNvSpPr txBox="1"/>
            <p:nvPr/>
          </p:nvSpPr>
          <p:spPr>
            <a:xfrm>
              <a:off x="5385039" y="7342664"/>
              <a:ext cx="1656272"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0-10%</a:t>
              </a:r>
            </a:p>
          </p:txBody>
        </p:sp>
        <p:grpSp>
          <p:nvGrpSpPr>
            <p:cNvPr id="5" name="Group 4"/>
            <p:cNvGrpSpPr/>
            <p:nvPr/>
          </p:nvGrpSpPr>
          <p:grpSpPr>
            <a:xfrm>
              <a:off x="3710464" y="7332453"/>
              <a:ext cx="7095309" cy="456897"/>
              <a:chOff x="3710464" y="7332453"/>
              <a:chExt cx="7095309" cy="456897"/>
            </a:xfrm>
          </p:grpSpPr>
          <p:sp>
            <p:nvSpPr>
              <p:cNvPr id="3" name="Rectangle 2"/>
              <p:cNvSpPr/>
              <p:nvPr/>
            </p:nvSpPr>
            <p:spPr>
              <a:xfrm>
                <a:off x="3710464" y="7349706"/>
                <a:ext cx="550985" cy="2602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4" name="TextBox 3"/>
              <p:cNvSpPr txBox="1"/>
              <p:nvPr/>
            </p:nvSpPr>
            <p:spPr>
              <a:xfrm>
                <a:off x="4261449" y="7346889"/>
                <a:ext cx="1353296"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gt;10%</a:t>
                </a:r>
              </a:p>
            </p:txBody>
          </p:sp>
          <p:sp>
            <p:nvSpPr>
              <p:cNvPr id="16" name="Rectangle 15"/>
              <p:cNvSpPr/>
              <p:nvPr/>
            </p:nvSpPr>
            <p:spPr>
              <a:xfrm>
                <a:off x="4834054" y="7345481"/>
                <a:ext cx="550985" cy="260201"/>
              </a:xfrm>
              <a:prstGeom prst="rect">
                <a:avLst/>
              </a:prstGeom>
              <a:solidFill>
                <a:srgbClr val="C0E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8" name="Rectangle 17"/>
              <p:cNvSpPr/>
              <p:nvPr/>
            </p:nvSpPr>
            <p:spPr>
              <a:xfrm>
                <a:off x="5954383" y="7349707"/>
                <a:ext cx="550985" cy="260201"/>
              </a:xfrm>
              <a:prstGeom prst="rect">
                <a:avLst/>
              </a:prstGeom>
              <a:solidFill>
                <a:srgbClr val="F2BC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9" name="TextBox 18"/>
              <p:cNvSpPr txBox="1"/>
              <p:nvPr/>
            </p:nvSpPr>
            <p:spPr>
              <a:xfrm>
                <a:off x="6505368" y="7346889"/>
                <a:ext cx="1656272" cy="280152"/>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10)%-0%</a:t>
                </a:r>
              </a:p>
            </p:txBody>
          </p:sp>
          <p:sp>
            <p:nvSpPr>
              <p:cNvPr id="20" name="Rectangle 19"/>
              <p:cNvSpPr/>
              <p:nvPr/>
            </p:nvSpPr>
            <p:spPr>
              <a:xfrm>
                <a:off x="7335162" y="7342664"/>
                <a:ext cx="550985" cy="26020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21" name="TextBox 20"/>
              <p:cNvSpPr txBox="1"/>
              <p:nvPr/>
            </p:nvSpPr>
            <p:spPr>
              <a:xfrm>
                <a:off x="7931934" y="7339846"/>
                <a:ext cx="666582" cy="449504"/>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lt;(10)%</a:t>
                </a:r>
              </a:p>
            </p:txBody>
          </p:sp>
          <p:sp>
            <p:nvSpPr>
              <p:cNvPr id="22" name="Rectangle 21"/>
              <p:cNvSpPr/>
              <p:nvPr/>
            </p:nvSpPr>
            <p:spPr>
              <a:xfrm>
                <a:off x="8598516" y="7332453"/>
                <a:ext cx="550985" cy="2602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23" name="TextBox 22"/>
              <p:cNvSpPr txBox="1"/>
              <p:nvPr/>
            </p:nvSpPr>
            <p:spPr>
              <a:xfrm>
                <a:off x="9149501" y="7346889"/>
                <a:ext cx="1656272" cy="280152"/>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No data</a:t>
                </a:r>
              </a:p>
            </p:txBody>
          </p:sp>
        </p:grpSp>
      </p:grpSp>
      <p:sp>
        <p:nvSpPr>
          <p:cNvPr id="7" name="Rectangle 6"/>
          <p:cNvSpPr/>
          <p:nvPr/>
        </p:nvSpPr>
        <p:spPr>
          <a:xfrm>
            <a:off x="3284006" y="6108472"/>
            <a:ext cx="5112372" cy="271934"/>
          </a:xfrm>
          <a:prstGeom prst="rect">
            <a:avLst/>
          </a:prstGeom>
        </p:spPr>
        <p:txBody>
          <a:bodyPr wrap="square">
            <a:spAutoFit/>
          </a:bodyPr>
          <a:lstStyle/>
          <a:p>
            <a:pPr algn="ctr" defTabSz="914253"/>
            <a:r>
              <a:rPr lang="en-IN" sz="1167" b="1" dirty="0">
                <a:solidFill>
                  <a:prstClr val="black"/>
                </a:solidFill>
                <a:latin typeface="Arial" panose="020B0604020202020204" pitchFamily="34" charset="0"/>
                <a:cs typeface="Arial" panose="020B0604020202020204" pitchFamily="34" charset="0"/>
              </a:rPr>
              <a:t>Colours indicate % change on-year</a:t>
            </a:r>
          </a:p>
        </p:txBody>
      </p:sp>
      <p:sp>
        <p:nvSpPr>
          <p:cNvPr id="29" name="TextBox 28"/>
          <p:cNvSpPr txBox="1"/>
          <p:nvPr/>
        </p:nvSpPr>
        <p:spPr>
          <a:xfrm>
            <a:off x="6400889" y="5844916"/>
            <a:ext cx="1437691" cy="246221"/>
          </a:xfrm>
          <a:prstGeom prst="rect">
            <a:avLst/>
          </a:prstGeom>
          <a:noFill/>
        </p:spPr>
        <p:txBody>
          <a:bodyPr wrap="square" rtlCol="0">
            <a:spAutoFit/>
          </a:bodyPr>
          <a:lstStyle/>
          <a:p>
            <a:pPr defTabSz="914253"/>
            <a:r>
              <a:rPr lang="en-IN" sz="1000" dirty="0">
                <a:solidFill>
                  <a:prstClr val="black"/>
                </a:solidFill>
              </a:rPr>
              <a:t>Source: CRISIL Research</a:t>
            </a:r>
          </a:p>
        </p:txBody>
      </p:sp>
      <p:sp>
        <p:nvSpPr>
          <p:cNvPr id="107" name="TextBox 106"/>
          <p:cNvSpPr txBox="1"/>
          <p:nvPr/>
        </p:nvSpPr>
        <p:spPr>
          <a:xfrm>
            <a:off x="373860" y="5892412"/>
            <a:ext cx="1437691" cy="246221"/>
          </a:xfrm>
          <a:prstGeom prst="rect">
            <a:avLst/>
          </a:prstGeom>
          <a:noFill/>
        </p:spPr>
        <p:txBody>
          <a:bodyPr wrap="square" rtlCol="0">
            <a:spAutoFit/>
          </a:bodyPr>
          <a:lstStyle/>
          <a:p>
            <a:pPr defTabSz="914253"/>
            <a:r>
              <a:rPr lang="en-IN" sz="1000" dirty="0">
                <a:solidFill>
                  <a:prstClr val="black"/>
                </a:solidFill>
              </a:rPr>
              <a:t>Source: CRISIL Research</a:t>
            </a:r>
          </a:p>
        </p:txBody>
      </p:sp>
      <p:sp>
        <p:nvSpPr>
          <p:cNvPr id="139" name="Freeform 1216"/>
          <p:cNvSpPr>
            <a:spLocks noChangeAspect="1"/>
          </p:cNvSpPr>
          <p:nvPr/>
        </p:nvSpPr>
        <p:spPr bwMode="auto">
          <a:xfrm>
            <a:off x="4674687" y="2479429"/>
            <a:ext cx="1036087" cy="427063"/>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0" name="Freeform 1223"/>
          <p:cNvSpPr>
            <a:spLocks noChangeAspect="1"/>
          </p:cNvSpPr>
          <p:nvPr/>
        </p:nvSpPr>
        <p:spPr bwMode="auto">
          <a:xfrm>
            <a:off x="678589" y="2432894"/>
            <a:ext cx="1573073" cy="1074503"/>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41" name="Freeform 1191"/>
          <p:cNvSpPr>
            <a:spLocks noChangeAspect="1"/>
          </p:cNvSpPr>
          <p:nvPr/>
        </p:nvSpPr>
        <p:spPr bwMode="auto">
          <a:xfrm>
            <a:off x="1297934" y="1363863"/>
            <a:ext cx="1385293" cy="76104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no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C00000"/>
              </a:solidFill>
              <a:latin typeface="Arial" pitchFamily="34" charset="0"/>
              <a:cs typeface="Arial" pitchFamily="34" charset="0"/>
            </a:endParaRPr>
          </a:p>
        </p:txBody>
      </p:sp>
      <p:sp>
        <p:nvSpPr>
          <p:cNvPr id="142" name="Freeform 1192"/>
          <p:cNvSpPr>
            <a:spLocks noChangeAspect="1"/>
          </p:cNvSpPr>
          <p:nvPr/>
        </p:nvSpPr>
        <p:spPr bwMode="auto">
          <a:xfrm>
            <a:off x="1866218" y="1982560"/>
            <a:ext cx="536985" cy="413376"/>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43" name="Freeform 1195"/>
          <p:cNvSpPr>
            <a:spLocks noChangeAspect="1"/>
          </p:cNvSpPr>
          <p:nvPr/>
        </p:nvSpPr>
        <p:spPr bwMode="auto">
          <a:xfrm>
            <a:off x="2126476" y="2250840"/>
            <a:ext cx="644054" cy="431170"/>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4" name="Freeform 1196"/>
          <p:cNvSpPr>
            <a:spLocks noChangeAspect="1"/>
          </p:cNvSpPr>
          <p:nvPr/>
        </p:nvSpPr>
        <p:spPr bwMode="auto">
          <a:xfrm>
            <a:off x="2070469" y="2424682"/>
            <a:ext cx="1355643" cy="985531"/>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F2BCCD"/>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 </a:t>
            </a:r>
          </a:p>
        </p:txBody>
      </p:sp>
      <p:sp>
        <p:nvSpPr>
          <p:cNvPr id="145" name="Freeform 1199"/>
          <p:cNvSpPr>
            <a:spLocks noChangeAspect="1"/>
          </p:cNvSpPr>
          <p:nvPr/>
        </p:nvSpPr>
        <p:spPr bwMode="auto">
          <a:xfrm>
            <a:off x="1530190" y="2962614"/>
            <a:ext cx="1571426" cy="878765"/>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6" name="Freeform 1200"/>
          <p:cNvSpPr>
            <a:spLocks noChangeAspect="1"/>
          </p:cNvSpPr>
          <p:nvPr/>
        </p:nvSpPr>
        <p:spPr bwMode="auto">
          <a:xfrm>
            <a:off x="3152677" y="2854483"/>
            <a:ext cx="841718" cy="499609"/>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7" name="Freeform 1202"/>
          <p:cNvSpPr>
            <a:spLocks noChangeAspect="1"/>
          </p:cNvSpPr>
          <p:nvPr/>
        </p:nvSpPr>
        <p:spPr bwMode="auto">
          <a:xfrm>
            <a:off x="1303163" y="4597786"/>
            <a:ext cx="217431" cy="153304"/>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8" name="Freeform 1204"/>
          <p:cNvSpPr>
            <a:spLocks noChangeAspect="1"/>
          </p:cNvSpPr>
          <p:nvPr/>
        </p:nvSpPr>
        <p:spPr bwMode="auto">
          <a:xfrm>
            <a:off x="1916211" y="4001587"/>
            <a:ext cx="1503890" cy="1086822"/>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49" name="Freeform 1206"/>
          <p:cNvSpPr>
            <a:spLocks noChangeAspect="1"/>
          </p:cNvSpPr>
          <p:nvPr/>
        </p:nvSpPr>
        <p:spPr bwMode="auto">
          <a:xfrm>
            <a:off x="2615691" y="3361665"/>
            <a:ext cx="711589" cy="974581"/>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0" name="Freeform 1207"/>
          <p:cNvSpPr>
            <a:spLocks noChangeAspect="1"/>
          </p:cNvSpPr>
          <p:nvPr/>
        </p:nvSpPr>
        <p:spPr bwMode="auto">
          <a:xfrm>
            <a:off x="2810829" y="3596364"/>
            <a:ext cx="1123389" cy="728198"/>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1" name="Freeform 1208"/>
          <p:cNvSpPr>
            <a:spLocks noChangeAspect="1"/>
          </p:cNvSpPr>
          <p:nvPr/>
        </p:nvSpPr>
        <p:spPr bwMode="auto">
          <a:xfrm>
            <a:off x="3177386" y="3156982"/>
            <a:ext cx="797244" cy="543412"/>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52" name="Freeform 1209"/>
          <p:cNvSpPr>
            <a:spLocks noChangeAspect="1"/>
          </p:cNvSpPr>
          <p:nvPr/>
        </p:nvSpPr>
        <p:spPr bwMode="auto">
          <a:xfrm>
            <a:off x="4035573" y="2761401"/>
            <a:ext cx="135070" cy="150568"/>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53" name="Freeform 1210"/>
          <p:cNvSpPr>
            <a:spLocks noChangeAspect="1"/>
          </p:cNvSpPr>
          <p:nvPr/>
        </p:nvSpPr>
        <p:spPr bwMode="auto">
          <a:xfrm>
            <a:off x="3607307" y="2869535"/>
            <a:ext cx="729709" cy="874660"/>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00B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4" name="Freeform 1211"/>
          <p:cNvSpPr>
            <a:spLocks noChangeAspect="1"/>
          </p:cNvSpPr>
          <p:nvPr/>
        </p:nvSpPr>
        <p:spPr bwMode="auto">
          <a:xfrm>
            <a:off x="4376544" y="3035163"/>
            <a:ext cx="589698" cy="158781"/>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5" name="Freeform 1212"/>
          <p:cNvSpPr>
            <a:spLocks noChangeAspect="1"/>
          </p:cNvSpPr>
          <p:nvPr/>
        </p:nvSpPr>
        <p:spPr bwMode="auto">
          <a:xfrm>
            <a:off x="4649978" y="3274698"/>
            <a:ext cx="232255" cy="242277"/>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6" name="Freeform 1213"/>
          <p:cNvSpPr>
            <a:spLocks noChangeAspect="1"/>
          </p:cNvSpPr>
          <p:nvPr/>
        </p:nvSpPr>
        <p:spPr bwMode="auto">
          <a:xfrm>
            <a:off x="4249710" y="2638211"/>
            <a:ext cx="1261753" cy="670708"/>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noFill/>
              <a:latin typeface="Arial" pitchFamily="34" charset="0"/>
              <a:cs typeface="Arial" pitchFamily="34" charset="0"/>
            </a:endParaRPr>
          </a:p>
        </p:txBody>
      </p:sp>
      <p:sp>
        <p:nvSpPr>
          <p:cNvPr id="157" name="Freeform 1214"/>
          <p:cNvSpPr>
            <a:spLocks noChangeAspect="1"/>
          </p:cNvSpPr>
          <p:nvPr/>
        </p:nvSpPr>
        <p:spPr bwMode="auto">
          <a:xfrm>
            <a:off x="4854231" y="3243221"/>
            <a:ext cx="220724" cy="403794"/>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58" name="Freeform 1215"/>
          <p:cNvSpPr>
            <a:spLocks noChangeAspect="1"/>
          </p:cNvSpPr>
          <p:nvPr/>
        </p:nvSpPr>
        <p:spPr bwMode="auto">
          <a:xfrm>
            <a:off x="4969534" y="3061170"/>
            <a:ext cx="312968" cy="283341"/>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9" name="Freeform 1217"/>
          <p:cNvSpPr>
            <a:spLocks noChangeAspect="1"/>
          </p:cNvSpPr>
          <p:nvPr/>
        </p:nvSpPr>
        <p:spPr bwMode="auto">
          <a:xfrm>
            <a:off x="5015660" y="2824366"/>
            <a:ext cx="368971" cy="327142"/>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0" name="Freeform 1222"/>
          <p:cNvSpPr>
            <a:spLocks noChangeAspect="1"/>
          </p:cNvSpPr>
          <p:nvPr/>
        </p:nvSpPr>
        <p:spPr bwMode="auto">
          <a:xfrm>
            <a:off x="2045759" y="2330234"/>
            <a:ext cx="70830" cy="45171"/>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chemeClr val="tx2">
              <a:lumMod val="20000"/>
              <a:lumOff val="80000"/>
            </a:schemeClr>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1" name="Freeform 1194"/>
          <p:cNvSpPr>
            <a:spLocks noChangeAspect="1"/>
          </p:cNvSpPr>
          <p:nvPr/>
        </p:nvSpPr>
        <p:spPr bwMode="auto">
          <a:xfrm>
            <a:off x="2065529" y="2598514"/>
            <a:ext cx="105421" cy="98553"/>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2" name="Freeform 1197"/>
          <p:cNvSpPr>
            <a:spLocks noChangeAspect="1"/>
          </p:cNvSpPr>
          <p:nvPr/>
        </p:nvSpPr>
        <p:spPr bwMode="auto">
          <a:xfrm>
            <a:off x="373860" y="3215841"/>
            <a:ext cx="1218926" cy="751468"/>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63" name="Freeform 1201"/>
          <p:cNvSpPr>
            <a:spLocks noChangeAspect="1"/>
          </p:cNvSpPr>
          <p:nvPr/>
        </p:nvSpPr>
        <p:spPr bwMode="auto">
          <a:xfrm>
            <a:off x="1167808" y="3664019"/>
            <a:ext cx="1575921" cy="960313"/>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4" name="Freeform 1205"/>
          <p:cNvSpPr>
            <a:spLocks noChangeAspect="1"/>
          </p:cNvSpPr>
          <p:nvPr/>
        </p:nvSpPr>
        <p:spPr bwMode="auto">
          <a:xfrm>
            <a:off x="1760795" y="4959850"/>
            <a:ext cx="849953" cy="852758"/>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5" name="Freeform 1219"/>
          <p:cNvSpPr>
            <a:spLocks noChangeAspect="1"/>
          </p:cNvSpPr>
          <p:nvPr/>
        </p:nvSpPr>
        <p:spPr bwMode="auto">
          <a:xfrm>
            <a:off x="1513755" y="5062255"/>
            <a:ext cx="484276" cy="696716"/>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baseline="-25000" dirty="0">
              <a:solidFill>
                <a:srgbClr val="C79B3A"/>
              </a:solidFill>
              <a:latin typeface="Arial" pitchFamily="34" charset="0"/>
              <a:cs typeface="Arial" pitchFamily="34" charset="0"/>
            </a:endParaRPr>
          </a:p>
        </p:txBody>
      </p:sp>
      <p:sp>
        <p:nvSpPr>
          <p:cNvPr id="166" name="Freeform 1221"/>
          <p:cNvSpPr>
            <a:spLocks noChangeAspect="1"/>
          </p:cNvSpPr>
          <p:nvPr/>
        </p:nvSpPr>
        <p:spPr bwMode="auto">
          <a:xfrm>
            <a:off x="1503835" y="2022254"/>
            <a:ext cx="625936" cy="524248"/>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44546A">
                  <a:lumMod val="50000"/>
                </a:srgbClr>
              </a:solidFill>
              <a:latin typeface="Arial" pitchFamily="34" charset="0"/>
              <a:cs typeface="Arial" pitchFamily="34" charset="0"/>
            </a:endParaRPr>
          </a:p>
        </p:txBody>
      </p:sp>
      <p:sp>
        <p:nvSpPr>
          <p:cNvPr id="167" name="Freeform 1193"/>
          <p:cNvSpPr>
            <a:spLocks noChangeAspect="1"/>
          </p:cNvSpPr>
          <p:nvPr/>
        </p:nvSpPr>
        <p:spPr bwMode="auto">
          <a:xfrm>
            <a:off x="1674694" y="2390461"/>
            <a:ext cx="518868" cy="461284"/>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68" name="Freeform 1203"/>
          <p:cNvSpPr>
            <a:spLocks noChangeAspect="1"/>
          </p:cNvSpPr>
          <p:nvPr/>
        </p:nvSpPr>
        <p:spPr bwMode="auto">
          <a:xfrm>
            <a:off x="1385839" y="4183405"/>
            <a:ext cx="884543" cy="1069028"/>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C0E399"/>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9" name="Freeform 1204"/>
          <p:cNvSpPr>
            <a:spLocks noChangeAspect="1"/>
          </p:cNvSpPr>
          <p:nvPr/>
        </p:nvSpPr>
        <p:spPr bwMode="auto">
          <a:xfrm>
            <a:off x="2067639" y="4016233"/>
            <a:ext cx="712018" cy="584325"/>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a:t>
            </a:r>
          </a:p>
        </p:txBody>
      </p:sp>
      <p:sp>
        <p:nvSpPr>
          <p:cNvPr id="108" name="Rectangle 107">
            <a:extLst>
              <a:ext uri="{FF2B5EF4-FFF2-40B4-BE49-F238E27FC236}">
                <a16:creationId xmlns:a16="http://schemas.microsoft.com/office/drawing/2014/main" id="{6FA5C7BA-DFFB-49F2-967E-8AAEC1B1A9D9}"/>
              </a:ext>
            </a:extLst>
          </p:cNvPr>
          <p:cNvSpPr/>
          <p:nvPr/>
        </p:nvSpPr>
        <p:spPr>
          <a:xfrm>
            <a:off x="10041627" y="1650253"/>
            <a:ext cx="1651842" cy="433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09" name="Freeform 1216">
            <a:extLst>
              <a:ext uri="{FF2B5EF4-FFF2-40B4-BE49-F238E27FC236}">
                <a16:creationId xmlns:a16="http://schemas.microsoft.com/office/drawing/2014/main" id="{98737F34-B966-4C19-8021-66094F33416F}"/>
              </a:ext>
            </a:extLst>
          </p:cNvPr>
          <p:cNvSpPr>
            <a:spLocks noChangeAspect="1"/>
          </p:cNvSpPr>
          <p:nvPr/>
        </p:nvSpPr>
        <p:spPr bwMode="auto">
          <a:xfrm>
            <a:off x="10777322" y="2548874"/>
            <a:ext cx="1020738" cy="420363"/>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0" name="Freeform 1223">
            <a:extLst>
              <a:ext uri="{FF2B5EF4-FFF2-40B4-BE49-F238E27FC236}">
                <a16:creationId xmlns:a16="http://schemas.microsoft.com/office/drawing/2014/main" id="{BD31C3A1-71E8-4EC8-89A9-1F131ACFFE24}"/>
              </a:ext>
            </a:extLst>
          </p:cNvPr>
          <p:cNvSpPr>
            <a:spLocks noChangeAspect="1"/>
          </p:cNvSpPr>
          <p:nvPr/>
        </p:nvSpPr>
        <p:spPr bwMode="auto">
          <a:xfrm>
            <a:off x="6839605" y="2504186"/>
            <a:ext cx="1549771" cy="1057644"/>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11" name="Freeform 1191">
            <a:extLst>
              <a:ext uri="{FF2B5EF4-FFF2-40B4-BE49-F238E27FC236}">
                <a16:creationId xmlns:a16="http://schemas.microsoft.com/office/drawing/2014/main" id="{1E5AEBB6-D17F-40A5-96B1-130F50566548}"/>
              </a:ext>
            </a:extLst>
          </p:cNvPr>
          <p:cNvSpPr>
            <a:spLocks noChangeAspect="1"/>
          </p:cNvSpPr>
          <p:nvPr/>
        </p:nvSpPr>
        <p:spPr bwMode="auto">
          <a:xfrm>
            <a:off x="7450593" y="1449855"/>
            <a:ext cx="1364771" cy="74910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no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C00000"/>
              </a:solidFill>
              <a:latin typeface="Arial" pitchFamily="34" charset="0"/>
              <a:cs typeface="Arial" pitchFamily="34" charset="0"/>
            </a:endParaRPr>
          </a:p>
        </p:txBody>
      </p:sp>
      <p:sp>
        <p:nvSpPr>
          <p:cNvPr id="112" name="Freeform 1192">
            <a:extLst>
              <a:ext uri="{FF2B5EF4-FFF2-40B4-BE49-F238E27FC236}">
                <a16:creationId xmlns:a16="http://schemas.microsoft.com/office/drawing/2014/main" id="{8EB7B15B-AF3E-4771-A258-628DCCCCA90C}"/>
              </a:ext>
            </a:extLst>
          </p:cNvPr>
          <p:cNvSpPr>
            <a:spLocks noChangeAspect="1"/>
          </p:cNvSpPr>
          <p:nvPr/>
        </p:nvSpPr>
        <p:spPr bwMode="auto">
          <a:xfrm>
            <a:off x="8008761" y="2059769"/>
            <a:ext cx="529031" cy="406890"/>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13" name="Freeform 1195">
            <a:extLst>
              <a:ext uri="{FF2B5EF4-FFF2-40B4-BE49-F238E27FC236}">
                <a16:creationId xmlns:a16="http://schemas.microsoft.com/office/drawing/2014/main" id="{DFA986F6-90A0-4D2A-AF8D-99053128075E}"/>
              </a:ext>
            </a:extLst>
          </p:cNvPr>
          <p:cNvSpPr>
            <a:spLocks noChangeAspect="1"/>
          </p:cNvSpPr>
          <p:nvPr/>
        </p:nvSpPr>
        <p:spPr bwMode="auto">
          <a:xfrm>
            <a:off x="8266859" y="2323875"/>
            <a:ext cx="634513" cy="424406"/>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4" name="Freeform 1196">
            <a:extLst>
              <a:ext uri="{FF2B5EF4-FFF2-40B4-BE49-F238E27FC236}">
                <a16:creationId xmlns:a16="http://schemas.microsoft.com/office/drawing/2014/main" id="{46CE8921-BFD5-43A2-AAC9-DBA72E7A50F4}"/>
              </a:ext>
            </a:extLst>
          </p:cNvPr>
          <p:cNvSpPr>
            <a:spLocks noChangeAspect="1"/>
          </p:cNvSpPr>
          <p:nvPr/>
        </p:nvSpPr>
        <p:spPr bwMode="auto">
          <a:xfrm>
            <a:off x="8211685" y="2494986"/>
            <a:ext cx="1335561" cy="970069"/>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 </a:t>
            </a:r>
          </a:p>
        </p:txBody>
      </p:sp>
      <p:sp>
        <p:nvSpPr>
          <p:cNvPr id="115" name="Freeform 1199">
            <a:extLst>
              <a:ext uri="{FF2B5EF4-FFF2-40B4-BE49-F238E27FC236}">
                <a16:creationId xmlns:a16="http://schemas.microsoft.com/office/drawing/2014/main" id="{E4EEBE07-CEEF-481C-81B5-0CB588A982A8}"/>
              </a:ext>
            </a:extLst>
          </p:cNvPr>
          <p:cNvSpPr>
            <a:spLocks noChangeAspect="1"/>
          </p:cNvSpPr>
          <p:nvPr/>
        </p:nvSpPr>
        <p:spPr bwMode="auto">
          <a:xfrm>
            <a:off x="7679404" y="3024479"/>
            <a:ext cx="1548148" cy="864978"/>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2BCCD"/>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6" name="Freeform 1200">
            <a:extLst>
              <a:ext uri="{FF2B5EF4-FFF2-40B4-BE49-F238E27FC236}">
                <a16:creationId xmlns:a16="http://schemas.microsoft.com/office/drawing/2014/main" id="{B05062AD-F954-4830-A85C-1141217F3E60}"/>
              </a:ext>
            </a:extLst>
          </p:cNvPr>
          <p:cNvSpPr>
            <a:spLocks noChangeAspect="1"/>
          </p:cNvSpPr>
          <p:nvPr/>
        </p:nvSpPr>
        <p:spPr bwMode="auto">
          <a:xfrm>
            <a:off x="9277747" y="2920286"/>
            <a:ext cx="829249" cy="491771"/>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7" name="Freeform 1202">
            <a:extLst>
              <a:ext uri="{FF2B5EF4-FFF2-40B4-BE49-F238E27FC236}">
                <a16:creationId xmlns:a16="http://schemas.microsoft.com/office/drawing/2014/main" id="{0B973F95-69CE-466F-AC63-C99828A89963}"/>
              </a:ext>
            </a:extLst>
          </p:cNvPr>
          <p:cNvSpPr>
            <a:spLocks noChangeAspect="1"/>
          </p:cNvSpPr>
          <p:nvPr/>
        </p:nvSpPr>
        <p:spPr bwMode="auto">
          <a:xfrm>
            <a:off x="7455739" y="4633998"/>
            <a:ext cx="214210" cy="150899"/>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8" name="Freeform 1204">
            <a:extLst>
              <a:ext uri="{FF2B5EF4-FFF2-40B4-BE49-F238E27FC236}">
                <a16:creationId xmlns:a16="http://schemas.microsoft.com/office/drawing/2014/main" id="{92AB55BA-4A9F-4B85-8CB5-4D335B1613EF}"/>
              </a:ext>
            </a:extLst>
          </p:cNvPr>
          <p:cNvSpPr>
            <a:spLocks noChangeAspect="1"/>
          </p:cNvSpPr>
          <p:nvPr/>
        </p:nvSpPr>
        <p:spPr bwMode="auto">
          <a:xfrm>
            <a:off x="8059709" y="4047155"/>
            <a:ext cx="1481613" cy="1069771"/>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X`</a:t>
            </a:r>
          </a:p>
        </p:txBody>
      </p:sp>
      <p:sp>
        <p:nvSpPr>
          <p:cNvPr id="119" name="Freeform 1206">
            <a:extLst>
              <a:ext uri="{FF2B5EF4-FFF2-40B4-BE49-F238E27FC236}">
                <a16:creationId xmlns:a16="http://schemas.microsoft.com/office/drawing/2014/main" id="{37B68A58-EEB7-4054-BA37-6E4A3CC9F3C9}"/>
              </a:ext>
            </a:extLst>
          </p:cNvPr>
          <p:cNvSpPr>
            <a:spLocks noChangeAspect="1"/>
          </p:cNvSpPr>
          <p:nvPr/>
        </p:nvSpPr>
        <p:spPr bwMode="auto">
          <a:xfrm>
            <a:off x="8748824" y="3417269"/>
            <a:ext cx="701048" cy="959291"/>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0" name="Freeform 1207">
            <a:extLst>
              <a:ext uri="{FF2B5EF4-FFF2-40B4-BE49-F238E27FC236}">
                <a16:creationId xmlns:a16="http://schemas.microsoft.com/office/drawing/2014/main" id="{DB0D1559-BF5D-47E1-9096-D2F48F2F4262}"/>
              </a:ext>
            </a:extLst>
          </p:cNvPr>
          <p:cNvSpPr>
            <a:spLocks noChangeAspect="1"/>
          </p:cNvSpPr>
          <p:nvPr/>
        </p:nvSpPr>
        <p:spPr bwMode="auto">
          <a:xfrm>
            <a:off x="8941071" y="3648289"/>
            <a:ext cx="1106748" cy="716773"/>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1" name="Freeform 1208">
            <a:extLst>
              <a:ext uri="{FF2B5EF4-FFF2-40B4-BE49-F238E27FC236}">
                <a16:creationId xmlns:a16="http://schemas.microsoft.com/office/drawing/2014/main" id="{7B7B3E88-3290-4F74-96C9-1C2D0A11444C}"/>
              </a:ext>
            </a:extLst>
          </p:cNvPr>
          <p:cNvSpPr>
            <a:spLocks noChangeAspect="1"/>
          </p:cNvSpPr>
          <p:nvPr/>
        </p:nvSpPr>
        <p:spPr bwMode="auto">
          <a:xfrm>
            <a:off x="9302201" y="3215800"/>
            <a:ext cx="785434" cy="534886"/>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2" name="Freeform 1209">
            <a:extLst>
              <a:ext uri="{FF2B5EF4-FFF2-40B4-BE49-F238E27FC236}">
                <a16:creationId xmlns:a16="http://schemas.microsoft.com/office/drawing/2014/main" id="{C07D65DA-D20A-4F1C-AADC-902C1F681175}"/>
              </a:ext>
            </a:extLst>
          </p:cNvPr>
          <p:cNvSpPr>
            <a:spLocks noChangeAspect="1"/>
          </p:cNvSpPr>
          <p:nvPr/>
        </p:nvSpPr>
        <p:spPr bwMode="auto">
          <a:xfrm>
            <a:off x="10147679" y="2826423"/>
            <a:ext cx="133069" cy="148205"/>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3" name="Freeform 1210">
            <a:extLst>
              <a:ext uri="{FF2B5EF4-FFF2-40B4-BE49-F238E27FC236}">
                <a16:creationId xmlns:a16="http://schemas.microsoft.com/office/drawing/2014/main" id="{F9F0BA43-C0F4-4A39-93EB-2E3CB318D2B2}"/>
              </a:ext>
            </a:extLst>
          </p:cNvPr>
          <p:cNvSpPr>
            <a:spLocks noChangeAspect="1"/>
          </p:cNvSpPr>
          <p:nvPr/>
        </p:nvSpPr>
        <p:spPr bwMode="auto">
          <a:xfrm>
            <a:off x="9725754" y="2932862"/>
            <a:ext cx="718899" cy="860937"/>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4" name="Freeform 1211">
            <a:extLst>
              <a:ext uri="{FF2B5EF4-FFF2-40B4-BE49-F238E27FC236}">
                <a16:creationId xmlns:a16="http://schemas.microsoft.com/office/drawing/2014/main" id="{B239175D-70C4-45EF-A96B-8A5C9DFCAD44}"/>
              </a:ext>
            </a:extLst>
          </p:cNvPr>
          <p:cNvSpPr>
            <a:spLocks noChangeAspect="1"/>
          </p:cNvSpPr>
          <p:nvPr/>
        </p:nvSpPr>
        <p:spPr bwMode="auto">
          <a:xfrm>
            <a:off x="10483596" y="3095887"/>
            <a:ext cx="580962" cy="156290"/>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5" name="Freeform 1212">
            <a:extLst>
              <a:ext uri="{FF2B5EF4-FFF2-40B4-BE49-F238E27FC236}">
                <a16:creationId xmlns:a16="http://schemas.microsoft.com/office/drawing/2014/main" id="{89701B6C-1A96-4A59-9752-9D2BC0FA4EF4}"/>
              </a:ext>
            </a:extLst>
          </p:cNvPr>
          <p:cNvSpPr>
            <a:spLocks noChangeAspect="1"/>
          </p:cNvSpPr>
          <p:nvPr/>
        </p:nvSpPr>
        <p:spPr bwMode="auto">
          <a:xfrm>
            <a:off x="10752981" y="3331670"/>
            <a:ext cx="228814" cy="238476"/>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6" name="Freeform 1213">
            <a:extLst>
              <a:ext uri="{FF2B5EF4-FFF2-40B4-BE49-F238E27FC236}">
                <a16:creationId xmlns:a16="http://schemas.microsoft.com/office/drawing/2014/main" id="{26813B49-C3C3-4180-B1CF-40A33CFB83C1}"/>
              </a:ext>
            </a:extLst>
          </p:cNvPr>
          <p:cNvSpPr>
            <a:spLocks noChangeAspect="1"/>
          </p:cNvSpPr>
          <p:nvPr/>
        </p:nvSpPr>
        <p:spPr bwMode="auto">
          <a:xfrm>
            <a:off x="10358644" y="2705165"/>
            <a:ext cx="1243063" cy="660186"/>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noFill/>
              <a:latin typeface="Arial" pitchFamily="34" charset="0"/>
              <a:cs typeface="Arial" pitchFamily="34" charset="0"/>
            </a:endParaRPr>
          </a:p>
        </p:txBody>
      </p:sp>
      <p:sp>
        <p:nvSpPr>
          <p:cNvPr id="127" name="Freeform 1214">
            <a:extLst>
              <a:ext uri="{FF2B5EF4-FFF2-40B4-BE49-F238E27FC236}">
                <a16:creationId xmlns:a16="http://schemas.microsoft.com/office/drawing/2014/main" id="{3A3CB386-3D92-4957-BE0A-9466B0202443}"/>
              </a:ext>
            </a:extLst>
          </p:cNvPr>
          <p:cNvSpPr>
            <a:spLocks noChangeAspect="1"/>
          </p:cNvSpPr>
          <p:nvPr/>
        </p:nvSpPr>
        <p:spPr bwMode="auto">
          <a:xfrm>
            <a:off x="10954208" y="3300680"/>
            <a:ext cx="217455" cy="397458"/>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8" name="Freeform 1215">
            <a:extLst>
              <a:ext uri="{FF2B5EF4-FFF2-40B4-BE49-F238E27FC236}">
                <a16:creationId xmlns:a16="http://schemas.microsoft.com/office/drawing/2014/main" id="{68964C9E-6FB9-45B4-A4FF-58572D182060}"/>
              </a:ext>
            </a:extLst>
          </p:cNvPr>
          <p:cNvSpPr>
            <a:spLocks noChangeAspect="1"/>
          </p:cNvSpPr>
          <p:nvPr/>
        </p:nvSpPr>
        <p:spPr bwMode="auto">
          <a:xfrm>
            <a:off x="11067805" y="3121485"/>
            <a:ext cx="308331" cy="278896"/>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9" name="Freeform 1217">
            <a:extLst>
              <a:ext uri="{FF2B5EF4-FFF2-40B4-BE49-F238E27FC236}">
                <a16:creationId xmlns:a16="http://schemas.microsoft.com/office/drawing/2014/main" id="{593110EF-7C47-4988-BB35-02DE558E6870}"/>
              </a:ext>
            </a:extLst>
          </p:cNvPr>
          <p:cNvSpPr>
            <a:spLocks noChangeAspect="1"/>
          </p:cNvSpPr>
          <p:nvPr/>
        </p:nvSpPr>
        <p:spPr bwMode="auto">
          <a:xfrm>
            <a:off x="11113241" y="2888404"/>
            <a:ext cx="363506" cy="322009"/>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0" name="Freeform 1222">
            <a:extLst>
              <a:ext uri="{FF2B5EF4-FFF2-40B4-BE49-F238E27FC236}">
                <a16:creationId xmlns:a16="http://schemas.microsoft.com/office/drawing/2014/main" id="{F5A6909B-AFC9-42A6-96E5-5293CEEFBBE4}"/>
              </a:ext>
            </a:extLst>
          </p:cNvPr>
          <p:cNvSpPr>
            <a:spLocks noChangeAspect="1"/>
          </p:cNvSpPr>
          <p:nvPr/>
        </p:nvSpPr>
        <p:spPr bwMode="auto">
          <a:xfrm>
            <a:off x="8187342" y="2402017"/>
            <a:ext cx="69781" cy="44462"/>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chemeClr val="tx2">
              <a:lumMod val="20000"/>
              <a:lumOff val="80000"/>
            </a:schemeClr>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1" name="Freeform 1194">
            <a:extLst>
              <a:ext uri="{FF2B5EF4-FFF2-40B4-BE49-F238E27FC236}">
                <a16:creationId xmlns:a16="http://schemas.microsoft.com/office/drawing/2014/main" id="{F66BF5A7-CE24-43FF-BFDA-68F1F8F23277}"/>
              </a:ext>
            </a:extLst>
          </p:cNvPr>
          <p:cNvSpPr>
            <a:spLocks noChangeAspect="1"/>
          </p:cNvSpPr>
          <p:nvPr/>
        </p:nvSpPr>
        <p:spPr bwMode="auto">
          <a:xfrm>
            <a:off x="8206816" y="2666092"/>
            <a:ext cx="103859" cy="97008"/>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2" name="Freeform 1197">
            <a:extLst>
              <a:ext uri="{FF2B5EF4-FFF2-40B4-BE49-F238E27FC236}">
                <a16:creationId xmlns:a16="http://schemas.microsoft.com/office/drawing/2014/main" id="{72F8FE09-7F4D-46DF-9244-F05732D67F4E}"/>
              </a:ext>
            </a:extLst>
          </p:cNvPr>
          <p:cNvSpPr>
            <a:spLocks noChangeAspect="1"/>
          </p:cNvSpPr>
          <p:nvPr/>
        </p:nvSpPr>
        <p:spPr bwMode="auto">
          <a:xfrm>
            <a:off x="6541820" y="3273349"/>
            <a:ext cx="1200870" cy="739678"/>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3" name="Freeform 1201">
            <a:extLst>
              <a:ext uri="{FF2B5EF4-FFF2-40B4-BE49-F238E27FC236}">
                <a16:creationId xmlns:a16="http://schemas.microsoft.com/office/drawing/2014/main" id="{A1DCA9FC-B581-41AC-965B-F9E4AA76CDB0}"/>
              </a:ext>
            </a:extLst>
          </p:cNvPr>
          <p:cNvSpPr>
            <a:spLocks noChangeAspect="1"/>
          </p:cNvSpPr>
          <p:nvPr/>
        </p:nvSpPr>
        <p:spPr bwMode="auto">
          <a:xfrm>
            <a:off x="7322390" y="3714876"/>
            <a:ext cx="1552576" cy="945248"/>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4" name="Freeform 1205">
            <a:extLst>
              <a:ext uri="{FF2B5EF4-FFF2-40B4-BE49-F238E27FC236}">
                <a16:creationId xmlns:a16="http://schemas.microsoft.com/office/drawing/2014/main" id="{7A867897-C341-431E-A008-FED66754E1C3}"/>
              </a:ext>
            </a:extLst>
          </p:cNvPr>
          <p:cNvSpPr>
            <a:spLocks noChangeAspect="1"/>
          </p:cNvSpPr>
          <p:nvPr/>
        </p:nvSpPr>
        <p:spPr bwMode="auto">
          <a:xfrm>
            <a:off x="7907514" y="4976932"/>
            <a:ext cx="837362" cy="839378"/>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5" name="Freeform 1219">
            <a:extLst>
              <a:ext uri="{FF2B5EF4-FFF2-40B4-BE49-F238E27FC236}">
                <a16:creationId xmlns:a16="http://schemas.microsoft.com/office/drawing/2014/main" id="{FBBF1932-CCB0-41C7-8825-2531472954A6}"/>
              </a:ext>
            </a:extLst>
          </p:cNvPr>
          <p:cNvSpPr>
            <a:spLocks noChangeAspect="1"/>
          </p:cNvSpPr>
          <p:nvPr/>
        </p:nvSpPr>
        <p:spPr bwMode="auto">
          <a:xfrm>
            <a:off x="7663212" y="5091178"/>
            <a:ext cx="477102" cy="685785"/>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baseline="-25000" dirty="0">
              <a:solidFill>
                <a:srgbClr val="C79B3A"/>
              </a:solidFill>
              <a:latin typeface="Arial" pitchFamily="34" charset="0"/>
              <a:cs typeface="Arial" pitchFamily="34" charset="0"/>
            </a:endParaRPr>
          </a:p>
        </p:txBody>
      </p:sp>
      <p:sp>
        <p:nvSpPr>
          <p:cNvPr id="136" name="Freeform 1221">
            <a:extLst>
              <a:ext uri="{FF2B5EF4-FFF2-40B4-BE49-F238E27FC236}">
                <a16:creationId xmlns:a16="http://schemas.microsoft.com/office/drawing/2014/main" id="{AF9BC9B1-EF5E-4B4A-885C-78DEE99329AD}"/>
              </a:ext>
            </a:extLst>
          </p:cNvPr>
          <p:cNvSpPr>
            <a:spLocks noChangeAspect="1"/>
          </p:cNvSpPr>
          <p:nvPr/>
        </p:nvSpPr>
        <p:spPr bwMode="auto">
          <a:xfrm>
            <a:off x="7656614" y="2098872"/>
            <a:ext cx="616663" cy="516023"/>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44546A">
                  <a:lumMod val="50000"/>
                </a:srgbClr>
              </a:solidFill>
              <a:latin typeface="Arial" pitchFamily="34" charset="0"/>
              <a:cs typeface="Arial" pitchFamily="34" charset="0"/>
            </a:endParaRPr>
          </a:p>
        </p:txBody>
      </p:sp>
      <p:sp>
        <p:nvSpPr>
          <p:cNvPr id="137" name="Freeform 1193">
            <a:extLst>
              <a:ext uri="{FF2B5EF4-FFF2-40B4-BE49-F238E27FC236}">
                <a16:creationId xmlns:a16="http://schemas.microsoft.com/office/drawing/2014/main" id="{ADD10674-A000-46C8-8C95-6E39E70F6F7B}"/>
              </a:ext>
            </a:extLst>
          </p:cNvPr>
          <p:cNvSpPr>
            <a:spLocks noChangeAspect="1"/>
          </p:cNvSpPr>
          <p:nvPr/>
        </p:nvSpPr>
        <p:spPr bwMode="auto">
          <a:xfrm>
            <a:off x="7821770" y="2461302"/>
            <a:ext cx="511182" cy="454047"/>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8" name="Freeform 1203">
            <a:extLst>
              <a:ext uri="{FF2B5EF4-FFF2-40B4-BE49-F238E27FC236}">
                <a16:creationId xmlns:a16="http://schemas.microsoft.com/office/drawing/2014/main" id="{E049BA34-3CC8-4F1E-B7E3-F90642321880}"/>
              </a:ext>
            </a:extLst>
          </p:cNvPr>
          <p:cNvSpPr>
            <a:spLocks noChangeAspect="1"/>
          </p:cNvSpPr>
          <p:nvPr/>
        </p:nvSpPr>
        <p:spPr bwMode="auto">
          <a:xfrm>
            <a:off x="7553213" y="4226034"/>
            <a:ext cx="871440" cy="1052256"/>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F2BCCD"/>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70" name="Freeform 1204">
            <a:extLst>
              <a:ext uri="{FF2B5EF4-FFF2-40B4-BE49-F238E27FC236}">
                <a16:creationId xmlns:a16="http://schemas.microsoft.com/office/drawing/2014/main" id="{5F8FE311-EEFB-4909-9536-D6D8FEC27737}"/>
              </a:ext>
            </a:extLst>
          </p:cNvPr>
          <p:cNvSpPr>
            <a:spLocks noChangeAspect="1"/>
          </p:cNvSpPr>
          <p:nvPr/>
        </p:nvSpPr>
        <p:spPr bwMode="auto">
          <a:xfrm>
            <a:off x="8208893" y="4061564"/>
            <a:ext cx="701470" cy="575158"/>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r>
              <a:rPr lang="en-US" sz="347" dirty="0">
                <a:solidFill>
                  <a:prstClr val="white">
                    <a:lumMod val="85000"/>
                  </a:prstClr>
                </a:solidFill>
                <a:latin typeface="Arial" pitchFamily="34" charset="0"/>
                <a:cs typeface="Arial" pitchFamily="34" charset="0"/>
              </a:rPr>
              <a:t>+</a:t>
            </a:r>
          </a:p>
        </p:txBody>
      </p:sp>
    </p:spTree>
    <p:extLst>
      <p:ext uri="{BB962C8B-B14F-4D97-AF65-F5344CB8AC3E}">
        <p14:creationId xmlns:p14="http://schemas.microsoft.com/office/powerpoint/2010/main" val="3377555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135" y="71307"/>
            <a:ext cx="11548877" cy="850748"/>
          </a:xfrm>
        </p:spPr>
        <p:txBody>
          <a:bodyPr>
            <a:noAutofit/>
          </a:bodyPr>
          <a:lstStyle/>
          <a:p>
            <a:pPr algn="l" fontAlgn="base"/>
            <a:r>
              <a:rPr lang="en-US" sz="2800" dirty="0"/>
              <a:t>Agriculture GVA is expected to maintain a healthy growth momentum</a:t>
            </a:r>
            <a:endParaRPr lang="en-US" sz="3200" dirty="0"/>
          </a:p>
        </p:txBody>
      </p:sp>
      <p:sp>
        <p:nvSpPr>
          <p:cNvPr id="4" name="Rectangle 3"/>
          <p:cNvSpPr/>
          <p:nvPr/>
        </p:nvSpPr>
        <p:spPr>
          <a:xfrm rot="5400000">
            <a:off x="2980328" y="-1519362"/>
            <a:ext cx="401156" cy="5486400"/>
          </a:xfrm>
          <a:prstGeom prst="rect">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griculture GVA &amp; Growth rate (y-o-y)</a:t>
            </a:r>
          </a:p>
        </p:txBody>
      </p:sp>
      <p:sp>
        <p:nvSpPr>
          <p:cNvPr id="5" name="Rectangle 4"/>
          <p:cNvSpPr/>
          <p:nvPr/>
        </p:nvSpPr>
        <p:spPr>
          <a:xfrm rot="5400000">
            <a:off x="8783196" y="-1525168"/>
            <a:ext cx="401156" cy="5486400"/>
          </a:xfrm>
          <a:prstGeom prst="rect">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MGSY Status</a:t>
            </a:r>
          </a:p>
        </p:txBody>
      </p:sp>
      <p:sp>
        <p:nvSpPr>
          <p:cNvPr id="6" name="TextBox 5"/>
          <p:cNvSpPr txBox="1"/>
          <p:nvPr/>
        </p:nvSpPr>
        <p:spPr>
          <a:xfrm>
            <a:off x="6175259" y="4578782"/>
            <a:ext cx="5617029" cy="43088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MMS (Online management, Monitoring and Accounting System), CRISIL Research</a:t>
            </a:r>
          </a:p>
        </p:txBody>
      </p:sp>
      <p:sp>
        <p:nvSpPr>
          <p:cNvPr id="7" name="TextBox 6"/>
          <p:cNvSpPr txBox="1"/>
          <p:nvPr/>
        </p:nvSpPr>
        <p:spPr>
          <a:xfrm>
            <a:off x="411074" y="4450464"/>
            <a:ext cx="5614033" cy="430887"/>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GVA at basic prices (constant 2011-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stry of Statistics and Programme Implementation, CRISIL Research</a:t>
            </a:r>
          </a:p>
        </p:txBody>
      </p:sp>
      <p:sp>
        <p:nvSpPr>
          <p:cNvPr id="12" name="TextBox 11">
            <a:extLst>
              <a:ext uri="{FF2B5EF4-FFF2-40B4-BE49-F238E27FC236}">
                <a16:creationId xmlns:a16="http://schemas.microsoft.com/office/drawing/2014/main" id="{BCB89BA1-4549-4AE5-95D3-7FEC47C8E3C0}"/>
              </a:ext>
            </a:extLst>
          </p:cNvPr>
          <p:cNvSpPr txBox="1"/>
          <p:nvPr/>
        </p:nvSpPr>
        <p:spPr>
          <a:xfrm>
            <a:off x="380966" y="4917336"/>
            <a:ext cx="11430068" cy="1384995"/>
          </a:xfrm>
          <a:prstGeom prst="rect">
            <a:avLst/>
          </a:prstGeom>
          <a:solidFill>
            <a:schemeClr val="bg1">
              <a:lumMod val="85000"/>
            </a:schemeClr>
          </a:solidFill>
        </p:spPr>
        <p:txBody>
          <a:bodyPr wrap="square" rtlCol="0" anchor="ctr">
            <a:spAutoFit/>
          </a:bodyPr>
          <a:lstStyle/>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Following the elevated commodity prices and fresh supply chain issues arising from the Russia-Ukraine conflict, as well as the renewed lockdowns in parts of China India’s GDP forecast is to be at 7.2%.</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Higher prices of fuels and items such as edible oils are likely to compress disposable incomes in the mid to lower income segments, constraining the demand revival in FY2023.</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As economic activity normalizes, there could be a shift in the availability of agricultural labour across different regions, affecting acreage. Also, inadequate availability of fertilizers poses a concern.</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Thus, even with a normal monsoon and healthy reservoir levels, acreage and, therefore, output may not rise meaningfully in FY2023, constraining agricultural GVA </a:t>
            </a:r>
          </a:p>
        </p:txBody>
      </p:sp>
      <p:graphicFrame>
        <p:nvGraphicFramePr>
          <p:cNvPr id="14" name="Chart 13">
            <a:extLst>
              <a:ext uri="{FF2B5EF4-FFF2-40B4-BE49-F238E27FC236}">
                <a16:creationId xmlns:a16="http://schemas.microsoft.com/office/drawing/2014/main" id="{6B97D9BF-19BC-4E42-BA5F-CBB7D9FF73D6}"/>
              </a:ext>
            </a:extLst>
          </p:cNvPr>
          <p:cNvGraphicFramePr>
            <a:graphicFrameLocks/>
          </p:cNvGraphicFramePr>
          <p:nvPr/>
        </p:nvGraphicFramePr>
        <p:xfrm>
          <a:off x="6240574" y="1418610"/>
          <a:ext cx="5376170" cy="29505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94137CBF-9DA4-4D97-9A32-C7E6069998F4}"/>
              </a:ext>
            </a:extLst>
          </p:cNvPr>
          <p:cNvGraphicFramePr>
            <a:graphicFrameLocks/>
          </p:cNvGraphicFramePr>
          <p:nvPr/>
        </p:nvGraphicFramePr>
        <p:xfrm>
          <a:off x="466134" y="1418610"/>
          <a:ext cx="5457971"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87481318"/>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E1AB7C2-0C30-433B-BA2C-2DE1E0514305}"/>
              </a:ext>
            </a:extLst>
          </p:cNvPr>
          <p:cNvGrpSpPr/>
          <p:nvPr/>
        </p:nvGrpSpPr>
        <p:grpSpPr>
          <a:xfrm>
            <a:off x="301564" y="711526"/>
            <a:ext cx="11032828" cy="4077306"/>
            <a:chOff x="463468" y="1643104"/>
            <a:chExt cx="11032828" cy="3764300"/>
          </a:xfrm>
        </p:grpSpPr>
        <p:sp>
          <p:nvSpPr>
            <p:cNvPr id="10" name="Rectangle 9"/>
            <p:cNvSpPr/>
            <p:nvPr/>
          </p:nvSpPr>
          <p:spPr>
            <a:xfrm rot="5400000">
              <a:off x="5841055" y="-3674455"/>
              <a:ext cx="337681" cy="10972800"/>
            </a:xfrm>
            <a:prstGeom prst="rect">
              <a:avLst/>
            </a:prstGeom>
            <a:solidFill>
              <a:sysClr val="windowText" lastClr="000000">
                <a:lumMod val="75000"/>
                <a:lumOff val="25000"/>
              </a:sysClr>
            </a:solidFill>
            <a:ln w="6350" cap="flat" cmpd="sng" algn="ctr">
              <a:noFill/>
              <a:prstDash val="solid"/>
              <a:miter lim="800000"/>
            </a:ln>
            <a:effectLst/>
          </p:spPr>
          <p:txBody>
            <a:bodyPr vert="vert270"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3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terest Rates</a:t>
              </a:r>
            </a:p>
          </p:txBody>
        </p:sp>
        <p:sp>
          <p:nvSpPr>
            <p:cNvPr id="11" name="TextBox 10"/>
            <p:cNvSpPr txBox="1"/>
            <p:nvPr/>
          </p:nvSpPr>
          <p:spPr>
            <a:xfrm>
              <a:off x="463468" y="5038010"/>
              <a:ext cx="5683881" cy="369394"/>
            </a:xfrm>
            <a:prstGeom prst="rect">
              <a:avLst/>
            </a:prstGeom>
            <a:noFill/>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TE: Interest rates for Q4FY22 is not yet released by leading financiers</a:t>
              </a:r>
            </a:p>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ource: </a:t>
              </a:r>
              <a:r>
                <a:rPr kumimoji="0" lang="en-US"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RISIL Research</a:t>
              </a:r>
            </a:p>
          </p:txBody>
        </p:sp>
      </p:grpSp>
      <p:sp>
        <p:nvSpPr>
          <p:cNvPr id="15" name="Title 1"/>
          <p:cNvSpPr>
            <a:spLocks noGrp="1"/>
          </p:cNvSpPr>
          <p:nvPr>
            <p:ph type="title"/>
          </p:nvPr>
        </p:nvSpPr>
        <p:spPr>
          <a:xfrm>
            <a:off x="301564" y="0"/>
            <a:ext cx="11562328" cy="711525"/>
          </a:xfrm>
        </p:spPr>
        <p:txBody>
          <a:bodyPr>
            <a:noAutofit/>
          </a:bodyPr>
          <a:lstStyle/>
          <a:p>
            <a:pPr algn="l" fontAlgn="base"/>
            <a:r>
              <a:rPr lang="en-US" sz="2400" dirty="0"/>
              <a:t>Disbursements to increase at a moderate pace in FY22 on a high base</a:t>
            </a:r>
          </a:p>
        </p:txBody>
      </p:sp>
      <p:sp>
        <p:nvSpPr>
          <p:cNvPr id="17" name="TextBox 16">
            <a:extLst>
              <a:ext uri="{FF2B5EF4-FFF2-40B4-BE49-F238E27FC236}">
                <a16:creationId xmlns:a16="http://schemas.microsoft.com/office/drawing/2014/main" id="{63358ACC-80A7-4B7F-83B0-717B8EDD4B19}"/>
              </a:ext>
            </a:extLst>
          </p:cNvPr>
          <p:cNvSpPr txBox="1"/>
          <p:nvPr/>
        </p:nvSpPr>
        <p:spPr>
          <a:xfrm>
            <a:off x="361594" y="5272364"/>
            <a:ext cx="10972800" cy="646331"/>
          </a:xfrm>
          <a:prstGeom prst="rect">
            <a:avLst/>
          </a:prstGeom>
          <a:solidFill>
            <a:schemeClr val="bg1">
              <a:lumMod val="85000"/>
            </a:schemeClr>
          </a:solidFill>
        </p:spPr>
        <p:txBody>
          <a:bodyPr wrap="square" rtlCol="0" anchor="ctr">
            <a:spAutoFit/>
          </a:bodyPr>
          <a:lstStyle/>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With 70-75% of tractors purchased on credit, credit availability is a key demand driver, and indirectly boosts tractor sale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However, non-performing assets are higher in public banks as compared with private banks and NBFCs.</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LTVs are estimated to have grown from 75.5% in fiscal 2021 to 76% in fiscal 2022.</a:t>
            </a:r>
            <a:endParaRPr lang="en-US" sz="1100" dirty="0">
              <a:latin typeface="Arial" panose="020B0604020202020204" pitchFamily="34" charset="0"/>
              <a:cs typeface="Arial" panose="020B0604020202020204" pitchFamily="34" charset="0"/>
            </a:endParaRPr>
          </a:p>
        </p:txBody>
      </p:sp>
      <p:graphicFrame>
        <p:nvGraphicFramePr>
          <p:cNvPr id="12" name="Chart 11">
            <a:extLst>
              <a:ext uri="{FF2B5EF4-FFF2-40B4-BE49-F238E27FC236}">
                <a16:creationId xmlns:a16="http://schemas.microsoft.com/office/drawing/2014/main" id="{00000000-0008-0000-0000-000009000000}"/>
              </a:ext>
            </a:extLst>
          </p:cNvPr>
          <p:cNvGraphicFramePr>
            <a:graphicFrameLocks/>
          </p:cNvGraphicFramePr>
          <p:nvPr/>
        </p:nvGraphicFramePr>
        <p:xfrm>
          <a:off x="361591" y="1077286"/>
          <a:ext cx="10972800" cy="30426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345546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Title 1">
            <a:extLst>
              <a:ext uri="{FF2B5EF4-FFF2-40B4-BE49-F238E27FC236}">
                <a16:creationId xmlns:a16="http://schemas.microsoft.com/office/drawing/2014/main" id="{93317F94-9F03-4ABB-A481-D6D329AD4C48}"/>
              </a:ext>
            </a:extLst>
          </p:cNvPr>
          <p:cNvSpPr>
            <a:spLocks noGrp="1"/>
          </p:cNvSpPr>
          <p:nvPr>
            <p:ph type="title"/>
          </p:nvPr>
        </p:nvSpPr>
        <p:spPr>
          <a:xfrm>
            <a:off x="392790" y="102436"/>
            <a:ext cx="11799210" cy="664797"/>
          </a:xfrm>
        </p:spPr>
        <p:txBody>
          <a:bodyPr vert="horz" wrap="square" lIns="0" tIns="0" rIns="0" bIns="0" rtlCol="0" anchor="ctr">
            <a:spAutoFit/>
          </a:bodyPr>
          <a:lstStyle/>
          <a:p>
            <a:r>
              <a:rPr lang="en-IN" sz="2400" dirty="0">
                <a:solidFill>
                  <a:schemeClr val="tx1"/>
                </a:solidFill>
              </a:rPr>
              <a:t>Power consumption poses single digit growth in Mar 2022; East region performs better than other regions in Apr–Mar FY22 period </a:t>
            </a:r>
            <a:endParaRPr lang="en-US" sz="2400" dirty="0">
              <a:solidFill>
                <a:schemeClr val="tx1"/>
              </a:solidFill>
            </a:endParaRPr>
          </a:p>
        </p:txBody>
      </p:sp>
      <p:sp>
        <p:nvSpPr>
          <p:cNvPr id="147" name="Slide Number Placeholder 6"/>
          <p:cNvSpPr txBox="1">
            <a:spLocks/>
          </p:cNvSpPr>
          <p:nvPr/>
        </p:nvSpPr>
        <p:spPr>
          <a:xfrm>
            <a:off x="8305800" y="6356351"/>
            <a:ext cx="2743200"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fld id="{47FC1E78-8A1D-4B7B-BB49-A01A2C07F035}" type="slidenum">
              <a:rPr lang="en-US" sz="1200">
                <a:solidFill>
                  <a:prstClr val="black">
                    <a:tint val="75000"/>
                  </a:prstClr>
                </a:solidFill>
              </a:rPr>
              <a:pPr/>
              <a:t>11</a:t>
            </a:fld>
            <a:endParaRPr lang="en-US" sz="1200" dirty="0">
              <a:solidFill>
                <a:prstClr val="black">
                  <a:tint val="75000"/>
                </a:prstClr>
              </a:solidFill>
            </a:endParaRPr>
          </a:p>
        </p:txBody>
      </p:sp>
      <p:sp>
        <p:nvSpPr>
          <p:cNvPr id="149" name="Text Placeholder 4"/>
          <p:cNvSpPr txBox="1">
            <a:spLocks/>
          </p:cNvSpPr>
          <p:nvPr/>
        </p:nvSpPr>
        <p:spPr>
          <a:xfrm>
            <a:off x="5483678" y="899032"/>
            <a:ext cx="6600000" cy="300000"/>
          </a:xfrm>
          <a:prstGeom prst="rect">
            <a:avLst/>
          </a:prstGeom>
          <a:solidFill>
            <a:schemeClr val="tx2"/>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333" b="1" dirty="0">
                <a:solidFill>
                  <a:prstClr val="white"/>
                </a:solidFill>
                <a:latin typeface="Arial" panose="020B0604020202020204" pitchFamily="34" charset="0"/>
                <a:cs typeface="Arial" panose="020B0604020202020204" pitchFamily="34" charset="0"/>
              </a:rPr>
              <a:t>Monthly trend for power consumption in India</a:t>
            </a:r>
          </a:p>
        </p:txBody>
      </p:sp>
      <p:sp>
        <p:nvSpPr>
          <p:cNvPr id="151" name="Text Placeholder 4"/>
          <p:cNvSpPr txBox="1">
            <a:spLocks/>
          </p:cNvSpPr>
          <p:nvPr/>
        </p:nvSpPr>
        <p:spPr>
          <a:xfrm>
            <a:off x="426599" y="922562"/>
            <a:ext cx="4800000" cy="300000"/>
          </a:xfrm>
          <a:prstGeom prst="rect">
            <a:avLst/>
          </a:prstGeom>
          <a:solidFill>
            <a:schemeClr val="tx2"/>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Eastern region seeing a better trajectory in power consumption</a:t>
            </a:r>
          </a:p>
        </p:txBody>
      </p:sp>
      <p:sp>
        <p:nvSpPr>
          <p:cNvPr id="182" name="Freeform 1216"/>
          <p:cNvSpPr>
            <a:spLocks noChangeAspect="1"/>
          </p:cNvSpPr>
          <p:nvPr/>
        </p:nvSpPr>
        <p:spPr bwMode="auto">
          <a:xfrm>
            <a:off x="3883479" y="2331828"/>
            <a:ext cx="840921" cy="412996"/>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rgbClr val="92D05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83" name="Freeform 1200"/>
          <p:cNvSpPr>
            <a:spLocks noChangeAspect="1"/>
          </p:cNvSpPr>
          <p:nvPr/>
        </p:nvSpPr>
        <p:spPr bwMode="auto">
          <a:xfrm>
            <a:off x="2648168" y="2694524"/>
            <a:ext cx="683165" cy="483153"/>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84" name="Freeform 1207"/>
          <p:cNvSpPr>
            <a:spLocks noChangeAspect="1"/>
          </p:cNvSpPr>
          <p:nvPr/>
        </p:nvSpPr>
        <p:spPr bwMode="auto">
          <a:xfrm>
            <a:off x="2370710" y="3411973"/>
            <a:ext cx="911778" cy="704213"/>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85" name="Freeform 1208"/>
          <p:cNvSpPr>
            <a:spLocks noChangeAspect="1"/>
          </p:cNvSpPr>
          <p:nvPr/>
        </p:nvSpPr>
        <p:spPr bwMode="auto">
          <a:xfrm>
            <a:off x="2668222" y="2987063"/>
            <a:ext cx="647068" cy="525513"/>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86" name="Freeform 1209"/>
          <p:cNvSpPr>
            <a:spLocks noChangeAspect="1"/>
          </p:cNvSpPr>
          <p:nvPr/>
        </p:nvSpPr>
        <p:spPr bwMode="auto">
          <a:xfrm>
            <a:off x="3364754" y="2604512"/>
            <a:ext cx="109628" cy="145608"/>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87" name="Freeform 1210"/>
          <p:cNvSpPr>
            <a:spLocks noChangeAspect="1"/>
          </p:cNvSpPr>
          <p:nvPr/>
        </p:nvSpPr>
        <p:spPr bwMode="auto">
          <a:xfrm>
            <a:off x="3017158" y="2709085"/>
            <a:ext cx="592255" cy="845849"/>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88" name="Freeform 1211"/>
          <p:cNvSpPr>
            <a:spLocks noChangeAspect="1"/>
          </p:cNvSpPr>
          <p:nvPr/>
        </p:nvSpPr>
        <p:spPr bwMode="auto">
          <a:xfrm>
            <a:off x="3641497" y="2869254"/>
            <a:ext cx="478617" cy="153551"/>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89" name="Freeform 1212"/>
          <p:cNvSpPr>
            <a:spLocks noChangeAspect="1"/>
          </p:cNvSpPr>
          <p:nvPr/>
        </p:nvSpPr>
        <p:spPr bwMode="auto">
          <a:xfrm>
            <a:off x="3863426" y="3100902"/>
            <a:ext cx="188505" cy="234297"/>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90" name="Freeform 1213"/>
          <p:cNvSpPr>
            <a:spLocks noChangeAspect="1"/>
          </p:cNvSpPr>
          <p:nvPr/>
        </p:nvSpPr>
        <p:spPr bwMode="auto">
          <a:xfrm>
            <a:off x="3538556" y="2485379"/>
            <a:ext cx="1024079" cy="648617"/>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rgbClr val="92D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noFill/>
              <a:latin typeface="Arial" pitchFamily="34" charset="0"/>
              <a:cs typeface="Arial" pitchFamily="34" charset="0"/>
            </a:endParaRPr>
          </a:p>
        </p:txBody>
      </p:sp>
      <p:sp>
        <p:nvSpPr>
          <p:cNvPr id="191" name="Freeform 1214"/>
          <p:cNvSpPr>
            <a:spLocks noChangeAspect="1"/>
          </p:cNvSpPr>
          <p:nvPr/>
        </p:nvSpPr>
        <p:spPr bwMode="auto">
          <a:xfrm>
            <a:off x="4029203" y="3070459"/>
            <a:ext cx="179147" cy="390493"/>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rgbClr val="92D05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92" name="Freeform 1215"/>
          <p:cNvSpPr>
            <a:spLocks noChangeAspect="1"/>
          </p:cNvSpPr>
          <p:nvPr/>
        </p:nvSpPr>
        <p:spPr bwMode="auto">
          <a:xfrm>
            <a:off x="4122787" y="2894404"/>
            <a:ext cx="254014" cy="274008"/>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rgbClr val="92D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93" name="Freeform 1217"/>
          <p:cNvSpPr>
            <a:spLocks noChangeAspect="1"/>
          </p:cNvSpPr>
          <p:nvPr/>
        </p:nvSpPr>
        <p:spPr bwMode="auto">
          <a:xfrm>
            <a:off x="4076271" y="2665403"/>
            <a:ext cx="383419" cy="405055"/>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rgbClr val="92D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73" name="Freeform 1223"/>
          <p:cNvSpPr>
            <a:spLocks noChangeAspect="1"/>
          </p:cNvSpPr>
          <p:nvPr/>
        </p:nvSpPr>
        <p:spPr bwMode="auto">
          <a:xfrm>
            <a:off x="640120" y="2286823"/>
            <a:ext cx="1276756" cy="1039110"/>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74" name="Freeform 1191"/>
          <p:cNvSpPr>
            <a:spLocks noChangeAspect="1"/>
          </p:cNvSpPr>
          <p:nvPr/>
        </p:nvSpPr>
        <p:spPr bwMode="auto">
          <a:xfrm>
            <a:off x="1142800" y="1253007"/>
            <a:ext cx="1124347" cy="735981"/>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solidFill>
            <a:srgbClr val="FFC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srgbClr val="C00000"/>
              </a:solidFill>
              <a:latin typeface="Arial" pitchFamily="34" charset="0"/>
              <a:cs typeface="Arial" pitchFamily="34" charset="0"/>
            </a:endParaRPr>
          </a:p>
        </p:txBody>
      </p:sp>
      <p:sp>
        <p:nvSpPr>
          <p:cNvPr id="175" name="Freeform 1192"/>
          <p:cNvSpPr>
            <a:spLocks noChangeAspect="1"/>
          </p:cNvSpPr>
          <p:nvPr/>
        </p:nvSpPr>
        <p:spPr bwMode="auto">
          <a:xfrm>
            <a:off x="1604036" y="1851323"/>
            <a:ext cx="435834" cy="399760"/>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76" name="Freeform 1195"/>
          <p:cNvSpPr>
            <a:spLocks noChangeAspect="1"/>
          </p:cNvSpPr>
          <p:nvPr/>
        </p:nvSpPr>
        <p:spPr bwMode="auto">
          <a:xfrm>
            <a:off x="1815271" y="2110769"/>
            <a:ext cx="522734" cy="416968"/>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77" name="Freeform 1196"/>
          <p:cNvSpPr>
            <a:spLocks noChangeAspect="1"/>
          </p:cNvSpPr>
          <p:nvPr/>
        </p:nvSpPr>
        <p:spPr bwMode="auto">
          <a:xfrm>
            <a:off x="1769814" y="2278881"/>
            <a:ext cx="1100283" cy="953069"/>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r>
              <a:rPr lang="en-US" sz="347" dirty="0">
                <a:solidFill>
                  <a:prstClr val="white">
                    <a:lumMod val="85000"/>
                  </a:prstClr>
                </a:solidFill>
                <a:latin typeface="Arial" pitchFamily="34" charset="0"/>
                <a:cs typeface="Arial" pitchFamily="34" charset="0"/>
              </a:rPr>
              <a:t> </a:t>
            </a:r>
          </a:p>
        </p:txBody>
      </p:sp>
      <p:sp>
        <p:nvSpPr>
          <p:cNvPr id="178" name="Freeform 1222"/>
          <p:cNvSpPr>
            <a:spLocks noChangeAspect="1"/>
          </p:cNvSpPr>
          <p:nvPr/>
        </p:nvSpPr>
        <p:spPr bwMode="auto">
          <a:xfrm>
            <a:off x="1749760" y="2187544"/>
            <a:ext cx="57488" cy="43683"/>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rgbClr val="FFC000"/>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79" name="Freeform 1194"/>
          <p:cNvSpPr>
            <a:spLocks noChangeAspect="1"/>
          </p:cNvSpPr>
          <p:nvPr/>
        </p:nvSpPr>
        <p:spPr bwMode="auto">
          <a:xfrm>
            <a:off x="1765803" y="2446991"/>
            <a:ext cx="85563" cy="95308"/>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solidFill>
            <a:srgbClr val="FFC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80" name="Freeform 1221"/>
          <p:cNvSpPr>
            <a:spLocks noChangeAspect="1"/>
          </p:cNvSpPr>
          <p:nvPr/>
        </p:nvSpPr>
        <p:spPr bwMode="auto">
          <a:xfrm>
            <a:off x="1309916" y="1889712"/>
            <a:ext cx="508029" cy="506979"/>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FFC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srgbClr val="44546A">
                  <a:lumMod val="50000"/>
                </a:srgbClr>
              </a:solidFill>
              <a:latin typeface="Arial" pitchFamily="34" charset="0"/>
              <a:cs typeface="Arial" pitchFamily="34" charset="0"/>
            </a:endParaRPr>
          </a:p>
        </p:txBody>
      </p:sp>
      <p:sp>
        <p:nvSpPr>
          <p:cNvPr id="181" name="Freeform 1193"/>
          <p:cNvSpPr>
            <a:spLocks noChangeAspect="1"/>
          </p:cNvSpPr>
          <p:nvPr/>
        </p:nvSpPr>
        <p:spPr bwMode="auto">
          <a:xfrm>
            <a:off x="1436922" y="2245788"/>
            <a:ext cx="421130" cy="446090"/>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67" name="Freeform 1204"/>
          <p:cNvSpPr>
            <a:spLocks noChangeAspect="1"/>
          </p:cNvSpPr>
          <p:nvPr/>
        </p:nvSpPr>
        <p:spPr bwMode="auto">
          <a:xfrm>
            <a:off x="1644613" y="3803849"/>
            <a:ext cx="1220605" cy="1051023"/>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FFC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68" name="Freeform 1205"/>
          <p:cNvSpPr>
            <a:spLocks noChangeAspect="1"/>
          </p:cNvSpPr>
          <p:nvPr/>
        </p:nvSpPr>
        <p:spPr bwMode="auto">
          <a:xfrm>
            <a:off x="1518474" y="4717150"/>
            <a:ext cx="689848" cy="824669"/>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FFC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69" name="Freeform 1219"/>
          <p:cNvSpPr>
            <a:spLocks noChangeAspect="1"/>
          </p:cNvSpPr>
          <p:nvPr/>
        </p:nvSpPr>
        <p:spPr bwMode="auto">
          <a:xfrm>
            <a:off x="1317966" y="4829579"/>
            <a:ext cx="393053" cy="673768"/>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rgbClr val="FFC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baseline="-25000" dirty="0">
              <a:solidFill>
                <a:srgbClr val="C79B3A"/>
              </a:solidFill>
              <a:latin typeface="Arial" pitchFamily="34" charset="0"/>
              <a:cs typeface="Arial" pitchFamily="34" charset="0"/>
            </a:endParaRPr>
          </a:p>
        </p:txBody>
      </p:sp>
      <p:sp>
        <p:nvSpPr>
          <p:cNvPr id="170" name="Freeform 1203"/>
          <p:cNvSpPr>
            <a:spLocks noChangeAspect="1"/>
          </p:cNvSpPr>
          <p:nvPr/>
        </p:nvSpPr>
        <p:spPr bwMode="auto">
          <a:xfrm>
            <a:off x="1214146" y="3979678"/>
            <a:ext cx="717923" cy="1033816"/>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FFC000"/>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71" name="Freeform 1204"/>
          <p:cNvSpPr>
            <a:spLocks noChangeAspect="1"/>
          </p:cNvSpPr>
          <p:nvPr/>
        </p:nvSpPr>
        <p:spPr bwMode="auto">
          <a:xfrm>
            <a:off x="1767517" y="3818009"/>
            <a:ext cx="577896" cy="565078"/>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FFC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r>
              <a:rPr lang="en-US" sz="347" dirty="0">
                <a:solidFill>
                  <a:prstClr val="white">
                    <a:lumMod val="85000"/>
                  </a:prstClr>
                </a:solidFill>
                <a:latin typeface="Arial" pitchFamily="34" charset="0"/>
                <a:cs typeface="Arial" pitchFamily="34" charset="0"/>
              </a:rPr>
              <a:t>+</a:t>
            </a:r>
          </a:p>
        </p:txBody>
      </p:sp>
      <p:sp>
        <p:nvSpPr>
          <p:cNvPr id="172" name="Freeform 1202"/>
          <p:cNvSpPr>
            <a:spLocks noChangeAspect="1"/>
          </p:cNvSpPr>
          <p:nvPr/>
        </p:nvSpPr>
        <p:spPr bwMode="auto">
          <a:xfrm>
            <a:off x="1147042" y="4380408"/>
            <a:ext cx="176473" cy="148255"/>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solidFill>
            <a:srgbClr val="92D050"/>
          </a:solidFill>
          <a:ln w="6350" cap="flat" cmpd="sng">
            <a:solidFill>
              <a:schemeClr val="tx1"/>
            </a:solidFill>
            <a:prstDash val="solid"/>
            <a:round/>
            <a:headEnd type="none" w="med" len="med"/>
            <a:tailEnd type="none" w="med" len="med"/>
          </a:ln>
        </p:spPr>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63" name="Freeform 1201"/>
          <p:cNvSpPr>
            <a:spLocks noChangeAspect="1"/>
          </p:cNvSpPr>
          <p:nvPr/>
        </p:nvSpPr>
        <p:spPr bwMode="auto">
          <a:xfrm>
            <a:off x="1037183" y="3477396"/>
            <a:ext cx="1279067" cy="928682"/>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64" name="Freeform 1199"/>
          <p:cNvSpPr>
            <a:spLocks noChangeAspect="1"/>
          </p:cNvSpPr>
          <p:nvPr/>
        </p:nvSpPr>
        <p:spPr bwMode="auto">
          <a:xfrm>
            <a:off x="1331305" y="2799098"/>
            <a:ext cx="1275418" cy="849819"/>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65" name="Freeform 1206"/>
          <p:cNvSpPr>
            <a:spLocks noChangeAspect="1"/>
          </p:cNvSpPr>
          <p:nvPr/>
        </p:nvSpPr>
        <p:spPr bwMode="auto">
          <a:xfrm>
            <a:off x="2212330" y="3185001"/>
            <a:ext cx="577548" cy="942479"/>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FFC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defRPr/>
            </a:pPr>
            <a:endParaRPr lang="en-US" sz="347" dirty="0">
              <a:solidFill>
                <a:prstClr val="white">
                  <a:lumMod val="85000"/>
                </a:prstClr>
              </a:solidFill>
              <a:latin typeface="Arial" pitchFamily="34" charset="0"/>
              <a:cs typeface="Arial" pitchFamily="34" charset="0"/>
            </a:endParaRPr>
          </a:p>
        </p:txBody>
      </p:sp>
      <p:sp>
        <p:nvSpPr>
          <p:cNvPr id="166" name="Freeform 1197"/>
          <p:cNvSpPr>
            <a:spLocks noChangeAspect="1"/>
          </p:cNvSpPr>
          <p:nvPr/>
        </p:nvSpPr>
        <p:spPr bwMode="auto">
          <a:xfrm>
            <a:off x="392791" y="3043983"/>
            <a:ext cx="989319" cy="726715"/>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39"/>
            <a:endParaRPr lang="en-US" sz="347" dirty="0">
              <a:solidFill>
                <a:prstClr val="white">
                  <a:lumMod val="85000"/>
                </a:prstClr>
              </a:solidFill>
              <a:latin typeface="Arial" pitchFamily="34" charset="0"/>
              <a:cs typeface="Arial" pitchFamily="34" charset="0"/>
            </a:endParaRPr>
          </a:p>
        </p:txBody>
      </p:sp>
      <p:sp>
        <p:nvSpPr>
          <p:cNvPr id="157" name="Rectangle 156"/>
          <p:cNvSpPr/>
          <p:nvPr/>
        </p:nvSpPr>
        <p:spPr>
          <a:xfrm>
            <a:off x="3926879" y="4847099"/>
            <a:ext cx="168623" cy="27135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67" dirty="0">
              <a:solidFill>
                <a:prstClr val="white"/>
              </a:solidFill>
              <a:latin typeface="Arial" panose="020B0604020202020204" pitchFamily="34" charset="0"/>
              <a:cs typeface="Arial" panose="020B0604020202020204" pitchFamily="34" charset="0"/>
            </a:endParaRPr>
          </a:p>
        </p:txBody>
      </p:sp>
      <p:sp>
        <p:nvSpPr>
          <p:cNvPr id="158" name="Rectangle 157"/>
          <p:cNvSpPr/>
          <p:nvPr/>
        </p:nvSpPr>
        <p:spPr>
          <a:xfrm>
            <a:off x="3742372" y="4847099"/>
            <a:ext cx="168623" cy="27135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67" dirty="0">
              <a:solidFill>
                <a:prstClr val="white"/>
              </a:solidFill>
              <a:latin typeface="Arial" panose="020B0604020202020204" pitchFamily="34" charset="0"/>
              <a:cs typeface="Arial" panose="020B0604020202020204" pitchFamily="34" charset="0"/>
            </a:endParaRPr>
          </a:p>
        </p:txBody>
      </p:sp>
      <p:sp>
        <p:nvSpPr>
          <p:cNvPr id="159" name="Rectangle 158"/>
          <p:cNvSpPr/>
          <p:nvPr/>
        </p:nvSpPr>
        <p:spPr>
          <a:xfrm>
            <a:off x="3557865" y="4847099"/>
            <a:ext cx="168623" cy="27135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167" dirty="0">
              <a:solidFill>
                <a:prstClr val="white"/>
              </a:solidFill>
              <a:latin typeface="Arial" panose="020B0604020202020204" pitchFamily="34" charset="0"/>
              <a:cs typeface="Arial" panose="020B0604020202020204" pitchFamily="34" charset="0"/>
            </a:endParaRPr>
          </a:p>
        </p:txBody>
      </p:sp>
      <p:sp>
        <p:nvSpPr>
          <p:cNvPr id="160" name="TextBox 159"/>
          <p:cNvSpPr txBox="1"/>
          <p:nvPr/>
        </p:nvSpPr>
        <p:spPr>
          <a:xfrm>
            <a:off x="4118082" y="4781737"/>
            <a:ext cx="910827" cy="430887"/>
          </a:xfrm>
          <a:prstGeom prst="rect">
            <a:avLst/>
          </a:prstGeom>
          <a:noFill/>
          <a:ln>
            <a:noFill/>
          </a:ln>
        </p:spPr>
        <p:txBody>
          <a:bodyPr wrap="none" rtlCol="0">
            <a:spAutoFit/>
          </a:bodyPr>
          <a:lstStyle/>
          <a:p>
            <a:r>
              <a:rPr lang="en-IN" sz="1050" dirty="0">
                <a:solidFill>
                  <a:prstClr val="black"/>
                </a:solidFill>
                <a:latin typeface="Arial" panose="020B0604020202020204" pitchFamily="34" charset="0"/>
                <a:cs typeface="Arial" panose="020B0604020202020204" pitchFamily="34" charset="0"/>
              </a:rPr>
              <a:t>Better than </a:t>
            </a:r>
          </a:p>
          <a:p>
            <a:r>
              <a:rPr lang="en-IN" sz="1050" dirty="0">
                <a:solidFill>
                  <a:prstClr val="black"/>
                </a:solidFill>
                <a:latin typeface="Arial" panose="020B0604020202020204" pitchFamily="34" charset="0"/>
                <a:cs typeface="Arial" panose="020B0604020202020204" pitchFamily="34" charset="0"/>
              </a:rPr>
              <a:t>pan India</a:t>
            </a:r>
          </a:p>
        </p:txBody>
      </p:sp>
      <p:sp>
        <p:nvSpPr>
          <p:cNvPr id="161" name="TextBox 160"/>
          <p:cNvSpPr txBox="1"/>
          <p:nvPr/>
        </p:nvSpPr>
        <p:spPr>
          <a:xfrm>
            <a:off x="2718298" y="4784708"/>
            <a:ext cx="920445" cy="430887"/>
          </a:xfrm>
          <a:prstGeom prst="rect">
            <a:avLst/>
          </a:prstGeom>
          <a:noFill/>
          <a:ln>
            <a:noFill/>
          </a:ln>
        </p:spPr>
        <p:txBody>
          <a:bodyPr wrap="none" rtlCol="0">
            <a:spAutoFit/>
          </a:bodyPr>
          <a:lstStyle/>
          <a:p>
            <a:r>
              <a:rPr lang="en-IN" sz="1050" dirty="0">
                <a:solidFill>
                  <a:prstClr val="black"/>
                </a:solidFill>
                <a:latin typeface="Arial" panose="020B0604020202020204" pitchFamily="34" charset="0"/>
                <a:cs typeface="Arial" panose="020B0604020202020204" pitchFamily="34" charset="0"/>
              </a:rPr>
              <a:t>Lower than </a:t>
            </a:r>
          </a:p>
          <a:p>
            <a:r>
              <a:rPr lang="en-IN" sz="1050" dirty="0">
                <a:solidFill>
                  <a:prstClr val="black"/>
                </a:solidFill>
                <a:latin typeface="Arial" panose="020B0604020202020204" pitchFamily="34" charset="0"/>
                <a:cs typeface="Arial" panose="020B0604020202020204" pitchFamily="34" charset="0"/>
              </a:rPr>
              <a:t>pan India</a:t>
            </a:r>
          </a:p>
        </p:txBody>
      </p:sp>
      <p:sp>
        <p:nvSpPr>
          <p:cNvPr id="162" name="TextBox 161"/>
          <p:cNvSpPr txBox="1"/>
          <p:nvPr/>
        </p:nvSpPr>
        <p:spPr>
          <a:xfrm>
            <a:off x="2694338" y="4551571"/>
            <a:ext cx="2330735" cy="230832"/>
          </a:xfrm>
          <a:prstGeom prst="rect">
            <a:avLst/>
          </a:prstGeom>
          <a:solidFill>
            <a:schemeClr val="accent5">
              <a:lumMod val="20000"/>
              <a:lumOff val="80000"/>
            </a:schemeClr>
          </a:solidFill>
          <a:ln>
            <a:noFill/>
          </a:ln>
        </p:spPr>
        <p:txBody>
          <a:bodyPr wrap="square" rtlCol="0">
            <a:spAutoFit/>
          </a:bodyPr>
          <a:lstStyle/>
          <a:p>
            <a:pPr algn="ctr"/>
            <a:r>
              <a:rPr lang="en-IN" sz="900" b="1" dirty="0">
                <a:solidFill>
                  <a:prstClr val="black"/>
                </a:solidFill>
                <a:latin typeface="Arial" panose="020B0604020202020204" pitchFamily="34" charset="0"/>
                <a:cs typeface="Arial" panose="020B0604020202020204" pitchFamily="34" charset="0"/>
              </a:rPr>
              <a:t>Relative growth for Apr-Mar fiscal 2022</a:t>
            </a:r>
          </a:p>
        </p:txBody>
      </p:sp>
      <p:sp>
        <p:nvSpPr>
          <p:cNvPr id="51" name="TextBox 50"/>
          <p:cNvSpPr txBox="1"/>
          <p:nvPr/>
        </p:nvSpPr>
        <p:spPr>
          <a:xfrm>
            <a:off x="1207579" y="6129829"/>
            <a:ext cx="8152013" cy="33348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0" tIns="0" rIns="0" bIns="0" rtlCol="0">
            <a:spAutoFit/>
          </a:bodyPr>
          <a:lstStyle>
            <a:defPPr>
              <a:defRPr lang="en-US"/>
            </a:defPPr>
            <a:lvl1pPr fontAlgn="base">
              <a:spcBef>
                <a:spcPct val="0"/>
              </a:spcBef>
              <a:spcAft>
                <a:spcPct val="0"/>
              </a:spcAft>
              <a:defRPr sz="1200">
                <a:solidFill>
                  <a:srgbClr val="282828"/>
                </a:solidFill>
                <a:latin typeface="Arial" charset="0"/>
                <a:cs typeface="Arial" charset="0"/>
              </a:defRPr>
            </a:lvl1pPr>
            <a:lvl2pPr marL="742950" indent="-285750">
              <a:defRPr>
                <a:latin typeface="Calibri" panose="020F0502020204030204" pitchFamily="34" charset="0"/>
                <a:ea typeface="MS PGothic" panose="020B0600070205080204" pitchFamily="34" charset="-128"/>
              </a:defRPr>
            </a:lvl2pPr>
            <a:lvl3pPr marL="1143000" indent="-228600">
              <a:defRPr>
                <a:latin typeface="Calibri" panose="020F0502020204030204" pitchFamily="34" charset="0"/>
                <a:ea typeface="MS PGothic" panose="020B0600070205080204" pitchFamily="34" charset="-128"/>
              </a:defRPr>
            </a:lvl3pPr>
            <a:lvl4pPr marL="1600200" indent="-228600">
              <a:defRPr>
                <a:latin typeface="Calibri" panose="020F0502020204030204" pitchFamily="34" charset="0"/>
                <a:ea typeface="MS PGothic" panose="020B0600070205080204" pitchFamily="34" charset="-128"/>
              </a:defRPr>
            </a:lvl4pPr>
            <a:lvl5pPr marL="2057400" indent="-228600">
              <a:defRPr>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latin typeface="Calibri" panose="020F0502020204030204" pitchFamily="34" charset="0"/>
                <a:ea typeface="MS PGothic" panose="020B0600070205080204" pitchFamily="34" charset="-128"/>
              </a:defRPr>
            </a:lvl9pPr>
          </a:lstStyle>
          <a:p>
            <a:endParaRPr lang="en-US" sz="1167" i="1" dirty="0">
              <a:solidFill>
                <a:prstClr val="black"/>
              </a:solidFill>
            </a:endParaRPr>
          </a:p>
          <a:p>
            <a:r>
              <a:rPr lang="en-US" sz="1000" i="1" dirty="0"/>
              <a:t>Source: Posoco, CRISIL Research,</a:t>
            </a:r>
            <a:endParaRPr lang="en-GB" sz="1000" i="1" dirty="0"/>
          </a:p>
        </p:txBody>
      </p:sp>
      <p:sp>
        <p:nvSpPr>
          <p:cNvPr id="45" name="Text Placeholder 4"/>
          <p:cNvSpPr txBox="1">
            <a:spLocks/>
          </p:cNvSpPr>
          <p:nvPr/>
        </p:nvSpPr>
        <p:spPr>
          <a:xfrm>
            <a:off x="5483678" y="3757867"/>
            <a:ext cx="6600000" cy="300000"/>
          </a:xfrm>
          <a:prstGeom prst="rect">
            <a:avLst/>
          </a:prstGeom>
          <a:solidFill>
            <a:schemeClr val="tx2"/>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333" b="1" dirty="0">
                <a:solidFill>
                  <a:prstClr val="white"/>
                </a:solidFill>
                <a:latin typeface="Arial" panose="020B0604020202020204" pitchFamily="34" charset="0"/>
                <a:cs typeface="Arial" panose="020B0604020202020204" pitchFamily="34" charset="0"/>
              </a:rPr>
              <a:t>Daily trend for power consumption in India</a:t>
            </a:r>
          </a:p>
        </p:txBody>
      </p:sp>
      <p:sp>
        <p:nvSpPr>
          <p:cNvPr id="47" name="Left Arrow 46">
            <a:hlinkClick r:id="rId3" action="ppaction://hlinksldjump"/>
          </p:cNvPr>
          <p:cNvSpPr/>
          <p:nvPr/>
        </p:nvSpPr>
        <p:spPr>
          <a:xfrm>
            <a:off x="9244699" y="6191440"/>
            <a:ext cx="1365848" cy="551011"/>
          </a:xfrm>
          <a:prstGeom prst="leftArrow">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tx1"/>
                </a:solidFill>
                <a:hlinkClick r:id="rId3" action="ppaction://hlinksldjump"/>
              </a:rPr>
              <a:t>Back</a:t>
            </a:r>
            <a:endParaRPr lang="en-US" sz="1500" dirty="0">
              <a:solidFill>
                <a:schemeClr val="tx1"/>
              </a:solidFill>
            </a:endParaRPr>
          </a:p>
        </p:txBody>
      </p:sp>
      <p:graphicFrame>
        <p:nvGraphicFramePr>
          <p:cNvPr id="49" name="Chart 48">
            <a:extLst>
              <a:ext uri="{FF2B5EF4-FFF2-40B4-BE49-F238E27FC236}">
                <a16:creationId xmlns:a16="http://schemas.microsoft.com/office/drawing/2014/main" id="{00000000-0008-0000-0100-000002000000}"/>
              </a:ext>
            </a:extLst>
          </p:cNvPr>
          <p:cNvGraphicFramePr>
            <a:graphicFrameLocks/>
          </p:cNvGraphicFramePr>
          <p:nvPr/>
        </p:nvGraphicFramePr>
        <p:xfrm>
          <a:off x="5483678" y="4119175"/>
          <a:ext cx="6600000" cy="20945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0" name="Chart 49">
            <a:extLst>
              <a:ext uri="{FF2B5EF4-FFF2-40B4-BE49-F238E27FC236}">
                <a16:creationId xmlns:a16="http://schemas.microsoft.com/office/drawing/2014/main" id="{66C33352-32F9-4B97-805C-A80F06E4CB6F}"/>
              </a:ext>
            </a:extLst>
          </p:cNvPr>
          <p:cNvGraphicFramePr>
            <a:graphicFrameLocks/>
          </p:cNvGraphicFramePr>
          <p:nvPr>
            <p:extLst>
              <p:ext uri="{D42A27DB-BD31-4B8C-83A1-F6EECF244321}">
                <p14:modId xmlns:p14="http://schemas.microsoft.com/office/powerpoint/2010/main" val="1215774571"/>
              </p:ext>
            </p:extLst>
          </p:nvPr>
        </p:nvGraphicFramePr>
        <p:xfrm>
          <a:off x="5483678" y="1260339"/>
          <a:ext cx="6600000" cy="2354927"/>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 Placeholder 4">
            <a:extLst>
              <a:ext uri="{FF2B5EF4-FFF2-40B4-BE49-F238E27FC236}">
                <a16:creationId xmlns:a16="http://schemas.microsoft.com/office/drawing/2014/main" id="{35CF001A-E21D-444E-AAC0-449D289BAEF6}"/>
              </a:ext>
            </a:extLst>
          </p:cNvPr>
          <p:cNvSpPr txBox="1">
            <a:spLocks/>
          </p:cNvSpPr>
          <p:nvPr/>
        </p:nvSpPr>
        <p:spPr>
          <a:xfrm>
            <a:off x="5483678" y="898575"/>
            <a:ext cx="6600000" cy="300000"/>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333" b="1" dirty="0">
                <a:solidFill>
                  <a:prstClr val="white"/>
                </a:solidFill>
                <a:latin typeface="Arial" panose="020B0604020202020204" pitchFamily="34" charset="0"/>
                <a:cs typeface="Arial" panose="020B0604020202020204" pitchFamily="34" charset="0"/>
              </a:rPr>
              <a:t>Monthly trend for power consumption in India</a:t>
            </a:r>
          </a:p>
        </p:txBody>
      </p:sp>
      <p:sp>
        <p:nvSpPr>
          <p:cNvPr id="52" name="Text Placeholder 4">
            <a:extLst>
              <a:ext uri="{FF2B5EF4-FFF2-40B4-BE49-F238E27FC236}">
                <a16:creationId xmlns:a16="http://schemas.microsoft.com/office/drawing/2014/main" id="{4ECEF6C8-A34F-43D8-BB38-F203CCCF78B6}"/>
              </a:ext>
            </a:extLst>
          </p:cNvPr>
          <p:cNvSpPr txBox="1">
            <a:spLocks/>
          </p:cNvSpPr>
          <p:nvPr/>
        </p:nvSpPr>
        <p:spPr>
          <a:xfrm>
            <a:off x="426599" y="922105"/>
            <a:ext cx="4800000" cy="300000"/>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Eastern region seeing a better trajectory in power consumption</a:t>
            </a:r>
          </a:p>
        </p:txBody>
      </p:sp>
      <p:sp>
        <p:nvSpPr>
          <p:cNvPr id="53" name="Text Placeholder 4">
            <a:extLst>
              <a:ext uri="{FF2B5EF4-FFF2-40B4-BE49-F238E27FC236}">
                <a16:creationId xmlns:a16="http://schemas.microsoft.com/office/drawing/2014/main" id="{4A371D03-592A-460A-BC4E-A04235C9BFC1}"/>
              </a:ext>
            </a:extLst>
          </p:cNvPr>
          <p:cNvSpPr txBox="1">
            <a:spLocks/>
          </p:cNvSpPr>
          <p:nvPr/>
        </p:nvSpPr>
        <p:spPr>
          <a:xfrm>
            <a:off x="5483678" y="3757410"/>
            <a:ext cx="6600000" cy="300000"/>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333" b="1" dirty="0">
                <a:solidFill>
                  <a:prstClr val="white"/>
                </a:solidFill>
                <a:latin typeface="Arial" panose="020B0604020202020204" pitchFamily="34" charset="0"/>
                <a:cs typeface="Arial" panose="020B0604020202020204" pitchFamily="34" charset="0"/>
              </a:rPr>
              <a:t>Daily trend for power consumption in India</a:t>
            </a:r>
          </a:p>
        </p:txBody>
      </p:sp>
    </p:spTree>
    <p:extLst>
      <p:ext uri="{BB962C8B-B14F-4D97-AF65-F5344CB8AC3E}">
        <p14:creationId xmlns:p14="http://schemas.microsoft.com/office/powerpoint/2010/main" val="292180238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352275" y="120800"/>
            <a:ext cx="11381042" cy="634954"/>
          </a:xfrm>
          <a:prstGeom prst="rect">
            <a:avLst/>
          </a:prstGeom>
        </p:spPr>
        <p:txBody>
          <a:bodyPr vert="horz" lIns="0" tIns="0" rIns="0" bIns="0" rtlCol="0" anchor="ctr">
            <a:noAutofit/>
          </a:bodyPr>
          <a:lstStyle>
            <a:lvl1pPr algn="l" defTabSz="914363" rtl="0" eaLnBrk="1" latinLnBrk="0" hangingPunct="1">
              <a:lnSpc>
                <a:spcPct val="90000"/>
              </a:lnSpc>
              <a:spcBef>
                <a:spcPct val="0"/>
              </a:spcBef>
              <a:buNone/>
              <a:defRPr lang="en-US" sz="2833" b="1" kern="1200" dirty="0">
                <a:solidFill>
                  <a:schemeClr val="tx1"/>
                </a:solidFill>
                <a:latin typeface="Arial" panose="020B0604020202020204" pitchFamily="34" charset="0"/>
                <a:ea typeface="+mj-ea"/>
                <a:cs typeface="Arial" panose="020B0604020202020204" pitchFamily="34" charset="0"/>
              </a:defRPr>
            </a:lvl1pPr>
          </a:lstStyle>
          <a:p>
            <a:pPr marL="0" marR="0" lvl="0" indent="0" algn="l" defTabSz="914363" rtl="0" eaLnBrk="1" fontAlgn="base"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rPr>
              <a:t>Irrigation investment is expected to improve due to the low penetration of Irrigation in the country.</a:t>
            </a:r>
            <a:endParaRPr kumimoji="0" lang="en-IN" sz="3600" b="1"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endParaRPr>
          </a:p>
        </p:txBody>
      </p:sp>
      <p:grpSp>
        <p:nvGrpSpPr>
          <p:cNvPr id="12" name="Group 11">
            <a:extLst>
              <a:ext uri="{FF2B5EF4-FFF2-40B4-BE49-F238E27FC236}">
                <a16:creationId xmlns:a16="http://schemas.microsoft.com/office/drawing/2014/main" id="{2BF3B009-A2AE-48E3-8BD2-0215C6794169}"/>
              </a:ext>
            </a:extLst>
          </p:cNvPr>
          <p:cNvGrpSpPr/>
          <p:nvPr/>
        </p:nvGrpSpPr>
        <p:grpSpPr>
          <a:xfrm>
            <a:off x="304875" y="975856"/>
            <a:ext cx="11475842" cy="5078026"/>
            <a:chOff x="299512" y="1442604"/>
            <a:chExt cx="11475842" cy="4796161"/>
          </a:xfrm>
        </p:grpSpPr>
        <p:sp>
          <p:nvSpPr>
            <p:cNvPr id="13" name="TextBox 12"/>
            <p:cNvSpPr txBox="1"/>
            <p:nvPr/>
          </p:nvSpPr>
          <p:spPr>
            <a:xfrm>
              <a:off x="299512" y="4900509"/>
              <a:ext cx="5683881" cy="377901"/>
            </a:xfrm>
            <a:prstGeom prst="rect">
              <a:avLst/>
            </a:prstGeom>
            <a:noFill/>
            <a:ln>
              <a:noFill/>
            </a:ln>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ource: </a:t>
              </a:r>
              <a:r>
                <a:rPr kumimoji="0" lang="en-US"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partment of Agriculture, Cooperation &amp; Farmers Welfare, CRISIL Research</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1" u="none" strike="noStrike" kern="0" cap="none" spc="0" normalizeH="0" baseline="0" noProof="0" dirty="0">
                  <a:ln>
                    <a:noFill/>
                  </a:ln>
                  <a:solidFill>
                    <a:prstClr val="black"/>
                  </a:solidFill>
                  <a:effectLst/>
                  <a:uLnTx/>
                  <a:uFillTx/>
                  <a:latin typeface="Arial" pitchFamily="34" charset="0"/>
                  <a:cs typeface="Arial" pitchFamily="34" charset="0"/>
                </a:rPr>
                <a:t>P: Projected</a:t>
              </a:r>
              <a:endPar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 name="Rectangle 13"/>
            <p:cNvSpPr/>
            <p:nvPr/>
          </p:nvSpPr>
          <p:spPr>
            <a:xfrm rot="5400000">
              <a:off x="3026738" y="-1118654"/>
              <a:ext cx="345458" cy="5486400"/>
            </a:xfrm>
            <a:prstGeom prst="rect">
              <a:avLst/>
            </a:prstGeom>
            <a:solidFill>
              <a:srgbClr val="3C3C3B"/>
            </a:solidFill>
            <a:ln w="6350" cap="flat" cmpd="sng" algn="ctr">
              <a:solidFill>
                <a:srgbClr val="E7E6E6">
                  <a:lumMod val="75000"/>
                </a:srgbClr>
              </a:solidFill>
              <a:prstDash val="solid"/>
              <a:miter lim="800000"/>
            </a:ln>
            <a:effectLst/>
          </p:spPr>
          <p:txBody>
            <a:bodyPr vert="vert270"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rrigation spending at slower pace</a:t>
              </a:r>
            </a:p>
          </p:txBody>
        </p:sp>
        <p:sp>
          <p:nvSpPr>
            <p:cNvPr id="15" name="Rectangle 14"/>
            <p:cNvSpPr/>
            <p:nvPr/>
          </p:nvSpPr>
          <p:spPr>
            <a:xfrm rot="5400000">
              <a:off x="8853846" y="-1122288"/>
              <a:ext cx="356616" cy="5486400"/>
            </a:xfrm>
            <a:prstGeom prst="rect">
              <a:avLst/>
            </a:prstGeom>
            <a:solidFill>
              <a:srgbClr val="3C3C3B"/>
            </a:solidFill>
            <a:ln w="6350" cap="flat" cmpd="sng" algn="ctr">
              <a:solidFill>
                <a:srgbClr val="E7E6E6">
                  <a:lumMod val="75000"/>
                </a:srgbClr>
              </a:solidFill>
              <a:prstDash val="solid"/>
              <a:miter lim="800000"/>
            </a:ln>
            <a:effectLst/>
          </p:spPr>
          <p:txBody>
            <a:bodyPr vert="vert270"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ily Rural Wage</a:t>
              </a:r>
            </a:p>
          </p:txBody>
        </p:sp>
        <p:sp>
          <p:nvSpPr>
            <p:cNvPr id="16" name="TextBox 15"/>
            <p:cNvSpPr txBox="1"/>
            <p:nvPr/>
          </p:nvSpPr>
          <p:spPr>
            <a:xfrm>
              <a:off x="6157093" y="4875876"/>
              <a:ext cx="4698230" cy="385168"/>
            </a:xfrm>
            <a:prstGeom prst="rect">
              <a:avLst/>
            </a:prstGeom>
            <a:noFill/>
            <a:ln>
              <a:noFill/>
            </a:ln>
          </p:spPr>
          <p:txBody>
            <a:bodyPr wrap="square" lIns="91440" tIns="45720" rIns="91440" b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ural wages includes general non-agricultural </a:t>
              </a:r>
              <a:r>
                <a:rPr kumimoji="0" lang="en-GB"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abour</a:t>
              </a:r>
              <a:r>
                <a:rPr kumimoji="0" lang="en-US"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endPar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ource: RBI, </a:t>
              </a:r>
              <a:r>
                <a:rPr kumimoji="0" lang="en-US"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RISIL Research</a:t>
              </a:r>
              <a:endParaRPr kumimoji="0" lang="en-IN" sz="10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CB89BA1-4549-4AE5-95D3-7FEC47C8E3C0}"/>
                </a:ext>
              </a:extLst>
            </p:cNvPr>
            <p:cNvSpPr txBox="1"/>
            <p:nvPr/>
          </p:nvSpPr>
          <p:spPr>
            <a:xfrm>
              <a:off x="333674" y="5453894"/>
              <a:ext cx="11430068" cy="784871"/>
            </a:xfrm>
            <a:prstGeom prst="rect">
              <a:avLst/>
            </a:prstGeom>
            <a:solidFill>
              <a:sysClr val="window" lastClr="FFFFFF">
                <a:lumMod val="85000"/>
              </a:sysClr>
            </a:solidFill>
            <a:ln>
              <a:noFill/>
            </a:ln>
          </p:spPr>
          <p:txBody>
            <a:bodyPr wrap="square" rtlCol="0" anchor="ctr">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part from the top-6 states that accounted for the majority of irrigation investment, Odisha has emerged as a top state with considerable increase in irrigation investments over the past few yea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tate funds will continue to play an outsized role in Irrigation investme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central government will play an active role in monitoring the progress of PMKSY projects, and has taken several steps to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rystallise</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investments for irrigation.</a:t>
              </a:r>
            </a:p>
          </p:txBody>
        </p:sp>
      </p:grpSp>
      <p:graphicFrame>
        <p:nvGraphicFramePr>
          <p:cNvPr id="20" name="Chart 19">
            <a:extLst>
              <a:ext uri="{FF2B5EF4-FFF2-40B4-BE49-F238E27FC236}">
                <a16:creationId xmlns:a16="http://schemas.microsoft.com/office/drawing/2014/main" id="{00000000-0008-0000-0600-000002000000}"/>
              </a:ext>
            </a:extLst>
          </p:cNvPr>
          <p:cNvGraphicFramePr>
            <a:graphicFrameLocks/>
          </p:cNvGraphicFramePr>
          <p:nvPr/>
        </p:nvGraphicFramePr>
        <p:xfrm>
          <a:off x="476231" y="1351373"/>
          <a:ext cx="5486400" cy="278247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a:extLst>
              <a:ext uri="{FF2B5EF4-FFF2-40B4-BE49-F238E27FC236}">
                <a16:creationId xmlns:a16="http://schemas.microsoft.com/office/drawing/2014/main" id="{00000000-0008-0000-1200-000003000000}"/>
              </a:ext>
            </a:extLst>
          </p:cNvPr>
          <p:cNvGraphicFramePr>
            <a:graphicFrameLocks/>
          </p:cNvGraphicFramePr>
          <p:nvPr/>
        </p:nvGraphicFramePr>
        <p:xfrm>
          <a:off x="6279715" y="1347552"/>
          <a:ext cx="5486399" cy="27824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1173801"/>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57913" y="135411"/>
            <a:ext cx="11562328" cy="736602"/>
          </a:xfrm>
          <a:prstGeom prst="rect">
            <a:avLst/>
          </a:prstGeom>
        </p:spPr>
        <p:txBody>
          <a:bodyPr vert="horz" lIns="0" tIns="0" rIns="0" bIns="0" rtlCol="0" anchor="ctr">
            <a:noAutofit/>
          </a:bodyPr>
          <a:lstStyle>
            <a:lvl1pPr algn="l" defTabSz="914363" rtl="0" eaLnBrk="1" latinLnBrk="0" hangingPunct="1">
              <a:lnSpc>
                <a:spcPct val="90000"/>
              </a:lnSpc>
              <a:spcBef>
                <a:spcPct val="0"/>
              </a:spcBef>
              <a:buNone/>
              <a:defRPr lang="en-US" sz="2833" b="1" kern="1200" dirty="0">
                <a:solidFill>
                  <a:schemeClr val="tx1"/>
                </a:solidFill>
                <a:latin typeface="Arial" panose="020B0604020202020204" pitchFamily="34" charset="0"/>
                <a:ea typeface="+mj-ea"/>
                <a:cs typeface="Arial" panose="020B0604020202020204" pitchFamily="34" charset="0"/>
              </a:defRPr>
            </a:lvl1pPr>
          </a:lstStyle>
          <a:p>
            <a:pPr lvl="0">
              <a:defRPr/>
            </a:pPr>
            <a:r>
              <a:rPr lang="en-US" sz="2800" dirty="0"/>
              <a:t>Capacity utilization to remain stable in FY23 with no new expansion plans by OEMs</a:t>
            </a:r>
            <a:endParaRPr kumimoji="0" lang="en-IN" sz="2800" b="1"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7A58D08F-82B9-49DE-8889-E451DD17C912}"/>
              </a:ext>
            </a:extLst>
          </p:cNvPr>
          <p:cNvSpPr txBox="1"/>
          <p:nvPr/>
        </p:nvSpPr>
        <p:spPr>
          <a:xfrm>
            <a:off x="398368" y="4444632"/>
            <a:ext cx="5683881" cy="400110"/>
          </a:xfrm>
          <a:prstGeom prst="rect">
            <a:avLst/>
          </a:prstGeom>
          <a:noFill/>
        </p:spPr>
        <p:txBody>
          <a:bodyPr wrap="square" lIns="91440" tIns="45720" rIns="91440" bIns="45720" rtlCol="0">
            <a:spAutoFit/>
          </a:bodyPr>
          <a:lstStyle/>
          <a:p>
            <a:pPr>
              <a:defRPr/>
            </a:pPr>
            <a:r>
              <a:rPr lang="en-IN" sz="1000" i="1" dirty="0">
                <a:solidFill>
                  <a:prstClr val="black"/>
                </a:solidFill>
                <a:latin typeface="Arial" panose="020B0604020202020204" pitchFamily="34" charset="0"/>
                <a:cs typeface="Arial" panose="020B0604020202020204" pitchFamily="34" charset="0"/>
              </a:rPr>
              <a:t>E: Estimated</a:t>
            </a:r>
          </a:p>
          <a:p>
            <a:pPr>
              <a:defRPr/>
            </a:pPr>
            <a:r>
              <a:rPr lang="en-IN" sz="1000" i="1" dirty="0">
                <a:solidFill>
                  <a:prstClr val="black"/>
                </a:solidFill>
                <a:latin typeface="Arial" panose="020B0604020202020204" pitchFamily="34" charset="0"/>
                <a:cs typeface="Arial" panose="020B0604020202020204" pitchFamily="34" charset="0"/>
              </a:rPr>
              <a:t>Source: </a:t>
            </a:r>
            <a:r>
              <a:rPr lang="en-US" sz="1000" i="1" dirty="0">
                <a:solidFill>
                  <a:prstClr val="black"/>
                </a:solidFill>
                <a:latin typeface="Arial" panose="020B0604020202020204" pitchFamily="34" charset="0"/>
                <a:cs typeface="Arial" panose="020B0604020202020204" pitchFamily="34" charset="0"/>
              </a:rPr>
              <a:t>CRISIL Research</a:t>
            </a:r>
            <a:endParaRPr lang="en-IN" sz="1000" i="1" dirty="0">
              <a:solidFill>
                <a:prstClr val="black"/>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071AF4A1-F40F-4503-8D62-A7238486F81B}"/>
              </a:ext>
            </a:extLst>
          </p:cNvPr>
          <p:cNvSpPr txBox="1"/>
          <p:nvPr/>
        </p:nvSpPr>
        <p:spPr>
          <a:xfrm>
            <a:off x="369797" y="5153919"/>
            <a:ext cx="11338560" cy="646331"/>
          </a:xfrm>
          <a:prstGeom prst="rect">
            <a:avLst/>
          </a:prstGeom>
          <a:solidFill>
            <a:sysClr val="window" lastClr="FFFFFF">
              <a:lumMod val="85000"/>
            </a:sysClr>
          </a:solidFill>
        </p:spPr>
        <p:txBody>
          <a:bodyPr wrap="square" rtlCol="0" anchor="ctr">
            <a:spAutoFit/>
          </a:bodyPr>
          <a:lstStyle/>
          <a:p>
            <a:pPr marL="171450" lvl="0" indent="-171450">
              <a:buFont typeface="Arial" panose="020B0604020202020204" pitchFamily="34" charset="0"/>
              <a:buChar char="•"/>
              <a:defRPr/>
            </a:pPr>
            <a:r>
              <a:rPr lang="en-US" sz="1200" dirty="0">
                <a:latin typeface="Arial" panose="020B0604020202020204" pitchFamily="34" charset="0"/>
                <a:cs typeface="Arial" panose="020B0604020202020204" pitchFamily="34" charset="0"/>
              </a:rPr>
              <a:t>Production capacity of Escorts Ltd is expected to reach 150,000 units in fiscal 2022 (including capacity addition due to joint venture with Kubota). </a:t>
            </a:r>
          </a:p>
          <a:p>
            <a:pPr marL="171450" lvl="0" indent="-171450">
              <a:buFont typeface="Arial" panose="020B0604020202020204" pitchFamily="34" charset="0"/>
              <a:buChar char="•"/>
              <a:defRPr/>
            </a:pPr>
            <a:r>
              <a:rPr lang="en-US" sz="1200" dirty="0">
                <a:latin typeface="Arial" panose="020B0604020202020204" pitchFamily="34" charset="0"/>
                <a:cs typeface="Arial" panose="020B0604020202020204" pitchFamily="34" charset="0"/>
              </a:rPr>
              <a:t>Thus, in fiscal 2022, amid drop in demand, capacity utilization to fall due to capacity expansion planned by OEMs.</a:t>
            </a:r>
          </a:p>
          <a:p>
            <a:pPr marL="171450" lvl="0" indent="-171450">
              <a:buFont typeface="Arial" panose="020B0604020202020204" pitchFamily="34" charset="0"/>
              <a:buChar char="•"/>
              <a:defRPr/>
            </a:pPr>
            <a:r>
              <a:rPr lang="en-US" sz="1200" dirty="0">
                <a:latin typeface="Arial" panose="020B0604020202020204" pitchFamily="34" charset="0"/>
                <a:cs typeface="Arial" panose="020B0604020202020204" pitchFamily="34" charset="0"/>
              </a:rPr>
              <a:t>Capacity utilization increased significantly in fiscal 2021 due to lack of capacity additions with production volumes increasing.</a:t>
            </a:r>
          </a:p>
        </p:txBody>
      </p:sp>
      <p:sp>
        <p:nvSpPr>
          <p:cNvPr id="10" name="Rectangle 9"/>
          <p:cNvSpPr/>
          <p:nvPr/>
        </p:nvSpPr>
        <p:spPr>
          <a:xfrm rot="5400000">
            <a:off x="5719037" y="-4316024"/>
            <a:ext cx="365760" cy="11064240"/>
          </a:xfrm>
          <a:prstGeom prst="rect">
            <a:avLst/>
          </a:prstGeom>
          <a:solidFill>
            <a:srgbClr val="3C3C3B"/>
          </a:solidFill>
          <a:ln w="6350" cap="flat" cmpd="sng" algn="ctr">
            <a:solidFill>
              <a:srgbClr val="E7E6E6">
                <a:lumMod val="75000"/>
              </a:srgbClr>
            </a:solidFill>
            <a:prstDash val="solid"/>
            <a:miter lim="800000"/>
          </a:ln>
          <a:effectLst/>
        </p:spPr>
        <p:txBody>
          <a:bodyPr vert="vert270"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33"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pacity utilization</a:t>
            </a:r>
          </a:p>
        </p:txBody>
      </p:sp>
      <p:graphicFrame>
        <p:nvGraphicFramePr>
          <p:cNvPr id="12" name="Chart 11">
            <a:extLst>
              <a:ext uri="{FF2B5EF4-FFF2-40B4-BE49-F238E27FC236}">
                <a16:creationId xmlns:a16="http://schemas.microsoft.com/office/drawing/2014/main" id="{00000000-0008-0000-0E00-000002000000}"/>
              </a:ext>
            </a:extLst>
          </p:cNvPr>
          <p:cNvGraphicFramePr>
            <a:graphicFrameLocks/>
          </p:cNvGraphicFramePr>
          <p:nvPr>
            <p:extLst>
              <p:ext uri="{D42A27DB-BD31-4B8C-83A1-F6EECF244321}">
                <p14:modId xmlns:p14="http://schemas.microsoft.com/office/powerpoint/2010/main" val="2278857704"/>
              </p:ext>
            </p:extLst>
          </p:nvPr>
        </p:nvGraphicFramePr>
        <p:xfrm>
          <a:off x="398367" y="1560178"/>
          <a:ext cx="11035669" cy="28844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8028052"/>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DDE76-25B4-4178-8B53-5C52D6BF700B}"/>
              </a:ext>
            </a:extLst>
          </p:cNvPr>
          <p:cNvSpPr>
            <a:spLocks noGrp="1"/>
          </p:cNvSpPr>
          <p:nvPr>
            <p:ph type="title"/>
          </p:nvPr>
        </p:nvSpPr>
        <p:spPr>
          <a:xfrm>
            <a:off x="265325" y="68773"/>
            <a:ext cx="11160226" cy="387798"/>
          </a:xfrm>
        </p:spPr>
        <p:txBody>
          <a:bodyPr/>
          <a:lstStyle/>
          <a:p>
            <a:pPr algn="l"/>
            <a:r>
              <a:rPr lang="en-US" sz="2800" dirty="0"/>
              <a:t>TREM IV norms to come into effect from 1st April’22.</a:t>
            </a:r>
            <a:endParaRPr lang="en-GB" sz="3200" dirty="0"/>
          </a:p>
        </p:txBody>
      </p:sp>
      <p:graphicFrame>
        <p:nvGraphicFramePr>
          <p:cNvPr id="3" name="Table 2"/>
          <p:cNvGraphicFramePr>
            <a:graphicFrameLocks noGrp="1"/>
          </p:cNvGraphicFramePr>
          <p:nvPr/>
        </p:nvGraphicFramePr>
        <p:xfrm>
          <a:off x="265325" y="663573"/>
          <a:ext cx="10637045" cy="3862272"/>
        </p:xfrm>
        <a:graphic>
          <a:graphicData uri="http://schemas.openxmlformats.org/drawingml/2006/table">
            <a:tbl>
              <a:tblPr/>
              <a:tblGrid>
                <a:gridCol w="1399517">
                  <a:extLst>
                    <a:ext uri="{9D8B030D-6E8A-4147-A177-3AD203B41FA5}">
                      <a16:colId xmlns:a16="http://schemas.microsoft.com/office/drawing/2014/main" val="20000"/>
                    </a:ext>
                  </a:extLst>
                </a:gridCol>
                <a:gridCol w="1399517">
                  <a:extLst>
                    <a:ext uri="{9D8B030D-6E8A-4147-A177-3AD203B41FA5}">
                      <a16:colId xmlns:a16="http://schemas.microsoft.com/office/drawing/2014/main" val="20001"/>
                    </a:ext>
                  </a:extLst>
                </a:gridCol>
                <a:gridCol w="1609624">
                  <a:extLst>
                    <a:ext uri="{9D8B030D-6E8A-4147-A177-3AD203B41FA5}">
                      <a16:colId xmlns:a16="http://schemas.microsoft.com/office/drawing/2014/main" val="20002"/>
                    </a:ext>
                  </a:extLst>
                </a:gridCol>
                <a:gridCol w="1609624">
                  <a:extLst>
                    <a:ext uri="{9D8B030D-6E8A-4147-A177-3AD203B41FA5}">
                      <a16:colId xmlns:a16="http://schemas.microsoft.com/office/drawing/2014/main" val="20003"/>
                    </a:ext>
                  </a:extLst>
                </a:gridCol>
                <a:gridCol w="840422">
                  <a:extLst>
                    <a:ext uri="{9D8B030D-6E8A-4147-A177-3AD203B41FA5}">
                      <a16:colId xmlns:a16="http://schemas.microsoft.com/office/drawing/2014/main" val="20004"/>
                    </a:ext>
                  </a:extLst>
                </a:gridCol>
                <a:gridCol w="2378824">
                  <a:extLst>
                    <a:ext uri="{9D8B030D-6E8A-4147-A177-3AD203B41FA5}">
                      <a16:colId xmlns:a16="http://schemas.microsoft.com/office/drawing/2014/main" val="20005"/>
                    </a:ext>
                  </a:extLst>
                </a:gridCol>
                <a:gridCol w="1399517">
                  <a:extLst>
                    <a:ext uri="{9D8B030D-6E8A-4147-A177-3AD203B41FA5}">
                      <a16:colId xmlns:a16="http://schemas.microsoft.com/office/drawing/2014/main" val="20006"/>
                    </a:ext>
                  </a:extLst>
                </a:gridCol>
              </a:tblGrid>
              <a:tr h="477104">
                <a:tc rowSpan="2">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Emission standard stag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Engine Powe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rowSpan="2">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Market shar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rowSpan="2">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D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C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ctr"/>
                      <a:r>
                        <a:rPr lang="en-US" sz="1200" b="0" i="0" u="none" strike="noStrike" dirty="0" err="1">
                          <a:solidFill>
                            <a:schemeClr val="bg1"/>
                          </a:solidFill>
                          <a:effectLst/>
                          <a:latin typeface="Arial" panose="020B0604020202020204" pitchFamily="34" charset="0"/>
                          <a:cs typeface="Arial" panose="020B0604020202020204" pitchFamily="34" charset="0"/>
                        </a:rPr>
                        <a:t>HC+Nox</a:t>
                      </a:r>
                      <a:endParaRPr lang="en-US" sz="1200" b="0" i="0" u="none" strike="noStrike" dirty="0">
                        <a:solidFill>
                          <a:schemeClr val="bg1"/>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ctr"/>
                      <a:r>
                        <a:rPr lang="en-US" sz="1200" b="0" i="0" u="none" strike="noStrike">
                          <a:solidFill>
                            <a:schemeClr val="bg1"/>
                          </a:solidFill>
                          <a:effectLst/>
                          <a:latin typeface="Arial" panose="020B0604020202020204" pitchFamily="34" charset="0"/>
                          <a:cs typeface="Arial" panose="020B0604020202020204" pitchFamily="34" charset="0"/>
                        </a:rPr>
                        <a:t>P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10000"/>
                  </a:ext>
                </a:extLst>
              </a:tr>
              <a:tr h="477104">
                <a:tc vMerge="1">
                  <a:txBody>
                    <a:bodyPr/>
                    <a:lstStyle/>
                    <a:p>
                      <a:endParaRPr lang="en-US"/>
                    </a:p>
                  </a:txBody>
                  <a:tcPr/>
                </a:tc>
                <a:tc>
                  <a:txBody>
                    <a:bodyPr/>
                    <a:lstStyle/>
                    <a:p>
                      <a:pPr algn="ctr" fontAlgn="t"/>
                      <a:r>
                        <a:rPr lang="en-US" sz="1200" b="0" i="1" u="none" strike="noStrike" dirty="0">
                          <a:solidFill>
                            <a:schemeClr val="bg1"/>
                          </a:solidFill>
                          <a:effectLst/>
                          <a:latin typeface="Arial" panose="020B0604020202020204" pitchFamily="34" charset="0"/>
                          <a:cs typeface="Arial" panose="020B0604020202020204" pitchFamily="34" charset="0"/>
                        </a:rPr>
                        <a:t>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vMerge="1">
                  <a:txBody>
                    <a:bodyPr/>
                    <a:lstStyle/>
                    <a:p>
                      <a:endParaRPr lang="en-US"/>
                    </a:p>
                  </a:txBody>
                  <a:tcPr/>
                </a:tc>
                <a:tc vMerge="1">
                  <a:txBody>
                    <a:bodyPr/>
                    <a:lstStyle/>
                    <a:p>
                      <a:endParaRPr lang="en-US"/>
                    </a:p>
                  </a:txBody>
                  <a:tcPr/>
                </a:tc>
                <a:tc gridSpan="3">
                  <a:txBody>
                    <a:bodyPr/>
                    <a:lstStyle/>
                    <a:p>
                      <a:pPr algn="ctr" fontAlgn="t"/>
                      <a:r>
                        <a:rPr lang="en-US" sz="1200" b="0" i="1" u="none" strike="noStrike" dirty="0">
                          <a:solidFill>
                            <a:schemeClr val="bg1"/>
                          </a:solidFill>
                          <a:effectLst/>
                          <a:latin typeface="Arial" panose="020B0604020202020204" pitchFamily="34" charset="0"/>
                          <a:cs typeface="Arial" panose="020B0604020202020204" pitchFamily="34" charset="0"/>
                        </a:rPr>
                        <a:t>g/kW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77104">
                <a:tc rowSpan="3">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Trem Stage</a:t>
                      </a:r>
                    </a:p>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 III 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11 to 25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1st April 20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8.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0.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2"/>
                  </a:ext>
                </a:extLst>
              </a:tr>
              <a:tr h="477104">
                <a:tc vMerge="1">
                  <a:txBody>
                    <a:bodyPr/>
                    <a:lstStyle/>
                    <a:p>
                      <a:endParaRPr lang="en-US"/>
                    </a:p>
                  </a:txBody>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25 to 50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1st April 20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3"/>
                  </a:ext>
                </a:extLst>
              </a:tr>
              <a:tr h="477104">
                <a:tc vMerge="1">
                  <a:txBody>
                    <a:bodyPr/>
                    <a:lstStyle/>
                    <a:p>
                      <a:endParaRPr lang="en-US"/>
                    </a:p>
                  </a:txBody>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50 to 75 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1st April 20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4.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extLst>
                  <a:ext uri="{0D108BD9-81ED-4DB2-BD59-A6C34878D82A}">
                    <a16:rowId xmlns:a16="http://schemas.microsoft.com/office/drawing/2014/main" val="10004"/>
                  </a:ext>
                </a:extLst>
              </a:tr>
              <a:tr h="477104">
                <a:tc rowSpan="3">
                  <a:txBody>
                    <a:bodyPr/>
                    <a:lstStyle/>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Trem Stage</a:t>
                      </a:r>
                    </a:p>
                    <a:p>
                      <a:pPr algn="ctr" fontAlgn="ctr"/>
                      <a:r>
                        <a:rPr lang="en-US" sz="1200" b="0" i="0" u="none" strike="noStrike" dirty="0">
                          <a:solidFill>
                            <a:schemeClr val="bg1"/>
                          </a:solidFill>
                          <a:effectLst/>
                          <a:latin typeface="Arial" panose="020B0604020202020204" pitchFamily="34" charset="0"/>
                          <a:cs typeface="Arial" panose="020B0604020202020204" pitchFamily="34" charset="0"/>
                        </a:rPr>
                        <a:t> IV</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11 to 25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rowSpan="2" gridSpan="4">
                  <a:txBody>
                    <a:bodyPr/>
                    <a:lstStyle/>
                    <a:p>
                      <a:pPr algn="ctr" fontAlgn="ctr"/>
                      <a:r>
                        <a:rPr lang="en-US" sz="1200" b="0" i="0" u="none" strike="noStrike" dirty="0">
                          <a:solidFill>
                            <a:srgbClr val="000000"/>
                          </a:solidFill>
                          <a:effectLst/>
                          <a:latin typeface="Arial" panose="020B0604020202020204" pitchFamily="34" charset="0"/>
                          <a:cs typeface="Arial" panose="020B0604020202020204" pitchFamily="34" charset="0"/>
                        </a:rPr>
                        <a:t>No chang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10005"/>
                  </a:ext>
                </a:extLst>
              </a:tr>
              <a:tr h="477104">
                <a:tc vMerge="1">
                  <a:txBody>
                    <a:bodyPr/>
                    <a:lstStyle/>
                    <a:p>
                      <a:endParaRPr lang="en-US"/>
                    </a:p>
                  </a:txBody>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25 to 50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8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gridSpan="4" vMerge="1">
                  <a:txBody>
                    <a:bodyPr/>
                    <a:lstStyle/>
                    <a:p>
                      <a:endParaRPr lang="en-US"/>
                    </a:p>
                  </a:txBody>
                  <a:tcPr/>
                </a:tc>
                <a:tc hMerge="1" vMerge="1">
                  <a:txBody>
                    <a:bodyPr/>
                    <a:lstStyle/>
                    <a:p>
                      <a:endParaRPr lang="en-US" dirty="0"/>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0006"/>
                  </a:ext>
                </a:extLst>
              </a:tr>
              <a:tr h="522544">
                <a:tc vMerge="1">
                  <a:txBody>
                    <a:bodyPr/>
                    <a:lstStyle/>
                    <a:p>
                      <a:endParaRPr lang="en-US"/>
                    </a:p>
                  </a:txBody>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50 to 75 H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1st April 20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4.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tc>
                  <a:txBody>
                    <a:bodyPr/>
                    <a:lstStyle/>
                    <a:p>
                      <a:pPr algn="ctr" fontAlgn="t"/>
                      <a:r>
                        <a:rPr lang="en-US" sz="1200" b="0" i="0" u="none" strike="noStrike" dirty="0">
                          <a:solidFill>
                            <a:srgbClr val="000000"/>
                          </a:solidFill>
                          <a:effectLst/>
                          <a:latin typeface="Arial" panose="020B0604020202020204" pitchFamily="34" charset="0"/>
                          <a:cs typeface="Arial" panose="020B0604020202020204" pitchFamily="34" charset="0"/>
                        </a:rPr>
                        <a:t>0.02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D1E0"/>
                    </a:solidFill>
                  </a:tcPr>
                </a:tc>
                <a:extLst>
                  <a:ext uri="{0D108BD9-81ED-4DB2-BD59-A6C34878D82A}">
                    <a16:rowId xmlns:a16="http://schemas.microsoft.com/office/drawing/2014/main" val="10007"/>
                  </a:ext>
                </a:extLst>
              </a:tr>
            </a:tbl>
          </a:graphicData>
        </a:graphic>
      </p:graphicFrame>
      <p:sp>
        <p:nvSpPr>
          <p:cNvPr id="4" name="Curved Left Arrow 3"/>
          <p:cNvSpPr/>
          <p:nvPr/>
        </p:nvSpPr>
        <p:spPr>
          <a:xfrm>
            <a:off x="10661201" y="2610475"/>
            <a:ext cx="1016601" cy="1736068"/>
          </a:xfrm>
          <a:prstGeom prst="curvedLeftArrow">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A174E600-D2A6-4C84-B07F-FEFB91C2C4D2}"/>
              </a:ext>
            </a:extLst>
          </p:cNvPr>
          <p:cNvSpPr txBox="1"/>
          <p:nvPr/>
        </p:nvSpPr>
        <p:spPr>
          <a:xfrm>
            <a:off x="265325" y="5125484"/>
            <a:ext cx="11538600" cy="830997"/>
          </a:xfrm>
          <a:prstGeom prst="rect">
            <a:avLst/>
          </a:prstGeom>
          <a:solidFill>
            <a:schemeClr val="bg1">
              <a:lumMod val="85000"/>
            </a:schemeClr>
          </a:solidFill>
        </p:spPr>
        <p:txBody>
          <a:bodyPr wrap="square" rtlCol="0" anchor="ctr">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M IV norms applicable only on 50HP and above tractor segment forming ~10% of domestic sales, thus we expect limited impact on tractor indust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though major technological changes are available with OEMs, the pass through of the incremental cost, related to the technological changes, to the farmers is likely to be a challen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G</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ve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 price sensitive nature of the farming community. Cost escalations to the tune of 10-12% is expected.</a:t>
            </a:r>
          </a:p>
        </p:txBody>
      </p:sp>
      <p:sp>
        <p:nvSpPr>
          <p:cNvPr id="6" name="TextBox 5">
            <a:extLst>
              <a:ext uri="{FF2B5EF4-FFF2-40B4-BE49-F238E27FC236}">
                <a16:creationId xmlns:a16="http://schemas.microsoft.com/office/drawing/2014/main" id="{928F3975-15AA-4798-8BC5-1523951E536C}"/>
              </a:ext>
            </a:extLst>
          </p:cNvPr>
          <p:cNvSpPr txBox="1"/>
          <p:nvPr/>
        </p:nvSpPr>
        <p:spPr>
          <a:xfrm>
            <a:off x="265325" y="4564054"/>
            <a:ext cx="221687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Industry, CRISIL Research</a:t>
            </a:r>
          </a:p>
        </p:txBody>
      </p:sp>
    </p:spTree>
    <p:extLst>
      <p:ext uri="{BB962C8B-B14F-4D97-AF65-F5344CB8AC3E}">
        <p14:creationId xmlns:p14="http://schemas.microsoft.com/office/powerpoint/2010/main" val="3101925225"/>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336797" y="141584"/>
            <a:ext cx="11562328" cy="736602"/>
          </a:xfrm>
          <a:prstGeom prst="rect">
            <a:avLst/>
          </a:prstGeom>
        </p:spPr>
        <p:txBody>
          <a:bodyPr vert="horz" lIns="0" tIns="0" rIns="0" bIns="0" rtlCol="0" anchor="ctr">
            <a:noAutofit/>
          </a:bodyPr>
          <a:lstStyle>
            <a:lvl1pPr algn="l" defTabSz="914363" rtl="0" eaLnBrk="1" latinLnBrk="0" hangingPunct="1">
              <a:lnSpc>
                <a:spcPct val="90000"/>
              </a:lnSpc>
              <a:spcBef>
                <a:spcPct val="0"/>
              </a:spcBef>
              <a:buNone/>
              <a:defRPr lang="en-US" sz="2833" b="1" kern="1200" dirty="0">
                <a:solidFill>
                  <a:schemeClr val="tx1"/>
                </a:solidFill>
                <a:latin typeface="Arial" panose="020B0604020202020204" pitchFamily="34" charset="0"/>
                <a:ea typeface="+mj-ea"/>
                <a:cs typeface="Arial" panose="020B0604020202020204" pitchFamily="34" charset="0"/>
              </a:defRPr>
            </a:lvl1pPr>
          </a:lstStyle>
          <a:p>
            <a:pPr lvl="0">
              <a:defRPr/>
            </a:pPr>
            <a:r>
              <a:rPr lang="en-US" sz="2800" dirty="0"/>
              <a:t>Production levels are high as the demand continues</a:t>
            </a:r>
            <a:endParaRPr kumimoji="0" lang="en-IN" sz="2800" b="1" i="0" u="none" strike="noStrike" kern="1200" cap="none" spc="0" normalizeH="0" baseline="0" noProof="0" dirty="0">
              <a:ln>
                <a:noFill/>
              </a:ln>
              <a:solidFill>
                <a:sysClr val="windowText" lastClr="000000"/>
              </a:solidFill>
              <a:effectLst/>
              <a:uLnTx/>
              <a:uFillTx/>
              <a:latin typeface="Arial" panose="020B0604020202020204" pitchFamily="34" charset="0"/>
              <a:ea typeface="+mj-ea"/>
              <a:cs typeface="Arial" panose="020B0604020202020204" pitchFamily="34" charset="0"/>
            </a:endParaRPr>
          </a:p>
        </p:txBody>
      </p:sp>
      <p:sp>
        <p:nvSpPr>
          <p:cNvPr id="8" name="Rectangle 7">
            <a:extLst>
              <a:ext uri="{FF2B5EF4-FFF2-40B4-BE49-F238E27FC236}">
                <a16:creationId xmlns:a16="http://schemas.microsoft.com/office/drawing/2014/main" id="{DEEBDB18-9B8A-46A4-9EC7-E3F5D72A3DE3}"/>
              </a:ext>
            </a:extLst>
          </p:cNvPr>
          <p:cNvSpPr/>
          <p:nvPr/>
        </p:nvSpPr>
        <p:spPr>
          <a:xfrm rot="5400000">
            <a:off x="5623142" y="-4350480"/>
            <a:ext cx="400110" cy="10972800"/>
          </a:xfrm>
          <a:prstGeom prst="rect">
            <a:avLst/>
          </a:prstGeom>
          <a:solidFill>
            <a:srgbClr val="3C3C3B"/>
          </a:solidFill>
          <a:ln w="6350" cap="flat" cmpd="sng" algn="ctr">
            <a:noFill/>
            <a:prstDash val="solid"/>
            <a:miter lim="800000"/>
          </a:ln>
          <a:effectLst/>
        </p:spPr>
        <p:txBody>
          <a:bodyPr vert="vert270"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3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duction Levels </a:t>
            </a:r>
          </a:p>
        </p:txBody>
      </p:sp>
      <p:sp>
        <p:nvSpPr>
          <p:cNvPr id="9" name="TextBox 8">
            <a:extLst>
              <a:ext uri="{FF2B5EF4-FFF2-40B4-BE49-F238E27FC236}">
                <a16:creationId xmlns:a16="http://schemas.microsoft.com/office/drawing/2014/main" id="{7A58D08F-82B9-49DE-8889-E451DD17C912}"/>
              </a:ext>
            </a:extLst>
          </p:cNvPr>
          <p:cNvSpPr txBox="1"/>
          <p:nvPr/>
        </p:nvSpPr>
        <p:spPr>
          <a:xfrm>
            <a:off x="316295" y="4458973"/>
            <a:ext cx="5683881" cy="246221"/>
          </a:xfrm>
          <a:prstGeom prst="rect">
            <a:avLst/>
          </a:prstGeom>
          <a:noFill/>
        </p:spPr>
        <p:txBody>
          <a:bodyPr wrap="square" lIns="91440" tIns="45720" rIns="91440" bIns="45720" rtlCol="0">
            <a:spAutoFit/>
          </a:bodyPr>
          <a:lstStyle/>
          <a:p>
            <a:pPr>
              <a:defRPr/>
            </a:pPr>
            <a:r>
              <a:rPr lang="en-IN" sz="1000" i="1" dirty="0">
                <a:solidFill>
                  <a:prstClr val="black"/>
                </a:solidFill>
                <a:latin typeface="Arial" panose="020B0604020202020204" pitchFamily="34" charset="0"/>
                <a:cs typeface="Arial" panose="020B0604020202020204" pitchFamily="34" charset="0"/>
              </a:rPr>
              <a:t>Source: </a:t>
            </a:r>
            <a:r>
              <a:rPr lang="en-US" sz="1000" i="1" dirty="0">
                <a:solidFill>
                  <a:prstClr val="black"/>
                </a:solidFill>
                <a:latin typeface="Arial" panose="020B0604020202020204" pitchFamily="34" charset="0"/>
                <a:cs typeface="Arial" panose="020B0604020202020204" pitchFamily="34" charset="0"/>
              </a:rPr>
              <a:t>CRISIL Research</a:t>
            </a:r>
            <a:endParaRPr lang="en-IN" sz="1000" i="1" dirty="0">
              <a:solidFill>
                <a:prstClr val="black"/>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071AF4A1-F40F-4503-8D62-A7238486F81B}"/>
              </a:ext>
            </a:extLst>
          </p:cNvPr>
          <p:cNvSpPr txBox="1"/>
          <p:nvPr/>
        </p:nvSpPr>
        <p:spPr>
          <a:xfrm>
            <a:off x="316295" y="5250795"/>
            <a:ext cx="11326756" cy="461665"/>
          </a:xfrm>
          <a:prstGeom prst="rect">
            <a:avLst/>
          </a:prstGeom>
          <a:solidFill>
            <a:sysClr val="window" lastClr="FFFFFF">
              <a:lumMod val="85000"/>
            </a:sysClr>
          </a:solidFill>
        </p:spPr>
        <p:txBody>
          <a:bodyPr wrap="square" rtlCol="0" anchor="ctr">
            <a:spAutoFit/>
          </a:bodyPr>
          <a:lstStyle/>
          <a:p>
            <a:pPr marL="171450" lvl="0" indent="-171450">
              <a:buFont typeface="Arial" panose="020B0604020202020204" pitchFamily="34" charset="0"/>
              <a:buChar char="•"/>
              <a:defRPr/>
            </a:pPr>
            <a:r>
              <a:rPr lang="en-US" sz="1200" dirty="0">
                <a:latin typeface="Arial" panose="020B0604020202020204" pitchFamily="34" charset="0"/>
                <a:cs typeface="Arial" panose="020B0604020202020204" pitchFamily="34" charset="0"/>
              </a:rPr>
              <a:t>While several OEMs have streamlined supply issues. Production levels are at  lower levels in order to cater to the high inventory levels. </a:t>
            </a:r>
          </a:p>
          <a:p>
            <a:pPr marL="171450" lvl="0" indent="-171450">
              <a:buFont typeface="Arial" panose="020B0604020202020204" pitchFamily="34" charset="0"/>
              <a:buChar char="•"/>
              <a:defRPr/>
            </a:pPr>
            <a:r>
              <a:rPr lang="en-US" sz="1200" dirty="0">
                <a:latin typeface="Arial" panose="020B0604020202020204" pitchFamily="34" charset="0"/>
                <a:cs typeface="Arial" panose="020B0604020202020204" pitchFamily="34" charset="0"/>
              </a:rPr>
              <a:t>FY22 saw a production declined by 11% y-o-y.</a:t>
            </a:r>
          </a:p>
        </p:txBody>
      </p:sp>
      <p:graphicFrame>
        <p:nvGraphicFramePr>
          <p:cNvPr id="12" name="Chart 11">
            <a:extLst>
              <a:ext uri="{FF2B5EF4-FFF2-40B4-BE49-F238E27FC236}">
                <a16:creationId xmlns:a16="http://schemas.microsoft.com/office/drawing/2014/main" id="{8A06800A-E99D-42E8-BA68-4ADB69D1B5D8}"/>
              </a:ext>
            </a:extLst>
          </p:cNvPr>
          <p:cNvGraphicFramePr>
            <a:graphicFrameLocks/>
          </p:cNvGraphicFramePr>
          <p:nvPr>
            <p:extLst>
              <p:ext uri="{D42A27DB-BD31-4B8C-83A1-F6EECF244321}">
                <p14:modId xmlns:p14="http://schemas.microsoft.com/office/powerpoint/2010/main" val="2960186167"/>
              </p:ext>
            </p:extLst>
          </p:nvPr>
        </p:nvGraphicFramePr>
        <p:xfrm>
          <a:off x="336797" y="1371921"/>
          <a:ext cx="10972800" cy="29637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57038692"/>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B4D66F93-F7D3-4652-81A5-36FAECAAFF48}"/>
              </a:ext>
            </a:extLst>
          </p:cNvPr>
          <p:cNvSpPr txBox="1">
            <a:spLocks/>
          </p:cNvSpPr>
          <p:nvPr/>
        </p:nvSpPr>
        <p:spPr>
          <a:xfrm>
            <a:off x="290844" y="-40861"/>
            <a:ext cx="11602487" cy="570090"/>
          </a:xfrm>
          <a:prstGeom prst="rect">
            <a:avLst/>
          </a:prstGeom>
        </p:spPr>
        <p:txBody>
          <a:bodyPr/>
          <a:lstStyle>
            <a:lvl1pPr algn="l" defTabSz="914363"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prstClr val="black"/>
                </a:solidFill>
                <a:latin typeface="Arial" panose="020B0604020202020204" pitchFamily="34" charset="0"/>
                <a:cs typeface="Arial" panose="020B0604020202020204" pitchFamily="34" charset="0"/>
              </a:rPr>
              <a:t>Domestic</a:t>
            </a:r>
            <a:r>
              <a:rPr lang="en-US" sz="3200" b="1" dirty="0">
                <a:solidFill>
                  <a:prstClr val="black"/>
                </a:solidFill>
                <a:latin typeface="Arial" panose="020B0604020202020204" pitchFamily="34" charset="0"/>
                <a:cs typeface="Arial" panose="020B0604020202020204" pitchFamily="34" charset="0"/>
              </a:rPr>
              <a:t> – Annual &amp; Quarterly Forecast</a:t>
            </a:r>
          </a:p>
        </p:txBody>
      </p:sp>
      <p:sp>
        <p:nvSpPr>
          <p:cNvPr id="51" name="TextBox 50"/>
          <p:cNvSpPr txBox="1"/>
          <p:nvPr/>
        </p:nvSpPr>
        <p:spPr>
          <a:xfrm>
            <a:off x="485637" y="5425954"/>
            <a:ext cx="11353156" cy="646331"/>
          </a:xfrm>
          <a:prstGeom prst="rect">
            <a:avLst/>
          </a:prstGeom>
          <a:solidFill>
            <a:sysClr val="window" lastClr="FFFFFF">
              <a:lumMod val="85000"/>
            </a:sysClr>
          </a:solidFill>
        </p:spPr>
        <p:txBody>
          <a:bodyPr wrap="square" rtlCol="0" anchor="ctr">
            <a:spAutoFit/>
          </a:bodyPr>
          <a:lstStyle/>
          <a:p>
            <a:pPr marL="285694" indent="-285694">
              <a:buFont typeface="Arial" panose="020B0604020202020204" pitchFamily="34" charset="0"/>
              <a:buChar char="•"/>
            </a:pPr>
            <a:r>
              <a:rPr lang="en-US" sz="1200" dirty="0">
                <a:latin typeface="Arial" panose="020B0604020202020204" pitchFamily="34" charset="0"/>
                <a:cs typeface="Arial" panose="020B0604020202020204" pitchFamily="34" charset="0"/>
              </a:rPr>
              <a:t>Tractor demand to remain stable in FY23 over a high base of the previous years </a:t>
            </a:r>
          </a:p>
          <a:p>
            <a:pPr marL="285694" indent="-285694">
              <a:buFont typeface="Arial" panose="020B0604020202020204" pitchFamily="34" charset="0"/>
              <a:buChar char="•"/>
            </a:pPr>
            <a:r>
              <a:rPr lang="en-US" sz="1200" dirty="0">
                <a:latin typeface="Arial" panose="020B0604020202020204" pitchFamily="34" charset="0"/>
                <a:cs typeface="Arial" panose="020B0604020202020204" pitchFamily="34" charset="0"/>
              </a:rPr>
              <a:t>Rising tractor prices amid price hikes taken by OEMs, higher inventory at dealer’s end, lower commercial demand, negative farmer sentiments due to rising cost of cultivation, low fertilizer availability, increase in other expenditure (such as marriages and other social occasions) to hamper demand.</a:t>
            </a:r>
          </a:p>
        </p:txBody>
      </p:sp>
      <p:sp>
        <p:nvSpPr>
          <p:cNvPr id="52" name="TextBox 51"/>
          <p:cNvSpPr txBox="1"/>
          <p:nvPr/>
        </p:nvSpPr>
        <p:spPr>
          <a:xfrm>
            <a:off x="481534" y="4974226"/>
            <a:ext cx="2738346" cy="246221"/>
          </a:xfrm>
          <a:prstGeom prst="rect">
            <a:avLst/>
          </a:prstGeom>
          <a:noFill/>
        </p:spPr>
        <p:txBody>
          <a:bodyPr wrap="square" rtlCol="0">
            <a:spAutoFit/>
          </a:bodyPr>
          <a:lstStyle/>
          <a:p>
            <a:pPr>
              <a:defRPr/>
            </a:pPr>
            <a:r>
              <a:rPr lang="en-IN" sz="1000" i="1" dirty="0">
                <a:solidFill>
                  <a:prstClr val="black"/>
                </a:solidFill>
                <a:latin typeface="Arial" panose="020B0604020202020204" pitchFamily="34" charset="0"/>
                <a:cs typeface="Arial" panose="020B0604020202020204" pitchFamily="34" charset="0"/>
              </a:rPr>
              <a:t>Source – CRISIL Research</a:t>
            </a:r>
          </a:p>
        </p:txBody>
      </p:sp>
      <p:sp>
        <p:nvSpPr>
          <p:cNvPr id="136" name="Rectangle: Rounded Corners 72">
            <a:extLst>
              <a:ext uri="{FF2B5EF4-FFF2-40B4-BE49-F238E27FC236}">
                <a16:creationId xmlns:a16="http://schemas.microsoft.com/office/drawing/2014/main" id="{A738871E-9F78-4346-A0D4-4AA58AA59FED}"/>
              </a:ext>
            </a:extLst>
          </p:cNvPr>
          <p:cNvSpPr/>
          <p:nvPr/>
        </p:nvSpPr>
        <p:spPr>
          <a:xfrm>
            <a:off x="4916786" y="683264"/>
            <a:ext cx="2586409" cy="802193"/>
          </a:xfrm>
          <a:prstGeom prst="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eriod</a:t>
            </a:r>
          </a:p>
        </p:txBody>
      </p:sp>
      <p:sp>
        <p:nvSpPr>
          <p:cNvPr id="139" name="Rectangle 138"/>
          <p:cNvSpPr/>
          <p:nvPr/>
        </p:nvSpPr>
        <p:spPr>
          <a:xfrm>
            <a:off x="7721323" y="725345"/>
            <a:ext cx="3875423" cy="365124"/>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actors</a:t>
            </a:r>
          </a:p>
        </p:txBody>
      </p:sp>
      <p:grpSp>
        <p:nvGrpSpPr>
          <p:cNvPr id="142" name="Group 141"/>
          <p:cNvGrpSpPr/>
          <p:nvPr/>
        </p:nvGrpSpPr>
        <p:grpSpPr>
          <a:xfrm>
            <a:off x="290844" y="683264"/>
            <a:ext cx="3680736" cy="3992399"/>
            <a:chOff x="817400" y="2220449"/>
            <a:chExt cx="3680736" cy="2433960"/>
          </a:xfrm>
        </p:grpSpPr>
        <p:sp>
          <p:nvSpPr>
            <p:cNvPr id="168" name="Rounded Rectangle 167"/>
            <p:cNvSpPr/>
            <p:nvPr/>
          </p:nvSpPr>
          <p:spPr>
            <a:xfrm>
              <a:off x="827051" y="2234062"/>
              <a:ext cx="1980266" cy="535099"/>
            </a:xfrm>
            <a:prstGeom prst="roundRect">
              <a:avLst/>
            </a:prstGeom>
            <a:solidFill>
              <a:srgbClr val="95B3CC">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 22 volumes</a:t>
              </a:r>
            </a:p>
          </p:txBody>
        </p:sp>
        <p:sp>
          <p:nvSpPr>
            <p:cNvPr id="169" name="Oval 168"/>
            <p:cNvSpPr/>
            <p:nvPr/>
          </p:nvSpPr>
          <p:spPr>
            <a:xfrm>
              <a:off x="3118170" y="2220449"/>
              <a:ext cx="1379871" cy="538551"/>
            </a:xfrm>
            <a:prstGeom prst="ellipse">
              <a:avLst/>
            </a:prstGeom>
            <a:solidFill>
              <a:srgbClr val="95B3CC">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42</a:t>
              </a:r>
            </a:p>
          </p:txBody>
        </p:sp>
        <p:sp>
          <p:nvSpPr>
            <p:cNvPr id="170" name="Oval 169"/>
            <p:cNvSpPr/>
            <p:nvPr/>
          </p:nvSpPr>
          <p:spPr>
            <a:xfrm>
              <a:off x="3118075" y="2851404"/>
              <a:ext cx="1380061" cy="538551"/>
            </a:xfrm>
            <a:prstGeom prst="ellipse">
              <a:avLst/>
            </a:prstGeom>
            <a:solidFill>
              <a:srgbClr val="FF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prstClr val="white"/>
                  </a:solidFill>
                  <a:latin typeface="Arial" panose="020B0604020202020204" pitchFamily="34" charset="0"/>
                  <a:cs typeface="Arial" panose="020B0604020202020204" pitchFamily="34" charset="0"/>
                </a:rPr>
                <a:t>6.2</a:t>
              </a: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71" name="Rounded Rectangle 170"/>
            <p:cNvSpPr/>
            <p:nvPr/>
          </p:nvSpPr>
          <p:spPr>
            <a:xfrm>
              <a:off x="827051" y="2877326"/>
              <a:ext cx="1980266" cy="535099"/>
            </a:xfrm>
            <a:prstGeom prst="roundRect">
              <a:avLst/>
            </a:prstGeom>
            <a:solidFill>
              <a:srgbClr val="95B3CC">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oY Growth in FY22</a:t>
              </a:r>
            </a:p>
          </p:txBody>
        </p:sp>
        <p:sp>
          <p:nvSpPr>
            <p:cNvPr id="172" name="Rounded Rectangle 171"/>
            <p:cNvSpPr/>
            <p:nvPr/>
          </p:nvSpPr>
          <p:spPr>
            <a:xfrm>
              <a:off x="817400" y="3471853"/>
              <a:ext cx="1999569" cy="556948"/>
            </a:xfrm>
            <a:prstGeom prst="roundRect">
              <a:avLst/>
            </a:prstGeom>
            <a:solidFill>
              <a:srgbClr val="95B3CC">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 23P volumes</a:t>
              </a:r>
            </a:p>
          </p:txBody>
        </p:sp>
        <p:sp>
          <p:nvSpPr>
            <p:cNvPr id="173" name="Rounded Rectangle 172"/>
            <p:cNvSpPr/>
            <p:nvPr/>
          </p:nvSpPr>
          <p:spPr>
            <a:xfrm>
              <a:off x="827051" y="4119310"/>
              <a:ext cx="1980266" cy="535099"/>
            </a:xfrm>
            <a:prstGeom prst="roundRect">
              <a:avLst/>
            </a:prstGeom>
            <a:solidFill>
              <a:srgbClr val="95B3CC">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oY Growth in FY23P</a:t>
              </a:r>
            </a:p>
          </p:txBody>
        </p:sp>
      </p:grpSp>
      <p:sp>
        <p:nvSpPr>
          <p:cNvPr id="83" name="Rectangle: Rounded Corners 157">
            <a:extLst>
              <a:ext uri="{FF2B5EF4-FFF2-40B4-BE49-F238E27FC236}">
                <a16:creationId xmlns:a16="http://schemas.microsoft.com/office/drawing/2014/main" id="{A474630D-7C8A-4BD5-97BB-82413A88D21B}"/>
              </a:ext>
            </a:extLst>
          </p:cNvPr>
          <p:cNvSpPr/>
          <p:nvPr/>
        </p:nvSpPr>
        <p:spPr>
          <a:xfrm>
            <a:off x="7680760" y="1176762"/>
            <a:ext cx="1926051" cy="290760"/>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olume (‘000)</a:t>
            </a:r>
          </a:p>
        </p:txBody>
      </p:sp>
      <p:sp>
        <p:nvSpPr>
          <p:cNvPr id="84" name="Rectangle: Rounded Corners 158">
            <a:extLst>
              <a:ext uri="{FF2B5EF4-FFF2-40B4-BE49-F238E27FC236}">
                <a16:creationId xmlns:a16="http://schemas.microsoft.com/office/drawing/2014/main" id="{975279A3-6EB7-4E77-9222-5B17E646D298}"/>
              </a:ext>
            </a:extLst>
          </p:cNvPr>
          <p:cNvSpPr/>
          <p:nvPr/>
        </p:nvSpPr>
        <p:spPr>
          <a:xfrm>
            <a:off x="9800326" y="1186499"/>
            <a:ext cx="1862749" cy="306666"/>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oY Growth</a:t>
            </a:r>
          </a:p>
        </p:txBody>
      </p:sp>
      <p:sp>
        <p:nvSpPr>
          <p:cNvPr id="87" name="Rectangle: Rounded Corners 168">
            <a:extLst>
              <a:ext uri="{FF2B5EF4-FFF2-40B4-BE49-F238E27FC236}">
                <a16:creationId xmlns:a16="http://schemas.microsoft.com/office/drawing/2014/main" id="{6F5B95A3-C6AC-4ABD-BB25-405D298E2B61}"/>
              </a:ext>
            </a:extLst>
          </p:cNvPr>
          <p:cNvSpPr/>
          <p:nvPr/>
        </p:nvSpPr>
        <p:spPr>
          <a:xfrm>
            <a:off x="4951637" y="1526583"/>
            <a:ext cx="1364719" cy="1412668"/>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P</a:t>
            </a:r>
          </a:p>
        </p:txBody>
      </p:sp>
      <p:sp>
        <p:nvSpPr>
          <p:cNvPr id="88" name="Rectangle: Rounded Corners 168">
            <a:extLst>
              <a:ext uri="{FF2B5EF4-FFF2-40B4-BE49-F238E27FC236}">
                <a16:creationId xmlns:a16="http://schemas.microsoft.com/office/drawing/2014/main" id="{96CF0BDF-2E08-4DA0-92B6-1CAC74436373}"/>
              </a:ext>
            </a:extLst>
          </p:cNvPr>
          <p:cNvSpPr/>
          <p:nvPr/>
        </p:nvSpPr>
        <p:spPr>
          <a:xfrm>
            <a:off x="4999994" y="3108988"/>
            <a:ext cx="1295539" cy="1464362"/>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Y23</a:t>
            </a: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3" name="Rectangle: Rounded Corners 171">
            <a:extLst>
              <a:ext uri="{FF2B5EF4-FFF2-40B4-BE49-F238E27FC236}">
                <a16:creationId xmlns:a16="http://schemas.microsoft.com/office/drawing/2014/main" id="{0B1C9C9C-57E3-4A59-8FB1-114CCF36B8D9}"/>
              </a:ext>
            </a:extLst>
          </p:cNvPr>
          <p:cNvSpPr/>
          <p:nvPr/>
        </p:nvSpPr>
        <p:spPr>
          <a:xfrm>
            <a:off x="6400541" y="1933734"/>
            <a:ext cx="1094320" cy="287287"/>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2</a:t>
            </a:r>
          </a:p>
        </p:txBody>
      </p:sp>
      <p:sp>
        <p:nvSpPr>
          <p:cNvPr id="94" name="Rectangle: Rounded Corners 171">
            <a:extLst>
              <a:ext uri="{FF2B5EF4-FFF2-40B4-BE49-F238E27FC236}">
                <a16:creationId xmlns:a16="http://schemas.microsoft.com/office/drawing/2014/main" id="{92255396-EF19-4F42-AF0F-56427783395D}"/>
              </a:ext>
            </a:extLst>
          </p:cNvPr>
          <p:cNvSpPr/>
          <p:nvPr/>
        </p:nvSpPr>
        <p:spPr>
          <a:xfrm>
            <a:off x="6402022" y="2713624"/>
            <a:ext cx="1147022" cy="290612"/>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4</a:t>
            </a:r>
          </a:p>
        </p:txBody>
      </p:sp>
      <p:sp>
        <p:nvSpPr>
          <p:cNvPr id="95" name="Rectangle: Rounded Corners 145">
            <a:extLst>
              <a:ext uri="{FF2B5EF4-FFF2-40B4-BE49-F238E27FC236}">
                <a16:creationId xmlns:a16="http://schemas.microsoft.com/office/drawing/2014/main" id="{3C68E7EE-52A8-4751-8F78-5D77871A3E6F}"/>
              </a:ext>
            </a:extLst>
          </p:cNvPr>
          <p:cNvSpPr/>
          <p:nvPr/>
        </p:nvSpPr>
        <p:spPr>
          <a:xfrm>
            <a:off x="6400541" y="1595354"/>
            <a:ext cx="1094320"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1</a:t>
            </a:r>
          </a:p>
        </p:txBody>
      </p:sp>
      <p:sp>
        <p:nvSpPr>
          <p:cNvPr id="96" name="Rectangle: Rounded Corners 172">
            <a:extLst>
              <a:ext uri="{FF2B5EF4-FFF2-40B4-BE49-F238E27FC236}">
                <a16:creationId xmlns:a16="http://schemas.microsoft.com/office/drawing/2014/main" id="{8F9F1DB0-E6D3-4065-A196-2C68D602FF35}"/>
              </a:ext>
            </a:extLst>
          </p:cNvPr>
          <p:cNvSpPr/>
          <p:nvPr/>
        </p:nvSpPr>
        <p:spPr>
          <a:xfrm>
            <a:off x="6423781" y="2285350"/>
            <a:ext cx="1094320" cy="322685"/>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3</a:t>
            </a:r>
          </a:p>
        </p:txBody>
      </p:sp>
      <p:sp>
        <p:nvSpPr>
          <p:cNvPr id="97" name="Rectangle: Rounded Corners 175">
            <a:extLst>
              <a:ext uri="{FF2B5EF4-FFF2-40B4-BE49-F238E27FC236}">
                <a16:creationId xmlns:a16="http://schemas.microsoft.com/office/drawing/2014/main" id="{6162E22F-01A5-414C-9FD7-EA921CAE1260}"/>
              </a:ext>
            </a:extLst>
          </p:cNvPr>
          <p:cNvSpPr/>
          <p:nvPr/>
        </p:nvSpPr>
        <p:spPr>
          <a:xfrm>
            <a:off x="7703894" y="1903566"/>
            <a:ext cx="1908443" cy="287663"/>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11</a:t>
            </a:r>
          </a:p>
        </p:txBody>
      </p:sp>
      <p:sp>
        <p:nvSpPr>
          <p:cNvPr id="98" name="Rectangle: Rounded Corners 179">
            <a:extLst>
              <a:ext uri="{FF2B5EF4-FFF2-40B4-BE49-F238E27FC236}">
                <a16:creationId xmlns:a16="http://schemas.microsoft.com/office/drawing/2014/main" id="{F4B8A8B3-69B0-4615-8D43-27D02767B410}"/>
              </a:ext>
            </a:extLst>
          </p:cNvPr>
          <p:cNvSpPr/>
          <p:nvPr/>
        </p:nvSpPr>
        <p:spPr>
          <a:xfrm>
            <a:off x="9747190" y="1903566"/>
            <a:ext cx="1908443" cy="287663"/>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0.5)%</a:t>
            </a:r>
          </a:p>
        </p:txBody>
      </p:sp>
      <p:sp>
        <p:nvSpPr>
          <p:cNvPr id="99" name="Rectangle: Rounded Corners 149">
            <a:extLst>
              <a:ext uri="{FF2B5EF4-FFF2-40B4-BE49-F238E27FC236}">
                <a16:creationId xmlns:a16="http://schemas.microsoft.com/office/drawing/2014/main" id="{2FD044BA-FBD1-4544-93D4-FEE787F970E0}"/>
              </a:ext>
            </a:extLst>
          </p:cNvPr>
          <p:cNvSpPr/>
          <p:nvPr/>
        </p:nvSpPr>
        <p:spPr>
          <a:xfrm>
            <a:off x="7693896" y="1555688"/>
            <a:ext cx="1908443" cy="287663"/>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29</a:t>
            </a:r>
          </a:p>
        </p:txBody>
      </p:sp>
      <p:sp>
        <p:nvSpPr>
          <p:cNvPr id="100" name="Rectangle: Rounded Corners 153">
            <a:extLst>
              <a:ext uri="{FF2B5EF4-FFF2-40B4-BE49-F238E27FC236}">
                <a16:creationId xmlns:a16="http://schemas.microsoft.com/office/drawing/2014/main" id="{944B9816-DD2B-4181-8786-643277B934F9}"/>
              </a:ext>
            </a:extLst>
          </p:cNvPr>
          <p:cNvSpPr/>
          <p:nvPr/>
        </p:nvSpPr>
        <p:spPr>
          <a:xfrm>
            <a:off x="9747190" y="1562750"/>
            <a:ext cx="1908443" cy="287663"/>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8%</a:t>
            </a:r>
          </a:p>
        </p:txBody>
      </p:sp>
      <p:sp>
        <p:nvSpPr>
          <p:cNvPr id="101" name="Rectangle: Rounded Corners 176">
            <a:extLst>
              <a:ext uri="{FF2B5EF4-FFF2-40B4-BE49-F238E27FC236}">
                <a16:creationId xmlns:a16="http://schemas.microsoft.com/office/drawing/2014/main" id="{16A2FDE3-9AA2-4693-AEE4-884D355AA75F}"/>
              </a:ext>
            </a:extLst>
          </p:cNvPr>
          <p:cNvSpPr/>
          <p:nvPr/>
        </p:nvSpPr>
        <p:spPr>
          <a:xfrm>
            <a:off x="7703893" y="2244283"/>
            <a:ext cx="1908443" cy="32310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23	</a:t>
            </a:r>
          </a:p>
        </p:txBody>
      </p:sp>
      <p:sp>
        <p:nvSpPr>
          <p:cNvPr id="102" name="Rectangle: Rounded Corners 180">
            <a:extLst>
              <a:ext uri="{FF2B5EF4-FFF2-40B4-BE49-F238E27FC236}">
                <a16:creationId xmlns:a16="http://schemas.microsoft.com/office/drawing/2014/main" id="{9200BA06-229A-4193-9AFA-C1939192461B}"/>
              </a:ext>
            </a:extLst>
          </p:cNvPr>
          <p:cNvSpPr/>
          <p:nvPr/>
        </p:nvSpPr>
        <p:spPr>
          <a:xfrm>
            <a:off x="9747187" y="2285146"/>
            <a:ext cx="1908443" cy="32310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a:t>
            </a:r>
          </a:p>
        </p:txBody>
      </p:sp>
      <p:sp>
        <p:nvSpPr>
          <p:cNvPr id="103" name="Rectangle: Rounded Corners 175">
            <a:extLst>
              <a:ext uri="{FF2B5EF4-FFF2-40B4-BE49-F238E27FC236}">
                <a16:creationId xmlns:a16="http://schemas.microsoft.com/office/drawing/2014/main" id="{B4C8AF79-FC6D-4E9D-8C5C-EE93BB4C8C1A}"/>
              </a:ext>
            </a:extLst>
          </p:cNvPr>
          <p:cNvSpPr/>
          <p:nvPr/>
        </p:nvSpPr>
        <p:spPr>
          <a:xfrm>
            <a:off x="7693895" y="2663420"/>
            <a:ext cx="1908443" cy="323107"/>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77</a:t>
            </a:r>
          </a:p>
        </p:txBody>
      </p:sp>
      <p:sp>
        <p:nvSpPr>
          <p:cNvPr id="104" name="Rectangle: Rounded Corners 179">
            <a:extLst>
              <a:ext uri="{FF2B5EF4-FFF2-40B4-BE49-F238E27FC236}">
                <a16:creationId xmlns:a16="http://schemas.microsoft.com/office/drawing/2014/main" id="{C5410DB9-1CBD-4A89-9EE8-FD6BA39BFE4E}"/>
              </a:ext>
            </a:extLst>
          </p:cNvPr>
          <p:cNvSpPr/>
          <p:nvPr/>
        </p:nvSpPr>
        <p:spPr>
          <a:xfrm>
            <a:off x="9727205" y="2681129"/>
            <a:ext cx="1908443" cy="323107"/>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25)%</a:t>
            </a:r>
          </a:p>
        </p:txBody>
      </p:sp>
      <p:sp>
        <p:nvSpPr>
          <p:cNvPr id="92" name="Rectangle: Rounded Corners 176">
            <a:extLst>
              <a:ext uri="{FF2B5EF4-FFF2-40B4-BE49-F238E27FC236}">
                <a16:creationId xmlns:a16="http://schemas.microsoft.com/office/drawing/2014/main" id="{6EF1CDC0-AEDE-4903-B5C9-81257D28ACB3}"/>
              </a:ext>
            </a:extLst>
          </p:cNvPr>
          <p:cNvSpPr/>
          <p:nvPr/>
        </p:nvSpPr>
        <p:spPr>
          <a:xfrm>
            <a:off x="7712162" y="3880395"/>
            <a:ext cx="1908443"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25-230	</a:t>
            </a:r>
          </a:p>
        </p:txBody>
      </p:sp>
      <p:sp>
        <p:nvSpPr>
          <p:cNvPr id="105" name="Rectangle: Rounded Corners 170">
            <a:extLst>
              <a:ext uri="{FF2B5EF4-FFF2-40B4-BE49-F238E27FC236}">
                <a16:creationId xmlns:a16="http://schemas.microsoft.com/office/drawing/2014/main" id="{E1AEA316-9A25-422B-B093-6C67F78856C3}"/>
              </a:ext>
            </a:extLst>
          </p:cNvPr>
          <p:cNvSpPr/>
          <p:nvPr/>
        </p:nvSpPr>
        <p:spPr>
          <a:xfrm>
            <a:off x="6443444" y="3108988"/>
            <a:ext cx="1094320"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1</a:t>
            </a:r>
          </a:p>
        </p:txBody>
      </p:sp>
      <p:sp>
        <p:nvSpPr>
          <p:cNvPr id="106" name="Rectangle: Rounded Corners 172">
            <a:extLst>
              <a:ext uri="{FF2B5EF4-FFF2-40B4-BE49-F238E27FC236}">
                <a16:creationId xmlns:a16="http://schemas.microsoft.com/office/drawing/2014/main" id="{9D99E9E0-08D2-4782-88AA-87E31088FDFF}"/>
              </a:ext>
            </a:extLst>
          </p:cNvPr>
          <p:cNvSpPr/>
          <p:nvPr/>
        </p:nvSpPr>
        <p:spPr>
          <a:xfrm>
            <a:off x="6456688" y="3854252"/>
            <a:ext cx="1094320"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3</a:t>
            </a:r>
          </a:p>
        </p:txBody>
      </p:sp>
      <p:sp>
        <p:nvSpPr>
          <p:cNvPr id="107" name="Rectangle: Rounded Corners 171">
            <a:extLst>
              <a:ext uri="{FF2B5EF4-FFF2-40B4-BE49-F238E27FC236}">
                <a16:creationId xmlns:a16="http://schemas.microsoft.com/office/drawing/2014/main" id="{D5AC91A6-D4D5-4717-B4AF-37D3E952D3DB}"/>
              </a:ext>
            </a:extLst>
          </p:cNvPr>
          <p:cNvSpPr/>
          <p:nvPr/>
        </p:nvSpPr>
        <p:spPr>
          <a:xfrm>
            <a:off x="6423781" y="3505189"/>
            <a:ext cx="1147022" cy="290612"/>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2</a:t>
            </a:r>
          </a:p>
        </p:txBody>
      </p:sp>
      <p:sp>
        <p:nvSpPr>
          <p:cNvPr id="108" name="Rectangle: Rounded Corners 180">
            <a:extLst>
              <a:ext uri="{FF2B5EF4-FFF2-40B4-BE49-F238E27FC236}">
                <a16:creationId xmlns:a16="http://schemas.microsoft.com/office/drawing/2014/main" id="{9FF6E35B-3BC1-4922-B2BF-C8E6AF8B85A9}"/>
              </a:ext>
            </a:extLst>
          </p:cNvPr>
          <p:cNvSpPr/>
          <p:nvPr/>
        </p:nvSpPr>
        <p:spPr>
          <a:xfrm>
            <a:off x="9781759" y="3855303"/>
            <a:ext cx="1908443"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50" kern="0" dirty="0">
                <a:solidFill>
                  <a:prstClr val="white"/>
                </a:solidFill>
                <a:latin typeface="Arial" panose="020B0604020202020204" pitchFamily="34" charset="0"/>
                <a:cs typeface="Arial" panose="020B0604020202020204" pitchFamily="34" charset="0"/>
              </a:rPr>
              <a:t>1-3</a:t>
            </a: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09" name="Rectangle: Rounded Corners 174">
            <a:extLst>
              <a:ext uri="{FF2B5EF4-FFF2-40B4-BE49-F238E27FC236}">
                <a16:creationId xmlns:a16="http://schemas.microsoft.com/office/drawing/2014/main" id="{7780C2BE-67C3-4D68-BB3E-C0BE2C33EF44}"/>
              </a:ext>
            </a:extLst>
          </p:cNvPr>
          <p:cNvSpPr/>
          <p:nvPr/>
        </p:nvSpPr>
        <p:spPr>
          <a:xfrm>
            <a:off x="7739350" y="3073339"/>
            <a:ext cx="1908443"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50" kern="0" dirty="0">
                <a:solidFill>
                  <a:prstClr val="white"/>
                </a:solidFill>
                <a:latin typeface="Arial" panose="020B0604020202020204" pitchFamily="34" charset="0"/>
                <a:cs typeface="Arial" panose="020B0604020202020204" pitchFamily="34" charset="0"/>
              </a:rPr>
              <a:t>2</a:t>
            </a: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3-228</a:t>
            </a:r>
          </a:p>
        </p:txBody>
      </p:sp>
      <p:sp>
        <p:nvSpPr>
          <p:cNvPr id="110" name="Rectangle: Rounded Corners 178">
            <a:extLst>
              <a:ext uri="{FF2B5EF4-FFF2-40B4-BE49-F238E27FC236}">
                <a16:creationId xmlns:a16="http://schemas.microsoft.com/office/drawing/2014/main" id="{67E3BB15-C2DE-4E2D-BF80-F363A0ABFD5C}"/>
              </a:ext>
            </a:extLst>
          </p:cNvPr>
          <p:cNvSpPr/>
          <p:nvPr/>
        </p:nvSpPr>
        <p:spPr>
          <a:xfrm>
            <a:off x="9782645" y="3096573"/>
            <a:ext cx="1908443" cy="287287"/>
          </a:xfrm>
          <a:prstGeom prst="roundRect">
            <a:avLst/>
          </a:prstGeom>
          <a:solidFill>
            <a:sysClr val="window" lastClr="FFFFFF">
              <a:lumMod val="50000"/>
            </a:sys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50" kern="0" dirty="0">
                <a:solidFill>
                  <a:prstClr val="white"/>
                </a:solidFill>
                <a:latin typeface="Arial" panose="020B0604020202020204" pitchFamily="34" charset="0"/>
                <a:cs typeface="Arial" panose="020B0604020202020204" pitchFamily="34" charset="0"/>
              </a:rPr>
              <a:t>(2</a:t>
            </a: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111" name="Rectangle: Rounded Corners 175">
            <a:extLst>
              <a:ext uri="{FF2B5EF4-FFF2-40B4-BE49-F238E27FC236}">
                <a16:creationId xmlns:a16="http://schemas.microsoft.com/office/drawing/2014/main" id="{6C94CC9C-FCF0-4422-8ABD-69131698AE26}"/>
              </a:ext>
            </a:extLst>
          </p:cNvPr>
          <p:cNvSpPr/>
          <p:nvPr/>
        </p:nvSpPr>
        <p:spPr>
          <a:xfrm>
            <a:off x="7717451" y="3478690"/>
            <a:ext cx="1908443" cy="322685"/>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7-211</a:t>
            </a:r>
          </a:p>
        </p:txBody>
      </p:sp>
      <p:sp>
        <p:nvSpPr>
          <p:cNvPr id="112" name="Rectangle: Rounded Corners 179">
            <a:extLst>
              <a:ext uri="{FF2B5EF4-FFF2-40B4-BE49-F238E27FC236}">
                <a16:creationId xmlns:a16="http://schemas.microsoft.com/office/drawing/2014/main" id="{1A396FCE-55BC-4011-8A74-3C6764E5ED96}"/>
              </a:ext>
            </a:extLst>
          </p:cNvPr>
          <p:cNvSpPr/>
          <p:nvPr/>
        </p:nvSpPr>
        <p:spPr>
          <a:xfrm>
            <a:off x="9789201" y="3448265"/>
            <a:ext cx="1908443" cy="322685"/>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lang="en-US" sz="1250" kern="0" dirty="0">
                <a:solidFill>
                  <a:prstClr val="white"/>
                </a:solidFill>
                <a:latin typeface="Arial" panose="020B0604020202020204" pitchFamily="34" charset="0"/>
                <a:cs typeface="Arial" panose="020B0604020202020204" pitchFamily="34" charset="0"/>
              </a:rPr>
              <a:t>0</a:t>
            </a: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13" name="Oval 112">
            <a:extLst>
              <a:ext uri="{FF2B5EF4-FFF2-40B4-BE49-F238E27FC236}">
                <a16:creationId xmlns:a16="http://schemas.microsoft.com/office/drawing/2014/main" id="{7C1F7DD2-54FC-486A-AB69-5A60591B2485}"/>
              </a:ext>
            </a:extLst>
          </p:cNvPr>
          <p:cNvSpPr/>
          <p:nvPr/>
        </p:nvSpPr>
        <p:spPr>
          <a:xfrm>
            <a:off x="2644355" y="2739865"/>
            <a:ext cx="1379871" cy="88338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840-850</a:t>
            </a:r>
          </a:p>
        </p:txBody>
      </p:sp>
      <p:sp>
        <p:nvSpPr>
          <p:cNvPr id="114" name="Oval 113">
            <a:extLst>
              <a:ext uri="{FF2B5EF4-FFF2-40B4-BE49-F238E27FC236}">
                <a16:creationId xmlns:a16="http://schemas.microsoft.com/office/drawing/2014/main" id="{FD367C8A-46F0-4CAF-BBC4-2BE1D758B426}"/>
              </a:ext>
            </a:extLst>
          </p:cNvPr>
          <p:cNvSpPr/>
          <p:nvPr/>
        </p:nvSpPr>
        <p:spPr>
          <a:xfrm>
            <a:off x="2698837" y="3795114"/>
            <a:ext cx="1314040" cy="88338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0-2%</a:t>
            </a:r>
          </a:p>
        </p:txBody>
      </p:sp>
      <p:sp>
        <p:nvSpPr>
          <p:cNvPr id="49" name="Rectangle: Rounded Corners 171">
            <a:extLst>
              <a:ext uri="{FF2B5EF4-FFF2-40B4-BE49-F238E27FC236}">
                <a16:creationId xmlns:a16="http://schemas.microsoft.com/office/drawing/2014/main" id="{B41EF9DD-F92B-4824-83CB-284C856EB8C2}"/>
              </a:ext>
            </a:extLst>
          </p:cNvPr>
          <p:cNvSpPr/>
          <p:nvPr/>
        </p:nvSpPr>
        <p:spPr>
          <a:xfrm>
            <a:off x="6469018" y="4282738"/>
            <a:ext cx="1147022" cy="290612"/>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4</a:t>
            </a:r>
          </a:p>
        </p:txBody>
      </p:sp>
      <p:sp>
        <p:nvSpPr>
          <p:cNvPr id="50" name="Rectangle: Rounded Corners 175">
            <a:extLst>
              <a:ext uri="{FF2B5EF4-FFF2-40B4-BE49-F238E27FC236}">
                <a16:creationId xmlns:a16="http://schemas.microsoft.com/office/drawing/2014/main" id="{B096BB38-D3CD-4878-B42C-B1C367E68525}"/>
              </a:ext>
            </a:extLst>
          </p:cNvPr>
          <p:cNvSpPr/>
          <p:nvPr/>
        </p:nvSpPr>
        <p:spPr>
          <a:xfrm>
            <a:off x="7760891" y="4232534"/>
            <a:ext cx="1908443" cy="323107"/>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79-183</a:t>
            </a:r>
          </a:p>
        </p:txBody>
      </p:sp>
      <p:sp>
        <p:nvSpPr>
          <p:cNvPr id="53" name="Rectangle: Rounded Corners 179">
            <a:extLst>
              <a:ext uri="{FF2B5EF4-FFF2-40B4-BE49-F238E27FC236}">
                <a16:creationId xmlns:a16="http://schemas.microsoft.com/office/drawing/2014/main" id="{9F85F1C5-62B1-4390-A7B0-710CC1677CA1}"/>
              </a:ext>
            </a:extLst>
          </p:cNvPr>
          <p:cNvSpPr/>
          <p:nvPr/>
        </p:nvSpPr>
        <p:spPr>
          <a:xfrm>
            <a:off x="9794201" y="4250243"/>
            <a:ext cx="1908443" cy="323107"/>
          </a:xfrm>
          <a:prstGeom prst="roundRect">
            <a:avLst/>
          </a:prstGeom>
          <a:solidFill>
            <a:srgbClr val="C79B3A">
              <a:lumMod val="75000"/>
            </a:srgbClr>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50" kern="0" dirty="0">
                <a:solidFill>
                  <a:prstClr val="white"/>
                </a:solidFill>
                <a:latin typeface="Arial" panose="020B0604020202020204" pitchFamily="34" charset="0"/>
                <a:cs typeface="Arial" panose="020B0604020202020204" pitchFamily="34" charset="0"/>
              </a:rPr>
              <a:t>2-4</a:t>
            </a:r>
            <a:r>
              <a:rPr kumimoji="0" lang="en-US" sz="12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528397097"/>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406405" y="1442438"/>
            <a:ext cx="11377769" cy="5190185"/>
          </a:xfrm>
          <a:prstGeom prst="rect">
            <a:avLst/>
          </a:prstGeom>
          <a:noFill/>
        </p:spPr>
      </p:sp>
      <p:sp>
        <p:nvSpPr>
          <p:cNvPr id="18" name="Freeform 17"/>
          <p:cNvSpPr/>
          <p:nvPr/>
        </p:nvSpPr>
        <p:spPr>
          <a:xfrm>
            <a:off x="408789" y="1102800"/>
            <a:ext cx="3907532" cy="4773948"/>
          </a:xfrm>
          <a:custGeom>
            <a:avLst/>
            <a:gdLst>
              <a:gd name="connsiteX0" fmla="*/ 0 w 3716663"/>
              <a:gd name="connsiteY0" fmla="*/ 371666 h 5190185"/>
              <a:gd name="connsiteX1" fmla="*/ 371666 w 3716663"/>
              <a:gd name="connsiteY1" fmla="*/ 0 h 5190185"/>
              <a:gd name="connsiteX2" fmla="*/ 3344997 w 3716663"/>
              <a:gd name="connsiteY2" fmla="*/ 0 h 5190185"/>
              <a:gd name="connsiteX3" fmla="*/ 3716663 w 3716663"/>
              <a:gd name="connsiteY3" fmla="*/ 371666 h 5190185"/>
              <a:gd name="connsiteX4" fmla="*/ 3716663 w 3716663"/>
              <a:gd name="connsiteY4" fmla="*/ 4818519 h 5190185"/>
              <a:gd name="connsiteX5" fmla="*/ 3344997 w 3716663"/>
              <a:gd name="connsiteY5" fmla="*/ 5190185 h 5190185"/>
              <a:gd name="connsiteX6" fmla="*/ 371666 w 3716663"/>
              <a:gd name="connsiteY6" fmla="*/ 5190185 h 5190185"/>
              <a:gd name="connsiteX7" fmla="*/ 0 w 3716663"/>
              <a:gd name="connsiteY7" fmla="*/ 4818519 h 5190185"/>
              <a:gd name="connsiteX8" fmla="*/ 0 w 3716663"/>
              <a:gd name="connsiteY8" fmla="*/ 371666 h 5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6663" h="5190185">
                <a:moveTo>
                  <a:pt x="0" y="371666"/>
                </a:moveTo>
                <a:cubicBezTo>
                  <a:pt x="0" y="166401"/>
                  <a:pt x="166401" y="0"/>
                  <a:pt x="371666" y="0"/>
                </a:cubicBezTo>
                <a:lnTo>
                  <a:pt x="3344997" y="0"/>
                </a:lnTo>
                <a:cubicBezTo>
                  <a:pt x="3550262" y="0"/>
                  <a:pt x="3716663" y="166401"/>
                  <a:pt x="3716663" y="371666"/>
                </a:cubicBezTo>
                <a:lnTo>
                  <a:pt x="3716663" y="4818519"/>
                </a:lnTo>
                <a:cubicBezTo>
                  <a:pt x="3716663" y="5023784"/>
                  <a:pt x="3550262" y="5190185"/>
                  <a:pt x="3344997" y="5190185"/>
                </a:cubicBezTo>
                <a:lnTo>
                  <a:pt x="371666" y="5190185"/>
                </a:lnTo>
                <a:cubicBezTo>
                  <a:pt x="166401" y="5190185"/>
                  <a:pt x="0" y="5023784"/>
                  <a:pt x="0" y="4818519"/>
                </a:cubicBezTo>
                <a:lnTo>
                  <a:pt x="0" y="371666"/>
                </a:lnTo>
                <a:close/>
              </a:path>
            </a:pathLst>
          </a:custGeom>
          <a:solidFill>
            <a:sysClr val="window" lastClr="FFFFFF">
              <a:lumMod val="95000"/>
            </a:sysClr>
          </a:solidFill>
          <a:ln w="38100">
            <a:solidFill>
              <a:srgbClr val="95B3CC"/>
            </a:solidFill>
          </a:ln>
          <a:effectLst/>
          <a:scene3d>
            <a:camera prst="orthographicFront"/>
            <a:lightRig rig="flat" dir="t"/>
          </a:scene3d>
          <a:sp3d prstMaterial="dkEdge">
            <a:bevelT w="8200" h="38100"/>
          </a:sp3d>
        </p:spPr>
        <p:txBody>
          <a:bodyPr spcFirstLastPara="0" vert="horz" wrap="square" lIns="99544" tIns="2175120" rIns="99544" bIns="1137334" numCol="1" spcCol="1058" anchor="t" anchorCtr="1">
            <a:noAutofit/>
          </a:bodyPr>
          <a:lstStyle/>
          <a:p>
            <a:pPr marL="114270" marR="0" lvl="1" indent="-114270" defTabSz="622150" eaLnBrk="1" fontAlgn="auto" latinLnBrk="0" hangingPunct="1">
              <a:lnSpc>
                <a:spcPct val="90000"/>
              </a:lnSpc>
              <a:spcBef>
                <a:spcPct val="0"/>
              </a:spcBef>
              <a:spcAft>
                <a:spcPct val="15000"/>
              </a:spcAft>
              <a:buClrTx/>
              <a:buSzTx/>
              <a:buFontTx/>
              <a:buChar char="••"/>
              <a:tabLst/>
              <a:defRPr/>
            </a:pPr>
            <a:endParaRPr kumimoji="0" lang="en-IN" sz="1400" b="0" i="0" u="none" strike="noStrike" kern="0" cap="none" spc="0" normalizeH="0" baseline="0" noProof="0" dirty="0">
              <a:ln>
                <a:noFill/>
              </a:ln>
              <a:solidFill>
                <a:srgbClr val="44546A">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19" name="Oval 18"/>
          <p:cNvSpPr/>
          <p:nvPr/>
        </p:nvSpPr>
        <p:spPr>
          <a:xfrm>
            <a:off x="3337924" y="954355"/>
            <a:ext cx="1079999" cy="1079999"/>
          </a:xfrm>
          <a:prstGeom prst="ellipse">
            <a:avLst/>
          </a:prstGeom>
          <a:solidFill>
            <a:sysClr val="window" lastClr="FFFFFF"/>
          </a:solidFill>
          <a:ln w="38100" cap="flat" cmpd="sng" algn="ctr">
            <a:solidFill>
              <a:srgbClr val="95B3CC"/>
            </a:solidFill>
            <a:prstDash val="solid"/>
            <a:miter lim="800000"/>
          </a:ln>
          <a:effectLst/>
        </p:spPr>
      </p:sp>
      <p:sp>
        <p:nvSpPr>
          <p:cNvPr id="20" name="Freeform 19"/>
          <p:cNvSpPr/>
          <p:nvPr/>
        </p:nvSpPr>
        <p:spPr>
          <a:xfrm>
            <a:off x="4517522" y="1102799"/>
            <a:ext cx="3621623" cy="4773948"/>
          </a:xfrm>
          <a:custGeom>
            <a:avLst/>
            <a:gdLst>
              <a:gd name="connsiteX0" fmla="*/ 0 w 3716663"/>
              <a:gd name="connsiteY0" fmla="*/ 371666 h 5190185"/>
              <a:gd name="connsiteX1" fmla="*/ 371666 w 3716663"/>
              <a:gd name="connsiteY1" fmla="*/ 0 h 5190185"/>
              <a:gd name="connsiteX2" fmla="*/ 3344997 w 3716663"/>
              <a:gd name="connsiteY2" fmla="*/ 0 h 5190185"/>
              <a:gd name="connsiteX3" fmla="*/ 3716663 w 3716663"/>
              <a:gd name="connsiteY3" fmla="*/ 371666 h 5190185"/>
              <a:gd name="connsiteX4" fmla="*/ 3716663 w 3716663"/>
              <a:gd name="connsiteY4" fmla="*/ 4818519 h 5190185"/>
              <a:gd name="connsiteX5" fmla="*/ 3344997 w 3716663"/>
              <a:gd name="connsiteY5" fmla="*/ 5190185 h 5190185"/>
              <a:gd name="connsiteX6" fmla="*/ 371666 w 3716663"/>
              <a:gd name="connsiteY6" fmla="*/ 5190185 h 5190185"/>
              <a:gd name="connsiteX7" fmla="*/ 0 w 3716663"/>
              <a:gd name="connsiteY7" fmla="*/ 4818519 h 5190185"/>
              <a:gd name="connsiteX8" fmla="*/ 0 w 3716663"/>
              <a:gd name="connsiteY8" fmla="*/ 371666 h 5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6663" h="5190185">
                <a:moveTo>
                  <a:pt x="0" y="371666"/>
                </a:moveTo>
                <a:cubicBezTo>
                  <a:pt x="0" y="166401"/>
                  <a:pt x="166401" y="0"/>
                  <a:pt x="371666" y="0"/>
                </a:cubicBezTo>
                <a:lnTo>
                  <a:pt x="3344997" y="0"/>
                </a:lnTo>
                <a:cubicBezTo>
                  <a:pt x="3550262" y="0"/>
                  <a:pt x="3716663" y="166401"/>
                  <a:pt x="3716663" y="371666"/>
                </a:cubicBezTo>
                <a:lnTo>
                  <a:pt x="3716663" y="4818519"/>
                </a:lnTo>
                <a:cubicBezTo>
                  <a:pt x="3716663" y="5023784"/>
                  <a:pt x="3550262" y="5190185"/>
                  <a:pt x="3344997" y="5190185"/>
                </a:cubicBezTo>
                <a:lnTo>
                  <a:pt x="371666" y="5190185"/>
                </a:lnTo>
                <a:cubicBezTo>
                  <a:pt x="166401" y="5190185"/>
                  <a:pt x="0" y="5023784"/>
                  <a:pt x="0" y="4818519"/>
                </a:cubicBezTo>
                <a:lnTo>
                  <a:pt x="0" y="371666"/>
                </a:lnTo>
                <a:close/>
              </a:path>
            </a:pathLst>
          </a:custGeom>
          <a:solidFill>
            <a:srgbClr val="95B3CC">
              <a:lumMod val="20000"/>
              <a:lumOff val="80000"/>
            </a:srgbClr>
          </a:solidFill>
          <a:ln w="38100">
            <a:solidFill>
              <a:srgbClr val="44546A"/>
            </a:solidFill>
          </a:ln>
          <a:effectLst/>
          <a:scene3d>
            <a:camera prst="orthographicFront"/>
            <a:lightRig rig="flat" dir="t"/>
          </a:scene3d>
          <a:sp3d prstMaterial="dkEdge">
            <a:bevelT w="8200" h="38100"/>
          </a:sp3d>
        </p:spPr>
        <p:txBody>
          <a:bodyPr spcFirstLastPara="0" vert="horz" wrap="square" lIns="99544" tIns="2175120" rIns="99544" bIns="1137334" numCol="1" spcCol="1058" anchor="t" anchorCtr="1">
            <a:noAutofit/>
          </a:bodyPr>
          <a:lstStyle/>
          <a:p>
            <a:pPr marL="114270" marR="0" lvl="1" indent="-114270" algn="just" defTabSz="622150" eaLnBrk="1" fontAlgn="auto" latinLnBrk="0" hangingPunct="1">
              <a:lnSpc>
                <a:spcPct val="90000"/>
              </a:lnSpc>
              <a:spcBef>
                <a:spcPct val="0"/>
              </a:spcBef>
              <a:spcAft>
                <a:spcPct val="15000"/>
              </a:spcAft>
              <a:buClrTx/>
              <a:buSzTx/>
              <a:buFontTx/>
              <a:buChar char="••"/>
              <a:tabLst/>
              <a:defRPr/>
            </a:pPr>
            <a:endParaRPr kumimoji="0" lang="en-IN" sz="1400" b="0" i="0" u="none" strike="noStrike" kern="0" cap="none" spc="0" normalizeH="0" baseline="0" noProof="0" dirty="0">
              <a:ln>
                <a:noFill/>
              </a:ln>
              <a:solidFill>
                <a:srgbClr val="44546A">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21" name="Oval 20"/>
          <p:cNvSpPr/>
          <p:nvPr/>
        </p:nvSpPr>
        <p:spPr>
          <a:xfrm>
            <a:off x="7154885" y="981651"/>
            <a:ext cx="1079999" cy="1079999"/>
          </a:xfrm>
          <a:prstGeom prst="ellipse">
            <a:avLst/>
          </a:prstGeom>
          <a:solidFill>
            <a:sysClr val="window" lastClr="FFFFFF"/>
          </a:solidFill>
          <a:ln w="38100" cap="flat" cmpd="sng" algn="ctr">
            <a:solidFill>
              <a:srgbClr val="44546A"/>
            </a:solidFill>
            <a:prstDash val="solid"/>
            <a:miter lim="800000"/>
          </a:ln>
          <a:effectLst/>
        </p:spPr>
      </p:sp>
      <p:sp>
        <p:nvSpPr>
          <p:cNvPr id="22" name="Freeform 21"/>
          <p:cNvSpPr/>
          <p:nvPr/>
        </p:nvSpPr>
        <p:spPr>
          <a:xfrm>
            <a:off x="8348870" y="1102800"/>
            <a:ext cx="3432908" cy="4773948"/>
          </a:xfrm>
          <a:custGeom>
            <a:avLst/>
            <a:gdLst>
              <a:gd name="connsiteX0" fmla="*/ 0 w 3716663"/>
              <a:gd name="connsiteY0" fmla="*/ 371666 h 5190185"/>
              <a:gd name="connsiteX1" fmla="*/ 371666 w 3716663"/>
              <a:gd name="connsiteY1" fmla="*/ 0 h 5190185"/>
              <a:gd name="connsiteX2" fmla="*/ 3344997 w 3716663"/>
              <a:gd name="connsiteY2" fmla="*/ 0 h 5190185"/>
              <a:gd name="connsiteX3" fmla="*/ 3716663 w 3716663"/>
              <a:gd name="connsiteY3" fmla="*/ 371666 h 5190185"/>
              <a:gd name="connsiteX4" fmla="*/ 3716663 w 3716663"/>
              <a:gd name="connsiteY4" fmla="*/ 4818519 h 5190185"/>
              <a:gd name="connsiteX5" fmla="*/ 3344997 w 3716663"/>
              <a:gd name="connsiteY5" fmla="*/ 5190185 h 5190185"/>
              <a:gd name="connsiteX6" fmla="*/ 371666 w 3716663"/>
              <a:gd name="connsiteY6" fmla="*/ 5190185 h 5190185"/>
              <a:gd name="connsiteX7" fmla="*/ 0 w 3716663"/>
              <a:gd name="connsiteY7" fmla="*/ 4818519 h 5190185"/>
              <a:gd name="connsiteX8" fmla="*/ 0 w 3716663"/>
              <a:gd name="connsiteY8" fmla="*/ 371666 h 519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6663" h="5190185">
                <a:moveTo>
                  <a:pt x="0" y="371666"/>
                </a:moveTo>
                <a:cubicBezTo>
                  <a:pt x="0" y="166401"/>
                  <a:pt x="166401" y="0"/>
                  <a:pt x="371666" y="0"/>
                </a:cubicBezTo>
                <a:lnTo>
                  <a:pt x="3344997" y="0"/>
                </a:lnTo>
                <a:cubicBezTo>
                  <a:pt x="3550262" y="0"/>
                  <a:pt x="3716663" y="166401"/>
                  <a:pt x="3716663" y="371666"/>
                </a:cubicBezTo>
                <a:lnTo>
                  <a:pt x="3716663" y="4818519"/>
                </a:lnTo>
                <a:cubicBezTo>
                  <a:pt x="3716663" y="5023784"/>
                  <a:pt x="3550262" y="5190185"/>
                  <a:pt x="3344997" y="5190185"/>
                </a:cubicBezTo>
                <a:lnTo>
                  <a:pt x="371666" y="5190185"/>
                </a:lnTo>
                <a:cubicBezTo>
                  <a:pt x="166401" y="5190185"/>
                  <a:pt x="0" y="5023784"/>
                  <a:pt x="0" y="4818519"/>
                </a:cubicBezTo>
                <a:lnTo>
                  <a:pt x="0" y="371666"/>
                </a:lnTo>
                <a:close/>
              </a:path>
            </a:pathLst>
          </a:custGeom>
          <a:solidFill>
            <a:srgbClr val="BEB7A9">
              <a:lumMod val="20000"/>
              <a:lumOff val="80000"/>
            </a:srgbClr>
          </a:solidFill>
          <a:ln w="38100">
            <a:solidFill>
              <a:srgbClr val="7B1E29"/>
            </a:solidFill>
          </a:ln>
          <a:effectLst/>
          <a:scene3d>
            <a:camera prst="orthographicFront"/>
            <a:lightRig rig="flat" dir="t"/>
          </a:scene3d>
          <a:sp3d prstMaterial="dkEdge">
            <a:bevelT w="8200" h="38100"/>
          </a:sp3d>
        </p:spPr>
        <p:txBody>
          <a:bodyPr spcFirstLastPara="0" vert="horz" wrap="square" lIns="99544" tIns="2175120" rIns="99544" bIns="1137334" numCol="1" spcCol="1058" anchor="t" anchorCtr="1">
            <a:noAutofit/>
          </a:bodyPr>
          <a:lstStyle/>
          <a:p>
            <a:pPr marL="0" marR="0" lvl="0" indent="0" defTabSz="622150" eaLnBrk="1" fontAlgn="auto" latinLnBrk="0" hangingPunct="1">
              <a:lnSpc>
                <a:spcPct val="90000"/>
              </a:lnSpc>
              <a:spcBef>
                <a:spcPct val="0"/>
              </a:spcBef>
              <a:spcAft>
                <a:spcPct val="35000"/>
              </a:spcAft>
              <a:buClrTx/>
              <a:buSzTx/>
              <a:buFontTx/>
              <a:buNone/>
              <a:tabLst/>
              <a:defRPr/>
            </a:pPr>
            <a:endParaRPr kumimoji="0" lang="en-IN" sz="1400" b="1" i="0" u="none" strike="noStrike" kern="0" cap="none" spc="0" normalizeH="0" baseline="0" noProof="0" dirty="0">
              <a:ln>
                <a:noFill/>
              </a:ln>
              <a:solidFill>
                <a:srgbClr val="44546A">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23" name="Oval 22"/>
          <p:cNvSpPr/>
          <p:nvPr/>
        </p:nvSpPr>
        <p:spPr>
          <a:xfrm>
            <a:off x="10812435" y="981651"/>
            <a:ext cx="1079999" cy="1079999"/>
          </a:xfrm>
          <a:prstGeom prst="ellipse">
            <a:avLst/>
          </a:prstGeom>
          <a:solidFill>
            <a:sysClr val="window" lastClr="FFFFFF"/>
          </a:solidFill>
          <a:ln w="38100" cap="flat" cmpd="sng" algn="ctr">
            <a:solidFill>
              <a:srgbClr val="7B1E29"/>
            </a:solidFill>
            <a:prstDash val="solid"/>
            <a:miter lim="800000"/>
          </a:ln>
          <a:effectLst/>
        </p:spPr>
      </p:sp>
      <p:sp>
        <p:nvSpPr>
          <p:cNvPr id="24" name="TextBox 23"/>
          <p:cNvSpPr txBox="1"/>
          <p:nvPr/>
        </p:nvSpPr>
        <p:spPr>
          <a:xfrm>
            <a:off x="1073179" y="6344801"/>
            <a:ext cx="2473602" cy="230828"/>
          </a:xfrm>
          <a:prstGeom prst="rect">
            <a:avLst/>
          </a:prstGeom>
          <a:noFill/>
        </p:spPr>
        <p:txBody>
          <a:bodyPr wrap="square" lIns="76182" tIns="38090" rIns="76182" bIns="38090" rtlCol="0">
            <a:spAutoFit/>
          </a:bodyPr>
          <a:lstStyle/>
          <a:p>
            <a:pPr defTabSz="914143">
              <a:defRPr/>
            </a:pPr>
            <a:r>
              <a:rPr lang="en-IN" sz="1000" i="1" dirty="0">
                <a:solidFill>
                  <a:prstClr val="black"/>
                </a:solidFill>
                <a:latin typeface="Arial" panose="020B0604020202020204" pitchFamily="34" charset="0"/>
                <a:cs typeface="Arial" panose="020B0604020202020204" pitchFamily="34" charset="0"/>
              </a:rPr>
              <a:t>Source – Industry, CRISIL Research</a:t>
            </a:r>
          </a:p>
        </p:txBody>
      </p:sp>
      <p:pic>
        <p:nvPicPr>
          <p:cNvPr id="25" name="Picture 24">
            <a:extLst>
              <a:ext uri="{FF2B5EF4-FFF2-40B4-BE49-F238E27FC236}">
                <a16:creationId xmlns:a16="http://schemas.microsoft.com/office/drawing/2014/main" id="{CAEDF72B-F765-4DFB-B568-37D3427C05C2}"/>
              </a:ext>
            </a:extLst>
          </p:cNvPr>
          <p:cNvPicPr>
            <a:picLocks noChangeAspect="1"/>
          </p:cNvPicPr>
          <p:nvPr/>
        </p:nvPicPr>
        <p:blipFill rotWithShape="1">
          <a:blip r:embed="rId2" cstate="print">
            <a:grayscl/>
            <a:extLst>
              <a:ext uri="{28A0092B-C50C-407E-A947-70E740481C1C}">
                <a14:useLocalDpi xmlns:a14="http://schemas.microsoft.com/office/drawing/2010/main" val="0"/>
              </a:ext>
            </a:extLst>
          </a:blip>
          <a:srcRect l="20994" t="9018" r="18375" b="10702"/>
          <a:stretch/>
        </p:blipFill>
        <p:spPr>
          <a:xfrm>
            <a:off x="11093801" y="1183782"/>
            <a:ext cx="486776" cy="644529"/>
          </a:xfrm>
          <a:prstGeom prst="rect">
            <a:avLst/>
          </a:prstGeom>
        </p:spPr>
      </p:pic>
      <p:sp>
        <p:nvSpPr>
          <p:cNvPr id="26" name="Rectangle 25"/>
          <p:cNvSpPr/>
          <p:nvPr/>
        </p:nvSpPr>
        <p:spPr>
          <a:xfrm>
            <a:off x="428560" y="1342603"/>
            <a:ext cx="3974976" cy="3245484"/>
          </a:xfrm>
          <a:prstGeom prst="rect">
            <a:avLst/>
          </a:prstGeom>
        </p:spPr>
        <p:txBody>
          <a:bodyPr wrap="square" lIns="76182" tIns="38090" rIns="76182" bIns="38090">
            <a:spAutoFit/>
          </a:bodyPr>
          <a:lstStyle/>
          <a:p>
            <a:pPr defTabSz="622150">
              <a:lnSpc>
                <a:spcPct val="150000"/>
              </a:lnSpc>
              <a:spcBef>
                <a:spcPct val="0"/>
              </a:spcBef>
              <a:spcAft>
                <a:spcPct val="35000"/>
              </a:spcAft>
              <a:defRPr/>
            </a:pPr>
            <a:r>
              <a:rPr lang="en-IN" sz="1400" b="1" dirty="0">
                <a:solidFill>
                  <a:prstClr val="black"/>
                </a:solidFill>
                <a:latin typeface="Arial" panose="020B0604020202020204" pitchFamily="34" charset="0"/>
                <a:cs typeface="Arial" panose="020B0604020202020204" pitchFamily="34" charset="0"/>
              </a:rPr>
              <a:t>OEM</a:t>
            </a:r>
          </a:p>
          <a:p>
            <a:pPr marL="171415" indent="-171415">
              <a:buFont typeface="Arial" panose="020B0604020202020204" pitchFamily="34" charset="0"/>
              <a:buChar char="•"/>
              <a:defRPr/>
            </a:pPr>
            <a:endParaRPr lang="en-US" sz="1200" dirty="0">
              <a:solidFill>
                <a:prstClr val="black"/>
              </a:solidFill>
              <a:latin typeface="Arial" panose="020B0604020202020204" pitchFamily="34" charset="0"/>
              <a:cs typeface="Arial" panose="020B0604020202020204" pitchFamily="34" charset="0"/>
            </a:endParaRPr>
          </a:p>
          <a:p>
            <a:pPr marL="171415" indent="-171415">
              <a:buFont typeface="Arial" panose="020B0604020202020204" pitchFamily="34" charset="0"/>
              <a:buChar char="•"/>
              <a:defRPr/>
            </a:pPr>
            <a:endParaRPr lang="en-US" sz="1200" dirty="0">
              <a:solidFill>
                <a:prstClr val="black"/>
              </a:solidFill>
              <a:latin typeface="Arial" panose="020B0604020202020204" pitchFamily="34" charset="0"/>
              <a:cs typeface="Arial" panose="020B0604020202020204" pitchFamily="34" charset="0"/>
            </a:endParaRPr>
          </a:p>
          <a:p>
            <a:pPr marL="171415" indent="-171415">
              <a:buFont typeface="Arial" panose="020B0604020202020204" pitchFamily="34" charset="0"/>
              <a:buChar char="•"/>
            </a:pPr>
            <a:r>
              <a:rPr lang="en-US" sz="1200" dirty="0">
                <a:latin typeface="Arial" panose="020B0604020202020204" pitchFamily="34" charset="0"/>
                <a:cs typeface="Arial" panose="020B0604020202020204" pitchFamily="34" charset="0"/>
              </a:rPr>
              <a:t>Higher inventory levels, lower replacement demand and negative retail sentiments due to higher retail prices to hamper demand.</a:t>
            </a:r>
          </a:p>
          <a:p>
            <a:pPr marL="171415" indent="-171415">
              <a:buFont typeface="Arial" panose="020B0604020202020204" pitchFamily="34" charset="0"/>
              <a:buChar char="•"/>
            </a:pPr>
            <a:r>
              <a:rPr lang="en-US" sz="1200" dirty="0">
                <a:solidFill>
                  <a:prstClr val="black"/>
                </a:solidFill>
                <a:latin typeface="Arial" panose="020B0604020202020204" pitchFamily="34" charset="0"/>
                <a:cs typeface="Arial" panose="020B0604020202020204" pitchFamily="34" charset="0"/>
              </a:rPr>
              <a:t>Price hikes to the tune of 2-4% expected to be taken by OEMs to counter rising commodity inflation to further dampen prospects of healthy sales.</a:t>
            </a:r>
          </a:p>
          <a:p>
            <a:pPr marL="171415" indent="-171415">
              <a:buFont typeface="Arial" panose="020B0604020202020204" pitchFamily="34" charset="0"/>
              <a:buChar char="•"/>
            </a:pPr>
            <a:r>
              <a:rPr lang="en-US" sz="1200" dirty="0">
                <a:latin typeface="Arial" panose="020B0604020202020204" pitchFamily="34" charset="0"/>
                <a:cs typeface="Arial" panose="020B0604020202020204" pitchFamily="34" charset="0"/>
              </a:rPr>
              <a:t>Clearing of sugarcane arrears in Maharashtra, higher prices fetched for soybean and increase in demand for lower hp tractor (&lt;30) to have led to increase in sales</a:t>
            </a:r>
            <a:r>
              <a:rPr lang="en-US" sz="1200" dirty="0">
                <a:solidFill>
                  <a:prstClr val="black"/>
                </a:solidFill>
                <a:latin typeface="Arial" panose="020B0604020202020204" pitchFamily="34" charset="0"/>
                <a:cs typeface="Arial" panose="020B0604020202020204" pitchFamily="34" charset="0"/>
              </a:rPr>
              <a:t>.</a:t>
            </a:r>
          </a:p>
          <a:p>
            <a:pPr marL="171415" indent="-171415">
              <a:buFont typeface="Arial" panose="020B0604020202020204" pitchFamily="34" charset="0"/>
              <a:buChar char="•"/>
            </a:pPr>
            <a:r>
              <a:rPr lang="en-US" sz="1200" dirty="0">
                <a:solidFill>
                  <a:prstClr val="black"/>
                </a:solidFill>
                <a:latin typeface="Arial" panose="020B0604020202020204" pitchFamily="34" charset="0"/>
                <a:cs typeface="Arial" panose="020B0604020202020204" pitchFamily="34" charset="0"/>
              </a:rPr>
              <a:t>Illegal mining activities are at a standstill in states such as Bihar, Jharkhand and Uttar Pradesh which is expected to impact commercial demand negatively.</a:t>
            </a:r>
          </a:p>
        </p:txBody>
      </p:sp>
      <p:sp>
        <p:nvSpPr>
          <p:cNvPr id="27" name="Rectangle 26"/>
          <p:cNvSpPr/>
          <p:nvPr/>
        </p:nvSpPr>
        <p:spPr>
          <a:xfrm>
            <a:off x="4508381" y="1286426"/>
            <a:ext cx="3559124" cy="5593499"/>
          </a:xfrm>
          <a:prstGeom prst="rect">
            <a:avLst/>
          </a:prstGeom>
        </p:spPr>
        <p:txBody>
          <a:bodyPr wrap="square" lIns="76182" tIns="38090" rIns="76182" bIns="38090">
            <a:spAutoFit/>
          </a:bodyPr>
          <a:lstStyle/>
          <a:p>
            <a:pPr algn="just" defTabSz="622150">
              <a:lnSpc>
                <a:spcPct val="150000"/>
              </a:lnSpc>
              <a:spcBef>
                <a:spcPct val="0"/>
              </a:spcBef>
              <a:spcAft>
                <a:spcPct val="35000"/>
              </a:spcAft>
              <a:defRPr/>
            </a:pPr>
            <a:r>
              <a:rPr lang="en-IN" sz="1400" b="1" dirty="0">
                <a:solidFill>
                  <a:srgbClr val="44546A"/>
                </a:solidFill>
                <a:latin typeface="Arial" panose="020B0604020202020204" pitchFamily="34" charset="0"/>
                <a:cs typeface="Arial" panose="020B0604020202020204" pitchFamily="34" charset="0"/>
              </a:rPr>
              <a:t>Dealer</a:t>
            </a:r>
          </a:p>
          <a:p>
            <a:pPr algn="just" defTabSz="1097016">
              <a:lnSpc>
                <a:spcPct val="150000"/>
              </a:lnSpc>
              <a:defRPr/>
            </a:pPr>
            <a:endParaRPr lang="en-US" sz="1200" dirty="0">
              <a:solidFill>
                <a:prstClr val="black"/>
              </a:solidFill>
              <a:latin typeface="Arial" panose="020B0604020202020204" pitchFamily="34" charset="0"/>
              <a:cs typeface="Arial" panose="020B0604020202020204" pitchFamily="34" charset="0"/>
            </a:endParaRPr>
          </a:p>
          <a:p>
            <a:pPr marL="285694" indent="-285694" defTabSz="799940">
              <a:lnSpc>
                <a:spcPct val="90000"/>
              </a:lnSpc>
              <a:spcBef>
                <a:spcPct val="0"/>
              </a:spcBef>
              <a:spcAft>
                <a:spcPct val="35000"/>
              </a:spcAft>
              <a:buFont typeface="Arial" panose="020B0604020202020204" pitchFamily="34" charset="0"/>
              <a:buChar char="•"/>
              <a:defRPr/>
            </a:pPr>
            <a:endParaRPr lang="en-US" sz="1200" dirty="0">
              <a:solidFill>
                <a:prstClr val="black"/>
              </a:solidFill>
              <a:latin typeface="Arial" panose="020B0604020202020204" pitchFamily="34" charset="0"/>
              <a:cs typeface="Arial" panose="020B0604020202020204" pitchFamily="34" charset="0"/>
            </a:endParaRPr>
          </a:p>
          <a:p>
            <a:pPr marL="171415" indent="-171415">
              <a:buFont typeface="Arial" panose="020B0604020202020204" pitchFamily="34" charset="0"/>
              <a:buChar char="•"/>
            </a:pPr>
            <a:r>
              <a:rPr lang="en-US" sz="1200" dirty="0">
                <a:latin typeface="Arial" panose="020B0604020202020204" pitchFamily="34" charset="0"/>
                <a:cs typeface="Arial" panose="020B0604020202020204" pitchFamily="34" charset="0"/>
              </a:rPr>
              <a:t>Sentiments have improved well from previous two months. Ukraine war has cause price increase in wheat that is creating good sentiments.</a:t>
            </a:r>
            <a:endParaRPr lang="en-US" sz="1200" dirty="0">
              <a:solidFill>
                <a:prstClr val="black"/>
              </a:solidFill>
              <a:latin typeface="Arial" panose="020B0604020202020204" pitchFamily="34" charset="0"/>
              <a:cs typeface="Arial" panose="020B0604020202020204" pitchFamily="34" charset="0"/>
            </a:endParaRPr>
          </a:p>
          <a:p>
            <a:pPr marL="171415" indent="-171415">
              <a:buFont typeface="Arial" panose="020B0604020202020204" pitchFamily="34" charset="0"/>
              <a:buChar char="•"/>
            </a:pPr>
            <a:r>
              <a:rPr lang="en-US" sz="1200" dirty="0">
                <a:solidFill>
                  <a:prstClr val="black"/>
                </a:solidFill>
                <a:latin typeface="Arial" panose="020B0604020202020204" pitchFamily="34" charset="0"/>
                <a:cs typeface="Arial" panose="020B0604020202020204" pitchFamily="34" charset="0"/>
              </a:rPr>
              <a:t>Normally farmers used to stock up the crops and sell it when prices are being but currently due to R-U crisis they are insisting not to stock up and sell it in market as soon as it is harvested.</a:t>
            </a:r>
          </a:p>
          <a:p>
            <a:pPr marL="171415" indent="-171415">
              <a:buFont typeface="Arial" panose="020B0604020202020204" pitchFamily="34" charset="0"/>
              <a:buChar char="•"/>
            </a:pPr>
            <a:r>
              <a:rPr lang="en-US" sz="1200" dirty="0">
                <a:solidFill>
                  <a:prstClr val="black"/>
                </a:solidFill>
                <a:latin typeface="Arial" panose="020B0604020202020204" pitchFamily="34" charset="0"/>
                <a:cs typeface="Arial" panose="020B0604020202020204" pitchFamily="34" charset="0"/>
              </a:rPr>
              <a:t>Farmers are getting prices for cotton and soyabean. Yield is affected because if unseasonal rainfall there is 20-30% damage. Pulses damage was more.</a:t>
            </a:r>
          </a:p>
          <a:p>
            <a:pPr marL="171415" indent="-171415">
              <a:buFont typeface="Arial" panose="020B0604020202020204" pitchFamily="34" charset="0"/>
              <a:buChar char="•"/>
            </a:pPr>
            <a:r>
              <a:rPr lang="en-US" sz="1200" dirty="0">
                <a:solidFill>
                  <a:prstClr val="black"/>
                </a:solidFill>
                <a:latin typeface="Arial" panose="020B0604020202020204" pitchFamily="34" charset="0"/>
                <a:cs typeface="Arial" panose="020B0604020202020204" pitchFamily="34" charset="0"/>
              </a:rPr>
              <a:t>Rabi crops outlook is good. Horticulture crop prices like grapes pomegranate price are not doing good.</a:t>
            </a:r>
          </a:p>
          <a:p>
            <a:pPr marL="171415" indent="-171415">
              <a:buFont typeface="Arial" panose="020B0604020202020204" pitchFamily="34" charset="0"/>
              <a:buChar char="•"/>
            </a:pPr>
            <a:r>
              <a:rPr lang="en-US" sz="1200" dirty="0">
                <a:solidFill>
                  <a:prstClr val="black"/>
                </a:solidFill>
                <a:latin typeface="Arial" panose="020B0604020202020204" pitchFamily="34" charset="0"/>
                <a:cs typeface="Arial" panose="020B0604020202020204" pitchFamily="34" charset="0"/>
              </a:rPr>
              <a:t>Onion prices are also low. Sugarcane production has been more this time because of which there is delay in harvesting</a:t>
            </a:r>
          </a:p>
          <a:p>
            <a:pPr marL="171415" indent="-171415">
              <a:buFont typeface="Arial" panose="020B0604020202020204" pitchFamily="34" charset="0"/>
              <a:buChar char="•"/>
            </a:pPr>
            <a:endParaRPr lang="en-US" sz="1200" dirty="0">
              <a:solidFill>
                <a:prstClr val="black"/>
              </a:solidFill>
              <a:latin typeface="Arial" panose="020B0604020202020204" pitchFamily="34" charset="0"/>
              <a:cs typeface="Arial" panose="020B0604020202020204" pitchFamily="34" charset="0"/>
            </a:endParaRPr>
          </a:p>
          <a:p>
            <a:pPr marL="171415" indent="-171415">
              <a:buFont typeface="Arial" panose="020B0604020202020204" pitchFamily="34" charset="0"/>
              <a:buChar char="•"/>
            </a:pPr>
            <a:endParaRPr lang="en-US" sz="1200" dirty="0">
              <a:solidFill>
                <a:prstClr val="black"/>
              </a:solidFill>
              <a:latin typeface="Arial" panose="020B0604020202020204" pitchFamily="34" charset="0"/>
              <a:cs typeface="Arial" panose="020B0604020202020204" pitchFamily="34" charset="0"/>
            </a:endParaRPr>
          </a:p>
          <a:p>
            <a:pPr marL="114270" lvl="1" indent="-114270" defTabSz="622150">
              <a:lnSpc>
                <a:spcPct val="150000"/>
              </a:lnSpc>
              <a:spcBef>
                <a:spcPct val="0"/>
              </a:spcBef>
              <a:spcAft>
                <a:spcPct val="15000"/>
              </a:spcAft>
              <a:buFontTx/>
              <a:buChar char="••"/>
              <a:defRPr/>
            </a:pPr>
            <a:endParaRPr lang="en-IN" sz="1200" dirty="0">
              <a:solidFill>
                <a:prstClr val="black"/>
              </a:solidFill>
              <a:latin typeface="Arial" panose="020B0604020202020204" pitchFamily="34" charset="0"/>
              <a:cs typeface="Arial" panose="020B0604020202020204" pitchFamily="34" charset="0"/>
            </a:endParaRPr>
          </a:p>
          <a:p>
            <a:pPr marL="114270" lvl="1" indent="-114270" defTabSz="622150">
              <a:lnSpc>
                <a:spcPct val="150000"/>
              </a:lnSpc>
              <a:spcBef>
                <a:spcPct val="0"/>
              </a:spcBef>
              <a:spcAft>
                <a:spcPct val="15000"/>
              </a:spcAft>
              <a:buFontTx/>
              <a:buChar char="••"/>
              <a:defRPr/>
            </a:pPr>
            <a:endParaRPr lang="en-IN" sz="1200" dirty="0">
              <a:solidFill>
                <a:prstClr val="black"/>
              </a:solidFill>
              <a:latin typeface="Arial" panose="020B0604020202020204" pitchFamily="34" charset="0"/>
              <a:cs typeface="Arial" panose="020B0604020202020204" pitchFamily="34" charset="0"/>
            </a:endParaRPr>
          </a:p>
        </p:txBody>
      </p:sp>
      <p:sp>
        <p:nvSpPr>
          <p:cNvPr id="28" name="Rectangle 27"/>
          <p:cNvSpPr/>
          <p:nvPr/>
        </p:nvSpPr>
        <p:spPr>
          <a:xfrm>
            <a:off x="8441636" y="1259756"/>
            <a:ext cx="3138942" cy="2442187"/>
          </a:xfrm>
          <a:prstGeom prst="rect">
            <a:avLst/>
          </a:prstGeom>
        </p:spPr>
        <p:txBody>
          <a:bodyPr wrap="square" lIns="76182" tIns="38090" rIns="76182" bIns="38090">
            <a:spAutoFit/>
          </a:bodyPr>
          <a:lstStyle/>
          <a:p>
            <a:pPr marL="0" lvl="1" defTabSz="622150">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Financier</a:t>
            </a:r>
          </a:p>
          <a:p>
            <a:pPr marL="114270" lvl="1" indent="-114270" defTabSz="622150">
              <a:lnSpc>
                <a:spcPct val="150000"/>
              </a:lnSpc>
              <a:spcBef>
                <a:spcPct val="0"/>
              </a:spcBef>
              <a:spcAft>
                <a:spcPct val="15000"/>
              </a:spcAft>
              <a:buFontTx/>
              <a:buChar char="••"/>
              <a:defRPr/>
            </a:pPr>
            <a:endParaRPr lang="en-IN" sz="1200" dirty="0">
              <a:solidFill>
                <a:prstClr val="black"/>
              </a:solidFill>
              <a:latin typeface="Arial" panose="020B0604020202020204" pitchFamily="34" charset="0"/>
              <a:cs typeface="Arial" panose="020B0604020202020204" pitchFamily="34" charset="0"/>
            </a:endParaRPr>
          </a:p>
          <a:p>
            <a:pPr>
              <a:defRPr/>
            </a:pPr>
            <a:endParaRPr lang="en-IN" sz="1200" dirty="0">
              <a:solidFill>
                <a:prstClr val="black"/>
              </a:solidFill>
              <a:latin typeface="Arial" panose="020B0604020202020204" pitchFamily="34" charset="0"/>
              <a:cs typeface="Arial" panose="020B0604020202020204" pitchFamily="34" charset="0"/>
            </a:endParaRPr>
          </a:p>
          <a:p>
            <a:pPr marL="171415" indent="-171415">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Disbursements to increase at a moderate pace in FY22 on a high base.</a:t>
            </a:r>
          </a:p>
          <a:p>
            <a:pPr marL="171415" indent="-171415">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Non-performing assets are higher in public banks as compared with private banks and NBFCs. </a:t>
            </a:r>
          </a:p>
          <a:p>
            <a:pPr marL="171415" indent="-171415">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LTVs are estimated to have grown from 75.5% in fiscal 2021 to 76% in fiscal 2022.</a:t>
            </a:r>
          </a:p>
        </p:txBody>
      </p:sp>
      <p:sp>
        <p:nvSpPr>
          <p:cNvPr id="29" name="Title 1">
            <a:extLst>
              <a:ext uri="{FF2B5EF4-FFF2-40B4-BE49-F238E27FC236}">
                <a16:creationId xmlns:a16="http://schemas.microsoft.com/office/drawing/2014/main" id="{B4D66F93-F7D3-4652-81A5-36FAECAAFF48}"/>
              </a:ext>
            </a:extLst>
          </p:cNvPr>
          <p:cNvSpPr txBox="1">
            <a:spLocks/>
          </p:cNvSpPr>
          <p:nvPr/>
        </p:nvSpPr>
        <p:spPr>
          <a:xfrm>
            <a:off x="265055" y="154066"/>
            <a:ext cx="11602487" cy="859031"/>
          </a:xfrm>
          <a:prstGeom prst="rect">
            <a:avLst/>
          </a:prstGeom>
        </p:spPr>
        <p:txBody>
          <a:bodyPr lIns="91421" tIns="45712" rIns="91421" bIns="45712"/>
          <a:lstStyle>
            <a:lvl1pPr algn="l" defTabSz="914363"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3200" b="1" dirty="0">
                <a:solidFill>
                  <a:prstClr val="black"/>
                </a:solidFill>
                <a:latin typeface="Arial" panose="020B0604020202020204" pitchFamily="34" charset="0"/>
                <a:cs typeface="Arial" panose="020B0604020202020204" pitchFamily="34" charset="0"/>
              </a:rPr>
              <a:t>Stakeholder interactions</a:t>
            </a:r>
          </a:p>
        </p:txBody>
      </p:sp>
      <p:pic>
        <p:nvPicPr>
          <p:cNvPr id="30" name="Picture 29"/>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7335652" y="1130496"/>
            <a:ext cx="691163" cy="713949"/>
          </a:xfrm>
          <a:prstGeom prst="rect">
            <a:avLst/>
          </a:prstGeom>
        </p:spPr>
      </p:pic>
      <p:pic>
        <p:nvPicPr>
          <p:cNvPr id="31" name="Picture 30"/>
          <p:cNvPicPr>
            <a:picLocks noChangeAspect="1"/>
          </p:cNvPicPr>
          <p:nvPr/>
        </p:nvPicPr>
        <p:blipFill rotWithShape="1">
          <a:blip r:embed="rId5" cstate="print">
            <a:duotone>
              <a:srgbClr val="95B3CC">
                <a:shade val="45000"/>
                <a:satMod val="135000"/>
              </a:srgbClr>
              <a:prstClr val="white"/>
            </a:duotone>
            <a:extLst>
              <a:ext uri="{28A0092B-C50C-407E-A947-70E740481C1C}">
                <a14:useLocalDpi xmlns:a14="http://schemas.microsoft.com/office/drawing/2010/main" val="0"/>
              </a:ext>
            </a:extLst>
          </a:blip>
          <a:srcRect t="8536" r="12045" b="11444"/>
          <a:stretch/>
        </p:blipFill>
        <p:spPr>
          <a:xfrm>
            <a:off x="3520643" y="1160764"/>
            <a:ext cx="691975" cy="679915"/>
          </a:xfrm>
          <a:prstGeom prst="rect">
            <a:avLst/>
          </a:prstGeom>
        </p:spPr>
      </p:pic>
    </p:spTree>
    <p:extLst>
      <p:ext uri="{BB962C8B-B14F-4D97-AF65-F5344CB8AC3E}">
        <p14:creationId xmlns:p14="http://schemas.microsoft.com/office/powerpoint/2010/main" val="3157685437"/>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ractor exports</a:t>
            </a:r>
            <a:endParaRPr lang="en-IN" dirty="0"/>
          </a:p>
        </p:txBody>
      </p:sp>
    </p:spTree>
    <p:extLst>
      <p:ext uri="{BB962C8B-B14F-4D97-AF65-F5344CB8AC3E}">
        <p14:creationId xmlns:p14="http://schemas.microsoft.com/office/powerpoint/2010/main" val="2759673213"/>
      </p:ext>
    </p:extLst>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000" y="72868"/>
            <a:ext cx="11562328" cy="656412"/>
          </a:xfrm>
        </p:spPr>
        <p:txBody>
          <a:bodyPr>
            <a:noAutofit/>
          </a:bodyPr>
          <a:lstStyle/>
          <a:p>
            <a:r>
              <a:rPr lang="en-US" sz="3200" dirty="0"/>
              <a:t>Growth in exports expected to continue in FY22</a:t>
            </a:r>
          </a:p>
        </p:txBody>
      </p:sp>
      <p:grpSp>
        <p:nvGrpSpPr>
          <p:cNvPr id="3" name="Group 2">
            <a:extLst>
              <a:ext uri="{FF2B5EF4-FFF2-40B4-BE49-F238E27FC236}">
                <a16:creationId xmlns:a16="http://schemas.microsoft.com/office/drawing/2014/main" id="{7C004A54-D3EA-41D0-B8EF-6462135D6119}"/>
              </a:ext>
            </a:extLst>
          </p:cNvPr>
          <p:cNvGrpSpPr/>
          <p:nvPr/>
        </p:nvGrpSpPr>
        <p:grpSpPr>
          <a:xfrm>
            <a:off x="366000" y="801890"/>
            <a:ext cx="11530268" cy="4264368"/>
            <a:chOff x="385508" y="917518"/>
            <a:chExt cx="11530268" cy="3677608"/>
          </a:xfrm>
        </p:grpSpPr>
        <p:sp>
          <p:nvSpPr>
            <p:cNvPr id="18" name="Rectangle 17"/>
            <p:cNvSpPr/>
            <p:nvPr/>
          </p:nvSpPr>
          <p:spPr>
            <a:xfrm rot="5400000">
              <a:off x="8936284" y="-1736011"/>
              <a:ext cx="315433" cy="5643550"/>
            </a:xfrm>
            <a:prstGeom prst="rect">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Player wise market share of exports </a:t>
              </a:r>
            </a:p>
          </p:txBody>
        </p:sp>
        <p:sp>
          <p:nvSpPr>
            <p:cNvPr id="15" name="Rectangle 14"/>
            <p:cNvSpPr/>
            <p:nvPr/>
          </p:nvSpPr>
          <p:spPr>
            <a:xfrm>
              <a:off x="385508" y="4314697"/>
              <a:ext cx="5098166" cy="212342"/>
            </a:xfrm>
            <a:prstGeom prst="rect">
              <a:avLst/>
            </a:prstGeom>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RISIL Research</a:t>
              </a:r>
              <a:endPar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rot="5400000">
              <a:off x="3012082" y="-1704917"/>
              <a:ext cx="315433" cy="5560304"/>
            </a:xfrm>
            <a:prstGeom prst="rect">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egment wise market share of exports</a:t>
              </a:r>
              <a:endParaRPr kumimoji="0" lang="en-GB" sz="15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Rectangle 11"/>
            <p:cNvSpPr/>
            <p:nvPr/>
          </p:nvSpPr>
          <p:spPr>
            <a:xfrm>
              <a:off x="6287191" y="4382784"/>
              <a:ext cx="5098166" cy="212342"/>
            </a:xfrm>
            <a:prstGeom prst="rect">
              <a:avLst/>
            </a:prstGeom>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RISIL Research</a:t>
              </a:r>
              <a:endPar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6" name="TextBox 15">
            <a:extLst>
              <a:ext uri="{FF2B5EF4-FFF2-40B4-BE49-F238E27FC236}">
                <a16:creationId xmlns:a16="http://schemas.microsoft.com/office/drawing/2014/main" id="{A174E600-D2A6-4C84-B07F-FEFB91C2C4D2}"/>
              </a:ext>
            </a:extLst>
          </p:cNvPr>
          <p:cNvSpPr txBox="1"/>
          <p:nvPr/>
        </p:nvSpPr>
        <p:spPr>
          <a:xfrm>
            <a:off x="366000" y="5178272"/>
            <a:ext cx="11430068" cy="1015647"/>
          </a:xfrm>
          <a:prstGeom prst="rect">
            <a:avLst/>
          </a:prstGeom>
          <a:solidFill>
            <a:schemeClr val="bg1">
              <a:lumMod val="85000"/>
            </a:schemeClr>
          </a:solidFill>
        </p:spPr>
        <p:txBody>
          <a:bodyPr wrap="square" lIns="91421" tIns="45712" rIns="91421" bIns="45712" rtlCol="0" anchor="ctr">
            <a:spAutoFit/>
          </a:bodyPr>
          <a:lstStyle/>
          <a:p>
            <a:pPr marL="171415" lvl="0" indent="-171415">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vorable diplomatic relationship with Bangladesh and logistical ease between both countries has led to rise in exports to the nation.</a:t>
            </a:r>
          </a:p>
          <a:p>
            <a:pPr marL="171415" lvl="0" indent="-171415">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ic push, such as setting up base in foreign countries, by players to cater to the global demand is also expected to push export sales</a:t>
            </a:r>
          </a:p>
          <a:p>
            <a:pPr marL="171415" lvl="0" indent="-171415">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L's Solis brand has also been gaining popularity in the European markets.</a:t>
            </a:r>
          </a:p>
          <a:p>
            <a:pPr marL="171415" lvl="0" indent="-171415">
              <a:buFont typeface="Arial" panose="020B0604020202020204" pitchFamily="34" charset="0"/>
              <a:buChar cha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corts reduced exports from its Poland factory and has started exporting from India. Mahindra is a dominant player in exports to the United States and Asian nations.</a:t>
            </a:r>
          </a:p>
        </p:txBody>
      </p:sp>
      <p:graphicFrame>
        <p:nvGraphicFramePr>
          <p:cNvPr id="11" name="Chart 10">
            <a:extLst>
              <a:ext uri="{FF2B5EF4-FFF2-40B4-BE49-F238E27FC236}">
                <a16:creationId xmlns:a16="http://schemas.microsoft.com/office/drawing/2014/main" id="{1131F297-5443-49A0-866E-86D89EDBFF29}"/>
              </a:ext>
            </a:extLst>
          </p:cNvPr>
          <p:cNvGraphicFramePr>
            <a:graphicFrameLocks/>
          </p:cNvGraphicFramePr>
          <p:nvPr/>
        </p:nvGraphicFramePr>
        <p:xfrm>
          <a:off x="6261560" y="1198753"/>
          <a:ext cx="5666768" cy="33013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C736393C-43EB-4D72-9CBE-17417107085B}"/>
              </a:ext>
            </a:extLst>
          </p:cNvPr>
          <p:cNvGraphicFramePr>
            <a:graphicFrameLocks/>
          </p:cNvGraphicFramePr>
          <p:nvPr/>
        </p:nvGraphicFramePr>
        <p:xfrm>
          <a:off x="366000" y="1173266"/>
          <a:ext cx="5560304" cy="28850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40343583"/>
      </p:ext>
    </p:extLst>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8"/>
            <a:ext cx="8112314" cy="3973881"/>
            <a:chOff x="166688" y="2049463"/>
            <a:chExt cx="8683575" cy="4253716"/>
          </a:xfrm>
        </p:grpSpPr>
        <p:sp>
          <p:nvSpPr>
            <p:cNvPr id="231" name="Rectangle 406"/>
            <p:cNvSpPr>
              <a:spLocks noChangeArrowheads="1"/>
            </p:cNvSpPr>
            <p:nvPr>
              <p:custDataLst>
                <p:tags r:id="rId8"/>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9"/>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10"/>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11"/>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12"/>
              </p:custDataLst>
            </p:nvPr>
          </p:nvSpPr>
          <p:spPr bwMode="gray">
            <a:xfrm>
              <a:off x="5181600"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13"/>
              </p:custDataLst>
            </p:nvPr>
          </p:nvSpPr>
          <p:spPr bwMode="gray">
            <a:xfrm>
              <a:off x="4978401" y="2940051"/>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14"/>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15"/>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16"/>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7"/>
              </p:custDataLst>
            </p:nvPr>
          </p:nvSpPr>
          <p:spPr bwMode="gray">
            <a:xfrm>
              <a:off x="4657726"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8"/>
              </p:custDataLst>
            </p:nvPr>
          </p:nvSpPr>
          <p:spPr bwMode="gray">
            <a:xfrm>
              <a:off x="4449764"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9"/>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20"/>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21"/>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22"/>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23"/>
              </p:custDataLst>
            </p:nvPr>
          </p:nvSpPr>
          <p:spPr bwMode="gray">
            <a:xfrm>
              <a:off x="4938714"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24"/>
              </p:custDataLst>
            </p:nvPr>
          </p:nvSpPr>
          <p:spPr bwMode="gray">
            <a:xfrm>
              <a:off x="4872039"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25"/>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26"/>
              </p:custDataLst>
            </p:nvPr>
          </p:nvSpPr>
          <p:spPr bwMode="gray">
            <a:xfrm>
              <a:off x="4624388" y="2692402"/>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7"/>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8"/>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9"/>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30"/>
              </p:custDataLst>
            </p:nvPr>
          </p:nvSpPr>
          <p:spPr bwMode="gray">
            <a:xfrm>
              <a:off x="4743451"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31"/>
              </p:custDataLst>
            </p:nvPr>
          </p:nvSpPr>
          <p:spPr bwMode="gray">
            <a:xfrm>
              <a:off x="5105401"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32"/>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33"/>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34"/>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35"/>
              </p:custDataLst>
            </p:nvPr>
          </p:nvSpPr>
          <p:spPr bwMode="gray">
            <a:xfrm>
              <a:off x="5126038"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36"/>
              </p:custDataLst>
            </p:nvPr>
          </p:nvSpPr>
          <p:spPr bwMode="gray">
            <a:xfrm>
              <a:off x="5092703"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7"/>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8"/>
              </p:custDataLst>
            </p:nvPr>
          </p:nvSpPr>
          <p:spPr bwMode="gray">
            <a:xfrm>
              <a:off x="4567239"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9"/>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40"/>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41"/>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42"/>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43"/>
              </p:custDataLst>
            </p:nvPr>
          </p:nvSpPr>
          <p:spPr bwMode="gray">
            <a:xfrm>
              <a:off x="4875213" y="3451225"/>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44"/>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45"/>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46"/>
              </p:custDataLst>
            </p:nvPr>
          </p:nvSpPr>
          <p:spPr bwMode="gray">
            <a:xfrm>
              <a:off x="3785175" y="3217862"/>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7"/>
              </p:custDataLst>
            </p:nvPr>
          </p:nvSpPr>
          <p:spPr bwMode="gray">
            <a:xfrm>
              <a:off x="3987801"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8"/>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9"/>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200"/>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8"/>
              </p:custDataLst>
            </p:nvPr>
          </p:nvSpPr>
          <p:spPr bwMode="gray">
            <a:xfrm>
              <a:off x="5373687" y="3621089"/>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9"/>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50"/>
              </p:custDataLst>
            </p:nvPr>
          </p:nvSpPr>
          <p:spPr bwMode="gray">
            <a:xfrm>
              <a:off x="5743576"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51"/>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52"/>
              </p:custDataLst>
            </p:nvPr>
          </p:nvSpPr>
          <p:spPr bwMode="gray">
            <a:xfrm>
              <a:off x="7832723"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53"/>
              </p:custDataLst>
            </p:nvPr>
          </p:nvSpPr>
          <p:spPr bwMode="gray">
            <a:xfrm>
              <a:off x="8181976"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54"/>
              </p:custDataLst>
            </p:nvPr>
          </p:nvSpPr>
          <p:spPr bwMode="gray">
            <a:xfrm>
              <a:off x="6951663"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55"/>
              </p:custDataLst>
            </p:nvPr>
          </p:nvSpPr>
          <p:spPr bwMode="gray">
            <a:xfrm>
              <a:off x="8447088" y="4151312"/>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56"/>
              </p:custDataLst>
            </p:nvPr>
          </p:nvSpPr>
          <p:spPr bwMode="gray">
            <a:xfrm>
              <a:off x="8596313" y="4411662"/>
              <a:ext cx="2539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7"/>
              </p:custDataLst>
            </p:nvPr>
          </p:nvSpPr>
          <p:spPr bwMode="gray">
            <a:xfrm>
              <a:off x="6186487" y="4559302"/>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8"/>
              </p:custDataLst>
            </p:nvPr>
          </p:nvSpPr>
          <p:spPr bwMode="gray">
            <a:xfrm>
              <a:off x="7048499"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9"/>
              </p:custDataLst>
            </p:nvPr>
          </p:nvSpPr>
          <p:spPr bwMode="gray">
            <a:xfrm>
              <a:off x="6789737"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60"/>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61"/>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62"/>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63"/>
              </p:custDataLst>
            </p:nvPr>
          </p:nvSpPr>
          <p:spPr bwMode="gray">
            <a:xfrm>
              <a:off x="6075363" y="3190876"/>
              <a:ext cx="2539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64"/>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65"/>
              </p:custDataLst>
            </p:nvPr>
          </p:nvSpPr>
          <p:spPr bwMode="gray">
            <a:xfrm>
              <a:off x="5478464"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66"/>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7"/>
              </p:custDataLst>
            </p:nvPr>
          </p:nvSpPr>
          <p:spPr bwMode="gray">
            <a:xfrm>
              <a:off x="5537200" y="3727450"/>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8"/>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9"/>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70"/>
              </p:custDataLst>
            </p:nvPr>
          </p:nvSpPr>
          <p:spPr bwMode="gray">
            <a:xfrm>
              <a:off x="5962650" y="3665537"/>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71"/>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72"/>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73"/>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74"/>
              </p:custDataLst>
            </p:nvPr>
          </p:nvSpPr>
          <p:spPr bwMode="gray">
            <a:xfrm>
              <a:off x="5557838" y="4214814"/>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75"/>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76"/>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7"/>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8"/>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9"/>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80"/>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81"/>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82"/>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83"/>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84"/>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85"/>
              </p:custDataLst>
            </p:nvPr>
          </p:nvSpPr>
          <p:spPr bwMode="gray">
            <a:xfrm>
              <a:off x="5345113" y="3763962"/>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86"/>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7"/>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8"/>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9"/>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90"/>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91"/>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92"/>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93"/>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94"/>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95"/>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96"/>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7"/>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8"/>
              </p:custDataLst>
            </p:nvPr>
          </p:nvSpPr>
          <p:spPr bwMode="gray">
            <a:xfrm>
              <a:off x="5218112" y="3727450"/>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9"/>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100"/>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101"/>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102"/>
              </p:custDataLst>
            </p:nvPr>
          </p:nvSpPr>
          <p:spPr bwMode="gray">
            <a:xfrm>
              <a:off x="5453064"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103"/>
              </p:custDataLst>
            </p:nvPr>
          </p:nvSpPr>
          <p:spPr bwMode="gray">
            <a:xfrm>
              <a:off x="5440363" y="3468689"/>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104"/>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105"/>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106"/>
              </p:custDataLst>
            </p:nvPr>
          </p:nvSpPr>
          <p:spPr bwMode="gray">
            <a:xfrm>
              <a:off x="4491038" y="4375151"/>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7"/>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8"/>
              </p:custDataLst>
            </p:nvPr>
          </p:nvSpPr>
          <p:spPr bwMode="gray">
            <a:xfrm>
              <a:off x="4152901"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9"/>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10"/>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11"/>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12"/>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13"/>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14"/>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15"/>
              </p:custDataLst>
            </p:nvPr>
          </p:nvSpPr>
          <p:spPr bwMode="gray">
            <a:xfrm>
              <a:off x="4487864" y="3868739"/>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16"/>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7"/>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8"/>
              </p:custDataLst>
            </p:nvPr>
          </p:nvSpPr>
          <p:spPr bwMode="gray">
            <a:xfrm>
              <a:off x="4430713" y="4140200"/>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9"/>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20"/>
              </p:custDataLst>
            </p:nvPr>
          </p:nvSpPr>
          <p:spPr bwMode="gray">
            <a:xfrm>
              <a:off x="4681538" y="4171950"/>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21"/>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22"/>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23"/>
              </p:custDataLst>
            </p:nvPr>
          </p:nvSpPr>
          <p:spPr bwMode="gray">
            <a:xfrm>
              <a:off x="4921250"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24"/>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25"/>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26"/>
              </p:custDataLst>
            </p:nvPr>
          </p:nvSpPr>
          <p:spPr bwMode="gray">
            <a:xfrm>
              <a:off x="4643439"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7"/>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8"/>
              </p:custDataLst>
            </p:nvPr>
          </p:nvSpPr>
          <p:spPr bwMode="gray">
            <a:xfrm>
              <a:off x="4127501"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9"/>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30"/>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31"/>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32"/>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33"/>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34"/>
              </p:custDataLst>
            </p:nvPr>
          </p:nvSpPr>
          <p:spPr bwMode="gray">
            <a:xfrm>
              <a:off x="5262562" y="5154614"/>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35"/>
              </p:custDataLst>
            </p:nvPr>
          </p:nvSpPr>
          <p:spPr bwMode="gray">
            <a:xfrm>
              <a:off x="4251326"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36"/>
              </p:custDataLst>
            </p:nvPr>
          </p:nvSpPr>
          <p:spPr bwMode="gray">
            <a:xfrm>
              <a:off x="5705475" y="5233989"/>
              <a:ext cx="26939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7"/>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8"/>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9"/>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40"/>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41"/>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42"/>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43"/>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44"/>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45"/>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46"/>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7"/>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8"/>
              </p:custDataLst>
            </p:nvPr>
          </p:nvSpPr>
          <p:spPr bwMode="gray">
            <a:xfrm>
              <a:off x="5284788" y="5024440"/>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9"/>
              </p:custDataLst>
            </p:nvPr>
          </p:nvSpPr>
          <p:spPr bwMode="gray">
            <a:xfrm>
              <a:off x="5299074"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50"/>
              </p:custDataLst>
            </p:nvPr>
          </p:nvSpPr>
          <p:spPr bwMode="gray">
            <a:xfrm>
              <a:off x="5222875" y="5562601"/>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51"/>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52"/>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53"/>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54"/>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55"/>
              </p:custDataLst>
            </p:nvPr>
          </p:nvSpPr>
          <p:spPr bwMode="gray">
            <a:xfrm>
              <a:off x="4445000" y="4637090"/>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56"/>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7"/>
              </p:custDataLst>
            </p:nvPr>
          </p:nvSpPr>
          <p:spPr bwMode="gray">
            <a:xfrm>
              <a:off x="5365751" y="4338639"/>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8"/>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9"/>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60"/>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61"/>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62"/>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63"/>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64"/>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65"/>
              </p:custDataLst>
            </p:nvPr>
          </p:nvSpPr>
          <p:spPr bwMode="gray">
            <a:xfrm>
              <a:off x="2873375" y="5173663"/>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66"/>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7"/>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8"/>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9"/>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70"/>
              </p:custDataLst>
            </p:nvPr>
          </p:nvSpPr>
          <p:spPr bwMode="gray">
            <a:xfrm>
              <a:off x="2482850" y="4713290"/>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71"/>
              </p:custDataLst>
            </p:nvPr>
          </p:nvSpPr>
          <p:spPr bwMode="gray">
            <a:xfrm>
              <a:off x="3049588" y="4443415"/>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72"/>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73"/>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74"/>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75"/>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76"/>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7"/>
              </p:custDataLst>
            </p:nvPr>
          </p:nvSpPr>
          <p:spPr bwMode="gray">
            <a:xfrm>
              <a:off x="1968500" y="4699000"/>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8"/>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9"/>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80"/>
              </p:custDataLst>
            </p:nvPr>
          </p:nvSpPr>
          <p:spPr bwMode="gray">
            <a:xfrm>
              <a:off x="2747963" y="3925887"/>
              <a:ext cx="2985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81"/>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82"/>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83"/>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84"/>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85"/>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86"/>
              </p:custDataLst>
            </p:nvPr>
          </p:nvSpPr>
          <p:spPr bwMode="gray">
            <a:xfrm>
              <a:off x="1952625"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7"/>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8"/>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9"/>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90"/>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91"/>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92"/>
              </p:custDataLst>
            </p:nvPr>
          </p:nvSpPr>
          <p:spPr bwMode="gray">
            <a:xfrm>
              <a:off x="2098675"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93"/>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94"/>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95"/>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96"/>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7"/>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450" name="Title 1"/>
          <p:cNvSpPr>
            <a:spLocks noGrp="1"/>
          </p:cNvSpPr>
          <p:nvPr>
            <p:ph type="title"/>
          </p:nvPr>
        </p:nvSpPr>
        <p:spPr>
          <a:xfrm>
            <a:off x="373858" y="225184"/>
            <a:ext cx="10515600" cy="392415"/>
          </a:xfrm>
        </p:spPr>
        <p:txBody>
          <a:bodyPr vert="horz" lIns="0" tIns="0" rIns="0" bIns="0" rtlCol="0" anchor="ctr">
            <a:noAutofit/>
          </a:bodyPr>
          <a:lstStyle/>
          <a:p>
            <a:pPr fontAlgn="base"/>
            <a:r>
              <a:rPr lang="en-US" sz="3200" b="1" dirty="0">
                <a:latin typeface="Arial" panose="020B0604020202020204" pitchFamily="34" charset="0"/>
                <a:cs typeface="Arial" panose="020B0604020202020204" pitchFamily="34" charset="0"/>
              </a:rPr>
              <a:t>Tractor Exports</a:t>
            </a:r>
          </a:p>
        </p:txBody>
      </p:sp>
      <p:grpSp>
        <p:nvGrpSpPr>
          <p:cNvPr id="25" name="Group 24"/>
          <p:cNvGrpSpPr/>
          <p:nvPr/>
        </p:nvGrpSpPr>
        <p:grpSpPr>
          <a:xfrm>
            <a:off x="-254770" y="819936"/>
            <a:ext cx="9729676" cy="4897334"/>
            <a:chOff x="2374534" y="1216798"/>
            <a:chExt cx="9936480" cy="6424683"/>
          </a:xfrm>
        </p:grpSpPr>
        <p:grpSp>
          <p:nvGrpSpPr>
            <p:cNvPr id="461" name="Group 460"/>
            <p:cNvGrpSpPr/>
            <p:nvPr/>
          </p:nvGrpSpPr>
          <p:grpSpPr>
            <a:xfrm>
              <a:off x="2374534" y="2240665"/>
              <a:ext cx="9936480" cy="5311140"/>
              <a:chOff x="393700" y="1781243"/>
              <a:chExt cx="8280400" cy="4425950"/>
            </a:xfrm>
            <a:solidFill>
              <a:schemeClr val="bg1">
                <a:lumMod val="85000"/>
              </a:schemeClr>
            </a:solidFill>
          </p:grpSpPr>
          <p:sp>
            <p:nvSpPr>
              <p:cNvPr id="462" name="Freeform 13"/>
              <p:cNvSpPr>
                <a:spLocks noEditPoints="1"/>
              </p:cNvSpPr>
              <p:nvPr/>
            </p:nvSpPr>
            <p:spPr bwMode="auto">
              <a:xfrm>
                <a:off x="4835525" y="1866968"/>
                <a:ext cx="3838575" cy="1520824"/>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3"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4"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5"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6"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7"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8"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9"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0"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1"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2"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3"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4"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5"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6"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7"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8"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9"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0"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1"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2"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3"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4"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5"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6"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7"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8"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9"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0"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1" name="Freeform 42"/>
              <p:cNvSpPr>
                <a:spLocks noEditPoints="1"/>
              </p:cNvSpPr>
              <p:nvPr/>
            </p:nvSpPr>
            <p:spPr bwMode="auto">
              <a:xfrm>
                <a:off x="6167418" y="3768793"/>
                <a:ext cx="496907" cy="298252"/>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2"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3"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4"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5"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3"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4"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5"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6"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7"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8"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9"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0"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1"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2"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3"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4"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5"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6"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7"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8"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9"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0"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1"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2"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3"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4"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5"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6"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7"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8"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9"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0"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1"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2"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3"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4"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5"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6"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7"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8"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9"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0"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1"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2"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3"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4"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5"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6"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7"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8"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9"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0"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1"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2"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3"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4"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5"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6"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7"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8"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9"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0"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1"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2"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3"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4"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5"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6"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7"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8"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9"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0"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1"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2"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3"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4"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5"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6"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7"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8"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9"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0"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1"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2"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3"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4"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5"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6"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7"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8"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9"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0"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1"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2"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3"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4"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5"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6"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7"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8"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9"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0"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1"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2"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3"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4"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5"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6"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7"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8"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9"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0"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1"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2"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3"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4"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5"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6"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7"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8"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9"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0"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1"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2"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3"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4"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5"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6"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7"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8"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9"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0"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1"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2"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3"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4"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5"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6"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7"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8"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9"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0"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1"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2"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3"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4"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5"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6"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7"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8"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9"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0"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1"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2"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3"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4"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5"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6"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7"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8"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9"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0"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1"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2"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3"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4"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5"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6"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7"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8"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9"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0"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1"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2"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3"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4"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5"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5" name="Freeform 367"/>
            <p:cNvSpPr>
              <a:spLocks/>
            </p:cNvSpPr>
            <p:nvPr>
              <p:custDataLst>
                <p:tags r:id="rId1"/>
              </p:custDataLst>
            </p:nvPr>
          </p:nvSpPr>
          <p:spPr bwMode="gray">
            <a:xfrm>
              <a:off x="2459632" y="5461121"/>
              <a:ext cx="8899" cy="5340"/>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reeform 368"/>
            <p:cNvSpPr>
              <a:spLocks noEditPoints="1"/>
            </p:cNvSpPr>
            <p:nvPr>
              <p:custDataLst>
                <p:tags r:id="rId2"/>
              </p:custDataLst>
            </p:nvPr>
          </p:nvSpPr>
          <p:spPr bwMode="gray">
            <a:xfrm>
              <a:off x="2530819" y="5249339"/>
              <a:ext cx="37374" cy="16018"/>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reeform 369"/>
            <p:cNvSpPr>
              <a:spLocks/>
            </p:cNvSpPr>
            <p:nvPr>
              <p:custDataLst>
                <p:tags r:id="rId3"/>
              </p:custDataLst>
            </p:nvPr>
          </p:nvSpPr>
          <p:spPr bwMode="gray">
            <a:xfrm>
              <a:off x="2582429" y="5268916"/>
              <a:ext cx="5340" cy="5340"/>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Freeform 370"/>
            <p:cNvSpPr>
              <a:spLocks/>
            </p:cNvSpPr>
            <p:nvPr>
              <p:custDataLst>
                <p:tags r:id="rId4"/>
              </p:custDataLst>
            </p:nvPr>
          </p:nvSpPr>
          <p:spPr bwMode="gray">
            <a:xfrm>
              <a:off x="2607345" y="5402390"/>
              <a:ext cx="3559" cy="5340"/>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tangle 371"/>
            <p:cNvSpPr>
              <a:spLocks noChangeArrowheads="1"/>
            </p:cNvSpPr>
            <p:nvPr>
              <p:custDataLst>
                <p:tags r:id="rId5"/>
              </p:custDataLst>
            </p:nvPr>
          </p:nvSpPr>
          <p:spPr bwMode="gray">
            <a:xfrm>
              <a:off x="2386665" y="5268916"/>
              <a:ext cx="3559" cy="355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372"/>
            <p:cNvSpPr>
              <a:spLocks noChangeArrowheads="1"/>
            </p:cNvSpPr>
            <p:nvPr>
              <p:custDataLst>
                <p:tags r:id="rId6"/>
              </p:custDataLst>
            </p:nvPr>
          </p:nvSpPr>
          <p:spPr bwMode="gray">
            <a:xfrm>
              <a:off x="2938363" y="5470019"/>
              <a:ext cx="3559" cy="1781"/>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reeform 373"/>
            <p:cNvSpPr>
              <a:spLocks/>
            </p:cNvSpPr>
            <p:nvPr>
              <p:custDataLst>
                <p:tags r:id="rId7"/>
              </p:custDataLst>
            </p:nvPr>
          </p:nvSpPr>
          <p:spPr bwMode="gray">
            <a:xfrm>
              <a:off x="3178621" y="5345441"/>
              <a:ext cx="14238" cy="889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45" name="Straight Connector 444"/>
            <p:cNvCxnSpPr>
              <a:cxnSpLocks/>
              <a:endCxn id="23" idx="0"/>
            </p:cNvCxnSpPr>
            <p:nvPr/>
          </p:nvCxnSpPr>
          <p:spPr>
            <a:xfrm flipH="1">
              <a:off x="9896027" y="1892284"/>
              <a:ext cx="3258" cy="2342312"/>
            </a:xfrm>
            <a:prstGeom prst="line">
              <a:avLst/>
            </a:prstGeom>
            <a:ln w="19050" cap="rnd">
              <a:solidFill>
                <a:schemeClr val="accent5"/>
              </a:solidFill>
              <a:tailEnd type="oval" w="sm" len="sm"/>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flipH="1">
              <a:off x="7494336" y="2357852"/>
              <a:ext cx="0" cy="1411097"/>
            </a:xfrm>
            <a:prstGeom prst="line">
              <a:avLst/>
            </a:prstGeom>
            <a:ln w="19050" cap="rnd">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a:xfrm flipV="1">
              <a:off x="3975662" y="4203766"/>
              <a:ext cx="0" cy="806768"/>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a:cxnSpLocks/>
            </p:cNvCxnSpPr>
            <p:nvPr/>
          </p:nvCxnSpPr>
          <p:spPr>
            <a:xfrm flipV="1">
              <a:off x="7691052" y="5646994"/>
              <a:ext cx="0" cy="1337750"/>
            </a:xfrm>
            <a:prstGeom prst="line">
              <a:avLst/>
            </a:prstGeom>
            <a:ln w="19050">
              <a:solidFill>
                <a:srgbClr val="8B3842"/>
              </a:solidFill>
              <a:tailEnd type="oval" w="lg" len="lg"/>
            </a:ln>
          </p:spPr>
          <p:style>
            <a:lnRef idx="1">
              <a:schemeClr val="accent1"/>
            </a:lnRef>
            <a:fillRef idx="0">
              <a:schemeClr val="accent1"/>
            </a:fillRef>
            <a:effectRef idx="0">
              <a:schemeClr val="accent1"/>
            </a:effectRef>
            <a:fontRef idx="minor">
              <a:schemeClr val="tx1"/>
            </a:fontRef>
          </p:style>
        </p:cxnSp>
        <p:sp>
          <p:nvSpPr>
            <p:cNvPr id="454" name="TextBox 453"/>
            <p:cNvSpPr txBox="1"/>
            <p:nvPr/>
          </p:nvSpPr>
          <p:spPr>
            <a:xfrm>
              <a:off x="7192243" y="7069482"/>
              <a:ext cx="1042333"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Af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12%</a:t>
              </a:r>
            </a:p>
          </p:txBody>
        </p:sp>
        <p:sp>
          <p:nvSpPr>
            <p:cNvPr id="455" name="TextBox 454"/>
            <p:cNvSpPr txBox="1"/>
            <p:nvPr/>
          </p:nvSpPr>
          <p:spPr>
            <a:xfrm>
              <a:off x="9392251" y="1216798"/>
              <a:ext cx="1042333"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A79886"/>
                  </a:solidFill>
                  <a:effectLst/>
                  <a:uLnTx/>
                  <a:uFillTx/>
                  <a:latin typeface="Arial" panose="020B0604020202020204" pitchFamily="34" charset="0"/>
                  <a:ea typeface="+mn-ea"/>
                  <a:cs typeface="Arial" panose="020B0604020202020204" pitchFamily="34" charset="0"/>
                </a:rPr>
                <a:t>Asi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A79886"/>
                  </a:solidFill>
                  <a:effectLst/>
                  <a:uLnTx/>
                  <a:uFillTx/>
                  <a:latin typeface="Arial" panose="020B0604020202020204" pitchFamily="34" charset="0"/>
                  <a:ea typeface="+mn-ea"/>
                  <a:cs typeface="Arial" panose="020B0604020202020204" pitchFamily="34" charset="0"/>
                </a:rPr>
                <a:t>31%</a:t>
              </a:r>
            </a:p>
          </p:txBody>
        </p:sp>
        <p:sp>
          <p:nvSpPr>
            <p:cNvPr id="456" name="TextBox 455"/>
            <p:cNvSpPr txBox="1"/>
            <p:nvPr/>
          </p:nvSpPr>
          <p:spPr>
            <a:xfrm>
              <a:off x="6360552" y="1652755"/>
              <a:ext cx="1842521"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European Union</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16%</a:t>
              </a:r>
            </a:p>
          </p:txBody>
        </p:sp>
        <p:sp>
          <p:nvSpPr>
            <p:cNvPr id="458" name="TextBox 457"/>
            <p:cNvSpPr txBox="1"/>
            <p:nvPr/>
          </p:nvSpPr>
          <p:spPr>
            <a:xfrm>
              <a:off x="3064249" y="5074130"/>
              <a:ext cx="1360584"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North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23%</a:t>
              </a:r>
            </a:p>
          </p:txBody>
        </p:sp>
        <p:sp>
          <p:nvSpPr>
            <p:cNvPr id="459" name="Oval 458"/>
            <p:cNvSpPr/>
            <p:nvPr/>
          </p:nvSpPr>
          <p:spPr bwMode="gray">
            <a:xfrm>
              <a:off x="3854635" y="3887601"/>
              <a:ext cx="276012" cy="391414"/>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460" name="Straight Connector 459"/>
            <p:cNvCxnSpPr/>
            <p:nvPr/>
          </p:nvCxnSpPr>
          <p:spPr>
            <a:xfrm flipV="1">
              <a:off x="4259682" y="6281560"/>
              <a:ext cx="1371530" cy="29495"/>
            </a:xfrm>
            <a:prstGeom prst="line">
              <a:avLst/>
            </a:prstGeom>
            <a:ln w="19050">
              <a:solidFill>
                <a:schemeClr val="accent3">
                  <a:lumMod val="60000"/>
                  <a:lumOff val="4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676" name="TextBox 675"/>
            <p:cNvSpPr txBox="1"/>
            <p:nvPr/>
          </p:nvSpPr>
          <p:spPr>
            <a:xfrm>
              <a:off x="2827213" y="6185419"/>
              <a:ext cx="1432468"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Latin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10%</a:t>
              </a:r>
            </a:p>
          </p:txBody>
        </p:sp>
        <p:sp>
          <p:nvSpPr>
            <p:cNvPr id="23" name="Oval 22"/>
            <p:cNvSpPr/>
            <p:nvPr/>
          </p:nvSpPr>
          <p:spPr>
            <a:xfrm>
              <a:off x="9764428" y="4234596"/>
              <a:ext cx="263197" cy="3422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7" name="Oval 676"/>
            <p:cNvSpPr/>
            <p:nvPr/>
          </p:nvSpPr>
          <p:spPr>
            <a:xfrm>
              <a:off x="7540460" y="5490693"/>
              <a:ext cx="290229" cy="334100"/>
            </a:xfrm>
            <a:prstGeom prst="ellipse">
              <a:avLst/>
            </a:prstGeom>
            <a:solidFill>
              <a:srgbClr val="7B1E29"/>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78" name="Oval 677"/>
            <p:cNvSpPr/>
            <p:nvPr/>
          </p:nvSpPr>
          <p:spPr>
            <a:xfrm>
              <a:off x="7400357" y="3607781"/>
              <a:ext cx="199130" cy="292252"/>
            </a:xfrm>
            <a:prstGeom prst="ellipse">
              <a:avLst/>
            </a:prstGeom>
            <a:solidFill>
              <a:srgbClr val="D53814"/>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4" name="Freeform 3"/>
          <p:cNvSpPr/>
          <p:nvPr/>
        </p:nvSpPr>
        <p:spPr>
          <a:xfrm>
            <a:off x="4668265" y="2730789"/>
            <a:ext cx="1780196" cy="983253"/>
          </a:xfrm>
          <a:custGeom>
            <a:avLst/>
            <a:gdLst>
              <a:gd name="connsiteX0" fmla="*/ 2207172 w 2207172"/>
              <a:gd name="connsiteY0" fmla="*/ 974756 h 974756"/>
              <a:gd name="connsiteX1" fmla="*/ 1813034 w 2207172"/>
              <a:gd name="connsiteY1" fmla="*/ 233777 h 974756"/>
              <a:gd name="connsiteX2" fmla="*/ 709448 w 2207172"/>
              <a:gd name="connsiteY2" fmla="*/ 13060 h 974756"/>
              <a:gd name="connsiteX3" fmla="*/ 0 w 2207172"/>
              <a:gd name="connsiteY3" fmla="*/ 44591 h 974756"/>
            </a:gdLst>
            <a:ahLst/>
            <a:cxnLst>
              <a:cxn ang="0">
                <a:pos x="connsiteX0" y="connsiteY0"/>
              </a:cxn>
              <a:cxn ang="0">
                <a:pos x="connsiteX1" y="connsiteY1"/>
              </a:cxn>
              <a:cxn ang="0">
                <a:pos x="connsiteX2" y="connsiteY2"/>
              </a:cxn>
              <a:cxn ang="0">
                <a:pos x="connsiteX3" y="connsiteY3"/>
              </a:cxn>
            </a:cxnLst>
            <a:rect l="l" t="t" r="r" b="b"/>
            <a:pathLst>
              <a:path w="2207172" h="974756">
                <a:moveTo>
                  <a:pt x="2207172" y="974756"/>
                </a:moveTo>
                <a:cubicBezTo>
                  <a:pt x="2134913" y="684408"/>
                  <a:pt x="2062655" y="394060"/>
                  <a:pt x="1813034" y="233777"/>
                </a:cubicBezTo>
                <a:cubicBezTo>
                  <a:pt x="1563413" y="73494"/>
                  <a:pt x="1011620" y="44591"/>
                  <a:pt x="709448" y="13060"/>
                </a:cubicBezTo>
                <a:cubicBezTo>
                  <a:pt x="407276" y="-18471"/>
                  <a:pt x="203638" y="13060"/>
                  <a:pt x="0" y="44591"/>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11"/>
          <p:cNvSpPr/>
          <p:nvPr/>
        </p:nvSpPr>
        <p:spPr>
          <a:xfrm>
            <a:off x="4908616" y="3257689"/>
            <a:ext cx="1600654" cy="880423"/>
          </a:xfrm>
          <a:custGeom>
            <a:avLst/>
            <a:gdLst>
              <a:gd name="connsiteX0" fmla="*/ 2601311 w 2601311"/>
              <a:gd name="connsiteY0" fmla="*/ 307755 h 654596"/>
              <a:gd name="connsiteX1" fmla="*/ 1765738 w 2601311"/>
              <a:gd name="connsiteY1" fmla="*/ 23976 h 654596"/>
              <a:gd name="connsiteX2" fmla="*/ 993228 w 2601311"/>
              <a:gd name="connsiteY2" fmla="*/ 87038 h 654596"/>
              <a:gd name="connsiteX3" fmla="*/ 0 w 2601311"/>
              <a:gd name="connsiteY3" fmla="*/ 654596 h 654596"/>
            </a:gdLst>
            <a:ahLst/>
            <a:cxnLst>
              <a:cxn ang="0">
                <a:pos x="connsiteX0" y="connsiteY0"/>
              </a:cxn>
              <a:cxn ang="0">
                <a:pos x="connsiteX1" y="connsiteY1"/>
              </a:cxn>
              <a:cxn ang="0">
                <a:pos x="connsiteX2" y="connsiteY2"/>
              </a:cxn>
              <a:cxn ang="0">
                <a:pos x="connsiteX3" y="connsiteY3"/>
              </a:cxn>
            </a:cxnLst>
            <a:rect l="l" t="t" r="r" b="b"/>
            <a:pathLst>
              <a:path w="2601311" h="654596">
                <a:moveTo>
                  <a:pt x="2601311" y="307755"/>
                </a:moveTo>
                <a:cubicBezTo>
                  <a:pt x="2317531" y="184258"/>
                  <a:pt x="2033752" y="60762"/>
                  <a:pt x="1765738" y="23976"/>
                </a:cubicBezTo>
                <a:cubicBezTo>
                  <a:pt x="1497724" y="-12810"/>
                  <a:pt x="1287518" y="-18065"/>
                  <a:pt x="993228" y="87038"/>
                </a:cubicBezTo>
                <a:cubicBezTo>
                  <a:pt x="698938" y="192141"/>
                  <a:pt x="144517" y="528472"/>
                  <a:pt x="0" y="654596"/>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Freeform 12"/>
          <p:cNvSpPr/>
          <p:nvPr/>
        </p:nvSpPr>
        <p:spPr>
          <a:xfrm>
            <a:off x="1428041" y="2954887"/>
            <a:ext cx="5062302" cy="637820"/>
          </a:xfrm>
          <a:custGeom>
            <a:avLst/>
            <a:gdLst>
              <a:gd name="connsiteX0" fmla="*/ 6463862 w 6463862"/>
              <a:gd name="connsiteY0" fmla="*/ 699764 h 699764"/>
              <a:gd name="connsiteX1" fmla="*/ 5596759 w 6463862"/>
              <a:gd name="connsiteY1" fmla="*/ 84909 h 699764"/>
              <a:gd name="connsiteX2" fmla="*/ 3972911 w 6463862"/>
              <a:gd name="connsiteY2" fmla="*/ 132205 h 699764"/>
              <a:gd name="connsiteX3" fmla="*/ 2207173 w 6463862"/>
              <a:gd name="connsiteY3" fmla="*/ 53378 h 699764"/>
              <a:gd name="connsiteX4" fmla="*/ 0 w 6463862"/>
              <a:gd name="connsiteY4" fmla="*/ 84909 h 699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862" h="699764">
                <a:moveTo>
                  <a:pt x="6463862" y="699764"/>
                </a:moveTo>
                <a:cubicBezTo>
                  <a:pt x="6237890" y="439633"/>
                  <a:pt x="6011918" y="179502"/>
                  <a:pt x="5596759" y="84909"/>
                </a:cubicBezTo>
                <a:cubicBezTo>
                  <a:pt x="5181600" y="-9684"/>
                  <a:pt x="4537842" y="137460"/>
                  <a:pt x="3972911" y="132205"/>
                </a:cubicBezTo>
                <a:cubicBezTo>
                  <a:pt x="3407980" y="126950"/>
                  <a:pt x="2207173" y="53378"/>
                  <a:pt x="2207173" y="53378"/>
                </a:cubicBezTo>
                <a:cubicBezTo>
                  <a:pt x="1545021" y="45495"/>
                  <a:pt x="152400" y="-80629"/>
                  <a:pt x="0" y="84909"/>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13"/>
          <p:cNvSpPr/>
          <p:nvPr/>
        </p:nvSpPr>
        <p:spPr>
          <a:xfrm>
            <a:off x="2918180" y="3244202"/>
            <a:ext cx="3572166" cy="1448389"/>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Lst>
            <a:ahLst/>
            <a:cxnLst>
              <a:cxn ang="0">
                <a:pos x="connsiteX0" y="connsiteY0"/>
              </a:cxn>
              <a:cxn ang="0">
                <a:pos x="connsiteX1" y="connsiteY1"/>
              </a:cxn>
              <a:cxn ang="0">
                <a:pos x="connsiteX2" y="connsiteY2"/>
              </a:cxn>
              <a:cxn ang="0">
                <a:pos x="connsiteX3" y="connsiteY3"/>
              </a:cxn>
            </a:cxnLst>
            <a:rect l="l" t="t" r="r" b="b"/>
            <a:pathLst>
              <a:path w="4713889" h="2008212">
                <a:moveTo>
                  <a:pt x="4713889" y="557784"/>
                </a:moveTo>
                <a:cubicBezTo>
                  <a:pt x="4306613" y="255611"/>
                  <a:pt x="3899337" y="-46561"/>
                  <a:pt x="3279227" y="5991"/>
                </a:cubicBezTo>
                <a:cubicBezTo>
                  <a:pt x="2659117" y="58543"/>
                  <a:pt x="1539765" y="539391"/>
                  <a:pt x="993227" y="873094"/>
                </a:cubicBezTo>
                <a:cubicBezTo>
                  <a:pt x="446689" y="1206797"/>
                  <a:pt x="73572" y="1845302"/>
                  <a:pt x="0" y="2008212"/>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14"/>
          <p:cNvSpPr/>
          <p:nvPr/>
        </p:nvSpPr>
        <p:spPr>
          <a:xfrm rot="19469810">
            <a:off x="6335554" y="3251886"/>
            <a:ext cx="797935" cy="189294"/>
          </a:xfrm>
          <a:custGeom>
            <a:avLst/>
            <a:gdLst>
              <a:gd name="connsiteX0" fmla="*/ 0 w 740979"/>
              <a:gd name="connsiteY0" fmla="*/ 315435 h 346966"/>
              <a:gd name="connsiteX1" fmla="*/ 346841 w 740979"/>
              <a:gd name="connsiteY1" fmla="*/ 125 h 346966"/>
              <a:gd name="connsiteX2" fmla="*/ 740979 w 740979"/>
              <a:gd name="connsiteY2" fmla="*/ 346966 h 346966"/>
            </a:gdLst>
            <a:ahLst/>
            <a:cxnLst>
              <a:cxn ang="0">
                <a:pos x="connsiteX0" y="connsiteY0"/>
              </a:cxn>
              <a:cxn ang="0">
                <a:pos x="connsiteX1" y="connsiteY1"/>
              </a:cxn>
              <a:cxn ang="0">
                <a:pos x="connsiteX2" y="connsiteY2"/>
              </a:cxn>
            </a:cxnLst>
            <a:rect l="l" t="t" r="r" b="b"/>
            <a:pathLst>
              <a:path w="740979" h="346966">
                <a:moveTo>
                  <a:pt x="0" y="315435"/>
                </a:moveTo>
                <a:cubicBezTo>
                  <a:pt x="111672" y="155152"/>
                  <a:pt x="223345" y="-5130"/>
                  <a:pt x="346841" y="125"/>
                </a:cubicBezTo>
                <a:cubicBezTo>
                  <a:pt x="470338" y="5380"/>
                  <a:pt x="605658" y="176173"/>
                  <a:pt x="740979" y="346966"/>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4" name="Rounded Rectangle 443"/>
          <p:cNvSpPr/>
          <p:nvPr/>
        </p:nvSpPr>
        <p:spPr>
          <a:xfrm>
            <a:off x="9681357" y="1136752"/>
            <a:ext cx="2344004" cy="4989018"/>
          </a:xfrm>
          <a:prstGeom prst="roundRect">
            <a:avLst/>
          </a:prstGeom>
          <a:solidFill>
            <a:schemeClr val="accent6">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orts, accounting for about 13% of the overall tractor sales, are estimated to rise by 43-47% on-year in fiscal 2022 after registering a 17% growth in fiscal 2021.</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SA, Europe &amp; Asia are likely to remain the focal regions for long-term exports. Also, with India emerging as an export hub for relatively small tractors (30-75 horsepower or hp), and major companies increasing focus on international markets with the launch of 90-120 hp.</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L and Escorts have been focusing on growing exports to insulate themselves from the cyclic domestic market demand.</a:t>
            </a:r>
          </a:p>
        </p:txBody>
      </p:sp>
      <p:sp>
        <p:nvSpPr>
          <p:cNvPr id="443" name="TextBox 442">
            <a:extLst>
              <a:ext uri="{FF2B5EF4-FFF2-40B4-BE49-F238E27FC236}">
                <a16:creationId xmlns:a16="http://schemas.microsoft.com/office/drawing/2014/main" id="{D061B491-9398-4CBF-A9F0-9BA8A5C4692C}"/>
              </a:ext>
            </a:extLst>
          </p:cNvPr>
          <p:cNvSpPr txBox="1"/>
          <p:nvPr/>
        </p:nvSpPr>
        <p:spPr>
          <a:xfrm>
            <a:off x="1144034" y="6409997"/>
            <a:ext cx="9301228" cy="430871"/>
          </a:xfrm>
          <a:prstGeom prst="rect">
            <a:avLst/>
          </a:prstGeom>
          <a:noFill/>
        </p:spPr>
        <p:txBody>
          <a:bodyPr wrap="square" lIns="91421" tIns="45712" rIns="91421" bIns="45712" rtlCol="0">
            <a:spAutoFit/>
          </a:bodyPr>
          <a:lstStyle/>
          <a:p>
            <a:r>
              <a:rPr lang="en-IN" sz="1100" b="1" i="1" dirty="0">
                <a:solidFill>
                  <a:prstClr val="black"/>
                </a:solidFill>
                <a:latin typeface="Arial" panose="020B0604020202020204" pitchFamily="34" charset="0"/>
                <a:cs typeface="Arial" panose="020B0604020202020204" pitchFamily="34" charset="0"/>
              </a:rPr>
              <a:t>Note: : Represents volume data for FY21 exports, % in dotted boxes indicates change in market share from FY20 to FY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DGFT, CRISIL Research</a:t>
            </a:r>
          </a:p>
        </p:txBody>
      </p:sp>
      <p:sp>
        <p:nvSpPr>
          <p:cNvPr id="911" name="TextBox 910"/>
          <p:cNvSpPr txBox="1"/>
          <p:nvPr/>
        </p:nvSpPr>
        <p:spPr>
          <a:xfrm>
            <a:off x="6748591" y="5269460"/>
            <a:ext cx="102063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Others</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2%</a:t>
            </a:r>
            <a:endParaRPr kumimoji="0" lang="en-GB" sz="1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cxnSp>
        <p:nvCxnSpPr>
          <p:cNvPr id="912" name="Straight Connector 911"/>
          <p:cNvCxnSpPr>
            <a:cxnSpLocks/>
          </p:cNvCxnSpPr>
          <p:nvPr/>
        </p:nvCxnSpPr>
        <p:spPr>
          <a:xfrm>
            <a:off x="5957567" y="1490109"/>
            <a:ext cx="0" cy="1280160"/>
          </a:xfrm>
          <a:prstGeom prst="line">
            <a:avLst/>
          </a:prstGeom>
          <a:ln w="19050" cap="rnd">
            <a:solidFill>
              <a:schemeClr val="accent6">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913" name="TextBox 912"/>
          <p:cNvSpPr txBox="1"/>
          <p:nvPr/>
        </p:nvSpPr>
        <p:spPr>
          <a:xfrm>
            <a:off x="5467060" y="1014108"/>
            <a:ext cx="1027646" cy="4102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300" b="1" i="0" u="none" strike="noStrike" kern="1200" cap="none" spc="0" normalizeH="0" baseline="0" noProof="0" dirty="0">
                <a:ln>
                  <a:noFill/>
                </a:ln>
                <a:solidFill>
                  <a:srgbClr val="95B3CC">
                    <a:lumMod val="75000"/>
                  </a:srgbClr>
                </a:solidFill>
                <a:effectLst/>
                <a:uLnTx/>
                <a:uFillTx/>
                <a:latin typeface="Calibri" panose="020F0502020204030204"/>
                <a:ea typeface="+mn-ea"/>
                <a:cs typeface="+mn-cs"/>
              </a:rPr>
              <a:t>Middle East</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300" b="0" i="0" u="none" strike="noStrike" kern="1200" cap="none" spc="0" normalizeH="0" baseline="0" noProof="0" dirty="0">
                <a:ln>
                  <a:noFill/>
                </a:ln>
                <a:solidFill>
                  <a:srgbClr val="95B3CC">
                    <a:lumMod val="75000"/>
                  </a:srgbClr>
                </a:solidFill>
                <a:effectLst/>
                <a:uLnTx/>
                <a:uFillTx/>
                <a:latin typeface="Calibri" panose="020F0502020204030204"/>
                <a:ea typeface="+mn-ea"/>
                <a:cs typeface="+mn-cs"/>
              </a:rPr>
              <a:t>6%</a:t>
            </a:r>
          </a:p>
        </p:txBody>
      </p:sp>
      <p:sp>
        <p:nvSpPr>
          <p:cNvPr id="914" name="Freeform 12">
            <a:extLst>
              <a:ext uri="{FF2B5EF4-FFF2-40B4-BE49-F238E27FC236}">
                <a16:creationId xmlns:a16="http://schemas.microsoft.com/office/drawing/2014/main" id="{17A93E06-6428-4DF5-8986-DF4C3DF41C20}"/>
              </a:ext>
            </a:extLst>
          </p:cNvPr>
          <p:cNvSpPr/>
          <p:nvPr/>
        </p:nvSpPr>
        <p:spPr>
          <a:xfrm>
            <a:off x="5939615" y="2681149"/>
            <a:ext cx="504397" cy="1001733"/>
          </a:xfrm>
          <a:custGeom>
            <a:avLst/>
            <a:gdLst>
              <a:gd name="connsiteX0" fmla="*/ 6463862 w 6463862"/>
              <a:gd name="connsiteY0" fmla="*/ 699764 h 699764"/>
              <a:gd name="connsiteX1" fmla="*/ 5596759 w 6463862"/>
              <a:gd name="connsiteY1" fmla="*/ 84909 h 699764"/>
              <a:gd name="connsiteX2" fmla="*/ 3972911 w 6463862"/>
              <a:gd name="connsiteY2" fmla="*/ 132205 h 699764"/>
              <a:gd name="connsiteX3" fmla="*/ 2207173 w 6463862"/>
              <a:gd name="connsiteY3" fmla="*/ 53378 h 699764"/>
              <a:gd name="connsiteX4" fmla="*/ 0 w 6463862"/>
              <a:gd name="connsiteY4" fmla="*/ 84909 h 699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862" h="699764">
                <a:moveTo>
                  <a:pt x="6463862" y="699764"/>
                </a:moveTo>
                <a:cubicBezTo>
                  <a:pt x="6237890" y="439633"/>
                  <a:pt x="6011918" y="179502"/>
                  <a:pt x="5596759" y="84909"/>
                </a:cubicBezTo>
                <a:cubicBezTo>
                  <a:pt x="5181600" y="-9684"/>
                  <a:pt x="4537842" y="137460"/>
                  <a:pt x="3972911" y="132205"/>
                </a:cubicBezTo>
                <a:cubicBezTo>
                  <a:pt x="3407980" y="126950"/>
                  <a:pt x="2207173" y="53378"/>
                  <a:pt x="2207173" y="53378"/>
                </a:cubicBezTo>
                <a:cubicBezTo>
                  <a:pt x="1545021" y="45495"/>
                  <a:pt x="152400" y="-80629"/>
                  <a:pt x="0" y="84909"/>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5" name="Oval 914"/>
          <p:cNvSpPr/>
          <p:nvPr/>
        </p:nvSpPr>
        <p:spPr>
          <a:xfrm>
            <a:off x="5844569" y="2614364"/>
            <a:ext cx="259488" cy="26090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47" name="Group 446"/>
          <p:cNvGrpSpPr/>
          <p:nvPr/>
        </p:nvGrpSpPr>
        <p:grpSpPr>
          <a:xfrm>
            <a:off x="5175762" y="577275"/>
            <a:ext cx="1007987" cy="5585155"/>
            <a:chOff x="5161883" y="254716"/>
            <a:chExt cx="1007987" cy="5585155"/>
          </a:xfrm>
        </p:grpSpPr>
        <p:sp>
          <p:nvSpPr>
            <p:cNvPr id="448" name="TextBox 447"/>
            <p:cNvSpPr txBox="1"/>
            <p:nvPr/>
          </p:nvSpPr>
          <p:spPr>
            <a:xfrm>
              <a:off x="5161883" y="5549221"/>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5</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449" name="Isosceles Triangle 448"/>
            <p:cNvSpPr/>
            <p:nvPr/>
          </p:nvSpPr>
          <p:spPr>
            <a:xfrm>
              <a:off x="6002714" y="254716"/>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2" name="Rounded Rectangle 451"/>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57" name="Group 456"/>
          <p:cNvGrpSpPr/>
          <p:nvPr/>
        </p:nvGrpSpPr>
        <p:grpSpPr>
          <a:xfrm>
            <a:off x="7346405" y="1058596"/>
            <a:ext cx="758639" cy="326275"/>
            <a:chOff x="5143222" y="5525471"/>
            <a:chExt cx="580303" cy="326275"/>
          </a:xfrm>
        </p:grpSpPr>
        <p:sp>
          <p:nvSpPr>
            <p:cNvPr id="679" name="TextBox 678"/>
            <p:cNvSpPr txBox="1"/>
            <p:nvPr/>
          </p:nvSpPr>
          <p:spPr>
            <a:xfrm>
              <a:off x="5161883" y="5549221"/>
              <a:ext cx="31046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2</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680" name="Isosceles Triangle 679"/>
            <p:cNvSpPr/>
            <p:nvPr/>
          </p:nvSpPr>
          <p:spPr>
            <a:xfrm flipH="1" flipV="1">
              <a:off x="5493652" y="5603627"/>
              <a:ext cx="139890"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1" name="Rounded Rectangle 680"/>
            <p:cNvSpPr/>
            <p:nvPr/>
          </p:nvSpPr>
          <p:spPr>
            <a:xfrm>
              <a:off x="5143222" y="5525471"/>
              <a:ext cx="580303"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82" name="Isosceles Triangle 681"/>
          <p:cNvSpPr/>
          <p:nvPr/>
        </p:nvSpPr>
        <p:spPr>
          <a:xfrm flipH="1" flipV="1">
            <a:off x="5574746" y="5932821"/>
            <a:ext cx="182880"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83" name="Group 682"/>
          <p:cNvGrpSpPr/>
          <p:nvPr/>
        </p:nvGrpSpPr>
        <p:grpSpPr>
          <a:xfrm>
            <a:off x="5566775" y="555278"/>
            <a:ext cx="758639" cy="326275"/>
            <a:chOff x="5143222" y="5525471"/>
            <a:chExt cx="580303" cy="326275"/>
          </a:xfrm>
        </p:grpSpPr>
        <p:sp>
          <p:nvSpPr>
            <p:cNvPr id="684" name="TextBox 683"/>
            <p:cNvSpPr txBox="1"/>
            <p:nvPr/>
          </p:nvSpPr>
          <p:spPr>
            <a:xfrm>
              <a:off x="5161883" y="5549221"/>
              <a:ext cx="31046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p>
          </p:txBody>
        </p:sp>
        <p:sp>
          <p:nvSpPr>
            <p:cNvPr id="686" name="Rounded Rectangle 685"/>
            <p:cNvSpPr/>
            <p:nvPr/>
          </p:nvSpPr>
          <p:spPr>
            <a:xfrm>
              <a:off x="5143222" y="5525471"/>
              <a:ext cx="580303"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96541050"/>
      </p:ext>
    </p:extLst>
  </p:cSld>
  <p:clrMapOvr>
    <a:masterClrMapping/>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553" y="2876105"/>
            <a:ext cx="10515600" cy="498598"/>
          </a:xfrm>
        </p:spPr>
        <p:txBody>
          <a:bodyPr/>
          <a:lstStyle/>
          <a:p>
            <a:pPr algn="ctr"/>
            <a:r>
              <a:rPr lang="en-US" sz="3600" dirty="0"/>
              <a:t>Auto Components</a:t>
            </a:r>
          </a:p>
        </p:txBody>
      </p:sp>
      <p:sp>
        <p:nvSpPr>
          <p:cNvPr id="5" name="Rounded Rectangle 3">
            <a:hlinkClick r:id="" action="ppaction://noaction"/>
            <a:extLst>
              <a:ext uri="{FF2B5EF4-FFF2-40B4-BE49-F238E27FC236}">
                <a16:creationId xmlns:a16="http://schemas.microsoft.com/office/drawing/2014/main" id="{80A82B7D-A14C-413F-BEE8-40C53DB98A1F}"/>
              </a:ext>
            </a:extLst>
          </p:cNvPr>
          <p:cNvSpPr/>
          <p:nvPr/>
        </p:nvSpPr>
        <p:spPr>
          <a:xfrm>
            <a:off x="9926320" y="6273800"/>
            <a:ext cx="953589" cy="359229"/>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ction="ppaction://hlinksldjump"/>
              </a:rPr>
              <a:t>INDEX</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573479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050" y="362668"/>
            <a:ext cx="11468100" cy="332399"/>
          </a:xfrm>
        </p:spPr>
        <p:txBody>
          <a:bodyPr>
            <a:noAutofit/>
          </a:bodyPr>
          <a:lstStyle/>
          <a:p>
            <a:r>
              <a:rPr lang="en-US" sz="2400" b="1" dirty="0">
                <a:solidFill>
                  <a:schemeClr val="tx1"/>
                </a:solidFill>
                <a:latin typeface="Arial" panose="020B0604020202020204" pitchFamily="34" charset="0"/>
                <a:cs typeface="Arial" panose="020B0604020202020204" pitchFamily="34" charset="0"/>
              </a:rPr>
              <a:t>Intra state and Inter state E-waybill trend</a:t>
            </a:r>
          </a:p>
        </p:txBody>
      </p:sp>
      <p:sp>
        <p:nvSpPr>
          <p:cNvPr id="13" name="TextBox 12"/>
          <p:cNvSpPr txBox="1"/>
          <p:nvPr/>
        </p:nvSpPr>
        <p:spPr>
          <a:xfrm>
            <a:off x="216800" y="5803324"/>
            <a:ext cx="9515839" cy="5232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0" tIns="0" rIns="0" bIns="0" rtlCol="0">
            <a:spAutoFit/>
          </a:bodyPr>
          <a:lstStyle>
            <a:defPPr>
              <a:defRPr lang="en-US"/>
            </a:defPPr>
            <a:lvl1pPr fontAlgn="base">
              <a:spcBef>
                <a:spcPct val="0"/>
              </a:spcBef>
              <a:spcAft>
                <a:spcPct val="0"/>
              </a:spcAft>
              <a:defRPr sz="1200">
                <a:solidFill>
                  <a:srgbClr val="282828"/>
                </a:solidFill>
                <a:latin typeface="Arial" charset="0"/>
                <a:cs typeface="Arial" charset="0"/>
              </a:defRPr>
            </a:lvl1pPr>
            <a:lvl2pPr marL="742950" indent="-285750">
              <a:defRPr>
                <a:latin typeface="Calibri" panose="020F0502020204030204" pitchFamily="34" charset="0"/>
                <a:ea typeface="MS PGothic" panose="020B0600070205080204" pitchFamily="34" charset="-128"/>
              </a:defRPr>
            </a:lvl2pPr>
            <a:lvl3pPr marL="1143000" indent="-228600">
              <a:defRPr>
                <a:latin typeface="Calibri" panose="020F0502020204030204" pitchFamily="34" charset="0"/>
                <a:ea typeface="MS PGothic" panose="020B0600070205080204" pitchFamily="34" charset="-128"/>
              </a:defRPr>
            </a:lvl3pPr>
            <a:lvl4pPr marL="1600200" indent="-228600">
              <a:defRPr>
                <a:latin typeface="Calibri" panose="020F0502020204030204" pitchFamily="34" charset="0"/>
                <a:ea typeface="MS PGothic" panose="020B0600070205080204" pitchFamily="34" charset="-128"/>
              </a:defRPr>
            </a:lvl4pPr>
            <a:lvl5pPr marL="2057400" indent="-228600">
              <a:defRPr>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latin typeface="Calibri" panose="020F0502020204030204" pitchFamily="34" charset="0"/>
                <a:ea typeface="MS PGothic" panose="020B0600070205080204" pitchFamily="34" charset="-128"/>
              </a:defRPr>
            </a:lvl9pPr>
          </a:lstStyle>
          <a:p>
            <a:r>
              <a:rPr lang="en-US" sz="1100" i="1" dirty="0" err="1">
                <a:solidFill>
                  <a:prstClr val="black"/>
                </a:solidFill>
              </a:rPr>
              <a:t>Agri</a:t>
            </a:r>
            <a:r>
              <a:rPr lang="en-US" sz="1100" i="1" dirty="0">
                <a:solidFill>
                  <a:prstClr val="black"/>
                </a:solidFill>
              </a:rPr>
              <a:t>, last mile distribution and market load operations do not come under ambit of E-way bill hence the E-way bills mentioned here may not represent the entire movement of goods in the country</a:t>
            </a:r>
          </a:p>
          <a:p>
            <a:r>
              <a:rPr lang="en-US" sz="1100" i="1" dirty="0"/>
              <a:t>Source: GST Network, CRISIL Research,</a:t>
            </a:r>
            <a:endParaRPr lang="en-GB" sz="1100" i="1" dirty="0"/>
          </a:p>
        </p:txBody>
      </p:sp>
      <p:sp>
        <p:nvSpPr>
          <p:cNvPr id="16" name="Text Placeholder 4"/>
          <p:cNvSpPr txBox="1">
            <a:spLocks/>
          </p:cNvSpPr>
          <p:nvPr/>
        </p:nvSpPr>
        <p:spPr>
          <a:xfrm>
            <a:off x="381000" y="1029410"/>
            <a:ext cx="11468100" cy="257626"/>
          </a:xfrm>
          <a:prstGeom prst="rect">
            <a:avLst/>
          </a:prstGeom>
          <a:solidFill>
            <a:schemeClr val="accent1"/>
          </a:solidFill>
        </p:spPr>
        <p:txBody>
          <a:bodyPr lIns="76134" tIns="38063" rIns="76134" bIns="38063"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Font typeface="Arial" panose="020B0604020202020204" pitchFamily="34" charset="0"/>
              <a:buNone/>
            </a:pPr>
            <a:r>
              <a:rPr lang="en-IN" sz="1300" b="1" dirty="0">
                <a:solidFill>
                  <a:prstClr val="white"/>
                </a:solidFill>
                <a:latin typeface="Arial" panose="020B0604020202020204" pitchFamily="34" charset="0"/>
                <a:cs typeface="Arial" panose="020B0604020202020204" pitchFamily="34" charset="0"/>
              </a:rPr>
              <a:t>Number of E-way bills generated in India (millions)</a:t>
            </a:r>
          </a:p>
        </p:txBody>
      </p:sp>
      <p:graphicFrame>
        <p:nvGraphicFramePr>
          <p:cNvPr id="9" name="Chart 8">
            <a:extLst>
              <a:ext uri="{FF2B5EF4-FFF2-40B4-BE49-F238E27FC236}">
                <a16:creationId xmlns:a16="http://schemas.microsoft.com/office/drawing/2014/main" id="{A3C0D561-C98F-4B59-8CC1-8DC42533B49F}"/>
              </a:ext>
            </a:extLst>
          </p:cNvPr>
          <p:cNvGraphicFramePr>
            <a:graphicFrameLocks/>
          </p:cNvGraphicFramePr>
          <p:nvPr/>
        </p:nvGraphicFramePr>
        <p:xfrm>
          <a:off x="415050" y="1340699"/>
          <a:ext cx="5612437" cy="41766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D5677075-4CA0-4B70-A882-987943904D56}"/>
              </a:ext>
            </a:extLst>
          </p:cNvPr>
          <p:cNvGraphicFramePr>
            <a:graphicFrameLocks/>
          </p:cNvGraphicFramePr>
          <p:nvPr/>
        </p:nvGraphicFramePr>
        <p:xfrm>
          <a:off x="6181011" y="1340698"/>
          <a:ext cx="5612437" cy="41766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51795167"/>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55453A-3F51-4549-B169-70FD0FD1EF0D}"/>
              </a:ext>
            </a:extLst>
          </p:cNvPr>
          <p:cNvSpPr>
            <a:spLocks noGrp="1"/>
          </p:cNvSpPr>
          <p:nvPr>
            <p:ph type="title"/>
          </p:nvPr>
        </p:nvSpPr>
        <p:spPr>
          <a:xfrm>
            <a:off x="414689" y="154052"/>
            <a:ext cx="11777311" cy="1400428"/>
          </a:xfrm>
        </p:spPr>
        <p:txBody>
          <a:bodyPr vert="horz" lIns="0" tIns="0" rIns="0" bIns="0" rtlCol="0" anchor="ctr">
            <a:noAutofit/>
          </a:bodyPr>
          <a:lstStyle/>
          <a:p>
            <a:r>
              <a:rPr lang="en-US" sz="3200" dirty="0"/>
              <a:t>Auto components production revenue to recover by 22-25% in FY22 backed by demand recovery</a:t>
            </a:r>
            <a:br>
              <a:rPr lang="en-US" sz="3200" dirty="0"/>
            </a:br>
            <a:r>
              <a:rPr lang="en-US" sz="3200" dirty="0"/>
              <a:t> </a:t>
            </a:r>
            <a:endParaRPr lang="en-US" sz="3200" b="1" dirty="0">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F0EF2B2-6994-4980-B288-1804AD6B73F9}"/>
              </a:ext>
            </a:extLst>
          </p:cNvPr>
          <p:cNvSpPr txBox="1"/>
          <p:nvPr/>
        </p:nvSpPr>
        <p:spPr>
          <a:xfrm>
            <a:off x="402965" y="5165719"/>
            <a:ext cx="11687720" cy="1015632"/>
          </a:xfrm>
          <a:prstGeom prst="rect">
            <a:avLst/>
          </a:prstGeom>
          <a:solidFill>
            <a:schemeClr val="accent6">
              <a:lumMod val="20000"/>
              <a:lumOff val="80000"/>
            </a:schemeClr>
          </a:solidFill>
        </p:spPr>
        <p:txBody>
          <a:bodyPr wrap="square" lIns="91406" tIns="45705" rIns="91406" bIns="45705" rtlCol="0" anchor="ctr">
            <a:spAutoFit/>
          </a:bodyPr>
          <a:lstStyle/>
          <a:p>
            <a:pPr marL="285649" lvl="0" indent="-285649" defTabSz="914253">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Owing to the low base of the previous two fiscals. Auto component revenue is expected to increase by 22-25% on-year after declining by 6% and 5% in fiscals 2020 and 2021, respectively.</a:t>
            </a:r>
          </a:p>
          <a:p>
            <a:pPr marL="285649" lvl="0" indent="-285649" defTabSz="914253">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This can be attributed to increase in OEM demand, driven by the recovery in commercial vehicles (CV) and two-wheeler production. </a:t>
            </a:r>
          </a:p>
          <a:p>
            <a:pPr marL="285649" lvl="0" indent="-285649" defTabSz="914253">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However, production growth across OEM segments is estimated to have been affected by persistent semiconductor shortages, which hit production of select high-end models of utility vehicles, premium motorcycles and light commercial vehicle.</a:t>
            </a:r>
          </a:p>
        </p:txBody>
      </p:sp>
      <p:sp>
        <p:nvSpPr>
          <p:cNvPr id="9" name="Rectangle 8">
            <a:extLst>
              <a:ext uri="{FF2B5EF4-FFF2-40B4-BE49-F238E27FC236}">
                <a16:creationId xmlns:a16="http://schemas.microsoft.com/office/drawing/2014/main" id="{94FEEED0-5F70-40D2-9CBC-EDEB0A443A2E}"/>
              </a:ext>
            </a:extLst>
          </p:cNvPr>
          <p:cNvSpPr/>
          <p:nvPr/>
        </p:nvSpPr>
        <p:spPr>
          <a:xfrm rot="5400000">
            <a:off x="6023462" y="-4507381"/>
            <a:ext cx="453351" cy="11670371"/>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06" tIns="45705" rIns="91406" bIns="45705" rtlCol="0" anchor="ctr"/>
          <a:lstStyle/>
          <a:p>
            <a:pPr marL="12699" marR="0" lvl="0" indent="0" algn="ctr" defTabSz="914253"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mand from OEMs to drive auto component growth in FY22</a:t>
            </a:r>
          </a:p>
        </p:txBody>
      </p:sp>
      <p:sp>
        <p:nvSpPr>
          <p:cNvPr id="8" name="TextBox 7">
            <a:extLst>
              <a:ext uri="{FF2B5EF4-FFF2-40B4-BE49-F238E27FC236}">
                <a16:creationId xmlns:a16="http://schemas.microsoft.com/office/drawing/2014/main" id="{A024B4FB-0AEB-4A8C-8C6C-83D41986C8E7}"/>
              </a:ext>
            </a:extLst>
          </p:cNvPr>
          <p:cNvSpPr txBox="1"/>
          <p:nvPr/>
        </p:nvSpPr>
        <p:spPr>
          <a:xfrm>
            <a:off x="373606" y="4849120"/>
            <a:ext cx="11518811" cy="400079"/>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Coloured brackets represent y-o-y growth; Numbers in the bracket in the axis represent share in production for FY21</a:t>
            </a:r>
          </a:p>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RISIL Research</a:t>
            </a:r>
          </a:p>
        </p:txBody>
      </p:sp>
      <p:graphicFrame>
        <p:nvGraphicFramePr>
          <p:cNvPr id="6" name="Table 5"/>
          <p:cNvGraphicFramePr>
            <a:graphicFrameLocks noGrp="1"/>
          </p:cNvGraphicFramePr>
          <p:nvPr/>
        </p:nvGraphicFramePr>
        <p:xfrm>
          <a:off x="6133012" y="1719165"/>
          <a:ext cx="5416060" cy="567690"/>
        </p:xfrm>
        <a:graphic>
          <a:graphicData uri="http://schemas.openxmlformats.org/drawingml/2006/table">
            <a:tbl>
              <a:tblPr>
                <a:tableStyleId>{5C22544A-7EE6-4342-B048-85BDC9FD1C3A}</a:tableStyleId>
              </a:tblPr>
              <a:tblGrid>
                <a:gridCol w="1083212">
                  <a:extLst>
                    <a:ext uri="{9D8B030D-6E8A-4147-A177-3AD203B41FA5}">
                      <a16:colId xmlns:a16="http://schemas.microsoft.com/office/drawing/2014/main" val="20000"/>
                    </a:ext>
                  </a:extLst>
                </a:gridCol>
                <a:gridCol w="1083212">
                  <a:extLst>
                    <a:ext uri="{9D8B030D-6E8A-4147-A177-3AD203B41FA5}">
                      <a16:colId xmlns:a16="http://schemas.microsoft.com/office/drawing/2014/main" val="20001"/>
                    </a:ext>
                  </a:extLst>
                </a:gridCol>
                <a:gridCol w="1083212">
                  <a:extLst>
                    <a:ext uri="{9D8B030D-6E8A-4147-A177-3AD203B41FA5}">
                      <a16:colId xmlns:a16="http://schemas.microsoft.com/office/drawing/2014/main" val="20002"/>
                    </a:ext>
                  </a:extLst>
                </a:gridCol>
                <a:gridCol w="1083212">
                  <a:extLst>
                    <a:ext uri="{9D8B030D-6E8A-4147-A177-3AD203B41FA5}">
                      <a16:colId xmlns:a16="http://schemas.microsoft.com/office/drawing/2014/main" val="20003"/>
                    </a:ext>
                  </a:extLst>
                </a:gridCol>
                <a:gridCol w="1083212">
                  <a:extLst>
                    <a:ext uri="{9D8B030D-6E8A-4147-A177-3AD203B41FA5}">
                      <a16:colId xmlns:a16="http://schemas.microsoft.com/office/drawing/2014/main" val="20004"/>
                    </a:ext>
                  </a:extLst>
                </a:gridCol>
              </a:tblGrid>
              <a:tr h="179826">
                <a:tc>
                  <a:txBody>
                    <a:bodyPr/>
                    <a:lstStyle/>
                    <a:p>
                      <a:pPr algn="ctr" fontAlgn="ctr"/>
                      <a:r>
                        <a:rPr lang="en-IN" sz="1200" u="none" strike="noStrike" dirty="0">
                          <a:effectLst/>
                          <a:latin typeface="Arial" panose="020B0604020202020204" pitchFamily="34" charset="0"/>
                          <a:cs typeface="Arial" panose="020B0604020202020204" pitchFamily="34" charset="0"/>
                        </a:rPr>
                        <a:t> </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IN" sz="1200" u="none" strike="noStrike" dirty="0">
                          <a:effectLst/>
                          <a:latin typeface="Arial" panose="020B0604020202020204" pitchFamily="34" charset="0"/>
                          <a:cs typeface="Arial" panose="020B0604020202020204" pitchFamily="34" charset="0"/>
                        </a:rPr>
                        <a:t>FY19 E</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IN" sz="1200" u="none" strike="noStrike">
                          <a:effectLst/>
                          <a:latin typeface="Arial" panose="020B0604020202020204" pitchFamily="34" charset="0"/>
                          <a:cs typeface="Arial" panose="020B0604020202020204" pitchFamily="34" charset="0"/>
                        </a:rPr>
                        <a:t>FY20 E</a:t>
                      </a:r>
                      <a:endParaRPr lang="en-IN" sz="12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IN" sz="1200" u="none" strike="noStrike" dirty="0">
                          <a:effectLst/>
                          <a:latin typeface="Arial" panose="020B0604020202020204" pitchFamily="34" charset="0"/>
                          <a:cs typeface="Arial" panose="020B0604020202020204" pitchFamily="34" charset="0"/>
                        </a:rPr>
                        <a:t>FY21 E</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IN" sz="1200" u="none" strike="noStrike">
                          <a:effectLst/>
                          <a:latin typeface="Arial" panose="020B0604020202020204" pitchFamily="34" charset="0"/>
                          <a:cs typeface="Arial" panose="020B0604020202020204" pitchFamily="34" charset="0"/>
                        </a:rPr>
                        <a:t>FY22 P</a:t>
                      </a:r>
                      <a:endParaRPr lang="en-IN" sz="12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0"/>
                  </a:ext>
                </a:extLst>
              </a:tr>
              <a:tr h="359653">
                <a:tc>
                  <a:txBody>
                    <a:bodyPr/>
                    <a:lstStyle/>
                    <a:p>
                      <a:pPr algn="ctr" fontAlgn="ctr"/>
                      <a:r>
                        <a:rPr lang="en-IN" sz="1200" u="none" strike="noStrike" dirty="0">
                          <a:effectLst/>
                          <a:latin typeface="Arial" panose="020B0604020202020204" pitchFamily="34" charset="0"/>
                          <a:cs typeface="Arial" panose="020B0604020202020204" pitchFamily="34" charset="0"/>
                        </a:rPr>
                        <a:t>Industry revenue</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200" b="0" i="0" u="none" strike="noStrike" dirty="0">
                          <a:solidFill>
                            <a:srgbClr val="000000"/>
                          </a:solidFill>
                          <a:effectLst/>
                          <a:latin typeface="Arial" panose="020B0604020202020204" pitchFamily="34" charset="0"/>
                          <a:cs typeface="Arial" panose="020B0604020202020204" pitchFamily="34" charset="0"/>
                        </a:rPr>
                        <a:t>15%</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IN" sz="1200" u="none" strike="noStrike" dirty="0">
                          <a:effectLst/>
                          <a:latin typeface="Arial" panose="020B0604020202020204" pitchFamily="34" charset="0"/>
                          <a:cs typeface="Arial" panose="020B0604020202020204" pitchFamily="34" charset="0"/>
                        </a:rPr>
                        <a:t>-6%</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US" sz="1200" b="0" i="0" u="none" strike="noStrike" dirty="0">
                          <a:solidFill>
                            <a:srgbClr val="000000"/>
                          </a:solidFill>
                          <a:effectLst/>
                          <a:latin typeface="Arial" panose="020B0604020202020204" pitchFamily="34" charset="0"/>
                          <a:cs typeface="Arial" panose="020B0604020202020204" pitchFamily="34" charset="0"/>
                        </a:rPr>
                        <a:t>-5%</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tc>
                  <a:txBody>
                    <a:bodyPr/>
                    <a:lstStyle/>
                    <a:p>
                      <a:pPr algn="ctr" fontAlgn="ctr"/>
                      <a:r>
                        <a:rPr lang="en-IN" sz="1200" u="none" strike="noStrike" dirty="0">
                          <a:effectLst/>
                          <a:latin typeface="Arial" panose="020B0604020202020204" pitchFamily="34" charset="0"/>
                          <a:cs typeface="Arial" panose="020B0604020202020204" pitchFamily="34" charset="0"/>
                        </a:rPr>
                        <a:t>22-25%</a:t>
                      </a:r>
                      <a:endParaRPr lang="en-IN"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1"/>
                  </a:ext>
                </a:extLst>
              </a:tr>
            </a:tbl>
          </a:graphicData>
        </a:graphic>
      </p:graphicFrame>
      <p:sp>
        <p:nvSpPr>
          <p:cNvPr id="23" name="TextBox 13"/>
          <p:cNvSpPr txBox="1"/>
          <p:nvPr/>
        </p:nvSpPr>
        <p:spPr>
          <a:xfrm>
            <a:off x="7169378" y="1961165"/>
            <a:ext cx="1107524" cy="307777"/>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253" rtl="0" eaLnBrk="1" fontAlgn="ctr"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TextBox 13"/>
          <p:cNvSpPr txBox="1"/>
          <p:nvPr/>
        </p:nvSpPr>
        <p:spPr>
          <a:xfrm>
            <a:off x="9365424" y="1961164"/>
            <a:ext cx="1057122" cy="307777"/>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253" rtl="0" eaLnBrk="1" fontAlgn="ctr"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TextBox 13"/>
          <p:cNvSpPr txBox="1"/>
          <p:nvPr/>
        </p:nvSpPr>
        <p:spPr>
          <a:xfrm>
            <a:off x="10456371" y="1961164"/>
            <a:ext cx="1107524" cy="307777"/>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253" rtl="0" eaLnBrk="1" fontAlgn="ctr"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TextBox 17">
            <a:extLst>
              <a:ext uri="{FF2B5EF4-FFF2-40B4-BE49-F238E27FC236}">
                <a16:creationId xmlns:a16="http://schemas.microsoft.com/office/drawing/2014/main" id="{51029C20-65B8-4AF7-ABC1-EDB4B9270C01}"/>
              </a:ext>
            </a:extLst>
          </p:cNvPr>
          <p:cNvSpPr txBox="1"/>
          <p:nvPr/>
        </p:nvSpPr>
        <p:spPr>
          <a:xfrm>
            <a:off x="2462127" y="3007220"/>
            <a:ext cx="485181" cy="261610"/>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5)%</a:t>
            </a:r>
            <a:endParaRPr lang="en-IN" sz="1100" dirty="0">
              <a:latin typeface="Arial" panose="020B0604020202020204" pitchFamily="34" charset="0"/>
              <a:cs typeface="Arial" panose="020B0604020202020204" pitchFamily="34" charset="0"/>
            </a:endParaRPr>
          </a:p>
        </p:txBody>
      </p:sp>
      <p:sp>
        <p:nvSpPr>
          <p:cNvPr id="22" name="TextBox 16">
            <a:extLst>
              <a:ext uri="{FF2B5EF4-FFF2-40B4-BE49-F238E27FC236}">
                <a16:creationId xmlns:a16="http://schemas.microsoft.com/office/drawing/2014/main" id="{841DCBE8-19CC-4ABB-A945-8FA3D3A37F2A}"/>
              </a:ext>
            </a:extLst>
          </p:cNvPr>
          <p:cNvSpPr txBox="1"/>
          <p:nvPr/>
        </p:nvSpPr>
        <p:spPr>
          <a:xfrm>
            <a:off x="3146415" y="2983096"/>
            <a:ext cx="673072" cy="261595"/>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dirty="0">
                <a:latin typeface="Arial" panose="020B0604020202020204" pitchFamily="34" charset="0"/>
                <a:cs typeface="Arial" panose="020B0604020202020204" pitchFamily="34" charset="0"/>
              </a:rPr>
              <a:t>17-19</a:t>
            </a:r>
            <a:r>
              <a:rPr lang="en-US" sz="1100" dirty="0">
                <a:latin typeface="Arial" panose="020B0604020202020204" pitchFamily="34" charset="0"/>
                <a:cs typeface="Arial" panose="020B0604020202020204" pitchFamily="34" charset="0"/>
              </a:rPr>
              <a:t>%</a:t>
            </a:r>
            <a:endParaRPr lang="en-IN" sz="1100" dirty="0">
              <a:latin typeface="Arial" panose="020B0604020202020204" pitchFamily="34" charset="0"/>
              <a:cs typeface="Arial" panose="020B0604020202020204" pitchFamily="34" charset="0"/>
            </a:endParaRPr>
          </a:p>
        </p:txBody>
      </p:sp>
      <p:sp>
        <p:nvSpPr>
          <p:cNvPr id="27" name="TextBox 19">
            <a:extLst>
              <a:ext uri="{FF2B5EF4-FFF2-40B4-BE49-F238E27FC236}">
                <a16:creationId xmlns:a16="http://schemas.microsoft.com/office/drawing/2014/main" id="{9E230BB4-4582-4746-A034-F179CF16E24B}"/>
              </a:ext>
            </a:extLst>
          </p:cNvPr>
          <p:cNvSpPr txBox="1"/>
          <p:nvPr/>
        </p:nvSpPr>
        <p:spPr>
          <a:xfrm>
            <a:off x="5985221" y="3215540"/>
            <a:ext cx="505709" cy="261610"/>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7)</a:t>
            </a:r>
            <a:r>
              <a:rPr lang="en-US" sz="1100" dirty="0">
                <a:latin typeface="Arial" panose="020B0604020202020204" pitchFamily="34" charset="0"/>
                <a:cs typeface="Arial" panose="020B0604020202020204" pitchFamily="34" charset="0"/>
              </a:rPr>
              <a:t>%</a:t>
            </a:r>
            <a:endParaRPr lang="en-IN" sz="1100" dirty="0">
              <a:latin typeface="Arial" panose="020B0604020202020204" pitchFamily="34" charset="0"/>
              <a:cs typeface="Arial" panose="020B0604020202020204" pitchFamily="34" charset="0"/>
            </a:endParaRPr>
          </a:p>
        </p:txBody>
      </p:sp>
      <p:sp>
        <p:nvSpPr>
          <p:cNvPr id="28" name="TextBox 13">
            <a:extLst>
              <a:ext uri="{FF2B5EF4-FFF2-40B4-BE49-F238E27FC236}">
                <a16:creationId xmlns:a16="http://schemas.microsoft.com/office/drawing/2014/main" id="{FC799B52-8935-40D8-AA31-3AC01A00C14B}"/>
              </a:ext>
            </a:extLst>
          </p:cNvPr>
          <p:cNvSpPr txBox="1"/>
          <p:nvPr/>
        </p:nvSpPr>
        <p:spPr>
          <a:xfrm>
            <a:off x="6607696" y="3215540"/>
            <a:ext cx="679604" cy="261610"/>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14-16%</a:t>
            </a:r>
            <a:endParaRPr lang="en-IN" sz="1100" dirty="0">
              <a:latin typeface="Arial" panose="020B0604020202020204" pitchFamily="34" charset="0"/>
              <a:cs typeface="Arial" panose="020B0604020202020204" pitchFamily="34" charset="0"/>
            </a:endParaRPr>
          </a:p>
        </p:txBody>
      </p:sp>
      <p:sp>
        <p:nvSpPr>
          <p:cNvPr id="29" name="TextBox 20">
            <a:extLst>
              <a:ext uri="{FF2B5EF4-FFF2-40B4-BE49-F238E27FC236}">
                <a16:creationId xmlns:a16="http://schemas.microsoft.com/office/drawing/2014/main" id="{6C26C89B-0188-4C36-94A7-EDD701AB635F}"/>
              </a:ext>
            </a:extLst>
          </p:cNvPr>
          <p:cNvSpPr txBox="1"/>
          <p:nvPr/>
        </p:nvSpPr>
        <p:spPr>
          <a:xfrm>
            <a:off x="9528843" y="3402662"/>
            <a:ext cx="509324" cy="261610"/>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2)%</a:t>
            </a:r>
            <a:endParaRPr lang="en-IN" sz="1100" dirty="0">
              <a:latin typeface="Arial" panose="020B0604020202020204" pitchFamily="34" charset="0"/>
              <a:cs typeface="Arial" panose="020B0604020202020204" pitchFamily="34" charset="0"/>
            </a:endParaRPr>
          </a:p>
        </p:txBody>
      </p:sp>
      <p:sp>
        <p:nvSpPr>
          <p:cNvPr id="30" name="TextBox 15">
            <a:extLst>
              <a:ext uri="{FF2B5EF4-FFF2-40B4-BE49-F238E27FC236}">
                <a16:creationId xmlns:a16="http://schemas.microsoft.com/office/drawing/2014/main" id="{AB33C549-B8EE-4099-ADAE-A2E1E4DE8F0B}"/>
              </a:ext>
            </a:extLst>
          </p:cNvPr>
          <p:cNvSpPr txBox="1"/>
          <p:nvPr/>
        </p:nvSpPr>
        <p:spPr>
          <a:xfrm>
            <a:off x="10219720" y="3393378"/>
            <a:ext cx="753080" cy="261610"/>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39-41%</a:t>
            </a:r>
            <a:endParaRPr lang="en-IN" sz="1100" dirty="0">
              <a:latin typeface="Arial" panose="020B0604020202020204" pitchFamily="34" charset="0"/>
              <a:cs typeface="Arial" panose="020B0604020202020204" pitchFamily="34" charset="0"/>
            </a:endParaRPr>
          </a:p>
        </p:txBody>
      </p:sp>
      <p:sp>
        <p:nvSpPr>
          <p:cNvPr id="18" name="TextBox 13">
            <a:extLst>
              <a:ext uri="{FF2B5EF4-FFF2-40B4-BE49-F238E27FC236}">
                <a16:creationId xmlns:a16="http://schemas.microsoft.com/office/drawing/2014/main" id="{9FFFF2A8-6ED2-4026-B9D4-8A3940F1F393}"/>
              </a:ext>
            </a:extLst>
          </p:cNvPr>
          <p:cNvSpPr txBox="1"/>
          <p:nvPr/>
        </p:nvSpPr>
        <p:spPr>
          <a:xfrm>
            <a:off x="8276902" y="1970240"/>
            <a:ext cx="1057122" cy="307777"/>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253" rtl="0" eaLnBrk="1" fontAlgn="ctr"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20" name="Chart 19">
            <a:extLst>
              <a:ext uri="{FF2B5EF4-FFF2-40B4-BE49-F238E27FC236}">
                <a16:creationId xmlns:a16="http://schemas.microsoft.com/office/drawing/2014/main" id="{00000000-0008-0000-0100-000005000000}"/>
              </a:ext>
            </a:extLst>
          </p:cNvPr>
          <p:cNvGraphicFramePr>
            <a:graphicFrameLocks/>
          </p:cNvGraphicFramePr>
          <p:nvPr/>
        </p:nvGraphicFramePr>
        <p:xfrm>
          <a:off x="373607" y="2737525"/>
          <a:ext cx="11518810" cy="19269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90105659"/>
      </p:ext>
    </p:extLst>
  </p:cSld>
  <p:clrMapOvr>
    <a:masterClrMapping/>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rot="5400000">
            <a:off x="3042548" y="-1529700"/>
            <a:ext cx="360000" cy="560403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xport demand expected to revive in FY 22</a:t>
            </a:r>
          </a:p>
        </p:txBody>
      </p:sp>
      <p:sp>
        <p:nvSpPr>
          <p:cNvPr id="5" name="Rectangle 4"/>
          <p:cNvSpPr/>
          <p:nvPr/>
        </p:nvSpPr>
        <p:spPr>
          <a:xfrm rot="5400000">
            <a:off x="8860754" y="-1525843"/>
            <a:ext cx="360000" cy="5625347"/>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veloped</a:t>
            </a:r>
            <a:r>
              <a:rPr kumimoji="0" lang="en-US" sz="16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nations support exports</a:t>
            </a:r>
            <a:endPar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B4D66F93-F7D3-4652-81A5-36FAECAAFF48}"/>
              </a:ext>
            </a:extLst>
          </p:cNvPr>
          <p:cNvSpPr txBox="1">
            <a:spLocks/>
          </p:cNvSpPr>
          <p:nvPr/>
        </p:nvSpPr>
        <p:spPr>
          <a:xfrm>
            <a:off x="424513" y="144657"/>
            <a:ext cx="11564291" cy="815398"/>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defTabSz="914253">
              <a:defRPr/>
            </a:pPr>
            <a:r>
              <a:rPr lang="en-US" sz="3000" dirty="0">
                <a:solidFill>
                  <a:srgbClr val="000000"/>
                </a:solidFill>
              </a:rPr>
              <a:t>Exports to increase in FY22 on the back of recovery in key global automotive markets</a:t>
            </a:r>
            <a:endParaRPr kumimoji="0" lang="en-US" sz="30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9" name="TextBox 8"/>
          <p:cNvSpPr txBox="1"/>
          <p:nvPr/>
        </p:nvSpPr>
        <p:spPr>
          <a:xfrm>
            <a:off x="464077" y="5123519"/>
            <a:ext cx="11404980" cy="1200314"/>
          </a:xfrm>
          <a:prstGeom prst="rect">
            <a:avLst/>
          </a:prstGeom>
          <a:solidFill>
            <a:schemeClr val="bg1">
              <a:lumMod val="85000"/>
            </a:schemeClr>
          </a:solidFill>
        </p:spPr>
        <p:txBody>
          <a:bodyPr wrap="square" lIns="91425" tIns="45713" rIns="91425" bIns="45713" rtlCol="0" anchor="ctr">
            <a:spAutoFit/>
          </a:bodyPr>
          <a:lstStyle/>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 the export front, the industry witnessed a decline of 2% in fiscal 2021. Going ahead, demand is expected to grow by 39-41%, backed by a global recovery.</a:t>
            </a:r>
          </a:p>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growth would be on the back of healthy demand from North America and Europe which together contributed 59% to export demand from April-October 2021. </a:t>
            </a:r>
          </a:p>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 uptick in freight demand amidst an economic recovery in the US and an expected revival in passenger vehicle markets across Europe are expected to bolster demand for auto component exports. </a:t>
            </a:r>
          </a:p>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reover, in value terms, demand is expected to be slightly better, owing to increase in </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alisations</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s auto component players have undertaken price hikes to offset the rising input cost burden.</a:t>
            </a:r>
            <a:endParaRPr kumimoji="0" lang="en-IN"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TextBox 21"/>
          <p:cNvSpPr txBox="1"/>
          <p:nvPr/>
        </p:nvSpPr>
        <p:spPr>
          <a:xfrm>
            <a:off x="6172843" y="4835307"/>
            <a:ext cx="5683881" cy="246207"/>
          </a:xfrm>
          <a:prstGeom prst="rect">
            <a:avLst/>
          </a:prstGeom>
          <a:noFill/>
        </p:spPr>
        <p:txBody>
          <a:bodyPr wrap="square" lIns="91425" tIns="45713" rIns="91425" bIns="45713"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GFT, CRISIL Research</a:t>
            </a:r>
            <a:endPar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11" name="Chart 10"/>
          <p:cNvGraphicFramePr>
            <a:graphicFrameLocks/>
          </p:cNvGraphicFramePr>
          <p:nvPr/>
        </p:nvGraphicFramePr>
        <p:xfrm>
          <a:off x="8389230" y="1680176"/>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A024B4FB-0AEB-4A8C-8C6C-83D41986C8E7}"/>
              </a:ext>
            </a:extLst>
          </p:cNvPr>
          <p:cNvSpPr txBox="1"/>
          <p:nvPr/>
        </p:nvSpPr>
        <p:spPr>
          <a:xfrm>
            <a:off x="414688" y="4776935"/>
            <a:ext cx="5609875" cy="400079"/>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Brackets represent y-o-y growth; </a:t>
            </a:r>
          </a:p>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RISIL Research</a:t>
            </a:r>
          </a:p>
        </p:txBody>
      </p:sp>
      <p:graphicFrame>
        <p:nvGraphicFramePr>
          <p:cNvPr id="21" name="Chart 20">
            <a:extLst>
              <a:ext uri="{FF2B5EF4-FFF2-40B4-BE49-F238E27FC236}">
                <a16:creationId xmlns:a16="http://schemas.microsoft.com/office/drawing/2014/main" id="{00000000-0008-0000-0200-000004000000}"/>
              </a:ext>
            </a:extLst>
          </p:cNvPr>
          <p:cNvGraphicFramePr>
            <a:graphicFrameLocks/>
          </p:cNvGraphicFramePr>
          <p:nvPr/>
        </p:nvGraphicFramePr>
        <p:xfrm>
          <a:off x="6264722" y="1638704"/>
          <a:ext cx="4609171" cy="29231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00000000-0008-0000-0200-000005000000}"/>
              </a:ext>
            </a:extLst>
          </p:cNvPr>
          <p:cNvGraphicFramePr>
            <a:graphicFrameLocks/>
          </p:cNvGraphicFramePr>
          <p:nvPr/>
        </p:nvGraphicFramePr>
        <p:xfrm>
          <a:off x="8624524" y="1541704"/>
          <a:ext cx="4101411" cy="3020144"/>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20">
            <a:extLst>
              <a:ext uri="{FF2B5EF4-FFF2-40B4-BE49-F238E27FC236}">
                <a16:creationId xmlns:a16="http://schemas.microsoft.com/office/drawing/2014/main" id="{4DA5EFD7-9841-4646-9B53-993165173325}"/>
              </a:ext>
            </a:extLst>
          </p:cNvPr>
          <p:cNvSpPr txBox="1"/>
          <p:nvPr/>
        </p:nvSpPr>
        <p:spPr>
          <a:xfrm>
            <a:off x="3187309" y="1954876"/>
            <a:ext cx="509324" cy="261610"/>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2)%</a:t>
            </a:r>
            <a:endParaRPr lang="en-IN" sz="1100" dirty="0">
              <a:latin typeface="Arial" panose="020B0604020202020204" pitchFamily="34" charset="0"/>
              <a:cs typeface="Arial" panose="020B0604020202020204" pitchFamily="34" charset="0"/>
            </a:endParaRPr>
          </a:p>
        </p:txBody>
      </p:sp>
      <p:sp>
        <p:nvSpPr>
          <p:cNvPr id="17" name="TextBox 15">
            <a:extLst>
              <a:ext uri="{FF2B5EF4-FFF2-40B4-BE49-F238E27FC236}">
                <a16:creationId xmlns:a16="http://schemas.microsoft.com/office/drawing/2014/main" id="{3B6B4BB2-2E68-4889-951D-EE50AA44C6B8}"/>
              </a:ext>
            </a:extLst>
          </p:cNvPr>
          <p:cNvSpPr txBox="1"/>
          <p:nvPr/>
        </p:nvSpPr>
        <p:spPr>
          <a:xfrm>
            <a:off x="4024885" y="1901434"/>
            <a:ext cx="690953" cy="261610"/>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a:latin typeface="Arial" panose="020B0604020202020204" pitchFamily="34" charset="0"/>
                <a:cs typeface="Arial" panose="020B0604020202020204" pitchFamily="34" charset="0"/>
              </a:rPr>
              <a:t>39-4</a:t>
            </a:r>
            <a:r>
              <a:rPr lang="en-US" dirty="0">
                <a:latin typeface="Arial" panose="020B0604020202020204" pitchFamily="34" charset="0"/>
                <a:cs typeface="Arial" panose="020B0604020202020204" pitchFamily="34" charset="0"/>
              </a:rPr>
              <a:t>1</a:t>
            </a:r>
            <a:r>
              <a:rPr lang="en-US" sz="1100" dirty="0">
                <a:latin typeface="Arial" panose="020B0604020202020204" pitchFamily="34" charset="0"/>
                <a:cs typeface="Arial" panose="020B0604020202020204" pitchFamily="34" charset="0"/>
              </a:rPr>
              <a:t>%</a:t>
            </a:r>
            <a:endParaRPr lang="en-IN" sz="1100" dirty="0">
              <a:latin typeface="Arial" panose="020B0604020202020204" pitchFamily="34" charset="0"/>
              <a:cs typeface="Arial" panose="020B0604020202020204" pitchFamily="34" charset="0"/>
            </a:endParaRPr>
          </a:p>
        </p:txBody>
      </p:sp>
      <p:graphicFrame>
        <p:nvGraphicFramePr>
          <p:cNvPr id="18" name="Chart 17">
            <a:extLst>
              <a:ext uri="{FF2B5EF4-FFF2-40B4-BE49-F238E27FC236}">
                <a16:creationId xmlns:a16="http://schemas.microsoft.com/office/drawing/2014/main" id="{00000000-0008-0000-0200-000002000000}"/>
              </a:ext>
            </a:extLst>
          </p:cNvPr>
          <p:cNvGraphicFramePr>
            <a:graphicFrameLocks/>
          </p:cNvGraphicFramePr>
          <p:nvPr/>
        </p:nvGraphicFramePr>
        <p:xfrm>
          <a:off x="472288" y="1467824"/>
          <a:ext cx="5511743" cy="281685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643200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rot="5400000">
            <a:off x="3042548" y="-1529700"/>
            <a:ext cx="360000" cy="560403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lang="en-US" sz="1600" b="1" dirty="0">
                <a:solidFill>
                  <a:prstClr val="white"/>
                </a:solidFill>
                <a:latin typeface="Arial" panose="020B0604020202020204" pitchFamily="34" charset="0"/>
                <a:cs typeface="Arial" panose="020B0604020202020204" pitchFamily="34" charset="0"/>
              </a:rPr>
              <a:t>R</a:t>
            </a:r>
            <a:r>
              <a:rPr kumimoji="0" lang="en-US" sz="16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covery</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n FY22 after a consecutive drop</a:t>
            </a:r>
          </a:p>
        </p:txBody>
      </p:sp>
      <p:sp>
        <p:nvSpPr>
          <p:cNvPr id="5" name="Rectangle 4"/>
          <p:cNvSpPr/>
          <p:nvPr/>
        </p:nvSpPr>
        <p:spPr>
          <a:xfrm rot="5400000">
            <a:off x="8860754" y="-1525843"/>
            <a:ext cx="360000" cy="5625347"/>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mports Share to increase on a low base</a:t>
            </a:r>
          </a:p>
        </p:txBody>
      </p:sp>
      <p:sp>
        <p:nvSpPr>
          <p:cNvPr id="6" name="Title 1">
            <a:extLst>
              <a:ext uri="{FF2B5EF4-FFF2-40B4-BE49-F238E27FC236}">
                <a16:creationId xmlns:a16="http://schemas.microsoft.com/office/drawing/2014/main" id="{B4D66F93-F7D3-4652-81A5-36FAECAAFF48}"/>
              </a:ext>
            </a:extLst>
          </p:cNvPr>
          <p:cNvSpPr txBox="1">
            <a:spLocks/>
          </p:cNvSpPr>
          <p:nvPr/>
        </p:nvSpPr>
        <p:spPr>
          <a:xfrm>
            <a:off x="424513" y="144657"/>
            <a:ext cx="11564291" cy="815398"/>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defTabSz="914253">
              <a:defRPr/>
            </a:pPr>
            <a:r>
              <a:rPr lang="en-US" sz="2400" dirty="0">
                <a:solidFill>
                  <a:srgbClr val="000000"/>
                </a:solidFill>
              </a:rPr>
              <a:t>Imports to increase significantly in FY22 on a low base of preceding two fiscals</a:t>
            </a:r>
            <a:endPar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9" name="TextBox 8"/>
          <p:cNvSpPr txBox="1"/>
          <p:nvPr/>
        </p:nvSpPr>
        <p:spPr>
          <a:xfrm>
            <a:off x="464077" y="5215850"/>
            <a:ext cx="11404980" cy="1015649"/>
          </a:xfrm>
          <a:prstGeom prst="rect">
            <a:avLst/>
          </a:prstGeom>
          <a:solidFill>
            <a:schemeClr val="bg1">
              <a:lumMod val="85000"/>
            </a:schemeClr>
          </a:solidFill>
        </p:spPr>
        <p:txBody>
          <a:bodyPr wrap="square" lIns="91425" tIns="45713" rIns="91425" bIns="45713" rtlCol="0" anchor="ctr">
            <a:spAutoFit/>
          </a:bodyPr>
          <a:lstStyle/>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tilization levels of domestic OEMs and aftermarket players have also been impacted since the beginning of fiscal 2022 on account of state-wide lockdown and restrictions and persisting semiconductor shortage issue. </a:t>
            </a:r>
          </a:p>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ing ahead, import demand is likely to grow led by a recovery in domestic market.</a:t>
            </a:r>
          </a:p>
          <a:p>
            <a:pPr marL="171422" marR="0" lvl="0" indent="-171422"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dia imports mainly from China, Korea, Germany, Japan and the USA. In H1 FY22, share of China in auto component imports increased substantially owing to higher demand for replacement and low-value products such as gear boxes and other accessories used for motor vehicles.</a:t>
            </a:r>
          </a:p>
        </p:txBody>
      </p:sp>
      <p:sp>
        <p:nvSpPr>
          <p:cNvPr id="10" name="TextBox 9"/>
          <p:cNvSpPr txBox="1"/>
          <p:nvPr/>
        </p:nvSpPr>
        <p:spPr>
          <a:xfrm>
            <a:off x="333450" y="4720469"/>
            <a:ext cx="5018694" cy="261596"/>
          </a:xfrm>
          <a:prstGeom prst="rect">
            <a:avLst/>
          </a:prstGeom>
          <a:noFill/>
        </p:spPr>
        <p:txBody>
          <a:bodyPr wrap="square" lIns="91425" tIns="45713" rIns="91425" bIns="45713"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DGFT, CRISIL Research</a:t>
            </a:r>
          </a:p>
        </p:txBody>
      </p:sp>
      <p:sp>
        <p:nvSpPr>
          <p:cNvPr id="22" name="TextBox 21"/>
          <p:cNvSpPr txBox="1"/>
          <p:nvPr/>
        </p:nvSpPr>
        <p:spPr>
          <a:xfrm>
            <a:off x="6172843" y="4835307"/>
            <a:ext cx="5683881" cy="261610"/>
          </a:xfrm>
          <a:prstGeom prst="rect">
            <a:avLst/>
          </a:prstGeom>
          <a:noFill/>
        </p:spPr>
        <p:txBody>
          <a:bodyPr wrap="square" lIns="91425" tIns="45713" rIns="91425" bIns="45713"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GFT, CRISIL Research</a:t>
            </a:r>
            <a:endPar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7">
            <a:extLst>
              <a:ext uri="{FF2B5EF4-FFF2-40B4-BE49-F238E27FC236}">
                <a16:creationId xmlns:a16="http://schemas.microsoft.com/office/drawing/2014/main" id="{35AFDCE6-EBE4-40F3-A4D6-3FFE3389EBA6}"/>
              </a:ext>
            </a:extLst>
          </p:cNvPr>
          <p:cNvSpPr txBox="1"/>
          <p:nvPr/>
        </p:nvSpPr>
        <p:spPr>
          <a:xfrm>
            <a:off x="4107548" y="2015525"/>
            <a:ext cx="627105" cy="261610"/>
          </a:xfrm>
          <a:prstGeom prst="rect">
            <a:avLst/>
          </a:prstGeom>
          <a:noFill/>
          <a:ln w="38100">
            <a:solidFill>
              <a:srgbClr val="C0000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dirty="0">
                <a:solidFill>
                  <a:srgbClr val="000000"/>
                </a:solidFill>
                <a:latin typeface="Arial" panose="020B0604020202020204" pitchFamily="34" charset="0"/>
                <a:cs typeface="Arial" panose="020B0604020202020204" pitchFamily="34" charset="0"/>
              </a:rPr>
              <a:t>20</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IN"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8C8B5950-7FF9-4E0A-A052-95D5131D77FC}"/>
              </a:ext>
            </a:extLst>
          </p:cNvPr>
          <p:cNvSpPr txBox="1"/>
          <p:nvPr/>
        </p:nvSpPr>
        <p:spPr>
          <a:xfrm>
            <a:off x="5043071" y="1978577"/>
            <a:ext cx="673072" cy="261610"/>
          </a:xfrm>
          <a:prstGeom prst="rect">
            <a:avLst/>
          </a:prstGeom>
          <a:noFill/>
          <a:ln w="38100">
            <a:solidFill>
              <a:srgbClr val="92D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9-51%</a:t>
            </a:r>
            <a:endParaRPr kumimoji="0" lang="en-IN"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4" name="Chart 13">
            <a:extLst>
              <a:ext uri="{FF2B5EF4-FFF2-40B4-BE49-F238E27FC236}">
                <a16:creationId xmlns:a16="http://schemas.microsoft.com/office/drawing/2014/main" id="{00000000-0008-0000-0200-000003000000}"/>
              </a:ext>
            </a:extLst>
          </p:cNvPr>
          <p:cNvGraphicFramePr>
            <a:graphicFrameLocks/>
          </p:cNvGraphicFramePr>
          <p:nvPr/>
        </p:nvGraphicFramePr>
        <p:xfrm>
          <a:off x="420532" y="1466830"/>
          <a:ext cx="5604029" cy="25596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a:extLst>
              <a:ext uri="{FF2B5EF4-FFF2-40B4-BE49-F238E27FC236}">
                <a16:creationId xmlns:a16="http://schemas.microsoft.com/office/drawing/2014/main" id="{00000000-0008-0000-0200-00000A000000}"/>
              </a:ext>
            </a:extLst>
          </p:cNvPr>
          <p:cNvGraphicFramePr>
            <a:graphicFrameLocks/>
          </p:cNvGraphicFramePr>
          <p:nvPr/>
        </p:nvGraphicFramePr>
        <p:xfrm>
          <a:off x="6261102" y="1467021"/>
          <a:ext cx="5625348" cy="26543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19671740"/>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rot="5400000">
            <a:off x="6014161" y="-4290221"/>
            <a:ext cx="356615" cy="11508364"/>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lvl="0" algn="ctr" defTabSz="914253">
              <a:defRPr/>
            </a:pPr>
            <a:r>
              <a:rPr lang="en-IN" sz="1600" b="1" dirty="0">
                <a:solidFill>
                  <a:schemeClr val="bg1"/>
                </a:solidFill>
                <a:latin typeface="Arial" panose="020B0604020202020204" pitchFamily="34" charset="0"/>
                <a:cs typeface="Arial" panose="020B0604020202020204" pitchFamily="34" charset="0"/>
              </a:rPr>
              <a:t>Company financials </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6" name="TextBox 25"/>
          <p:cNvSpPr txBox="1"/>
          <p:nvPr/>
        </p:nvSpPr>
        <p:spPr>
          <a:xfrm>
            <a:off x="539284" y="5050293"/>
            <a:ext cx="11237900" cy="246207"/>
          </a:xfrm>
          <a:prstGeom prst="rect">
            <a:avLst/>
          </a:prstGeom>
          <a:noFill/>
        </p:spPr>
        <p:txBody>
          <a:bodyPr wrap="square" lIns="91425" tIns="45713" rIns="91425" bIns="45713"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Company financials,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ISIL Research</a:t>
            </a:r>
            <a:endPar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EA59BFA3-81DB-4267-B37E-141371721CF6}"/>
              </a:ext>
            </a:extLst>
          </p:cNvPr>
          <p:cNvSpPr/>
          <p:nvPr/>
        </p:nvSpPr>
        <p:spPr>
          <a:xfrm>
            <a:off x="381591" y="5296771"/>
            <a:ext cx="11576827" cy="1015649"/>
          </a:xfrm>
          <a:prstGeom prst="rect">
            <a:avLst/>
          </a:prstGeom>
          <a:solidFill>
            <a:schemeClr val="bg1">
              <a:lumMod val="85000"/>
            </a:schemeClr>
          </a:solidFill>
        </p:spPr>
        <p:txBody>
          <a:bodyPr wrap="square" lIns="91425" tIns="45713" rIns="91425" bIns="45713" anchor="ctr">
            <a:spAutoFit/>
          </a:bodyPr>
          <a:lstStyle/>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IN"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rgins are expected to improve in FY22. </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s can be attributed to improved demand from all segments and recovery in utilization levels of automotive component players in fiscal 2022.</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tilization levels of players had dropped to an all-time low in fiscal 2021. This coupled with higher input costs took a toll on profitability during the year. </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FY23, margins are further expected to  expand as raw material prices soften during the year. </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ditionally, higher capacity utilization levels on the back of robust demand sentiments would aid the expansion in margins.</a:t>
            </a:r>
            <a:endParaRPr kumimoji="0" lang="en-IN"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F1B0364F-4E86-473D-8424-D1324971015C}"/>
              </a:ext>
            </a:extLst>
          </p:cNvPr>
          <p:cNvSpPr/>
          <p:nvPr/>
        </p:nvSpPr>
        <p:spPr>
          <a:xfrm>
            <a:off x="366269" y="178722"/>
            <a:ext cx="11600367" cy="918382"/>
          </a:xfrm>
          <a:prstGeom prst="rect">
            <a:avLst/>
          </a:prstGeom>
        </p:spPr>
        <p:txBody>
          <a:bodyPr vert="horz" lIns="0" tIns="0" rIns="0" bIns="0" rtlCol="0" anchor="ctr">
            <a:noAutofit/>
          </a:bodyPr>
          <a:lstStyle/>
          <a:p>
            <a:pPr marL="0" marR="0" lvl="0" indent="0" algn="l" defTabSz="914253"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BITDA margin to rebound in fiscal 2022 supported by higher demand and better </a:t>
            </a:r>
            <a:r>
              <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alisations</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8" name="Chart 7">
            <a:extLst>
              <a:ext uri="{FF2B5EF4-FFF2-40B4-BE49-F238E27FC236}">
                <a16:creationId xmlns:a16="http://schemas.microsoft.com/office/drawing/2014/main" id="{00000000-0008-0000-0400-000004000000}"/>
              </a:ext>
            </a:extLst>
          </p:cNvPr>
          <p:cNvGraphicFramePr>
            <a:graphicFrameLocks/>
          </p:cNvGraphicFramePr>
          <p:nvPr>
            <p:extLst>
              <p:ext uri="{D42A27DB-BD31-4B8C-83A1-F6EECF244321}">
                <p14:modId xmlns:p14="http://schemas.microsoft.com/office/powerpoint/2010/main" val="1133508664"/>
              </p:ext>
            </p:extLst>
          </p:nvPr>
        </p:nvGraphicFramePr>
        <p:xfrm>
          <a:off x="438285" y="1642269"/>
          <a:ext cx="5757031" cy="34077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00000000-0008-0000-0400-000007000000}"/>
              </a:ext>
            </a:extLst>
          </p:cNvPr>
          <p:cNvGraphicFramePr>
            <a:graphicFrameLocks/>
          </p:cNvGraphicFramePr>
          <p:nvPr>
            <p:extLst>
              <p:ext uri="{D42A27DB-BD31-4B8C-83A1-F6EECF244321}">
                <p14:modId xmlns:p14="http://schemas.microsoft.com/office/powerpoint/2010/main" val="3819639096"/>
              </p:ext>
            </p:extLst>
          </p:nvPr>
        </p:nvGraphicFramePr>
        <p:xfrm>
          <a:off x="6435667" y="1642269"/>
          <a:ext cx="5341517" cy="332014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44091936"/>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553" y="2876105"/>
            <a:ext cx="10515600" cy="498598"/>
          </a:xfrm>
        </p:spPr>
        <p:txBody>
          <a:bodyPr/>
          <a:lstStyle/>
          <a:p>
            <a:pPr algn="ctr"/>
            <a:r>
              <a:rPr lang="en-US" sz="3600" dirty="0"/>
              <a:t>Annual Forecasts</a:t>
            </a:r>
          </a:p>
        </p:txBody>
      </p:sp>
      <p:sp>
        <p:nvSpPr>
          <p:cNvPr id="5" name="Rounded Rectangle 3">
            <a:hlinkClick r:id="" action="ppaction://noaction"/>
            <a:extLst>
              <a:ext uri="{FF2B5EF4-FFF2-40B4-BE49-F238E27FC236}">
                <a16:creationId xmlns:a16="http://schemas.microsoft.com/office/drawing/2014/main" id="{80A82B7D-A14C-413F-BEE8-40C53DB98A1F}"/>
              </a:ext>
            </a:extLst>
          </p:cNvPr>
          <p:cNvSpPr/>
          <p:nvPr/>
        </p:nvSpPr>
        <p:spPr>
          <a:xfrm>
            <a:off x="9926320" y="6273800"/>
            <a:ext cx="953589" cy="359229"/>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ction="ppaction://hlinksldjump"/>
              </a:rPr>
              <a:t>INDEX</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07664708"/>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D6BA4FF-0711-4867-A3C2-EEE3A0C41A71}"/>
              </a:ext>
            </a:extLst>
          </p:cNvPr>
          <p:cNvSpPr>
            <a:spLocks noGrp="1"/>
          </p:cNvSpPr>
          <p:nvPr>
            <p:ph type="title"/>
          </p:nvPr>
        </p:nvSpPr>
        <p:spPr>
          <a:xfrm>
            <a:off x="373858" y="213654"/>
            <a:ext cx="10515600" cy="415498"/>
          </a:xfrm>
        </p:spPr>
        <p:txBody>
          <a:bodyPr>
            <a:noAutofit/>
          </a:bodyPr>
          <a:lstStyle/>
          <a:p>
            <a:r>
              <a:rPr lang="en-US" sz="2800" b="1" dirty="0">
                <a:solidFill>
                  <a:schemeClr val="tx1"/>
                </a:solidFill>
                <a:latin typeface="Arial" panose="020B0604020202020204" pitchFamily="34" charset="0"/>
                <a:cs typeface="Arial" panose="020B0604020202020204" pitchFamily="34" charset="0"/>
              </a:rPr>
              <a:t>Annual Forecast – Domestic (Base case) </a:t>
            </a:r>
          </a:p>
        </p:txBody>
      </p:sp>
      <p:sp>
        <p:nvSpPr>
          <p:cNvPr id="125" name="TextBox 124">
            <a:extLst>
              <a:ext uri="{FF2B5EF4-FFF2-40B4-BE49-F238E27FC236}">
                <a16:creationId xmlns:a16="http://schemas.microsoft.com/office/drawing/2014/main" id="{530E415A-4C9A-448D-8B31-5E693A134E91}"/>
              </a:ext>
            </a:extLst>
          </p:cNvPr>
          <p:cNvSpPr txBox="1"/>
          <p:nvPr/>
        </p:nvSpPr>
        <p:spPr>
          <a:xfrm>
            <a:off x="668257" y="5833157"/>
            <a:ext cx="9328076" cy="246201"/>
          </a:xfrm>
          <a:prstGeom prst="rect">
            <a:avLst/>
          </a:prstGeom>
          <a:noFill/>
        </p:spPr>
        <p:txBody>
          <a:bodyPr wrap="square" lIns="91417" tIns="45710" rIns="91417" bIns="45710" rtlCol="0">
            <a:spAutoFit/>
          </a:bodyPr>
          <a:lstStyle/>
          <a:p>
            <a:pPr marL="0" marR="0" lvl="0" indent="0" algn="l" defTabSz="914143"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SIAM, CRISIL Research</a:t>
            </a:r>
          </a:p>
        </p:txBody>
      </p:sp>
      <p:sp>
        <p:nvSpPr>
          <p:cNvPr id="5" name="Rectangle: Rounded Corners 4">
            <a:hlinkClick r:id="" action="ppaction://noaction"/>
            <a:extLst>
              <a:ext uri="{FF2B5EF4-FFF2-40B4-BE49-F238E27FC236}">
                <a16:creationId xmlns:a16="http://schemas.microsoft.com/office/drawing/2014/main" id="{F6520F39-D056-40CA-9E54-2456D6B2BECE}"/>
              </a:ext>
            </a:extLst>
          </p:cNvPr>
          <p:cNvSpPr/>
          <p:nvPr/>
        </p:nvSpPr>
        <p:spPr>
          <a:xfrm>
            <a:off x="668257" y="2012717"/>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3" action="ppaction://hlinksldjump"/>
              </a:rPr>
              <a:t>Passenger vehicles </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13" name="Arrow: Pentagon 12">
            <a:extLst>
              <a:ext uri="{FF2B5EF4-FFF2-40B4-BE49-F238E27FC236}">
                <a16:creationId xmlns:a16="http://schemas.microsoft.com/office/drawing/2014/main" id="{E1553D6C-296F-4B41-8428-A47EEE46C1F3}"/>
              </a:ext>
            </a:extLst>
          </p:cNvPr>
          <p:cNvSpPr/>
          <p:nvPr/>
        </p:nvSpPr>
        <p:spPr>
          <a:xfrm rot="5400000">
            <a:off x="2562710" y="1199753"/>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0</a:t>
            </a:r>
          </a:p>
        </p:txBody>
      </p:sp>
      <p:sp>
        <p:nvSpPr>
          <p:cNvPr id="14" name="Arrow: Pentagon 13">
            <a:extLst>
              <a:ext uri="{FF2B5EF4-FFF2-40B4-BE49-F238E27FC236}">
                <a16:creationId xmlns:a16="http://schemas.microsoft.com/office/drawing/2014/main" id="{5ADEDE9C-C164-4665-A28C-7938E622A38B}"/>
              </a:ext>
            </a:extLst>
          </p:cNvPr>
          <p:cNvSpPr/>
          <p:nvPr/>
        </p:nvSpPr>
        <p:spPr>
          <a:xfrm rot="5400000">
            <a:off x="3649462" y="1205982"/>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1</a:t>
            </a:r>
          </a:p>
        </p:txBody>
      </p:sp>
      <p:sp>
        <p:nvSpPr>
          <p:cNvPr id="25" name="Rectangle: Rounded Corners 24">
            <a:hlinkClick r:id="" action="ppaction://noaction"/>
            <a:extLst>
              <a:ext uri="{FF2B5EF4-FFF2-40B4-BE49-F238E27FC236}">
                <a16:creationId xmlns:a16="http://schemas.microsoft.com/office/drawing/2014/main" id="{1B89A5E7-713C-4CD7-99B5-9030781B1C97}"/>
              </a:ext>
            </a:extLst>
          </p:cNvPr>
          <p:cNvSpPr/>
          <p:nvPr/>
        </p:nvSpPr>
        <p:spPr>
          <a:xfrm>
            <a:off x="668257" y="2761740"/>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4" action="ppaction://hlinksldjump"/>
              </a:rPr>
              <a:t>Two-wheeler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n)</a:t>
            </a:r>
          </a:p>
        </p:txBody>
      </p:sp>
      <p:sp>
        <p:nvSpPr>
          <p:cNvPr id="70" name="Rectangle: Rounded Corners 69">
            <a:hlinkClick r:id="" action="ppaction://noaction"/>
            <a:extLst>
              <a:ext uri="{FF2B5EF4-FFF2-40B4-BE49-F238E27FC236}">
                <a16:creationId xmlns:a16="http://schemas.microsoft.com/office/drawing/2014/main" id="{F4DD775E-B948-4128-B746-C767CC6F03CB}"/>
              </a:ext>
            </a:extLst>
          </p:cNvPr>
          <p:cNvSpPr/>
          <p:nvPr/>
        </p:nvSpPr>
        <p:spPr>
          <a:xfrm>
            <a:off x="668257" y="4273175"/>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5" action="ppaction://hlinksldjump"/>
              </a:rPr>
              <a:t>Three-wheeler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58" name="Arrow: Pentagon 13">
            <a:extLst>
              <a:ext uri="{FF2B5EF4-FFF2-40B4-BE49-F238E27FC236}">
                <a16:creationId xmlns:a16="http://schemas.microsoft.com/office/drawing/2014/main" id="{5ADEDE9C-C164-4665-A28C-7938E622A38B}"/>
              </a:ext>
            </a:extLst>
          </p:cNvPr>
          <p:cNvSpPr/>
          <p:nvPr/>
        </p:nvSpPr>
        <p:spPr>
          <a:xfrm rot="5400000">
            <a:off x="4706995" y="1201518"/>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a:t>
            </a:r>
          </a:p>
        </p:txBody>
      </p:sp>
      <p:sp>
        <p:nvSpPr>
          <p:cNvPr id="126" name="Rectangle: Rounded Corners 125">
            <a:extLst>
              <a:ext uri="{FF2B5EF4-FFF2-40B4-BE49-F238E27FC236}">
                <a16:creationId xmlns:a16="http://schemas.microsoft.com/office/drawing/2014/main" id="{A1A1B83B-5601-43C6-9D19-2239332A37F5}"/>
              </a:ext>
            </a:extLst>
          </p:cNvPr>
          <p:cNvSpPr/>
          <p:nvPr/>
        </p:nvSpPr>
        <p:spPr>
          <a:xfrm>
            <a:off x="2172875" y="1173832"/>
            <a:ext cx="4272403" cy="31152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41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olume</a:t>
            </a:r>
          </a:p>
        </p:txBody>
      </p:sp>
      <p:cxnSp>
        <p:nvCxnSpPr>
          <p:cNvPr id="3" name="Straight Connector 2">
            <a:extLst>
              <a:ext uri="{FF2B5EF4-FFF2-40B4-BE49-F238E27FC236}">
                <a16:creationId xmlns:a16="http://schemas.microsoft.com/office/drawing/2014/main" id="{83DFC90A-15B7-427A-AE6D-E74E4D2B2EB6}"/>
              </a:ext>
            </a:extLst>
          </p:cNvPr>
          <p:cNvCxnSpPr/>
          <p:nvPr/>
        </p:nvCxnSpPr>
        <p:spPr>
          <a:xfrm>
            <a:off x="6781367" y="931305"/>
            <a:ext cx="0" cy="4876800"/>
          </a:xfrm>
          <a:prstGeom prst="line">
            <a:avLst/>
          </a:prstGeom>
          <a:ln w="9525">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221" name="Rectangle: Rounded Corners 18">
            <a:extLst>
              <a:ext uri="{FF2B5EF4-FFF2-40B4-BE49-F238E27FC236}">
                <a16:creationId xmlns:a16="http://schemas.microsoft.com/office/drawing/2014/main" id="{5DDD70D2-8644-457A-9212-16769C5629B5}"/>
              </a:ext>
            </a:extLst>
          </p:cNvPr>
          <p:cNvSpPr/>
          <p:nvPr/>
        </p:nvSpPr>
        <p:spPr>
          <a:xfrm>
            <a:off x="2250539" y="2012717"/>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773</a:t>
            </a:r>
          </a:p>
        </p:txBody>
      </p:sp>
      <p:sp>
        <p:nvSpPr>
          <p:cNvPr id="222" name="Rectangle: Rounded Corners 19">
            <a:extLst>
              <a:ext uri="{FF2B5EF4-FFF2-40B4-BE49-F238E27FC236}">
                <a16:creationId xmlns:a16="http://schemas.microsoft.com/office/drawing/2014/main" id="{440013B7-4C0E-4448-B11F-8D79D31E1458}"/>
              </a:ext>
            </a:extLst>
          </p:cNvPr>
          <p:cNvSpPr/>
          <p:nvPr/>
        </p:nvSpPr>
        <p:spPr>
          <a:xfrm>
            <a:off x="3278516" y="2012717"/>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712</a:t>
            </a:r>
          </a:p>
        </p:txBody>
      </p:sp>
      <p:sp>
        <p:nvSpPr>
          <p:cNvPr id="226" name="Rectangle: Rounded Corners 19">
            <a:extLst>
              <a:ext uri="{FF2B5EF4-FFF2-40B4-BE49-F238E27FC236}">
                <a16:creationId xmlns:a16="http://schemas.microsoft.com/office/drawing/2014/main" id="{440013B7-4C0E-4448-B11F-8D79D31E1458}"/>
              </a:ext>
            </a:extLst>
          </p:cNvPr>
          <p:cNvSpPr/>
          <p:nvPr/>
        </p:nvSpPr>
        <p:spPr>
          <a:xfrm>
            <a:off x="4335677" y="2012717"/>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942</a:t>
            </a:r>
          </a:p>
        </p:txBody>
      </p:sp>
      <p:sp>
        <p:nvSpPr>
          <p:cNvPr id="180" name="Arrow: Pentagon 12">
            <a:extLst>
              <a:ext uri="{FF2B5EF4-FFF2-40B4-BE49-F238E27FC236}">
                <a16:creationId xmlns:a16="http://schemas.microsoft.com/office/drawing/2014/main" id="{E1553D6C-296F-4B41-8428-A47EEE46C1F3}"/>
              </a:ext>
            </a:extLst>
          </p:cNvPr>
          <p:cNvSpPr/>
          <p:nvPr/>
        </p:nvSpPr>
        <p:spPr>
          <a:xfrm rot="5400000">
            <a:off x="7467326" y="1172746"/>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0</a:t>
            </a:r>
          </a:p>
        </p:txBody>
      </p:sp>
      <p:sp>
        <p:nvSpPr>
          <p:cNvPr id="181" name="Arrow: Pentagon 13">
            <a:extLst>
              <a:ext uri="{FF2B5EF4-FFF2-40B4-BE49-F238E27FC236}">
                <a16:creationId xmlns:a16="http://schemas.microsoft.com/office/drawing/2014/main" id="{5ADEDE9C-C164-4665-A28C-7938E622A38B}"/>
              </a:ext>
            </a:extLst>
          </p:cNvPr>
          <p:cNvSpPr/>
          <p:nvPr/>
        </p:nvSpPr>
        <p:spPr>
          <a:xfrm rot="5400000">
            <a:off x="8517793" y="1178974"/>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1</a:t>
            </a:r>
          </a:p>
        </p:txBody>
      </p:sp>
      <p:sp>
        <p:nvSpPr>
          <p:cNvPr id="189" name="Arrow: Pentagon 13">
            <a:extLst>
              <a:ext uri="{FF2B5EF4-FFF2-40B4-BE49-F238E27FC236}">
                <a16:creationId xmlns:a16="http://schemas.microsoft.com/office/drawing/2014/main" id="{5ADEDE9C-C164-4665-A28C-7938E622A38B}"/>
              </a:ext>
            </a:extLst>
          </p:cNvPr>
          <p:cNvSpPr/>
          <p:nvPr/>
        </p:nvSpPr>
        <p:spPr>
          <a:xfrm rot="5400000">
            <a:off x="9563231" y="1174511"/>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a:t>
            </a:r>
          </a:p>
        </p:txBody>
      </p:sp>
      <p:sp>
        <p:nvSpPr>
          <p:cNvPr id="192" name="Rectangle: Rounded Corners 125">
            <a:extLst>
              <a:ext uri="{FF2B5EF4-FFF2-40B4-BE49-F238E27FC236}">
                <a16:creationId xmlns:a16="http://schemas.microsoft.com/office/drawing/2014/main" id="{A1A1B83B-5601-43C6-9D19-2239332A37F5}"/>
              </a:ext>
            </a:extLst>
          </p:cNvPr>
          <p:cNvSpPr/>
          <p:nvPr/>
        </p:nvSpPr>
        <p:spPr>
          <a:xfrm>
            <a:off x="7077486" y="1146825"/>
            <a:ext cx="4224023" cy="31152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41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rowth y-o-y (%)</a:t>
            </a:r>
          </a:p>
        </p:txBody>
      </p:sp>
      <p:sp>
        <p:nvSpPr>
          <p:cNvPr id="168" name="Rectangle: Rounded Corners 18">
            <a:extLst>
              <a:ext uri="{FF2B5EF4-FFF2-40B4-BE49-F238E27FC236}">
                <a16:creationId xmlns:a16="http://schemas.microsoft.com/office/drawing/2014/main" id="{5DDD70D2-8644-457A-9212-16769C5629B5}"/>
              </a:ext>
            </a:extLst>
          </p:cNvPr>
          <p:cNvSpPr/>
          <p:nvPr/>
        </p:nvSpPr>
        <p:spPr>
          <a:xfrm>
            <a:off x="2244494" y="2761740"/>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7.42</a:t>
            </a:r>
          </a:p>
        </p:txBody>
      </p:sp>
      <p:sp>
        <p:nvSpPr>
          <p:cNvPr id="169" name="Rectangle: Rounded Corners 19">
            <a:extLst>
              <a:ext uri="{FF2B5EF4-FFF2-40B4-BE49-F238E27FC236}">
                <a16:creationId xmlns:a16="http://schemas.microsoft.com/office/drawing/2014/main" id="{440013B7-4C0E-4448-B11F-8D79D31E1458}"/>
              </a:ext>
            </a:extLst>
          </p:cNvPr>
          <p:cNvSpPr/>
          <p:nvPr/>
        </p:nvSpPr>
        <p:spPr>
          <a:xfrm>
            <a:off x="3272471" y="2761740"/>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5.12</a:t>
            </a:r>
          </a:p>
        </p:txBody>
      </p:sp>
      <p:sp>
        <p:nvSpPr>
          <p:cNvPr id="174" name="Rectangle: Rounded Corners 19">
            <a:extLst>
              <a:ext uri="{FF2B5EF4-FFF2-40B4-BE49-F238E27FC236}">
                <a16:creationId xmlns:a16="http://schemas.microsoft.com/office/drawing/2014/main" id="{440013B7-4C0E-4448-B11F-8D79D31E1458}"/>
              </a:ext>
            </a:extLst>
          </p:cNvPr>
          <p:cNvSpPr/>
          <p:nvPr/>
        </p:nvSpPr>
        <p:spPr>
          <a:xfrm>
            <a:off x="4329632" y="2761740"/>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46</a:t>
            </a:r>
          </a:p>
        </p:txBody>
      </p:sp>
      <p:sp>
        <p:nvSpPr>
          <p:cNvPr id="208" name="Rectangle: Rounded Corners 18">
            <a:extLst>
              <a:ext uri="{FF2B5EF4-FFF2-40B4-BE49-F238E27FC236}">
                <a16:creationId xmlns:a16="http://schemas.microsoft.com/office/drawing/2014/main" id="{5DDD70D2-8644-457A-9212-16769C5629B5}"/>
              </a:ext>
            </a:extLst>
          </p:cNvPr>
          <p:cNvSpPr/>
          <p:nvPr/>
        </p:nvSpPr>
        <p:spPr>
          <a:xfrm>
            <a:off x="2238449" y="4280321"/>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36</a:t>
            </a:r>
          </a:p>
        </p:txBody>
      </p:sp>
      <p:sp>
        <p:nvSpPr>
          <p:cNvPr id="209" name="Rectangle: Rounded Corners 19">
            <a:extLst>
              <a:ext uri="{FF2B5EF4-FFF2-40B4-BE49-F238E27FC236}">
                <a16:creationId xmlns:a16="http://schemas.microsoft.com/office/drawing/2014/main" id="{440013B7-4C0E-4448-B11F-8D79D31E1458}"/>
              </a:ext>
            </a:extLst>
          </p:cNvPr>
          <p:cNvSpPr/>
          <p:nvPr/>
        </p:nvSpPr>
        <p:spPr>
          <a:xfrm>
            <a:off x="3266426" y="4280321"/>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16</a:t>
            </a:r>
          </a:p>
        </p:txBody>
      </p:sp>
      <p:sp>
        <p:nvSpPr>
          <p:cNvPr id="210" name="Rectangle: Rounded Corners 19">
            <a:extLst>
              <a:ext uri="{FF2B5EF4-FFF2-40B4-BE49-F238E27FC236}">
                <a16:creationId xmlns:a16="http://schemas.microsoft.com/office/drawing/2014/main" id="{440013B7-4C0E-4448-B11F-8D79D31E1458}"/>
              </a:ext>
            </a:extLst>
          </p:cNvPr>
          <p:cNvSpPr/>
          <p:nvPr/>
        </p:nvSpPr>
        <p:spPr>
          <a:xfrm>
            <a:off x="4323587" y="4280321"/>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0</a:t>
            </a:r>
          </a:p>
        </p:txBody>
      </p:sp>
      <p:sp>
        <p:nvSpPr>
          <p:cNvPr id="217" name="Rectangle: Rounded Corners 18">
            <a:extLst>
              <a:ext uri="{FF2B5EF4-FFF2-40B4-BE49-F238E27FC236}">
                <a16:creationId xmlns:a16="http://schemas.microsoft.com/office/drawing/2014/main" id="{5DDD70D2-8644-457A-9212-16769C5629B5}"/>
              </a:ext>
            </a:extLst>
          </p:cNvPr>
          <p:cNvSpPr/>
          <p:nvPr/>
        </p:nvSpPr>
        <p:spPr>
          <a:xfrm>
            <a:off x="7155069" y="200667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a:t>
            </a:r>
          </a:p>
        </p:txBody>
      </p:sp>
      <p:sp>
        <p:nvSpPr>
          <p:cNvPr id="218" name="Rectangle: Rounded Corners 19">
            <a:extLst>
              <a:ext uri="{FF2B5EF4-FFF2-40B4-BE49-F238E27FC236}">
                <a16:creationId xmlns:a16="http://schemas.microsoft.com/office/drawing/2014/main" id="{440013B7-4C0E-4448-B11F-8D79D31E1458}"/>
              </a:ext>
            </a:extLst>
          </p:cNvPr>
          <p:cNvSpPr/>
          <p:nvPr/>
        </p:nvSpPr>
        <p:spPr>
          <a:xfrm>
            <a:off x="8183046" y="200667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219" name="Rectangle: Rounded Corners 19">
            <a:extLst>
              <a:ext uri="{FF2B5EF4-FFF2-40B4-BE49-F238E27FC236}">
                <a16:creationId xmlns:a16="http://schemas.microsoft.com/office/drawing/2014/main" id="{440013B7-4C0E-4448-B11F-8D79D31E1458}"/>
              </a:ext>
            </a:extLst>
          </p:cNvPr>
          <p:cNvSpPr/>
          <p:nvPr/>
        </p:nvSpPr>
        <p:spPr>
          <a:xfrm>
            <a:off x="9240207" y="200667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9</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229" name="Rectangle: Rounded Corners 18">
            <a:extLst>
              <a:ext uri="{FF2B5EF4-FFF2-40B4-BE49-F238E27FC236}">
                <a16:creationId xmlns:a16="http://schemas.microsoft.com/office/drawing/2014/main" id="{5DDD70D2-8644-457A-9212-16769C5629B5}"/>
              </a:ext>
            </a:extLst>
          </p:cNvPr>
          <p:cNvSpPr/>
          <p:nvPr/>
        </p:nvSpPr>
        <p:spPr>
          <a:xfrm>
            <a:off x="7149024" y="2755695"/>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a:t>
            </a:r>
          </a:p>
        </p:txBody>
      </p:sp>
      <p:sp>
        <p:nvSpPr>
          <p:cNvPr id="230" name="Rectangle: Rounded Corners 19">
            <a:extLst>
              <a:ext uri="{FF2B5EF4-FFF2-40B4-BE49-F238E27FC236}">
                <a16:creationId xmlns:a16="http://schemas.microsoft.com/office/drawing/2014/main" id="{440013B7-4C0E-4448-B11F-8D79D31E1458}"/>
              </a:ext>
            </a:extLst>
          </p:cNvPr>
          <p:cNvSpPr/>
          <p:nvPr/>
        </p:nvSpPr>
        <p:spPr>
          <a:xfrm>
            <a:off x="8177001" y="2755695"/>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a:t>
            </a:r>
          </a:p>
        </p:txBody>
      </p:sp>
      <p:sp>
        <p:nvSpPr>
          <p:cNvPr id="231" name="Rectangle: Rounded Corners 19">
            <a:extLst>
              <a:ext uri="{FF2B5EF4-FFF2-40B4-BE49-F238E27FC236}">
                <a16:creationId xmlns:a16="http://schemas.microsoft.com/office/drawing/2014/main" id="{440013B7-4C0E-4448-B11F-8D79D31E1458}"/>
              </a:ext>
            </a:extLst>
          </p:cNvPr>
          <p:cNvSpPr/>
          <p:nvPr/>
        </p:nvSpPr>
        <p:spPr>
          <a:xfrm>
            <a:off x="9234162" y="2755695"/>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11)</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301" name="Rectangle: Rounded Corners 18">
            <a:extLst>
              <a:ext uri="{FF2B5EF4-FFF2-40B4-BE49-F238E27FC236}">
                <a16:creationId xmlns:a16="http://schemas.microsoft.com/office/drawing/2014/main" id="{5DDD70D2-8644-457A-9212-16769C5629B5}"/>
              </a:ext>
            </a:extLst>
          </p:cNvPr>
          <p:cNvSpPr/>
          <p:nvPr/>
        </p:nvSpPr>
        <p:spPr>
          <a:xfrm>
            <a:off x="7142979" y="427427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a:t>
            </a:r>
          </a:p>
        </p:txBody>
      </p:sp>
      <p:sp>
        <p:nvSpPr>
          <p:cNvPr id="302" name="Rectangle: Rounded Corners 19">
            <a:extLst>
              <a:ext uri="{FF2B5EF4-FFF2-40B4-BE49-F238E27FC236}">
                <a16:creationId xmlns:a16="http://schemas.microsoft.com/office/drawing/2014/main" id="{440013B7-4C0E-4448-B11F-8D79D31E1458}"/>
              </a:ext>
            </a:extLst>
          </p:cNvPr>
          <p:cNvSpPr/>
          <p:nvPr/>
        </p:nvSpPr>
        <p:spPr>
          <a:xfrm>
            <a:off x="8170956" y="427427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6)%</a:t>
            </a:r>
          </a:p>
        </p:txBody>
      </p:sp>
      <p:sp>
        <p:nvSpPr>
          <p:cNvPr id="303" name="Rectangle: Rounded Corners 19">
            <a:extLst>
              <a:ext uri="{FF2B5EF4-FFF2-40B4-BE49-F238E27FC236}">
                <a16:creationId xmlns:a16="http://schemas.microsoft.com/office/drawing/2014/main" id="{440013B7-4C0E-4448-B11F-8D79D31E1458}"/>
              </a:ext>
            </a:extLst>
          </p:cNvPr>
          <p:cNvSpPr/>
          <p:nvPr/>
        </p:nvSpPr>
        <p:spPr>
          <a:xfrm>
            <a:off x="9228117" y="427427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20</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60" name="Rectangle: Rounded Corners 67">
            <a:hlinkClick r:id="" action="ppaction://noaction"/>
            <a:extLst>
              <a:ext uri="{FF2B5EF4-FFF2-40B4-BE49-F238E27FC236}">
                <a16:creationId xmlns:a16="http://schemas.microsoft.com/office/drawing/2014/main" id="{FC027591-217D-4E2A-95AC-4CA17C43348A}"/>
              </a:ext>
            </a:extLst>
          </p:cNvPr>
          <p:cNvSpPr/>
          <p:nvPr/>
        </p:nvSpPr>
        <p:spPr>
          <a:xfrm>
            <a:off x="668257" y="3499275"/>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6" action="ppaction://hlinksldjump"/>
              </a:rPr>
              <a:t>Commercial vehicle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62" name="Rectangle: Rounded Corners 18">
            <a:extLst>
              <a:ext uri="{FF2B5EF4-FFF2-40B4-BE49-F238E27FC236}">
                <a16:creationId xmlns:a16="http://schemas.microsoft.com/office/drawing/2014/main" id="{5DDD70D2-8644-457A-9212-16769C5629B5}"/>
              </a:ext>
            </a:extLst>
          </p:cNvPr>
          <p:cNvSpPr/>
          <p:nvPr/>
        </p:nvSpPr>
        <p:spPr>
          <a:xfrm>
            <a:off x="2244494" y="3499275"/>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18</a:t>
            </a:r>
          </a:p>
        </p:txBody>
      </p:sp>
      <p:sp>
        <p:nvSpPr>
          <p:cNvPr id="63" name="Rectangle: Rounded Corners 19">
            <a:extLst>
              <a:ext uri="{FF2B5EF4-FFF2-40B4-BE49-F238E27FC236}">
                <a16:creationId xmlns:a16="http://schemas.microsoft.com/office/drawing/2014/main" id="{440013B7-4C0E-4448-B11F-8D79D31E1458}"/>
              </a:ext>
            </a:extLst>
          </p:cNvPr>
          <p:cNvSpPr/>
          <p:nvPr/>
        </p:nvSpPr>
        <p:spPr>
          <a:xfrm>
            <a:off x="3272471" y="3499275"/>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66</a:t>
            </a:r>
          </a:p>
        </p:txBody>
      </p:sp>
      <p:sp>
        <p:nvSpPr>
          <p:cNvPr id="64" name="Rectangle: Rounded Corners 19">
            <a:extLst>
              <a:ext uri="{FF2B5EF4-FFF2-40B4-BE49-F238E27FC236}">
                <a16:creationId xmlns:a16="http://schemas.microsoft.com/office/drawing/2014/main" id="{440013B7-4C0E-4448-B11F-8D79D31E1458}"/>
              </a:ext>
            </a:extLst>
          </p:cNvPr>
          <p:cNvSpPr/>
          <p:nvPr/>
        </p:nvSpPr>
        <p:spPr>
          <a:xfrm>
            <a:off x="4329632" y="3499275"/>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721</a:t>
            </a:r>
            <a:endPar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6" name="Rectangle: Rounded Corners 18">
            <a:extLst>
              <a:ext uri="{FF2B5EF4-FFF2-40B4-BE49-F238E27FC236}">
                <a16:creationId xmlns:a16="http://schemas.microsoft.com/office/drawing/2014/main" id="{5DDD70D2-8644-457A-9212-16769C5629B5}"/>
              </a:ext>
            </a:extLst>
          </p:cNvPr>
          <p:cNvSpPr/>
          <p:nvPr/>
        </p:nvSpPr>
        <p:spPr>
          <a:xfrm>
            <a:off x="7149024" y="3493230"/>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9)%</a:t>
            </a:r>
          </a:p>
        </p:txBody>
      </p:sp>
      <p:sp>
        <p:nvSpPr>
          <p:cNvPr id="67" name="Rectangle: Rounded Corners 19">
            <a:extLst>
              <a:ext uri="{FF2B5EF4-FFF2-40B4-BE49-F238E27FC236}">
                <a16:creationId xmlns:a16="http://schemas.microsoft.com/office/drawing/2014/main" id="{440013B7-4C0E-4448-B11F-8D79D31E1458}"/>
              </a:ext>
            </a:extLst>
          </p:cNvPr>
          <p:cNvSpPr/>
          <p:nvPr/>
        </p:nvSpPr>
        <p:spPr>
          <a:xfrm>
            <a:off x="8177001" y="3493230"/>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1)%</a:t>
            </a:r>
          </a:p>
        </p:txBody>
      </p:sp>
      <p:sp>
        <p:nvSpPr>
          <p:cNvPr id="71" name="Rectangle: Rounded Corners 19">
            <a:extLst>
              <a:ext uri="{FF2B5EF4-FFF2-40B4-BE49-F238E27FC236}">
                <a16:creationId xmlns:a16="http://schemas.microsoft.com/office/drawing/2014/main" id="{440013B7-4C0E-4448-B11F-8D79D31E1458}"/>
              </a:ext>
            </a:extLst>
          </p:cNvPr>
          <p:cNvSpPr/>
          <p:nvPr/>
        </p:nvSpPr>
        <p:spPr>
          <a:xfrm>
            <a:off x="9234162" y="3493230"/>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a:t>
            </a:r>
          </a:p>
        </p:txBody>
      </p:sp>
      <p:sp>
        <p:nvSpPr>
          <p:cNvPr id="72" name="Rectangle: Rounded Corners 68">
            <a:hlinkClick r:id="" action="ppaction://noaction"/>
            <a:extLst>
              <a:ext uri="{FF2B5EF4-FFF2-40B4-BE49-F238E27FC236}">
                <a16:creationId xmlns:a16="http://schemas.microsoft.com/office/drawing/2014/main" id="{9299A8B6-3C22-4B71-815B-8A015F69D4CA}"/>
              </a:ext>
            </a:extLst>
          </p:cNvPr>
          <p:cNvSpPr/>
          <p:nvPr/>
        </p:nvSpPr>
        <p:spPr>
          <a:xfrm>
            <a:off x="668257" y="5044063"/>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7" action="ppaction://hlinksldjump"/>
              </a:rPr>
              <a:t>Tractor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74" name="Rectangle: Rounded Corners 18">
            <a:extLst>
              <a:ext uri="{FF2B5EF4-FFF2-40B4-BE49-F238E27FC236}">
                <a16:creationId xmlns:a16="http://schemas.microsoft.com/office/drawing/2014/main" id="{5DDD70D2-8644-457A-9212-16769C5629B5}"/>
              </a:ext>
            </a:extLst>
          </p:cNvPr>
          <p:cNvSpPr/>
          <p:nvPr/>
        </p:nvSpPr>
        <p:spPr>
          <a:xfrm>
            <a:off x="2238449" y="5058432"/>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09</a:t>
            </a:r>
          </a:p>
        </p:txBody>
      </p:sp>
      <p:sp>
        <p:nvSpPr>
          <p:cNvPr id="75" name="Rectangle: Rounded Corners 19">
            <a:extLst>
              <a:ext uri="{FF2B5EF4-FFF2-40B4-BE49-F238E27FC236}">
                <a16:creationId xmlns:a16="http://schemas.microsoft.com/office/drawing/2014/main" id="{440013B7-4C0E-4448-B11F-8D79D31E1458}"/>
              </a:ext>
            </a:extLst>
          </p:cNvPr>
          <p:cNvSpPr/>
          <p:nvPr/>
        </p:nvSpPr>
        <p:spPr>
          <a:xfrm>
            <a:off x="3266426" y="5058432"/>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98</a:t>
            </a:r>
          </a:p>
        </p:txBody>
      </p:sp>
      <p:sp>
        <p:nvSpPr>
          <p:cNvPr id="76" name="Rectangle: Rounded Corners 19">
            <a:extLst>
              <a:ext uri="{FF2B5EF4-FFF2-40B4-BE49-F238E27FC236}">
                <a16:creationId xmlns:a16="http://schemas.microsoft.com/office/drawing/2014/main" id="{440013B7-4C0E-4448-B11F-8D79D31E1458}"/>
              </a:ext>
            </a:extLst>
          </p:cNvPr>
          <p:cNvSpPr/>
          <p:nvPr/>
        </p:nvSpPr>
        <p:spPr>
          <a:xfrm>
            <a:off x="4323587" y="5058432"/>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42</a:t>
            </a:r>
          </a:p>
        </p:txBody>
      </p:sp>
      <p:sp>
        <p:nvSpPr>
          <p:cNvPr id="78" name="Rectangle: Rounded Corners 18">
            <a:extLst>
              <a:ext uri="{FF2B5EF4-FFF2-40B4-BE49-F238E27FC236}">
                <a16:creationId xmlns:a16="http://schemas.microsoft.com/office/drawing/2014/main" id="{5DDD70D2-8644-457A-9212-16769C5629B5}"/>
              </a:ext>
            </a:extLst>
          </p:cNvPr>
          <p:cNvSpPr/>
          <p:nvPr/>
        </p:nvSpPr>
        <p:spPr>
          <a:xfrm>
            <a:off x="7142979" y="5052387"/>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0)%</a:t>
            </a:r>
          </a:p>
        </p:txBody>
      </p:sp>
      <p:sp>
        <p:nvSpPr>
          <p:cNvPr id="79" name="Rectangle: Rounded Corners 19">
            <a:extLst>
              <a:ext uri="{FF2B5EF4-FFF2-40B4-BE49-F238E27FC236}">
                <a16:creationId xmlns:a16="http://schemas.microsoft.com/office/drawing/2014/main" id="{440013B7-4C0E-4448-B11F-8D79D31E1458}"/>
              </a:ext>
            </a:extLst>
          </p:cNvPr>
          <p:cNvSpPr/>
          <p:nvPr/>
        </p:nvSpPr>
        <p:spPr>
          <a:xfrm>
            <a:off x="8170956" y="5052387"/>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6%</a:t>
            </a:r>
          </a:p>
        </p:txBody>
      </p:sp>
      <p:sp>
        <p:nvSpPr>
          <p:cNvPr id="80" name="Rectangle: Rounded Corners 19">
            <a:extLst>
              <a:ext uri="{FF2B5EF4-FFF2-40B4-BE49-F238E27FC236}">
                <a16:creationId xmlns:a16="http://schemas.microsoft.com/office/drawing/2014/main" id="{440013B7-4C0E-4448-B11F-8D79D31E1458}"/>
              </a:ext>
            </a:extLst>
          </p:cNvPr>
          <p:cNvSpPr/>
          <p:nvPr/>
        </p:nvSpPr>
        <p:spPr>
          <a:xfrm>
            <a:off x="9228117" y="5052387"/>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a:t>
            </a:r>
            <a:r>
              <a:rPr lang="en-US" sz="1083" b="1" dirty="0">
                <a:solidFill>
                  <a:prstClr val="white"/>
                </a:solidFill>
                <a:latin typeface="Arial" panose="020B0604020202020204" pitchFamily="34" charset="0"/>
                <a:cs typeface="Arial" panose="020B0604020202020204" pitchFamily="34" charset="0"/>
              </a:rPr>
              <a:t>)</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68" name="Rounded Rectangle 67"/>
          <p:cNvSpPr/>
          <p:nvPr/>
        </p:nvSpPr>
        <p:spPr>
          <a:xfrm>
            <a:off x="8133702" y="6281010"/>
            <a:ext cx="2805455" cy="365760"/>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6182" tIns="38090" rIns="76182" bIns="380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the text to go to the section</a:t>
            </a:r>
          </a:p>
        </p:txBody>
      </p:sp>
      <p:sp>
        <p:nvSpPr>
          <p:cNvPr id="69" name="Arrow: Pentagon 13">
            <a:extLst>
              <a:ext uri="{FF2B5EF4-FFF2-40B4-BE49-F238E27FC236}">
                <a16:creationId xmlns:a16="http://schemas.microsoft.com/office/drawing/2014/main" id="{561A6E6E-B133-49C9-8730-FC77C9AD6517}"/>
              </a:ext>
            </a:extLst>
          </p:cNvPr>
          <p:cNvSpPr/>
          <p:nvPr/>
        </p:nvSpPr>
        <p:spPr>
          <a:xfrm rot="5400000">
            <a:off x="5773792" y="1189534"/>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3P</a:t>
            </a:r>
          </a:p>
        </p:txBody>
      </p:sp>
      <p:sp>
        <p:nvSpPr>
          <p:cNvPr id="81" name="Rectangle: Rounded Corners 19">
            <a:extLst>
              <a:ext uri="{FF2B5EF4-FFF2-40B4-BE49-F238E27FC236}">
                <a16:creationId xmlns:a16="http://schemas.microsoft.com/office/drawing/2014/main" id="{3D6F4104-2DD6-40B2-BF4D-DB299B47EF17}"/>
              </a:ext>
            </a:extLst>
          </p:cNvPr>
          <p:cNvSpPr/>
          <p:nvPr/>
        </p:nvSpPr>
        <p:spPr>
          <a:xfrm>
            <a:off x="5402474" y="2000733"/>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3440-3460</a:t>
            </a:r>
            <a:endPar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Rectangle: Rounded Corners 19">
            <a:extLst>
              <a:ext uri="{FF2B5EF4-FFF2-40B4-BE49-F238E27FC236}">
                <a16:creationId xmlns:a16="http://schemas.microsoft.com/office/drawing/2014/main" id="{64D9D18A-B8A1-4FF9-9E20-4C3385FEA2E7}"/>
              </a:ext>
            </a:extLst>
          </p:cNvPr>
          <p:cNvSpPr/>
          <p:nvPr/>
        </p:nvSpPr>
        <p:spPr>
          <a:xfrm>
            <a:off x="5396429" y="2749756"/>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2-13.7</a:t>
            </a:r>
          </a:p>
        </p:txBody>
      </p:sp>
      <p:sp>
        <p:nvSpPr>
          <p:cNvPr id="83" name="Rectangle: Rounded Corners 19">
            <a:extLst>
              <a:ext uri="{FF2B5EF4-FFF2-40B4-BE49-F238E27FC236}">
                <a16:creationId xmlns:a16="http://schemas.microsoft.com/office/drawing/2014/main" id="{15EEBC6B-BDA2-4E63-A3C4-F59135F79634}"/>
              </a:ext>
            </a:extLst>
          </p:cNvPr>
          <p:cNvSpPr/>
          <p:nvPr/>
        </p:nvSpPr>
        <p:spPr>
          <a:xfrm>
            <a:off x="5390384" y="4268337"/>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357-362</a:t>
            </a:r>
            <a:endPar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4" name="Rectangle: Rounded Corners 19">
            <a:extLst>
              <a:ext uri="{FF2B5EF4-FFF2-40B4-BE49-F238E27FC236}">
                <a16:creationId xmlns:a16="http://schemas.microsoft.com/office/drawing/2014/main" id="{D4ADA2D5-A96B-4ADA-8D47-D4BE71A7E06B}"/>
              </a:ext>
            </a:extLst>
          </p:cNvPr>
          <p:cNvSpPr/>
          <p:nvPr/>
        </p:nvSpPr>
        <p:spPr>
          <a:xfrm>
            <a:off x="5396429" y="3487291"/>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27-844</a:t>
            </a:r>
          </a:p>
        </p:txBody>
      </p:sp>
      <p:sp>
        <p:nvSpPr>
          <p:cNvPr id="85" name="Rectangle: Rounded Corners 19">
            <a:extLst>
              <a:ext uri="{FF2B5EF4-FFF2-40B4-BE49-F238E27FC236}">
                <a16:creationId xmlns:a16="http://schemas.microsoft.com/office/drawing/2014/main" id="{CBF0D79B-18C8-47DF-8004-5FBAF1130715}"/>
              </a:ext>
            </a:extLst>
          </p:cNvPr>
          <p:cNvSpPr/>
          <p:nvPr/>
        </p:nvSpPr>
        <p:spPr>
          <a:xfrm>
            <a:off x="5390384" y="5046448"/>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40-850</a:t>
            </a:r>
          </a:p>
        </p:txBody>
      </p:sp>
      <p:sp>
        <p:nvSpPr>
          <p:cNvPr id="86" name="Arrow: Pentagon 13">
            <a:extLst>
              <a:ext uri="{FF2B5EF4-FFF2-40B4-BE49-F238E27FC236}">
                <a16:creationId xmlns:a16="http://schemas.microsoft.com/office/drawing/2014/main" id="{13C6F3FA-647A-487E-BBAF-65731D60A1BE}"/>
              </a:ext>
            </a:extLst>
          </p:cNvPr>
          <p:cNvSpPr/>
          <p:nvPr/>
        </p:nvSpPr>
        <p:spPr>
          <a:xfrm rot="5400000">
            <a:off x="10619754" y="1162527"/>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3P</a:t>
            </a:r>
          </a:p>
        </p:txBody>
      </p:sp>
      <p:sp>
        <p:nvSpPr>
          <p:cNvPr id="87" name="Rectangle: Rounded Corners 19">
            <a:extLst>
              <a:ext uri="{FF2B5EF4-FFF2-40B4-BE49-F238E27FC236}">
                <a16:creationId xmlns:a16="http://schemas.microsoft.com/office/drawing/2014/main" id="{0E8940A2-841D-4BA9-BCD0-670C3E79FF3D}"/>
              </a:ext>
            </a:extLst>
          </p:cNvPr>
          <p:cNvSpPr/>
          <p:nvPr/>
        </p:nvSpPr>
        <p:spPr>
          <a:xfrm>
            <a:off x="10296730" y="1994688"/>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16-18</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88" name="Rectangle: Rounded Corners 19">
            <a:extLst>
              <a:ext uri="{FF2B5EF4-FFF2-40B4-BE49-F238E27FC236}">
                <a16:creationId xmlns:a16="http://schemas.microsoft.com/office/drawing/2014/main" id="{D79A2A0F-F0D9-4346-876C-5511944C608A}"/>
              </a:ext>
            </a:extLst>
          </p:cNvPr>
          <p:cNvSpPr/>
          <p:nvPr/>
        </p:nvSpPr>
        <p:spPr>
          <a:xfrm>
            <a:off x="10290685" y="2743711"/>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1%</a:t>
            </a:r>
          </a:p>
        </p:txBody>
      </p:sp>
      <p:sp>
        <p:nvSpPr>
          <p:cNvPr id="89" name="Rectangle: Rounded Corners 19">
            <a:extLst>
              <a:ext uri="{FF2B5EF4-FFF2-40B4-BE49-F238E27FC236}">
                <a16:creationId xmlns:a16="http://schemas.microsoft.com/office/drawing/2014/main" id="{E813D4BC-3664-406A-A933-13EE8340C985}"/>
              </a:ext>
            </a:extLst>
          </p:cNvPr>
          <p:cNvSpPr/>
          <p:nvPr/>
        </p:nvSpPr>
        <p:spPr>
          <a:xfrm>
            <a:off x="10284640" y="426229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7-39%</a:t>
            </a:r>
          </a:p>
        </p:txBody>
      </p:sp>
      <p:sp>
        <p:nvSpPr>
          <p:cNvPr id="90" name="Rectangle: Rounded Corners 19">
            <a:extLst>
              <a:ext uri="{FF2B5EF4-FFF2-40B4-BE49-F238E27FC236}">
                <a16:creationId xmlns:a16="http://schemas.microsoft.com/office/drawing/2014/main" id="{5EB6B57A-89C6-45E6-8C71-6D8FE34D17F6}"/>
              </a:ext>
            </a:extLst>
          </p:cNvPr>
          <p:cNvSpPr/>
          <p:nvPr/>
        </p:nvSpPr>
        <p:spPr>
          <a:xfrm>
            <a:off x="10290685" y="348124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15-17</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1" name="Rectangle: Rounded Corners 19">
            <a:extLst>
              <a:ext uri="{FF2B5EF4-FFF2-40B4-BE49-F238E27FC236}">
                <a16:creationId xmlns:a16="http://schemas.microsoft.com/office/drawing/2014/main" id="{7D3C9004-C89D-4F10-A98C-BFEEFA89E163}"/>
              </a:ext>
            </a:extLst>
          </p:cNvPr>
          <p:cNvSpPr/>
          <p:nvPr/>
        </p:nvSpPr>
        <p:spPr>
          <a:xfrm>
            <a:off x="10284640" y="5040403"/>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0-2</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166766957"/>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D6BA4FF-0711-4867-A3C2-EEE3A0C41A71}"/>
              </a:ext>
            </a:extLst>
          </p:cNvPr>
          <p:cNvSpPr>
            <a:spLocks noGrp="1"/>
          </p:cNvSpPr>
          <p:nvPr>
            <p:ph type="title"/>
          </p:nvPr>
        </p:nvSpPr>
        <p:spPr>
          <a:xfrm>
            <a:off x="411480" y="161925"/>
            <a:ext cx="10515600" cy="528955"/>
          </a:xfrm>
        </p:spPr>
        <p:txBody>
          <a:bodyPr vert="horz" lIns="0" tIns="0" rIns="0" bIns="0" rtlCol="0" anchor="ctr">
            <a:noAutofit/>
          </a:bodyPr>
          <a:lstStyle/>
          <a:p>
            <a:r>
              <a:rPr lang="en-US" sz="2800" b="1" dirty="0">
                <a:solidFill>
                  <a:schemeClr val="tx1"/>
                </a:solidFill>
                <a:latin typeface="Arial" panose="020B0604020202020204" pitchFamily="34" charset="0"/>
                <a:cs typeface="Arial" panose="020B0604020202020204" pitchFamily="34" charset="0"/>
              </a:rPr>
              <a:t>Quarterly forecasts – Domestic</a:t>
            </a:r>
          </a:p>
        </p:txBody>
      </p:sp>
      <p:sp>
        <p:nvSpPr>
          <p:cNvPr id="170" name="Rectangle: Rounded Corners 169">
            <a:extLst>
              <a:ext uri="{FF2B5EF4-FFF2-40B4-BE49-F238E27FC236}">
                <a16:creationId xmlns:a16="http://schemas.microsoft.com/office/drawing/2014/main" id="{BFD3DB29-252E-4C1E-A58C-A3676AC3D8CD}"/>
              </a:ext>
            </a:extLst>
          </p:cNvPr>
          <p:cNvSpPr/>
          <p:nvPr/>
        </p:nvSpPr>
        <p:spPr>
          <a:xfrm>
            <a:off x="233779" y="1503619"/>
            <a:ext cx="1371600" cy="685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ssenger vehicles</a:t>
            </a:r>
          </a:p>
        </p:txBody>
      </p:sp>
      <p:sp>
        <p:nvSpPr>
          <p:cNvPr id="194" name="Rectangle: Rounded Corners 193">
            <a:extLst>
              <a:ext uri="{FF2B5EF4-FFF2-40B4-BE49-F238E27FC236}">
                <a16:creationId xmlns:a16="http://schemas.microsoft.com/office/drawing/2014/main" id="{ECAF922C-CE8F-49B4-B60E-1EF4EED9557F}"/>
              </a:ext>
            </a:extLst>
          </p:cNvPr>
          <p:cNvSpPr/>
          <p:nvPr/>
        </p:nvSpPr>
        <p:spPr>
          <a:xfrm>
            <a:off x="1667317" y="1508631"/>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rs (‘000)</a:t>
            </a:r>
          </a:p>
        </p:txBody>
      </p:sp>
      <p:sp>
        <p:nvSpPr>
          <p:cNvPr id="203" name="Rectangle: Rounded Corners 202">
            <a:extLst>
              <a:ext uri="{FF2B5EF4-FFF2-40B4-BE49-F238E27FC236}">
                <a16:creationId xmlns:a16="http://schemas.microsoft.com/office/drawing/2014/main" id="{230D2B56-775E-4A33-A2E5-A8C2A8FB302B}"/>
              </a:ext>
            </a:extLst>
          </p:cNvPr>
          <p:cNvSpPr/>
          <p:nvPr/>
        </p:nvSpPr>
        <p:spPr>
          <a:xfrm>
            <a:off x="1667317" y="1752778"/>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Vs &amp; vans (‘000)</a:t>
            </a:r>
          </a:p>
        </p:txBody>
      </p:sp>
      <p:sp>
        <p:nvSpPr>
          <p:cNvPr id="212" name="Rectangle: Rounded Corners 211">
            <a:extLst>
              <a:ext uri="{FF2B5EF4-FFF2-40B4-BE49-F238E27FC236}">
                <a16:creationId xmlns:a16="http://schemas.microsoft.com/office/drawing/2014/main" id="{1FBE584E-9578-440E-8569-9FDB6AA551D4}"/>
              </a:ext>
            </a:extLst>
          </p:cNvPr>
          <p:cNvSpPr/>
          <p:nvPr/>
        </p:nvSpPr>
        <p:spPr>
          <a:xfrm>
            <a:off x="233779" y="2316870"/>
            <a:ext cx="1371600" cy="93748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wo-wheel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0" name="Rectangle: Rounded Corners 219">
            <a:extLst>
              <a:ext uri="{FF2B5EF4-FFF2-40B4-BE49-F238E27FC236}">
                <a16:creationId xmlns:a16="http://schemas.microsoft.com/office/drawing/2014/main" id="{D46F65C3-CD7D-42E1-B82A-E0E0E39DFDBD}"/>
              </a:ext>
            </a:extLst>
          </p:cNvPr>
          <p:cNvSpPr/>
          <p:nvPr/>
        </p:nvSpPr>
        <p:spPr>
          <a:xfrm>
            <a:off x="1667317" y="2316870"/>
            <a:ext cx="1554480" cy="219926"/>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torcycles (mn)</a:t>
            </a:r>
          </a:p>
        </p:txBody>
      </p:sp>
      <p:sp>
        <p:nvSpPr>
          <p:cNvPr id="223" name="Rectangle: Rounded Corners 222">
            <a:extLst>
              <a:ext uri="{FF2B5EF4-FFF2-40B4-BE49-F238E27FC236}">
                <a16:creationId xmlns:a16="http://schemas.microsoft.com/office/drawing/2014/main" id="{A12F11AE-D220-4AFC-8D94-86F80A926F95}"/>
              </a:ext>
            </a:extLst>
          </p:cNvPr>
          <p:cNvSpPr/>
          <p:nvPr/>
        </p:nvSpPr>
        <p:spPr>
          <a:xfrm>
            <a:off x="1667317" y="2564014"/>
            <a:ext cx="1554480" cy="219926"/>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ooters (mn)</a:t>
            </a:r>
          </a:p>
        </p:txBody>
      </p:sp>
      <p:sp>
        <p:nvSpPr>
          <p:cNvPr id="248" name="Rectangle: Rounded Corners 247">
            <a:extLst>
              <a:ext uri="{FF2B5EF4-FFF2-40B4-BE49-F238E27FC236}">
                <a16:creationId xmlns:a16="http://schemas.microsoft.com/office/drawing/2014/main" id="{6B2152E4-1BC4-46E5-A39B-1B22C86D1481}"/>
              </a:ext>
            </a:extLst>
          </p:cNvPr>
          <p:cNvSpPr/>
          <p:nvPr/>
        </p:nvSpPr>
        <p:spPr>
          <a:xfrm>
            <a:off x="1679349" y="374034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HCV (‘000)</a:t>
            </a:r>
          </a:p>
        </p:txBody>
      </p:sp>
      <p:sp>
        <p:nvSpPr>
          <p:cNvPr id="249" name="Rectangle: Rounded Corners 248">
            <a:extLst>
              <a:ext uri="{FF2B5EF4-FFF2-40B4-BE49-F238E27FC236}">
                <a16:creationId xmlns:a16="http://schemas.microsoft.com/office/drawing/2014/main" id="{BBB8EE86-F51C-4F70-B741-C1AA0475A8AF}"/>
              </a:ext>
            </a:extLst>
          </p:cNvPr>
          <p:cNvSpPr/>
          <p:nvPr/>
        </p:nvSpPr>
        <p:spPr>
          <a:xfrm>
            <a:off x="1679349" y="3991549"/>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ses (‘000)</a:t>
            </a:r>
          </a:p>
        </p:txBody>
      </p:sp>
      <p:sp>
        <p:nvSpPr>
          <p:cNvPr id="250" name="Rectangle: Rounded Corners 249">
            <a:extLst>
              <a:ext uri="{FF2B5EF4-FFF2-40B4-BE49-F238E27FC236}">
                <a16:creationId xmlns:a16="http://schemas.microsoft.com/office/drawing/2014/main" id="{25D0CAEF-2CDB-4127-AA18-66F99BC68AFC}"/>
              </a:ext>
            </a:extLst>
          </p:cNvPr>
          <p:cNvSpPr/>
          <p:nvPr/>
        </p:nvSpPr>
        <p:spPr>
          <a:xfrm>
            <a:off x="233779" y="3375751"/>
            <a:ext cx="1371600" cy="12739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ercial vehicles</a:t>
            </a:r>
          </a:p>
        </p:txBody>
      </p:sp>
      <p:sp>
        <p:nvSpPr>
          <p:cNvPr id="251" name="Rectangle: Rounded Corners 250">
            <a:extLst>
              <a:ext uri="{FF2B5EF4-FFF2-40B4-BE49-F238E27FC236}">
                <a16:creationId xmlns:a16="http://schemas.microsoft.com/office/drawing/2014/main" id="{080EA40A-AAE0-4B51-8B01-25B3013979E3}"/>
              </a:ext>
            </a:extLst>
          </p:cNvPr>
          <p:cNvSpPr/>
          <p:nvPr/>
        </p:nvSpPr>
        <p:spPr>
          <a:xfrm>
            <a:off x="233779" y="4767796"/>
            <a:ext cx="2973742" cy="4114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actors (‘000)</a:t>
            </a:r>
          </a:p>
        </p:txBody>
      </p:sp>
      <p:sp>
        <p:nvSpPr>
          <p:cNvPr id="252" name="Rectangle: Rounded Corners 251">
            <a:extLst>
              <a:ext uri="{FF2B5EF4-FFF2-40B4-BE49-F238E27FC236}">
                <a16:creationId xmlns:a16="http://schemas.microsoft.com/office/drawing/2014/main" id="{672E7A6C-03DF-409E-A1E7-B60C26963873}"/>
              </a:ext>
            </a:extLst>
          </p:cNvPr>
          <p:cNvSpPr/>
          <p:nvPr/>
        </p:nvSpPr>
        <p:spPr>
          <a:xfrm>
            <a:off x="233779" y="5272177"/>
            <a:ext cx="1371600" cy="7447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ree-wheelers</a:t>
            </a:r>
          </a:p>
        </p:txBody>
      </p:sp>
      <p:sp>
        <p:nvSpPr>
          <p:cNvPr id="253" name="Rectangle: Rounded Corners 252">
            <a:extLst>
              <a:ext uri="{FF2B5EF4-FFF2-40B4-BE49-F238E27FC236}">
                <a16:creationId xmlns:a16="http://schemas.microsoft.com/office/drawing/2014/main" id="{53A6650F-C124-472A-8D3A-62309D32DC84}"/>
              </a:ext>
            </a:extLst>
          </p:cNvPr>
          <p:cNvSpPr/>
          <p:nvPr/>
        </p:nvSpPr>
        <p:spPr>
          <a:xfrm>
            <a:off x="1667317" y="527002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ods (‘000)</a:t>
            </a:r>
          </a:p>
        </p:txBody>
      </p:sp>
      <p:sp>
        <p:nvSpPr>
          <p:cNvPr id="254" name="Rectangle: Rounded Corners 253">
            <a:extLst>
              <a:ext uri="{FF2B5EF4-FFF2-40B4-BE49-F238E27FC236}">
                <a16:creationId xmlns:a16="http://schemas.microsoft.com/office/drawing/2014/main" id="{1E1741C2-63F6-46F1-9697-4FC15E9AD327}"/>
              </a:ext>
            </a:extLst>
          </p:cNvPr>
          <p:cNvSpPr/>
          <p:nvPr/>
        </p:nvSpPr>
        <p:spPr>
          <a:xfrm>
            <a:off x="1667317" y="5524343"/>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ssenger (‘000)</a:t>
            </a:r>
          </a:p>
        </p:txBody>
      </p:sp>
      <p:sp>
        <p:nvSpPr>
          <p:cNvPr id="266" name="Rectangle: Rounded Corners 265">
            <a:extLst>
              <a:ext uri="{FF2B5EF4-FFF2-40B4-BE49-F238E27FC236}">
                <a16:creationId xmlns:a16="http://schemas.microsoft.com/office/drawing/2014/main" id="{4D795AD2-454D-4AB8-B5C0-480FEED4834A}"/>
              </a:ext>
            </a:extLst>
          </p:cNvPr>
          <p:cNvSpPr/>
          <p:nvPr/>
        </p:nvSpPr>
        <p:spPr>
          <a:xfrm>
            <a:off x="1667317" y="2812988"/>
            <a:ext cx="1554480" cy="219926"/>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peds (‘000)</a:t>
            </a:r>
          </a:p>
        </p:txBody>
      </p:sp>
      <p:sp>
        <p:nvSpPr>
          <p:cNvPr id="279" name="Rectangle: Rounded Corners 8">
            <a:extLst>
              <a:ext uri="{FF2B5EF4-FFF2-40B4-BE49-F238E27FC236}">
                <a16:creationId xmlns:a16="http://schemas.microsoft.com/office/drawing/2014/main" id="{881E905D-D57D-4610-ACCA-F505C4EFA84E}"/>
              </a:ext>
            </a:extLst>
          </p:cNvPr>
          <p:cNvSpPr/>
          <p:nvPr/>
        </p:nvSpPr>
        <p:spPr>
          <a:xfrm>
            <a:off x="1679349" y="2002162"/>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Vs (‘000)</a:t>
            </a:r>
          </a:p>
        </p:txBody>
      </p:sp>
      <p:sp>
        <p:nvSpPr>
          <p:cNvPr id="280" name="Rectangle: Rounded Corners 96">
            <a:extLst>
              <a:ext uri="{FF2B5EF4-FFF2-40B4-BE49-F238E27FC236}">
                <a16:creationId xmlns:a16="http://schemas.microsoft.com/office/drawing/2014/main" id="{736F3AEE-7241-4593-8EBB-6EF5491C8DE6}"/>
              </a:ext>
            </a:extLst>
          </p:cNvPr>
          <p:cNvSpPr/>
          <p:nvPr/>
        </p:nvSpPr>
        <p:spPr>
          <a:xfrm>
            <a:off x="1667317" y="3062425"/>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W (mn)</a:t>
            </a:r>
          </a:p>
        </p:txBody>
      </p:sp>
      <p:sp>
        <p:nvSpPr>
          <p:cNvPr id="283" name="Rectangle: Rounded Corners 61">
            <a:extLst>
              <a:ext uri="{FF2B5EF4-FFF2-40B4-BE49-F238E27FC236}">
                <a16:creationId xmlns:a16="http://schemas.microsoft.com/office/drawing/2014/main" id="{3F4F610A-37B3-456B-BC08-3ABD3267C83B}"/>
              </a:ext>
            </a:extLst>
          </p:cNvPr>
          <p:cNvSpPr/>
          <p:nvPr/>
        </p:nvSpPr>
        <p:spPr>
          <a:xfrm>
            <a:off x="1679349" y="4254614"/>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Vs (‘000)</a:t>
            </a:r>
          </a:p>
        </p:txBody>
      </p:sp>
      <p:sp>
        <p:nvSpPr>
          <p:cNvPr id="286" name="Rectangle: Rounded Corners 71">
            <a:extLst>
              <a:ext uri="{FF2B5EF4-FFF2-40B4-BE49-F238E27FC236}">
                <a16:creationId xmlns:a16="http://schemas.microsoft.com/office/drawing/2014/main" id="{751DA899-E3EA-4743-8581-569AF2B9E296}"/>
              </a:ext>
            </a:extLst>
          </p:cNvPr>
          <p:cNvSpPr/>
          <p:nvPr/>
        </p:nvSpPr>
        <p:spPr>
          <a:xfrm>
            <a:off x="1667317" y="5793650"/>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W (‘000)</a:t>
            </a:r>
          </a:p>
        </p:txBody>
      </p:sp>
      <p:sp>
        <p:nvSpPr>
          <p:cNvPr id="312" name="Arrow: Pentagon 13">
            <a:extLst>
              <a:ext uri="{FF2B5EF4-FFF2-40B4-BE49-F238E27FC236}">
                <a16:creationId xmlns:a16="http://schemas.microsoft.com/office/drawing/2014/main" id="{D2939415-CC48-4C72-8D1F-76A46F13FB2C}"/>
              </a:ext>
            </a:extLst>
          </p:cNvPr>
          <p:cNvSpPr/>
          <p:nvPr/>
        </p:nvSpPr>
        <p:spPr>
          <a:xfrm rot="5400000">
            <a:off x="3705198" y="807499"/>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3 FY 22 </a:t>
            </a:r>
          </a:p>
        </p:txBody>
      </p:sp>
      <p:sp>
        <p:nvSpPr>
          <p:cNvPr id="313" name="Rectangle: Rounded Corners 19">
            <a:extLst>
              <a:ext uri="{FF2B5EF4-FFF2-40B4-BE49-F238E27FC236}">
                <a16:creationId xmlns:a16="http://schemas.microsoft.com/office/drawing/2014/main" id="{79CB1364-E518-4E97-B841-1E7189311CE8}"/>
              </a:ext>
            </a:extLst>
          </p:cNvPr>
          <p:cNvSpPr/>
          <p:nvPr/>
        </p:nvSpPr>
        <p:spPr>
          <a:xfrm>
            <a:off x="3340881" y="2326830"/>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4" name="Rectangle: Rounded Corners 36">
            <a:extLst>
              <a:ext uri="{FF2B5EF4-FFF2-40B4-BE49-F238E27FC236}">
                <a16:creationId xmlns:a16="http://schemas.microsoft.com/office/drawing/2014/main" id="{BE5D4BEE-37DD-4192-A00D-B08E5764B9DF}"/>
              </a:ext>
            </a:extLst>
          </p:cNvPr>
          <p:cNvSpPr/>
          <p:nvPr/>
        </p:nvSpPr>
        <p:spPr>
          <a:xfrm>
            <a:off x="3340881" y="2555413"/>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322" name="Rectangle: Rounded Corners 36">
            <a:extLst>
              <a:ext uri="{FF2B5EF4-FFF2-40B4-BE49-F238E27FC236}">
                <a16:creationId xmlns:a16="http://schemas.microsoft.com/office/drawing/2014/main" id="{E292994A-987F-4183-9B1B-2A4EF8DB25F2}"/>
              </a:ext>
            </a:extLst>
          </p:cNvPr>
          <p:cNvSpPr/>
          <p:nvPr/>
        </p:nvSpPr>
        <p:spPr>
          <a:xfrm>
            <a:off x="3340881" y="2841537"/>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6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3" name="Rectangle: Rounded Corners 36">
            <a:extLst>
              <a:ext uri="{FF2B5EF4-FFF2-40B4-BE49-F238E27FC236}">
                <a16:creationId xmlns:a16="http://schemas.microsoft.com/office/drawing/2014/main" id="{342A3EF9-BC00-4E39-AB56-EC11BA007956}"/>
              </a:ext>
            </a:extLst>
          </p:cNvPr>
          <p:cNvSpPr/>
          <p:nvPr/>
        </p:nvSpPr>
        <p:spPr>
          <a:xfrm>
            <a:off x="3340881" y="309097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208" name="Rectangle: Rounded Corners 207">
            <a:extLst>
              <a:ext uri="{FF2B5EF4-FFF2-40B4-BE49-F238E27FC236}">
                <a16:creationId xmlns:a16="http://schemas.microsoft.com/office/drawing/2014/main" id="{02B1A8CF-53D8-46C2-96CA-0610E2A5689E}"/>
              </a:ext>
            </a:extLst>
          </p:cNvPr>
          <p:cNvSpPr/>
          <p:nvPr/>
        </p:nvSpPr>
        <p:spPr>
          <a:xfrm>
            <a:off x="3274685" y="803871"/>
            <a:ext cx="4245796" cy="30100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a:t>
            </a:r>
          </a:p>
        </p:txBody>
      </p:sp>
      <p:sp>
        <p:nvSpPr>
          <p:cNvPr id="205" name="Arrow: Pentagon 13">
            <a:extLst>
              <a:ext uri="{FF2B5EF4-FFF2-40B4-BE49-F238E27FC236}">
                <a16:creationId xmlns:a16="http://schemas.microsoft.com/office/drawing/2014/main" id="{5B092BD5-AF05-4E55-B833-94D2FCF0C3A8}"/>
              </a:ext>
            </a:extLst>
          </p:cNvPr>
          <p:cNvSpPr/>
          <p:nvPr/>
        </p:nvSpPr>
        <p:spPr>
          <a:xfrm rot="5400000">
            <a:off x="9099258" y="798983"/>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4 FY 22 </a:t>
            </a:r>
          </a:p>
        </p:txBody>
      </p:sp>
      <p:sp>
        <p:nvSpPr>
          <p:cNvPr id="206" name="Rectangle: Rounded Corners 19">
            <a:extLst>
              <a:ext uri="{FF2B5EF4-FFF2-40B4-BE49-F238E27FC236}">
                <a16:creationId xmlns:a16="http://schemas.microsoft.com/office/drawing/2014/main" id="{914FE065-BC2C-4C50-9917-723C9D6E6587}"/>
              </a:ext>
            </a:extLst>
          </p:cNvPr>
          <p:cNvSpPr/>
          <p:nvPr/>
        </p:nvSpPr>
        <p:spPr>
          <a:xfrm>
            <a:off x="8734941" y="230818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07" name="Rectangle: Rounded Corners 36">
            <a:extLst>
              <a:ext uri="{FF2B5EF4-FFF2-40B4-BE49-F238E27FC236}">
                <a16:creationId xmlns:a16="http://schemas.microsoft.com/office/drawing/2014/main" id="{FB4A15FE-C10F-406D-BD69-57A6FC9BEE62}"/>
              </a:ext>
            </a:extLst>
          </p:cNvPr>
          <p:cNvSpPr/>
          <p:nvPr/>
        </p:nvSpPr>
        <p:spPr>
          <a:xfrm>
            <a:off x="8734941" y="254804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 name="Rectangle: Rounded Corners 36">
            <a:extLst>
              <a:ext uri="{FF2B5EF4-FFF2-40B4-BE49-F238E27FC236}">
                <a16:creationId xmlns:a16="http://schemas.microsoft.com/office/drawing/2014/main" id="{F61ADF99-CC50-4C7C-A89C-C459390254C9}"/>
              </a:ext>
            </a:extLst>
          </p:cNvPr>
          <p:cNvSpPr/>
          <p:nvPr/>
        </p:nvSpPr>
        <p:spPr>
          <a:xfrm>
            <a:off x="8734941" y="282289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100" dirty="0">
                <a:solidFill>
                  <a:srgbClr val="000000"/>
                </a:solidFill>
                <a:latin typeface="Arial" panose="020B0604020202020204" pitchFamily="34" charset="0"/>
                <a:cs typeface="Arial" panose="020B0604020202020204" pitchFamily="34" charset="0"/>
              </a:rPr>
              <a:t>30</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231" name="Rectangle: Rounded Corners 36">
            <a:extLst>
              <a:ext uri="{FF2B5EF4-FFF2-40B4-BE49-F238E27FC236}">
                <a16:creationId xmlns:a16="http://schemas.microsoft.com/office/drawing/2014/main" id="{1E01E46D-AE0D-45F5-82A8-33E85C96C5BA}"/>
              </a:ext>
            </a:extLst>
          </p:cNvPr>
          <p:cNvSpPr/>
          <p:nvPr/>
        </p:nvSpPr>
        <p:spPr>
          <a:xfrm>
            <a:off x="8734941" y="307233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 name="Arrow: Pentagon 13">
            <a:extLst>
              <a:ext uri="{FF2B5EF4-FFF2-40B4-BE49-F238E27FC236}">
                <a16:creationId xmlns:a16="http://schemas.microsoft.com/office/drawing/2014/main" id="{08CBAF3D-08E2-4FEB-A2FD-2077EBBC3449}"/>
              </a:ext>
            </a:extLst>
          </p:cNvPr>
          <p:cNvSpPr/>
          <p:nvPr/>
        </p:nvSpPr>
        <p:spPr>
          <a:xfrm rot="5400000">
            <a:off x="8032013" y="798982"/>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3 FY 22</a:t>
            </a:r>
          </a:p>
        </p:txBody>
      </p:sp>
      <p:sp>
        <p:nvSpPr>
          <p:cNvPr id="344" name="Rectangle: Rounded Corners 19">
            <a:extLst>
              <a:ext uri="{FF2B5EF4-FFF2-40B4-BE49-F238E27FC236}">
                <a16:creationId xmlns:a16="http://schemas.microsoft.com/office/drawing/2014/main" id="{4CE9ED90-E0CC-48F5-889C-567DBDF9A08E}"/>
              </a:ext>
            </a:extLst>
          </p:cNvPr>
          <p:cNvSpPr/>
          <p:nvPr/>
        </p:nvSpPr>
        <p:spPr>
          <a:xfrm>
            <a:off x="7667696" y="2327675"/>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 name="Rectangle: Rounded Corners 36">
            <a:extLst>
              <a:ext uri="{FF2B5EF4-FFF2-40B4-BE49-F238E27FC236}">
                <a16:creationId xmlns:a16="http://schemas.microsoft.com/office/drawing/2014/main" id="{4E6C2353-104B-4035-B833-BF16C6ED6F54}"/>
              </a:ext>
            </a:extLst>
          </p:cNvPr>
          <p:cNvSpPr/>
          <p:nvPr/>
        </p:nvSpPr>
        <p:spPr>
          <a:xfrm>
            <a:off x="7667696" y="2556257"/>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r>
              <a:rPr lang="en-US" sz="1100" dirty="0">
                <a:solidFill>
                  <a:srgbClr val="000000"/>
                </a:solidFill>
                <a:latin typeface="Arial" panose="020B0604020202020204" pitchFamily="34" charset="0"/>
                <a:cs typeface="Arial" panose="020B0604020202020204" pitchFamily="34" charset="0"/>
              </a:rPr>
              <a:t>)</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3" name="Rectangle: Rounded Corners 36">
            <a:extLst>
              <a:ext uri="{FF2B5EF4-FFF2-40B4-BE49-F238E27FC236}">
                <a16:creationId xmlns:a16="http://schemas.microsoft.com/office/drawing/2014/main" id="{98CE01D9-CE21-4517-BE1C-8B15A05C3764}"/>
              </a:ext>
            </a:extLst>
          </p:cNvPr>
          <p:cNvSpPr/>
          <p:nvPr/>
        </p:nvSpPr>
        <p:spPr>
          <a:xfrm>
            <a:off x="7667696" y="2842382"/>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4" name="Rectangle: Rounded Corners 36">
            <a:extLst>
              <a:ext uri="{FF2B5EF4-FFF2-40B4-BE49-F238E27FC236}">
                <a16:creationId xmlns:a16="http://schemas.microsoft.com/office/drawing/2014/main" id="{7D3AFE29-F7BC-4D23-BDCA-C73A7925435A}"/>
              </a:ext>
            </a:extLst>
          </p:cNvPr>
          <p:cNvSpPr/>
          <p:nvPr/>
        </p:nvSpPr>
        <p:spPr>
          <a:xfrm>
            <a:off x="7667696" y="309181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2)</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 name="Rectangle: Rounded Corners 359">
            <a:extLst>
              <a:ext uri="{FF2B5EF4-FFF2-40B4-BE49-F238E27FC236}">
                <a16:creationId xmlns:a16="http://schemas.microsoft.com/office/drawing/2014/main" id="{D47B7949-A859-4C39-BBCC-98634A7F2EEB}"/>
              </a:ext>
            </a:extLst>
          </p:cNvPr>
          <p:cNvSpPr/>
          <p:nvPr/>
        </p:nvSpPr>
        <p:spPr>
          <a:xfrm>
            <a:off x="7575568" y="789049"/>
            <a:ext cx="4282837" cy="30100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 (%)</a:t>
            </a:r>
          </a:p>
        </p:txBody>
      </p:sp>
      <p:sp>
        <p:nvSpPr>
          <p:cNvPr id="361" name="Rectangle: Rounded Corners 360">
            <a:extLst>
              <a:ext uri="{FF2B5EF4-FFF2-40B4-BE49-F238E27FC236}">
                <a16:creationId xmlns:a16="http://schemas.microsoft.com/office/drawing/2014/main" id="{5548E95E-3668-4AA7-B760-180F9DC07910}"/>
              </a:ext>
            </a:extLst>
          </p:cNvPr>
          <p:cNvSpPr/>
          <p:nvPr/>
        </p:nvSpPr>
        <p:spPr>
          <a:xfrm>
            <a:off x="233779" y="798970"/>
            <a:ext cx="1371600" cy="63236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ehicle segment</a:t>
            </a:r>
          </a:p>
        </p:txBody>
      </p:sp>
      <p:sp>
        <p:nvSpPr>
          <p:cNvPr id="362" name="Rectangle: Rounded Corners 361">
            <a:extLst>
              <a:ext uri="{FF2B5EF4-FFF2-40B4-BE49-F238E27FC236}">
                <a16:creationId xmlns:a16="http://schemas.microsoft.com/office/drawing/2014/main" id="{E880EC39-A88B-485A-BC4B-8EB94927F9B0}"/>
              </a:ext>
            </a:extLst>
          </p:cNvPr>
          <p:cNvSpPr/>
          <p:nvPr/>
        </p:nvSpPr>
        <p:spPr>
          <a:xfrm>
            <a:off x="1653041" y="803870"/>
            <a:ext cx="1554480" cy="63236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bsegment</a:t>
            </a:r>
          </a:p>
        </p:txBody>
      </p:sp>
      <p:sp>
        <p:nvSpPr>
          <p:cNvPr id="363" name="TextBox 362">
            <a:extLst>
              <a:ext uri="{FF2B5EF4-FFF2-40B4-BE49-F238E27FC236}">
                <a16:creationId xmlns:a16="http://schemas.microsoft.com/office/drawing/2014/main" id="{FC5BC8E7-322E-4F00-BDA4-A8DDC0FB0A61}"/>
              </a:ext>
            </a:extLst>
          </p:cNvPr>
          <p:cNvSpPr txBox="1"/>
          <p:nvPr/>
        </p:nvSpPr>
        <p:spPr>
          <a:xfrm>
            <a:off x="266335" y="6105436"/>
            <a:ext cx="9328076" cy="246205"/>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IAM, CRISIL Research</a:t>
            </a:r>
          </a:p>
        </p:txBody>
      </p:sp>
      <p:sp>
        <p:nvSpPr>
          <p:cNvPr id="164" name="Rectangle: Rounded Corners 19">
            <a:extLst>
              <a:ext uri="{FF2B5EF4-FFF2-40B4-BE49-F238E27FC236}">
                <a16:creationId xmlns:a16="http://schemas.microsoft.com/office/drawing/2014/main" id="{B83358C3-ECD7-4CC3-81F5-28C031A0CB68}"/>
              </a:ext>
            </a:extLst>
          </p:cNvPr>
          <p:cNvSpPr/>
          <p:nvPr/>
        </p:nvSpPr>
        <p:spPr>
          <a:xfrm>
            <a:off x="3340881" y="151379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4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Rectangle: Rounded Corners 36">
            <a:extLst>
              <a:ext uri="{FF2B5EF4-FFF2-40B4-BE49-F238E27FC236}">
                <a16:creationId xmlns:a16="http://schemas.microsoft.com/office/drawing/2014/main" id="{577FC18E-1135-4077-9719-2717D0293EE6}"/>
              </a:ext>
            </a:extLst>
          </p:cNvPr>
          <p:cNvSpPr/>
          <p:nvPr/>
        </p:nvSpPr>
        <p:spPr>
          <a:xfrm>
            <a:off x="3340881" y="174237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1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6" name="Rectangle: Rounded Corners 36">
            <a:extLst>
              <a:ext uri="{FF2B5EF4-FFF2-40B4-BE49-F238E27FC236}">
                <a16:creationId xmlns:a16="http://schemas.microsoft.com/office/drawing/2014/main" id="{72753220-8DC6-486B-A24E-4C4B0C398582}"/>
              </a:ext>
            </a:extLst>
          </p:cNvPr>
          <p:cNvSpPr/>
          <p:nvPr/>
        </p:nvSpPr>
        <p:spPr>
          <a:xfrm>
            <a:off x="3340881" y="2028503"/>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60</a:t>
            </a:r>
          </a:p>
        </p:txBody>
      </p:sp>
      <p:sp>
        <p:nvSpPr>
          <p:cNvPr id="167" name="Rectangle: Rounded Corners 19">
            <a:extLst>
              <a:ext uri="{FF2B5EF4-FFF2-40B4-BE49-F238E27FC236}">
                <a16:creationId xmlns:a16="http://schemas.microsoft.com/office/drawing/2014/main" id="{A009C231-B241-4919-B853-015AFB0E8565}"/>
              </a:ext>
            </a:extLst>
          </p:cNvPr>
          <p:cNvSpPr/>
          <p:nvPr/>
        </p:nvSpPr>
        <p:spPr>
          <a:xfrm>
            <a:off x="8734941" y="230818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8" name="Rectangle: Rounded Corners 19">
            <a:extLst>
              <a:ext uri="{FF2B5EF4-FFF2-40B4-BE49-F238E27FC236}">
                <a16:creationId xmlns:a16="http://schemas.microsoft.com/office/drawing/2014/main" id="{512559F0-E7D5-477F-88D3-979A54BB5813}"/>
              </a:ext>
            </a:extLst>
          </p:cNvPr>
          <p:cNvSpPr/>
          <p:nvPr/>
        </p:nvSpPr>
        <p:spPr>
          <a:xfrm>
            <a:off x="8734941" y="149515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100" dirty="0">
                <a:solidFill>
                  <a:srgbClr val="000000"/>
                </a:solidFill>
                <a:latin typeface="Arial" panose="020B0604020202020204" pitchFamily="34" charset="0"/>
                <a:cs typeface="Arial" panose="020B0604020202020204" pitchFamily="34" charset="0"/>
              </a:rPr>
              <a:t>2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9" name="Rectangle: Rounded Corners 36">
            <a:extLst>
              <a:ext uri="{FF2B5EF4-FFF2-40B4-BE49-F238E27FC236}">
                <a16:creationId xmlns:a16="http://schemas.microsoft.com/office/drawing/2014/main" id="{3D4B3BF5-281C-4BDE-9E31-D013D2011A51}"/>
              </a:ext>
            </a:extLst>
          </p:cNvPr>
          <p:cNvSpPr/>
          <p:nvPr/>
        </p:nvSpPr>
        <p:spPr>
          <a:xfrm>
            <a:off x="8734941" y="173501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171" name="Rectangle: Rounded Corners 36">
            <a:extLst>
              <a:ext uri="{FF2B5EF4-FFF2-40B4-BE49-F238E27FC236}">
                <a16:creationId xmlns:a16="http://schemas.microsoft.com/office/drawing/2014/main" id="{2732306C-C055-4589-8741-4D020D1FF667}"/>
              </a:ext>
            </a:extLst>
          </p:cNvPr>
          <p:cNvSpPr/>
          <p:nvPr/>
        </p:nvSpPr>
        <p:spPr>
          <a:xfrm>
            <a:off x="8734941" y="200986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179" name="Rectangle: Rounded Corners 19">
            <a:extLst>
              <a:ext uri="{FF2B5EF4-FFF2-40B4-BE49-F238E27FC236}">
                <a16:creationId xmlns:a16="http://schemas.microsoft.com/office/drawing/2014/main" id="{F4CDC170-0211-4559-914E-6DE9D762BD6D}"/>
              </a:ext>
            </a:extLst>
          </p:cNvPr>
          <p:cNvSpPr/>
          <p:nvPr/>
        </p:nvSpPr>
        <p:spPr>
          <a:xfrm>
            <a:off x="7667696" y="149049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a:t>
            </a:r>
          </a:p>
        </p:txBody>
      </p:sp>
      <p:sp>
        <p:nvSpPr>
          <p:cNvPr id="180" name="Rectangle: Rounded Corners 36">
            <a:extLst>
              <a:ext uri="{FF2B5EF4-FFF2-40B4-BE49-F238E27FC236}">
                <a16:creationId xmlns:a16="http://schemas.microsoft.com/office/drawing/2014/main" id="{3EA7A85C-B9A2-4003-B2B4-00DF5E914EB6}"/>
              </a:ext>
            </a:extLst>
          </p:cNvPr>
          <p:cNvSpPr/>
          <p:nvPr/>
        </p:nvSpPr>
        <p:spPr>
          <a:xfrm>
            <a:off x="7667696" y="174322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1" name="Rectangle: Rounded Corners 36">
            <a:extLst>
              <a:ext uri="{FF2B5EF4-FFF2-40B4-BE49-F238E27FC236}">
                <a16:creationId xmlns:a16="http://schemas.microsoft.com/office/drawing/2014/main" id="{0A26D33B-CC3E-48A3-B5E9-363B679E15F8}"/>
              </a:ext>
            </a:extLst>
          </p:cNvPr>
          <p:cNvSpPr/>
          <p:nvPr/>
        </p:nvSpPr>
        <p:spPr>
          <a:xfrm>
            <a:off x="7667696" y="201731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15)</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1" name="Rectangle: Rounded Corners 42">
            <a:extLst>
              <a:ext uri="{FF2B5EF4-FFF2-40B4-BE49-F238E27FC236}">
                <a16:creationId xmlns:a16="http://schemas.microsoft.com/office/drawing/2014/main" id="{5ED95C5B-45C5-45E2-8A99-EC6D7F643013}"/>
              </a:ext>
            </a:extLst>
          </p:cNvPr>
          <p:cNvSpPr/>
          <p:nvPr/>
        </p:nvSpPr>
        <p:spPr>
          <a:xfrm>
            <a:off x="3340881" y="52765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lvl="0" algn="ctr">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3</a:t>
            </a:r>
          </a:p>
        </p:txBody>
      </p:sp>
      <p:sp>
        <p:nvSpPr>
          <p:cNvPr id="192" name="Rectangle: Rounded Corners 42">
            <a:extLst>
              <a:ext uri="{FF2B5EF4-FFF2-40B4-BE49-F238E27FC236}">
                <a16:creationId xmlns:a16="http://schemas.microsoft.com/office/drawing/2014/main" id="{7EB29F29-76EC-4C10-80C0-7E06F4549D8D}"/>
              </a:ext>
            </a:extLst>
          </p:cNvPr>
          <p:cNvSpPr/>
          <p:nvPr/>
        </p:nvSpPr>
        <p:spPr>
          <a:xfrm>
            <a:off x="3340881" y="550214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0.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3" name="Rectangle: Rounded Corners 42">
            <a:extLst>
              <a:ext uri="{FF2B5EF4-FFF2-40B4-BE49-F238E27FC236}">
                <a16:creationId xmlns:a16="http://schemas.microsoft.com/office/drawing/2014/main" id="{88BAB389-15A4-45EF-80B2-97167BAAF4D2}"/>
              </a:ext>
            </a:extLst>
          </p:cNvPr>
          <p:cNvSpPr/>
          <p:nvPr/>
        </p:nvSpPr>
        <p:spPr>
          <a:xfrm>
            <a:off x="3340881" y="580020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82.4</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5" name="Rectangle: Rounded Corners 42">
            <a:extLst>
              <a:ext uri="{FF2B5EF4-FFF2-40B4-BE49-F238E27FC236}">
                <a16:creationId xmlns:a16="http://schemas.microsoft.com/office/drawing/2014/main" id="{C60DB2BD-ABD6-48FE-8935-CAD6686FDFB6}"/>
              </a:ext>
            </a:extLst>
          </p:cNvPr>
          <p:cNvSpPr/>
          <p:nvPr/>
        </p:nvSpPr>
        <p:spPr>
          <a:xfrm>
            <a:off x="8734941" y="525794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6" name="Rectangle: Rounded Corners 42">
            <a:extLst>
              <a:ext uri="{FF2B5EF4-FFF2-40B4-BE49-F238E27FC236}">
                <a16:creationId xmlns:a16="http://schemas.microsoft.com/office/drawing/2014/main" id="{57189495-96E8-4539-BA02-C4280CBAA85D}"/>
              </a:ext>
            </a:extLst>
          </p:cNvPr>
          <p:cNvSpPr/>
          <p:nvPr/>
        </p:nvSpPr>
        <p:spPr>
          <a:xfrm>
            <a:off x="8734941" y="548350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 name="Rectangle: Rounded Corners 42">
            <a:extLst>
              <a:ext uri="{FF2B5EF4-FFF2-40B4-BE49-F238E27FC236}">
                <a16:creationId xmlns:a16="http://schemas.microsoft.com/office/drawing/2014/main" id="{B95D90FE-376B-4E5F-AE8B-2C73CA37B5FC}"/>
              </a:ext>
            </a:extLst>
          </p:cNvPr>
          <p:cNvSpPr/>
          <p:nvPr/>
        </p:nvSpPr>
        <p:spPr>
          <a:xfrm>
            <a:off x="8734941" y="578156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225" name="Rectangle: Rounded Corners 42">
            <a:extLst>
              <a:ext uri="{FF2B5EF4-FFF2-40B4-BE49-F238E27FC236}">
                <a16:creationId xmlns:a16="http://schemas.microsoft.com/office/drawing/2014/main" id="{6A7272A2-CA42-4F1D-8537-03224E2BD049}"/>
              </a:ext>
            </a:extLst>
          </p:cNvPr>
          <p:cNvSpPr/>
          <p:nvPr/>
        </p:nvSpPr>
        <p:spPr>
          <a:xfrm>
            <a:off x="7667696" y="527742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226" name="Rectangle: Rounded Corners 42">
            <a:extLst>
              <a:ext uri="{FF2B5EF4-FFF2-40B4-BE49-F238E27FC236}">
                <a16:creationId xmlns:a16="http://schemas.microsoft.com/office/drawing/2014/main" id="{C3CA7D12-85C7-4894-8BEC-FE7E41728396}"/>
              </a:ext>
            </a:extLst>
          </p:cNvPr>
          <p:cNvSpPr/>
          <p:nvPr/>
        </p:nvSpPr>
        <p:spPr>
          <a:xfrm>
            <a:off x="7667696" y="550299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7</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2" name="Rectangle: Rounded Corners 42">
            <a:extLst>
              <a:ext uri="{FF2B5EF4-FFF2-40B4-BE49-F238E27FC236}">
                <a16:creationId xmlns:a16="http://schemas.microsoft.com/office/drawing/2014/main" id="{91A5F33C-2B61-4731-BD81-5FA74720D417}"/>
              </a:ext>
            </a:extLst>
          </p:cNvPr>
          <p:cNvSpPr/>
          <p:nvPr/>
        </p:nvSpPr>
        <p:spPr>
          <a:xfrm>
            <a:off x="7667696" y="580104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3" name="Rectangle 2"/>
          <p:cNvSpPr/>
          <p:nvPr/>
        </p:nvSpPr>
        <p:spPr>
          <a:xfrm>
            <a:off x="7554500" y="690880"/>
            <a:ext cx="4403037" cy="5326028"/>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Rectangle 214"/>
          <p:cNvSpPr/>
          <p:nvPr/>
        </p:nvSpPr>
        <p:spPr>
          <a:xfrm>
            <a:off x="3267848" y="690880"/>
            <a:ext cx="4272376" cy="5326028"/>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6" name="Straight Connector 5"/>
          <p:cNvCxnSpPr/>
          <p:nvPr/>
        </p:nvCxnSpPr>
        <p:spPr>
          <a:xfrm>
            <a:off x="195997" y="2270224"/>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41594" y="4720762"/>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1" name="Rectangle: Rounded Corners 42">
            <a:extLst>
              <a:ext uri="{FF2B5EF4-FFF2-40B4-BE49-F238E27FC236}">
                <a16:creationId xmlns:a16="http://schemas.microsoft.com/office/drawing/2014/main" id="{AA9990FA-1FD4-48CD-83B9-A6CCE5E0EE35}"/>
              </a:ext>
            </a:extLst>
          </p:cNvPr>
          <p:cNvSpPr/>
          <p:nvPr/>
        </p:nvSpPr>
        <p:spPr>
          <a:xfrm>
            <a:off x="3340881" y="4868647"/>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3</a:t>
            </a:r>
          </a:p>
        </p:txBody>
      </p:sp>
      <p:sp>
        <p:nvSpPr>
          <p:cNvPr id="303" name="Rectangle: Rounded Corners 42">
            <a:extLst>
              <a:ext uri="{FF2B5EF4-FFF2-40B4-BE49-F238E27FC236}">
                <a16:creationId xmlns:a16="http://schemas.microsoft.com/office/drawing/2014/main" id="{D8A115EB-8137-4B09-B663-210EE001D081}"/>
              </a:ext>
            </a:extLst>
          </p:cNvPr>
          <p:cNvSpPr/>
          <p:nvPr/>
        </p:nvSpPr>
        <p:spPr>
          <a:xfrm>
            <a:off x="8734941" y="4860132"/>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100" b="1" dirty="0">
                <a:solidFill>
                  <a:srgbClr val="000000"/>
                </a:solidFill>
                <a:latin typeface="Arial" panose="020B0604020202020204" pitchFamily="34" charset="0"/>
                <a:cs typeface="Arial" panose="020B0604020202020204" pitchFamily="34" charset="0"/>
              </a:rPr>
              <a:t>26</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308" name="Rectangle: Rounded Corners 42">
            <a:extLst>
              <a:ext uri="{FF2B5EF4-FFF2-40B4-BE49-F238E27FC236}">
                <a16:creationId xmlns:a16="http://schemas.microsoft.com/office/drawing/2014/main" id="{F267ACC7-CD68-4A95-8787-7B12887975BB}"/>
              </a:ext>
            </a:extLst>
          </p:cNvPr>
          <p:cNvSpPr/>
          <p:nvPr/>
        </p:nvSpPr>
        <p:spPr>
          <a:xfrm>
            <a:off x="7667696" y="486013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8" name="Rectangle: Rounded Corners 246">
            <a:extLst>
              <a:ext uri="{FF2B5EF4-FFF2-40B4-BE49-F238E27FC236}">
                <a16:creationId xmlns:a16="http://schemas.microsoft.com/office/drawing/2014/main" id="{7AE8AC5C-AFA8-44BA-81AB-D8744CEDE76E}"/>
              </a:ext>
            </a:extLst>
          </p:cNvPr>
          <p:cNvSpPr/>
          <p:nvPr/>
        </p:nvSpPr>
        <p:spPr>
          <a:xfrm>
            <a:off x="1668911" y="347590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CV (‘000) </a:t>
            </a:r>
          </a:p>
        </p:txBody>
      </p:sp>
      <p:sp>
        <p:nvSpPr>
          <p:cNvPr id="316" name="Arrow: Pentagon 13">
            <a:extLst>
              <a:ext uri="{FF2B5EF4-FFF2-40B4-BE49-F238E27FC236}">
                <a16:creationId xmlns:a16="http://schemas.microsoft.com/office/drawing/2014/main" id="{C0C86DFE-FDE7-4AC0-89B8-A052F57FE542}"/>
              </a:ext>
            </a:extLst>
          </p:cNvPr>
          <p:cNvSpPr/>
          <p:nvPr/>
        </p:nvSpPr>
        <p:spPr>
          <a:xfrm rot="5400000">
            <a:off x="4744026" y="811802"/>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4 FY 22 </a:t>
            </a:r>
          </a:p>
        </p:txBody>
      </p:sp>
      <p:sp>
        <p:nvSpPr>
          <p:cNvPr id="317" name="Rectangle: Rounded Corners 19">
            <a:extLst>
              <a:ext uri="{FF2B5EF4-FFF2-40B4-BE49-F238E27FC236}">
                <a16:creationId xmlns:a16="http://schemas.microsoft.com/office/drawing/2014/main" id="{6C396DC0-6525-4195-A5C3-50EAFCB53A90}"/>
              </a:ext>
            </a:extLst>
          </p:cNvPr>
          <p:cNvSpPr/>
          <p:nvPr/>
        </p:nvSpPr>
        <p:spPr>
          <a:xfrm>
            <a:off x="4391408" y="232250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318" name="Rectangle: Rounded Corners 36">
            <a:extLst>
              <a:ext uri="{FF2B5EF4-FFF2-40B4-BE49-F238E27FC236}">
                <a16:creationId xmlns:a16="http://schemas.microsoft.com/office/drawing/2014/main" id="{14CCCA8C-39B0-45B6-A2E8-7A1EAA048E9F}"/>
              </a:ext>
            </a:extLst>
          </p:cNvPr>
          <p:cNvSpPr/>
          <p:nvPr/>
        </p:nvSpPr>
        <p:spPr>
          <a:xfrm>
            <a:off x="4391408" y="256236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p>
        </p:txBody>
      </p:sp>
      <p:sp>
        <p:nvSpPr>
          <p:cNvPr id="319" name="Rectangle: Rounded Corners 36">
            <a:extLst>
              <a:ext uri="{FF2B5EF4-FFF2-40B4-BE49-F238E27FC236}">
                <a16:creationId xmlns:a16="http://schemas.microsoft.com/office/drawing/2014/main" id="{0577E4D3-F2CC-4A3E-8E83-F0B8CFEB17DD}"/>
              </a:ext>
            </a:extLst>
          </p:cNvPr>
          <p:cNvSpPr/>
          <p:nvPr/>
        </p:nvSpPr>
        <p:spPr>
          <a:xfrm>
            <a:off x="4391408" y="2837215"/>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0" name="Rectangle: Rounded Corners 36">
            <a:extLst>
              <a:ext uri="{FF2B5EF4-FFF2-40B4-BE49-F238E27FC236}">
                <a16:creationId xmlns:a16="http://schemas.microsoft.com/office/drawing/2014/main" id="{EF53AD84-2FB5-4947-B616-3F8FC4A9F46D}"/>
              </a:ext>
            </a:extLst>
          </p:cNvPr>
          <p:cNvSpPr/>
          <p:nvPr/>
        </p:nvSpPr>
        <p:spPr>
          <a:xfrm>
            <a:off x="4391408" y="308665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3.4</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1" name="Rectangle: Rounded Corners 19">
            <a:extLst>
              <a:ext uri="{FF2B5EF4-FFF2-40B4-BE49-F238E27FC236}">
                <a16:creationId xmlns:a16="http://schemas.microsoft.com/office/drawing/2014/main" id="{784FA179-4AB9-455C-BBD3-D032289BEA94}"/>
              </a:ext>
            </a:extLst>
          </p:cNvPr>
          <p:cNvSpPr/>
          <p:nvPr/>
        </p:nvSpPr>
        <p:spPr>
          <a:xfrm>
            <a:off x="4391408" y="150947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9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4" name="Rectangle: Rounded Corners 36">
            <a:extLst>
              <a:ext uri="{FF2B5EF4-FFF2-40B4-BE49-F238E27FC236}">
                <a16:creationId xmlns:a16="http://schemas.microsoft.com/office/drawing/2014/main" id="{220E0D17-29EC-4869-92B3-780EC67FCA0D}"/>
              </a:ext>
            </a:extLst>
          </p:cNvPr>
          <p:cNvSpPr/>
          <p:nvPr/>
        </p:nvSpPr>
        <p:spPr>
          <a:xfrm>
            <a:off x="4391408" y="174933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9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5" name="Rectangle: Rounded Corners 36">
            <a:extLst>
              <a:ext uri="{FF2B5EF4-FFF2-40B4-BE49-F238E27FC236}">
                <a16:creationId xmlns:a16="http://schemas.microsoft.com/office/drawing/2014/main" id="{59B7AFCA-C8F5-4B84-8B56-CE267AA00B8A}"/>
              </a:ext>
            </a:extLst>
          </p:cNvPr>
          <p:cNvSpPr/>
          <p:nvPr/>
        </p:nvSpPr>
        <p:spPr>
          <a:xfrm>
            <a:off x="4391408" y="2024181"/>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797</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6" name="Rectangle: Rounded Corners 42">
            <a:extLst>
              <a:ext uri="{FF2B5EF4-FFF2-40B4-BE49-F238E27FC236}">
                <a16:creationId xmlns:a16="http://schemas.microsoft.com/office/drawing/2014/main" id="{1588365A-C6B8-459F-8F08-6234BA63A0D0}"/>
              </a:ext>
            </a:extLst>
          </p:cNvPr>
          <p:cNvSpPr/>
          <p:nvPr/>
        </p:nvSpPr>
        <p:spPr>
          <a:xfrm>
            <a:off x="4391408" y="527225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lvl="0" algn="ctr">
              <a:defRPr/>
            </a:pPr>
            <a:r>
              <a:rPr lang="en-US" sz="1100" dirty="0">
                <a:solidFill>
                  <a:srgbClr val="000000"/>
                </a:solidFill>
                <a:latin typeface="Arial" panose="020B0604020202020204" pitchFamily="34" charset="0"/>
                <a:cs typeface="Arial" panose="020B0604020202020204" pitchFamily="34" charset="0"/>
              </a:rPr>
              <a:t>22.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7" name="Rectangle: Rounded Corners 42">
            <a:extLst>
              <a:ext uri="{FF2B5EF4-FFF2-40B4-BE49-F238E27FC236}">
                <a16:creationId xmlns:a16="http://schemas.microsoft.com/office/drawing/2014/main" id="{06ACCB4F-C6B8-425A-97A3-67C507837B92}"/>
              </a:ext>
            </a:extLst>
          </p:cNvPr>
          <p:cNvSpPr/>
          <p:nvPr/>
        </p:nvSpPr>
        <p:spPr>
          <a:xfrm>
            <a:off x="4391408" y="549782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0.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8" name="Rectangle: Rounded Corners 42">
            <a:extLst>
              <a:ext uri="{FF2B5EF4-FFF2-40B4-BE49-F238E27FC236}">
                <a16:creationId xmlns:a16="http://schemas.microsoft.com/office/drawing/2014/main" id="{AD6054ED-6A40-47C8-A1C1-52181A0A066F}"/>
              </a:ext>
            </a:extLst>
          </p:cNvPr>
          <p:cNvSpPr/>
          <p:nvPr/>
        </p:nvSpPr>
        <p:spPr>
          <a:xfrm>
            <a:off x="4391408" y="579588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3.2</a:t>
            </a:r>
          </a:p>
        </p:txBody>
      </p:sp>
      <p:sp>
        <p:nvSpPr>
          <p:cNvPr id="332" name="Rectangle: Rounded Corners 42">
            <a:extLst>
              <a:ext uri="{FF2B5EF4-FFF2-40B4-BE49-F238E27FC236}">
                <a16:creationId xmlns:a16="http://schemas.microsoft.com/office/drawing/2014/main" id="{BC558489-1D70-4E8E-A066-75A26DFE4983}"/>
              </a:ext>
            </a:extLst>
          </p:cNvPr>
          <p:cNvSpPr/>
          <p:nvPr/>
        </p:nvSpPr>
        <p:spPr>
          <a:xfrm>
            <a:off x="4391408" y="487295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77</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6" name="Rectangle: Rounded Corners 42">
            <a:extLst>
              <a:ext uri="{FF2B5EF4-FFF2-40B4-BE49-F238E27FC236}">
                <a16:creationId xmlns:a16="http://schemas.microsoft.com/office/drawing/2014/main" id="{B6FA4CE4-FB28-4C33-8D9E-C906F617EEF0}"/>
              </a:ext>
            </a:extLst>
          </p:cNvPr>
          <p:cNvSpPr/>
          <p:nvPr/>
        </p:nvSpPr>
        <p:spPr>
          <a:xfrm>
            <a:off x="3351318" y="37441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0.4</a:t>
            </a:r>
          </a:p>
        </p:txBody>
      </p:sp>
      <p:sp>
        <p:nvSpPr>
          <p:cNvPr id="237" name="Rectangle: Rounded Corners 42">
            <a:extLst>
              <a:ext uri="{FF2B5EF4-FFF2-40B4-BE49-F238E27FC236}">
                <a16:creationId xmlns:a16="http://schemas.microsoft.com/office/drawing/2014/main" id="{AB8CD95F-1E45-4FBA-B0D2-2BCD329126F9}"/>
              </a:ext>
            </a:extLst>
          </p:cNvPr>
          <p:cNvSpPr/>
          <p:nvPr/>
        </p:nvSpPr>
        <p:spPr>
          <a:xfrm>
            <a:off x="3351318" y="398055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9</a:t>
            </a:r>
          </a:p>
        </p:txBody>
      </p:sp>
      <p:sp>
        <p:nvSpPr>
          <p:cNvPr id="238" name="Rectangle: Rounded Corners 42">
            <a:extLst>
              <a:ext uri="{FF2B5EF4-FFF2-40B4-BE49-F238E27FC236}">
                <a16:creationId xmlns:a16="http://schemas.microsoft.com/office/drawing/2014/main" id="{79061A2F-8B2B-49A2-9DE9-99D6C238FF71}"/>
              </a:ext>
            </a:extLst>
          </p:cNvPr>
          <p:cNvSpPr/>
          <p:nvPr/>
        </p:nvSpPr>
        <p:spPr>
          <a:xfrm>
            <a:off x="3351318" y="424361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196</a:t>
            </a:r>
          </a:p>
        </p:txBody>
      </p:sp>
      <p:sp>
        <p:nvSpPr>
          <p:cNvPr id="255" name="Rectangle: Rounded Corners 36">
            <a:extLst>
              <a:ext uri="{FF2B5EF4-FFF2-40B4-BE49-F238E27FC236}">
                <a16:creationId xmlns:a16="http://schemas.microsoft.com/office/drawing/2014/main" id="{970710F9-9F1A-46AD-B9ED-B08CD3D6B60D}"/>
              </a:ext>
            </a:extLst>
          </p:cNvPr>
          <p:cNvSpPr/>
          <p:nvPr/>
        </p:nvSpPr>
        <p:spPr>
          <a:xfrm>
            <a:off x="3340880" y="347304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27.6</a:t>
            </a:r>
          </a:p>
        </p:txBody>
      </p:sp>
      <p:sp>
        <p:nvSpPr>
          <p:cNvPr id="256" name="Rectangle: Rounded Corners 42">
            <a:extLst>
              <a:ext uri="{FF2B5EF4-FFF2-40B4-BE49-F238E27FC236}">
                <a16:creationId xmlns:a16="http://schemas.microsoft.com/office/drawing/2014/main" id="{4F31B732-8EC6-4B7B-943F-F5463B168202}"/>
              </a:ext>
            </a:extLst>
          </p:cNvPr>
          <p:cNvSpPr/>
          <p:nvPr/>
        </p:nvSpPr>
        <p:spPr>
          <a:xfrm>
            <a:off x="4401845" y="375113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88.1</a:t>
            </a:r>
          </a:p>
        </p:txBody>
      </p:sp>
      <p:sp>
        <p:nvSpPr>
          <p:cNvPr id="257" name="Rectangle: Rounded Corners 42">
            <a:extLst>
              <a:ext uri="{FF2B5EF4-FFF2-40B4-BE49-F238E27FC236}">
                <a16:creationId xmlns:a16="http://schemas.microsoft.com/office/drawing/2014/main" id="{9A9376F2-738F-4C6E-A59C-B5BACDC9B2A9}"/>
              </a:ext>
            </a:extLst>
          </p:cNvPr>
          <p:cNvSpPr/>
          <p:nvPr/>
        </p:nvSpPr>
        <p:spPr>
          <a:xfrm>
            <a:off x="4401845" y="398750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2.1</a:t>
            </a:r>
          </a:p>
        </p:txBody>
      </p:sp>
      <p:sp>
        <p:nvSpPr>
          <p:cNvPr id="261" name="Rectangle: Rounded Corners 42">
            <a:extLst>
              <a:ext uri="{FF2B5EF4-FFF2-40B4-BE49-F238E27FC236}">
                <a16:creationId xmlns:a16="http://schemas.microsoft.com/office/drawing/2014/main" id="{EAC0D68E-ECC0-4668-AD01-4F1F227698FD}"/>
              </a:ext>
            </a:extLst>
          </p:cNvPr>
          <p:cNvSpPr/>
          <p:nvPr/>
        </p:nvSpPr>
        <p:spPr>
          <a:xfrm>
            <a:off x="4401845" y="425057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250</a:t>
            </a:r>
          </a:p>
        </p:txBody>
      </p:sp>
      <p:sp>
        <p:nvSpPr>
          <p:cNvPr id="263" name="Rectangle: Rounded Corners 36">
            <a:extLst>
              <a:ext uri="{FF2B5EF4-FFF2-40B4-BE49-F238E27FC236}">
                <a16:creationId xmlns:a16="http://schemas.microsoft.com/office/drawing/2014/main" id="{33DAB66C-0FA6-41B7-A9ED-3472C96B7913}"/>
              </a:ext>
            </a:extLst>
          </p:cNvPr>
          <p:cNvSpPr/>
          <p:nvPr/>
        </p:nvSpPr>
        <p:spPr>
          <a:xfrm>
            <a:off x="4391407" y="348000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48.9</a:t>
            </a:r>
          </a:p>
        </p:txBody>
      </p:sp>
      <p:sp>
        <p:nvSpPr>
          <p:cNvPr id="267" name="Rectangle: Rounded Corners 42">
            <a:extLst>
              <a:ext uri="{FF2B5EF4-FFF2-40B4-BE49-F238E27FC236}">
                <a16:creationId xmlns:a16="http://schemas.microsoft.com/office/drawing/2014/main" id="{C04BBFD3-EDF4-459D-BE88-57E2A7EA4F34}"/>
              </a:ext>
            </a:extLst>
          </p:cNvPr>
          <p:cNvSpPr/>
          <p:nvPr/>
        </p:nvSpPr>
        <p:spPr>
          <a:xfrm>
            <a:off x="8744343" y="373677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6</a:t>
            </a:r>
          </a:p>
        </p:txBody>
      </p:sp>
      <p:sp>
        <p:nvSpPr>
          <p:cNvPr id="271" name="Rectangle: Rounded Corners 42">
            <a:extLst>
              <a:ext uri="{FF2B5EF4-FFF2-40B4-BE49-F238E27FC236}">
                <a16:creationId xmlns:a16="http://schemas.microsoft.com/office/drawing/2014/main" id="{572FCF5E-C119-4E03-A3A4-7719D767BEE0}"/>
              </a:ext>
            </a:extLst>
          </p:cNvPr>
          <p:cNvSpPr/>
          <p:nvPr/>
        </p:nvSpPr>
        <p:spPr>
          <a:xfrm>
            <a:off x="8744343" y="397314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53</a:t>
            </a:r>
          </a:p>
        </p:txBody>
      </p:sp>
      <p:sp>
        <p:nvSpPr>
          <p:cNvPr id="275" name="Rectangle: Rounded Corners 42">
            <a:extLst>
              <a:ext uri="{FF2B5EF4-FFF2-40B4-BE49-F238E27FC236}">
                <a16:creationId xmlns:a16="http://schemas.microsoft.com/office/drawing/2014/main" id="{D02F30F2-050A-48DE-A0FE-772DAEF5CD9E}"/>
              </a:ext>
            </a:extLst>
          </p:cNvPr>
          <p:cNvSpPr/>
          <p:nvPr/>
        </p:nvSpPr>
        <p:spPr>
          <a:xfrm>
            <a:off x="8744343" y="423621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19</a:t>
            </a:r>
          </a:p>
        </p:txBody>
      </p:sp>
      <p:sp>
        <p:nvSpPr>
          <p:cNvPr id="309" name="Rectangle: Rounded Corners 42">
            <a:extLst>
              <a:ext uri="{FF2B5EF4-FFF2-40B4-BE49-F238E27FC236}">
                <a16:creationId xmlns:a16="http://schemas.microsoft.com/office/drawing/2014/main" id="{78197195-7629-426E-B408-5E712D7421AA}"/>
              </a:ext>
            </a:extLst>
          </p:cNvPr>
          <p:cNvSpPr/>
          <p:nvPr/>
        </p:nvSpPr>
        <p:spPr>
          <a:xfrm>
            <a:off x="7677098" y="374498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21</a:t>
            </a:r>
          </a:p>
        </p:txBody>
      </p:sp>
      <p:sp>
        <p:nvSpPr>
          <p:cNvPr id="310" name="Rectangle: Rounded Corners 42">
            <a:extLst>
              <a:ext uri="{FF2B5EF4-FFF2-40B4-BE49-F238E27FC236}">
                <a16:creationId xmlns:a16="http://schemas.microsoft.com/office/drawing/2014/main" id="{03B1AAB1-E7C3-49BF-B177-897187802DF3}"/>
              </a:ext>
            </a:extLst>
          </p:cNvPr>
          <p:cNvSpPr/>
          <p:nvPr/>
        </p:nvSpPr>
        <p:spPr>
          <a:xfrm>
            <a:off x="7677098" y="398135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7</a:t>
            </a:r>
          </a:p>
        </p:txBody>
      </p:sp>
      <p:sp>
        <p:nvSpPr>
          <p:cNvPr id="311" name="Rectangle: Rounded Corners 42">
            <a:extLst>
              <a:ext uri="{FF2B5EF4-FFF2-40B4-BE49-F238E27FC236}">
                <a16:creationId xmlns:a16="http://schemas.microsoft.com/office/drawing/2014/main" id="{605458EA-44CB-4A08-81F2-D15A6DC86E55}"/>
              </a:ext>
            </a:extLst>
          </p:cNvPr>
          <p:cNvSpPr/>
          <p:nvPr/>
        </p:nvSpPr>
        <p:spPr>
          <a:xfrm>
            <a:off x="7677098" y="424441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1</a:t>
            </a:r>
          </a:p>
        </p:txBody>
      </p:sp>
      <p:sp>
        <p:nvSpPr>
          <p:cNvPr id="315" name="Rectangle: Rounded Corners 36">
            <a:extLst>
              <a:ext uri="{FF2B5EF4-FFF2-40B4-BE49-F238E27FC236}">
                <a16:creationId xmlns:a16="http://schemas.microsoft.com/office/drawing/2014/main" id="{2F9089D9-F011-43FD-91CD-33CDE6EA0CE8}"/>
              </a:ext>
            </a:extLst>
          </p:cNvPr>
          <p:cNvSpPr/>
          <p:nvPr/>
        </p:nvSpPr>
        <p:spPr>
          <a:xfrm>
            <a:off x="8733905" y="346563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9</a:t>
            </a:r>
          </a:p>
        </p:txBody>
      </p:sp>
      <p:sp>
        <p:nvSpPr>
          <p:cNvPr id="338" name="Rectangle: Rounded Corners 36">
            <a:extLst>
              <a:ext uri="{FF2B5EF4-FFF2-40B4-BE49-F238E27FC236}">
                <a16:creationId xmlns:a16="http://schemas.microsoft.com/office/drawing/2014/main" id="{DB2453F3-6A1D-4237-AA8A-DD39A4D7953D}"/>
              </a:ext>
            </a:extLst>
          </p:cNvPr>
          <p:cNvSpPr/>
          <p:nvPr/>
        </p:nvSpPr>
        <p:spPr>
          <a:xfrm>
            <a:off x="7666660" y="347384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8)</a:t>
            </a:r>
          </a:p>
        </p:txBody>
      </p:sp>
      <p:sp>
        <p:nvSpPr>
          <p:cNvPr id="200" name="Arrow: Pentagon 13">
            <a:extLst>
              <a:ext uri="{FF2B5EF4-FFF2-40B4-BE49-F238E27FC236}">
                <a16:creationId xmlns:a16="http://schemas.microsoft.com/office/drawing/2014/main" id="{4A353884-E667-42B3-BEA8-7DA64D65D605}"/>
              </a:ext>
            </a:extLst>
          </p:cNvPr>
          <p:cNvSpPr/>
          <p:nvPr/>
        </p:nvSpPr>
        <p:spPr>
          <a:xfrm rot="5400000">
            <a:off x="5778916" y="815340"/>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1 FY 23 P</a:t>
            </a:r>
          </a:p>
        </p:txBody>
      </p:sp>
      <p:sp>
        <p:nvSpPr>
          <p:cNvPr id="201" name="Rectangle: Rounded Corners 19">
            <a:extLst>
              <a:ext uri="{FF2B5EF4-FFF2-40B4-BE49-F238E27FC236}">
                <a16:creationId xmlns:a16="http://schemas.microsoft.com/office/drawing/2014/main" id="{6AA23937-3ABE-45B0-8F35-C740FB22F0BE}"/>
              </a:ext>
            </a:extLst>
          </p:cNvPr>
          <p:cNvSpPr/>
          <p:nvPr/>
        </p:nvSpPr>
        <p:spPr>
          <a:xfrm>
            <a:off x="5426298" y="232604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9-2.5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2" name="Rectangle: Rounded Corners 36">
            <a:extLst>
              <a:ext uri="{FF2B5EF4-FFF2-40B4-BE49-F238E27FC236}">
                <a16:creationId xmlns:a16="http://schemas.microsoft.com/office/drawing/2014/main" id="{5ADB28FD-D18C-45CC-B8C4-1ABDE7926242}"/>
              </a:ext>
            </a:extLst>
          </p:cNvPr>
          <p:cNvSpPr/>
          <p:nvPr/>
        </p:nvSpPr>
        <p:spPr>
          <a:xfrm>
            <a:off x="5426298" y="256590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0.95-1.0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 name="Rectangle: Rounded Corners 36">
            <a:extLst>
              <a:ext uri="{FF2B5EF4-FFF2-40B4-BE49-F238E27FC236}">
                <a16:creationId xmlns:a16="http://schemas.microsoft.com/office/drawing/2014/main" id="{1CE22877-46BA-4655-A108-E487F090DFBA}"/>
              </a:ext>
            </a:extLst>
          </p:cNvPr>
          <p:cNvSpPr/>
          <p:nvPr/>
        </p:nvSpPr>
        <p:spPr>
          <a:xfrm>
            <a:off x="5426298" y="2840753"/>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100</a:t>
            </a:r>
          </a:p>
        </p:txBody>
      </p:sp>
      <p:sp>
        <p:nvSpPr>
          <p:cNvPr id="214" name="Rectangle: Rounded Corners 36">
            <a:extLst>
              <a:ext uri="{FF2B5EF4-FFF2-40B4-BE49-F238E27FC236}">
                <a16:creationId xmlns:a16="http://schemas.microsoft.com/office/drawing/2014/main" id="{6AB333BE-F94C-4A7D-9BC2-96229CCFB571}"/>
              </a:ext>
            </a:extLst>
          </p:cNvPr>
          <p:cNvSpPr/>
          <p:nvPr/>
        </p:nvSpPr>
        <p:spPr>
          <a:xfrm>
            <a:off x="5426298" y="309019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3.58-3.6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7" name="Rectangle: Rounded Corners 19">
            <a:extLst>
              <a:ext uri="{FF2B5EF4-FFF2-40B4-BE49-F238E27FC236}">
                <a16:creationId xmlns:a16="http://schemas.microsoft.com/office/drawing/2014/main" id="{87938481-ADCE-4E1E-85B1-CA3A9268F8B5}"/>
              </a:ext>
            </a:extLst>
          </p:cNvPr>
          <p:cNvSpPr/>
          <p:nvPr/>
        </p:nvSpPr>
        <p:spPr>
          <a:xfrm>
            <a:off x="5426298" y="151301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82-39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9" name="Rectangle: Rounded Corners 36">
            <a:extLst>
              <a:ext uri="{FF2B5EF4-FFF2-40B4-BE49-F238E27FC236}">
                <a16:creationId xmlns:a16="http://schemas.microsoft.com/office/drawing/2014/main" id="{EBE834D9-FC9E-4E81-B099-38BF6156232F}"/>
              </a:ext>
            </a:extLst>
          </p:cNvPr>
          <p:cNvSpPr/>
          <p:nvPr/>
        </p:nvSpPr>
        <p:spPr>
          <a:xfrm>
            <a:off x="5426298" y="1767155"/>
            <a:ext cx="992546" cy="1616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5-465</a:t>
            </a:r>
          </a:p>
        </p:txBody>
      </p:sp>
      <p:sp>
        <p:nvSpPr>
          <p:cNvPr id="240" name="Rectangle: Rounded Corners 36">
            <a:extLst>
              <a:ext uri="{FF2B5EF4-FFF2-40B4-BE49-F238E27FC236}">
                <a16:creationId xmlns:a16="http://schemas.microsoft.com/office/drawing/2014/main" id="{EFD5F74A-4428-40D9-B212-4C7D97E6926F}"/>
              </a:ext>
            </a:extLst>
          </p:cNvPr>
          <p:cNvSpPr/>
          <p:nvPr/>
        </p:nvSpPr>
        <p:spPr>
          <a:xfrm>
            <a:off x="5426298" y="202771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45-855</a:t>
            </a:r>
          </a:p>
        </p:txBody>
      </p:sp>
      <p:sp>
        <p:nvSpPr>
          <p:cNvPr id="241" name="Rectangle: Rounded Corners 42">
            <a:extLst>
              <a:ext uri="{FF2B5EF4-FFF2-40B4-BE49-F238E27FC236}">
                <a16:creationId xmlns:a16="http://schemas.microsoft.com/office/drawing/2014/main" id="{ED4F2BF3-F159-4098-B68F-58D6B7113908}"/>
              </a:ext>
            </a:extLst>
          </p:cNvPr>
          <p:cNvSpPr/>
          <p:nvPr/>
        </p:nvSpPr>
        <p:spPr>
          <a:xfrm>
            <a:off x="5426298" y="527579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lvl="0" algn="ctr">
              <a:defRPr/>
            </a:pPr>
            <a:r>
              <a:rPr lang="en-US" sz="1100" dirty="0">
                <a:solidFill>
                  <a:srgbClr val="000000"/>
                </a:solidFill>
                <a:latin typeface="Arial" panose="020B0604020202020204" pitchFamily="34" charset="0"/>
                <a:cs typeface="Arial" panose="020B0604020202020204" pitchFamily="34" charset="0"/>
              </a:rPr>
              <a:t>26.3-26.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3" name="Rectangle: Rounded Corners 42">
            <a:extLst>
              <a:ext uri="{FF2B5EF4-FFF2-40B4-BE49-F238E27FC236}">
                <a16:creationId xmlns:a16="http://schemas.microsoft.com/office/drawing/2014/main" id="{01F19041-684A-481D-BB8D-1F34EFAA9AE7}"/>
              </a:ext>
            </a:extLst>
          </p:cNvPr>
          <p:cNvSpPr/>
          <p:nvPr/>
        </p:nvSpPr>
        <p:spPr>
          <a:xfrm>
            <a:off x="5426298" y="55013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3.5-54.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 name="Rectangle: Rounded Corners 42">
            <a:extLst>
              <a:ext uri="{FF2B5EF4-FFF2-40B4-BE49-F238E27FC236}">
                <a16:creationId xmlns:a16="http://schemas.microsoft.com/office/drawing/2014/main" id="{8ED37A60-3EFA-4934-8D3B-67AD909BCAA6}"/>
              </a:ext>
            </a:extLst>
          </p:cNvPr>
          <p:cNvSpPr/>
          <p:nvPr/>
        </p:nvSpPr>
        <p:spPr>
          <a:xfrm>
            <a:off x="5426298" y="579942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2-80.7</a:t>
            </a:r>
          </a:p>
        </p:txBody>
      </p:sp>
      <p:sp>
        <p:nvSpPr>
          <p:cNvPr id="259" name="Rectangle: Rounded Corners 42">
            <a:extLst>
              <a:ext uri="{FF2B5EF4-FFF2-40B4-BE49-F238E27FC236}">
                <a16:creationId xmlns:a16="http://schemas.microsoft.com/office/drawing/2014/main" id="{CA6A12D6-5D00-4E03-B2EF-B5554D955672}"/>
              </a:ext>
            </a:extLst>
          </p:cNvPr>
          <p:cNvSpPr/>
          <p:nvPr/>
        </p:nvSpPr>
        <p:spPr>
          <a:xfrm>
            <a:off x="5426298" y="4876489"/>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23-228</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 name="Rectangle: Rounded Corners 42">
            <a:extLst>
              <a:ext uri="{FF2B5EF4-FFF2-40B4-BE49-F238E27FC236}">
                <a16:creationId xmlns:a16="http://schemas.microsoft.com/office/drawing/2014/main" id="{8B970F7A-B88D-4BBD-B96C-8DEF131209AA}"/>
              </a:ext>
            </a:extLst>
          </p:cNvPr>
          <p:cNvSpPr/>
          <p:nvPr/>
        </p:nvSpPr>
        <p:spPr>
          <a:xfrm>
            <a:off x="5436735" y="375467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8.0-68.5</a:t>
            </a:r>
          </a:p>
        </p:txBody>
      </p:sp>
      <p:sp>
        <p:nvSpPr>
          <p:cNvPr id="262" name="Rectangle: Rounded Corners 42">
            <a:extLst>
              <a:ext uri="{FF2B5EF4-FFF2-40B4-BE49-F238E27FC236}">
                <a16:creationId xmlns:a16="http://schemas.microsoft.com/office/drawing/2014/main" id="{03E71A35-88D9-4274-832F-2113D74A2B0F}"/>
              </a:ext>
            </a:extLst>
          </p:cNvPr>
          <p:cNvSpPr/>
          <p:nvPr/>
        </p:nvSpPr>
        <p:spPr>
          <a:xfrm>
            <a:off x="5436735" y="399104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0.6-10.8</a:t>
            </a:r>
          </a:p>
        </p:txBody>
      </p:sp>
      <p:sp>
        <p:nvSpPr>
          <p:cNvPr id="264" name="Rectangle: Rounded Corners 42">
            <a:extLst>
              <a:ext uri="{FF2B5EF4-FFF2-40B4-BE49-F238E27FC236}">
                <a16:creationId xmlns:a16="http://schemas.microsoft.com/office/drawing/2014/main" id="{6E166AA5-337B-4572-9CBE-090A6FF0E7B2}"/>
              </a:ext>
            </a:extLst>
          </p:cNvPr>
          <p:cNvSpPr/>
          <p:nvPr/>
        </p:nvSpPr>
        <p:spPr>
          <a:xfrm>
            <a:off x="5436735" y="425410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204-208</a:t>
            </a:r>
          </a:p>
        </p:txBody>
      </p:sp>
      <p:sp>
        <p:nvSpPr>
          <p:cNvPr id="265" name="Rectangle: Rounded Corners 36">
            <a:extLst>
              <a:ext uri="{FF2B5EF4-FFF2-40B4-BE49-F238E27FC236}">
                <a16:creationId xmlns:a16="http://schemas.microsoft.com/office/drawing/2014/main" id="{58F2940A-44CB-4F4E-8C8A-FC5347367B93}"/>
              </a:ext>
            </a:extLst>
          </p:cNvPr>
          <p:cNvSpPr/>
          <p:nvPr/>
        </p:nvSpPr>
        <p:spPr>
          <a:xfrm>
            <a:off x="5426297" y="348353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25-127</a:t>
            </a:r>
          </a:p>
        </p:txBody>
      </p:sp>
      <p:sp>
        <p:nvSpPr>
          <p:cNvPr id="272" name="Arrow: Pentagon 13">
            <a:extLst>
              <a:ext uri="{FF2B5EF4-FFF2-40B4-BE49-F238E27FC236}">
                <a16:creationId xmlns:a16="http://schemas.microsoft.com/office/drawing/2014/main" id="{EE47DE1E-37F0-40F4-B149-19CDD1E852E7}"/>
              </a:ext>
            </a:extLst>
          </p:cNvPr>
          <p:cNvSpPr/>
          <p:nvPr/>
        </p:nvSpPr>
        <p:spPr>
          <a:xfrm rot="5400000">
            <a:off x="10144794" y="802525"/>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1 FY 23 P</a:t>
            </a:r>
          </a:p>
        </p:txBody>
      </p:sp>
      <p:sp>
        <p:nvSpPr>
          <p:cNvPr id="273" name="Rectangle: Rounded Corners 19">
            <a:extLst>
              <a:ext uri="{FF2B5EF4-FFF2-40B4-BE49-F238E27FC236}">
                <a16:creationId xmlns:a16="http://schemas.microsoft.com/office/drawing/2014/main" id="{5F91F504-699D-4AD1-871A-ED38588630CB}"/>
              </a:ext>
            </a:extLst>
          </p:cNvPr>
          <p:cNvSpPr/>
          <p:nvPr/>
        </p:nvSpPr>
        <p:spPr>
          <a:xfrm>
            <a:off x="9780477" y="2311731"/>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74" name="Rectangle: Rounded Corners 36">
            <a:extLst>
              <a:ext uri="{FF2B5EF4-FFF2-40B4-BE49-F238E27FC236}">
                <a16:creationId xmlns:a16="http://schemas.microsoft.com/office/drawing/2014/main" id="{64D6D708-5451-4BC8-9A31-F9A706348204}"/>
              </a:ext>
            </a:extLst>
          </p:cNvPr>
          <p:cNvSpPr/>
          <p:nvPr/>
        </p:nvSpPr>
        <p:spPr>
          <a:xfrm>
            <a:off x="9780477" y="2551591"/>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6-6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7" name="Rectangle: Rounded Corners 36">
            <a:extLst>
              <a:ext uri="{FF2B5EF4-FFF2-40B4-BE49-F238E27FC236}">
                <a16:creationId xmlns:a16="http://schemas.microsoft.com/office/drawing/2014/main" id="{C676C9EA-DD1B-4EFF-B89C-0330A07687F5}"/>
              </a:ext>
            </a:extLst>
          </p:cNvPr>
          <p:cNvSpPr/>
          <p:nvPr/>
        </p:nvSpPr>
        <p:spPr>
          <a:xfrm>
            <a:off x="9780477" y="282643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2-4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4" name="Rectangle: Rounded Corners 36">
            <a:extLst>
              <a:ext uri="{FF2B5EF4-FFF2-40B4-BE49-F238E27FC236}">
                <a16:creationId xmlns:a16="http://schemas.microsoft.com/office/drawing/2014/main" id="{BAB15084-A62A-42E2-BE21-29BCD274E5F6}"/>
              </a:ext>
            </a:extLst>
          </p:cNvPr>
          <p:cNvSpPr/>
          <p:nvPr/>
        </p:nvSpPr>
        <p:spPr>
          <a:xfrm>
            <a:off x="9780477" y="3075876"/>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9-51</a:t>
            </a:r>
          </a:p>
        </p:txBody>
      </p:sp>
      <p:sp>
        <p:nvSpPr>
          <p:cNvPr id="285" name="Rectangle: Rounded Corners 19">
            <a:extLst>
              <a:ext uri="{FF2B5EF4-FFF2-40B4-BE49-F238E27FC236}">
                <a16:creationId xmlns:a16="http://schemas.microsoft.com/office/drawing/2014/main" id="{BC8EE668-0E30-4DF2-B3A0-0918C22C8F11}"/>
              </a:ext>
            </a:extLst>
          </p:cNvPr>
          <p:cNvSpPr/>
          <p:nvPr/>
        </p:nvSpPr>
        <p:spPr>
          <a:xfrm>
            <a:off x="9780477" y="2311731"/>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4-46</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8" name="Rectangle: Rounded Corners 19">
            <a:extLst>
              <a:ext uri="{FF2B5EF4-FFF2-40B4-BE49-F238E27FC236}">
                <a16:creationId xmlns:a16="http://schemas.microsoft.com/office/drawing/2014/main" id="{DB474A9D-F4C1-41EA-B1B7-2FED9F0CC1CE}"/>
              </a:ext>
            </a:extLst>
          </p:cNvPr>
          <p:cNvSpPr/>
          <p:nvPr/>
        </p:nvSpPr>
        <p:spPr>
          <a:xfrm>
            <a:off x="9780477" y="149869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4-16</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9" name="Rectangle: Rounded Corners 36">
            <a:extLst>
              <a:ext uri="{FF2B5EF4-FFF2-40B4-BE49-F238E27FC236}">
                <a16:creationId xmlns:a16="http://schemas.microsoft.com/office/drawing/2014/main" id="{31813F30-ECC0-4746-BE56-EDCFEBE43ACD}"/>
              </a:ext>
            </a:extLst>
          </p:cNvPr>
          <p:cNvSpPr/>
          <p:nvPr/>
        </p:nvSpPr>
        <p:spPr>
          <a:xfrm>
            <a:off x="9780477" y="173855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50</a:t>
            </a:r>
          </a:p>
        </p:txBody>
      </p:sp>
      <p:sp>
        <p:nvSpPr>
          <p:cNvPr id="290" name="Rectangle: Rounded Corners 36">
            <a:extLst>
              <a:ext uri="{FF2B5EF4-FFF2-40B4-BE49-F238E27FC236}">
                <a16:creationId xmlns:a16="http://schemas.microsoft.com/office/drawing/2014/main" id="{9375564D-2E61-4A79-8E16-FD230C9B93F5}"/>
              </a:ext>
            </a:extLst>
          </p:cNvPr>
          <p:cNvSpPr/>
          <p:nvPr/>
        </p:nvSpPr>
        <p:spPr>
          <a:xfrm>
            <a:off x="9780477" y="201340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33</a:t>
            </a:r>
          </a:p>
        </p:txBody>
      </p:sp>
      <p:sp>
        <p:nvSpPr>
          <p:cNvPr id="292" name="Rectangle: Rounded Corners 42">
            <a:extLst>
              <a:ext uri="{FF2B5EF4-FFF2-40B4-BE49-F238E27FC236}">
                <a16:creationId xmlns:a16="http://schemas.microsoft.com/office/drawing/2014/main" id="{61E3B6AC-E96D-4357-A887-CEBF7B2BC4F4}"/>
              </a:ext>
            </a:extLst>
          </p:cNvPr>
          <p:cNvSpPr/>
          <p:nvPr/>
        </p:nvSpPr>
        <p:spPr>
          <a:xfrm>
            <a:off x="9780477" y="526148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07-20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3" name="Rectangle: Rounded Corners 42">
            <a:extLst>
              <a:ext uri="{FF2B5EF4-FFF2-40B4-BE49-F238E27FC236}">
                <a16:creationId xmlns:a16="http://schemas.microsoft.com/office/drawing/2014/main" id="{DA2478A5-D6D5-4F64-8616-68040154B9F8}"/>
              </a:ext>
            </a:extLst>
          </p:cNvPr>
          <p:cNvSpPr/>
          <p:nvPr/>
        </p:nvSpPr>
        <p:spPr>
          <a:xfrm>
            <a:off x="9780477" y="548704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1-24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4" name="Rectangle: Rounded Corners 42">
            <a:extLst>
              <a:ext uri="{FF2B5EF4-FFF2-40B4-BE49-F238E27FC236}">
                <a16:creationId xmlns:a16="http://schemas.microsoft.com/office/drawing/2014/main" id="{25B7CB9B-6484-4171-9BD6-4D2317D308D4}"/>
              </a:ext>
            </a:extLst>
          </p:cNvPr>
          <p:cNvSpPr/>
          <p:nvPr/>
        </p:nvSpPr>
        <p:spPr>
          <a:xfrm>
            <a:off x="9780477" y="5785106"/>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229-231</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9" name="Rectangle: Rounded Corners 42">
            <a:extLst>
              <a:ext uri="{FF2B5EF4-FFF2-40B4-BE49-F238E27FC236}">
                <a16:creationId xmlns:a16="http://schemas.microsoft.com/office/drawing/2014/main" id="{3AC90446-C5F8-49AF-BFCD-4368F12F0850}"/>
              </a:ext>
            </a:extLst>
          </p:cNvPr>
          <p:cNvSpPr/>
          <p:nvPr/>
        </p:nvSpPr>
        <p:spPr>
          <a:xfrm>
            <a:off x="9780477" y="4863674"/>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1</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0" name="Rectangle: Rounded Corners 42">
            <a:extLst>
              <a:ext uri="{FF2B5EF4-FFF2-40B4-BE49-F238E27FC236}">
                <a16:creationId xmlns:a16="http://schemas.microsoft.com/office/drawing/2014/main" id="{E733959A-7050-451D-BF97-E769AFB6E5CD}"/>
              </a:ext>
            </a:extLst>
          </p:cNvPr>
          <p:cNvSpPr/>
          <p:nvPr/>
        </p:nvSpPr>
        <p:spPr>
          <a:xfrm>
            <a:off x="9789879" y="374031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49-151</a:t>
            </a:r>
          </a:p>
        </p:txBody>
      </p:sp>
      <p:sp>
        <p:nvSpPr>
          <p:cNvPr id="331" name="Rectangle: Rounded Corners 42">
            <a:extLst>
              <a:ext uri="{FF2B5EF4-FFF2-40B4-BE49-F238E27FC236}">
                <a16:creationId xmlns:a16="http://schemas.microsoft.com/office/drawing/2014/main" id="{51B8B4FB-5DF6-4854-9363-2E786D12EFBB}"/>
              </a:ext>
            </a:extLst>
          </p:cNvPr>
          <p:cNvSpPr/>
          <p:nvPr/>
        </p:nvSpPr>
        <p:spPr>
          <a:xfrm>
            <a:off x="9789879" y="397668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99-101</a:t>
            </a:r>
          </a:p>
        </p:txBody>
      </p:sp>
      <p:sp>
        <p:nvSpPr>
          <p:cNvPr id="333" name="Rectangle: Rounded Corners 42">
            <a:extLst>
              <a:ext uri="{FF2B5EF4-FFF2-40B4-BE49-F238E27FC236}">
                <a16:creationId xmlns:a16="http://schemas.microsoft.com/office/drawing/2014/main" id="{C9844791-C429-4951-9607-BFB798CD69DC}"/>
              </a:ext>
            </a:extLst>
          </p:cNvPr>
          <p:cNvSpPr/>
          <p:nvPr/>
        </p:nvSpPr>
        <p:spPr>
          <a:xfrm>
            <a:off x="9789879" y="423975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91-93</a:t>
            </a:r>
          </a:p>
        </p:txBody>
      </p:sp>
      <p:sp>
        <p:nvSpPr>
          <p:cNvPr id="339" name="Rectangle: Rounded Corners 36">
            <a:extLst>
              <a:ext uri="{FF2B5EF4-FFF2-40B4-BE49-F238E27FC236}">
                <a16:creationId xmlns:a16="http://schemas.microsoft.com/office/drawing/2014/main" id="{2CB238E4-D04B-4E09-83C3-64C12994FC7A}"/>
              </a:ext>
            </a:extLst>
          </p:cNvPr>
          <p:cNvSpPr/>
          <p:nvPr/>
        </p:nvSpPr>
        <p:spPr>
          <a:xfrm>
            <a:off x="9779441" y="34691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70-72</a:t>
            </a:r>
          </a:p>
        </p:txBody>
      </p:sp>
      <p:sp>
        <p:nvSpPr>
          <p:cNvPr id="173" name="Rectangle: Rounded Corners 19">
            <a:extLst>
              <a:ext uri="{FF2B5EF4-FFF2-40B4-BE49-F238E27FC236}">
                <a16:creationId xmlns:a16="http://schemas.microsoft.com/office/drawing/2014/main" id="{C9533428-A1DF-44D4-BD6A-959C401748F3}"/>
              </a:ext>
            </a:extLst>
          </p:cNvPr>
          <p:cNvSpPr/>
          <p:nvPr/>
        </p:nvSpPr>
        <p:spPr>
          <a:xfrm>
            <a:off x="6454955" y="233337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35-2.4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 name="Rectangle: Rounded Corners 36">
            <a:extLst>
              <a:ext uri="{FF2B5EF4-FFF2-40B4-BE49-F238E27FC236}">
                <a16:creationId xmlns:a16="http://schemas.microsoft.com/office/drawing/2014/main" id="{30033931-3DC6-4416-A45C-2071F6EA712B}"/>
              </a:ext>
            </a:extLst>
          </p:cNvPr>
          <p:cNvSpPr/>
          <p:nvPr/>
        </p:nvSpPr>
        <p:spPr>
          <a:xfrm>
            <a:off x="6454955" y="2561960"/>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23-1.2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 name="Rectangle: Rounded Corners 36">
            <a:extLst>
              <a:ext uri="{FF2B5EF4-FFF2-40B4-BE49-F238E27FC236}">
                <a16:creationId xmlns:a16="http://schemas.microsoft.com/office/drawing/2014/main" id="{06BFE1C2-6CE7-486F-80CF-8EDB968B129E}"/>
              </a:ext>
            </a:extLst>
          </p:cNvPr>
          <p:cNvSpPr/>
          <p:nvPr/>
        </p:nvSpPr>
        <p:spPr>
          <a:xfrm>
            <a:off x="6454955" y="2848085"/>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43-148</a:t>
            </a:r>
            <a:endParaRPr kumimoji="0" lang="en-US" sz="110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Rectangle: Rounded Corners 36">
            <a:extLst>
              <a:ext uri="{FF2B5EF4-FFF2-40B4-BE49-F238E27FC236}">
                <a16:creationId xmlns:a16="http://schemas.microsoft.com/office/drawing/2014/main" id="{63C69212-0E95-4DAA-867E-38667057DB47}"/>
              </a:ext>
            </a:extLst>
          </p:cNvPr>
          <p:cNvSpPr/>
          <p:nvPr/>
        </p:nvSpPr>
        <p:spPr>
          <a:xfrm>
            <a:off x="6454955" y="309752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3.75-3.8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Rectangle: Rounded Corners 19">
            <a:extLst>
              <a:ext uri="{FF2B5EF4-FFF2-40B4-BE49-F238E27FC236}">
                <a16:creationId xmlns:a16="http://schemas.microsoft.com/office/drawing/2014/main" id="{4DCC0502-6AC8-44BF-9F31-E438287A3EA4}"/>
              </a:ext>
            </a:extLst>
          </p:cNvPr>
          <p:cNvSpPr/>
          <p:nvPr/>
        </p:nvSpPr>
        <p:spPr>
          <a:xfrm>
            <a:off x="6454955" y="152034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88-398</a:t>
            </a:r>
          </a:p>
        </p:txBody>
      </p:sp>
      <p:sp>
        <p:nvSpPr>
          <p:cNvPr id="184" name="Rectangle: Rounded Corners 36">
            <a:extLst>
              <a:ext uri="{FF2B5EF4-FFF2-40B4-BE49-F238E27FC236}">
                <a16:creationId xmlns:a16="http://schemas.microsoft.com/office/drawing/2014/main" id="{9E19AA7B-A371-4AEC-A4A8-2FCEBB2D18BA}"/>
              </a:ext>
            </a:extLst>
          </p:cNvPr>
          <p:cNvSpPr/>
          <p:nvPr/>
        </p:nvSpPr>
        <p:spPr>
          <a:xfrm>
            <a:off x="6454955" y="174892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65-475</a:t>
            </a:r>
          </a:p>
        </p:txBody>
      </p:sp>
      <p:sp>
        <p:nvSpPr>
          <p:cNvPr id="185" name="Rectangle: Rounded Corners 36">
            <a:extLst>
              <a:ext uri="{FF2B5EF4-FFF2-40B4-BE49-F238E27FC236}">
                <a16:creationId xmlns:a16="http://schemas.microsoft.com/office/drawing/2014/main" id="{FC844FA0-25BF-4D6F-AD2D-0D27CDB9ECBA}"/>
              </a:ext>
            </a:extLst>
          </p:cNvPr>
          <p:cNvSpPr/>
          <p:nvPr/>
        </p:nvSpPr>
        <p:spPr>
          <a:xfrm>
            <a:off x="6454955" y="203505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860-870</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6" name="Rectangle: Rounded Corners 42">
            <a:extLst>
              <a:ext uri="{FF2B5EF4-FFF2-40B4-BE49-F238E27FC236}">
                <a16:creationId xmlns:a16="http://schemas.microsoft.com/office/drawing/2014/main" id="{F2863552-64F4-40EF-A916-85A679A9E4EE}"/>
              </a:ext>
            </a:extLst>
          </p:cNvPr>
          <p:cNvSpPr/>
          <p:nvPr/>
        </p:nvSpPr>
        <p:spPr>
          <a:xfrm>
            <a:off x="6454955" y="52831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3.0-33.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7" name="Rectangle: Rounded Corners 42">
            <a:extLst>
              <a:ext uri="{FF2B5EF4-FFF2-40B4-BE49-F238E27FC236}">
                <a16:creationId xmlns:a16="http://schemas.microsoft.com/office/drawing/2014/main" id="{1A920BBC-F8DB-4E76-879F-B477F512A9C4}"/>
              </a:ext>
            </a:extLst>
          </p:cNvPr>
          <p:cNvSpPr/>
          <p:nvPr/>
        </p:nvSpPr>
        <p:spPr>
          <a:xfrm>
            <a:off x="6454955" y="550869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1.2-61.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 name="Rectangle: Rounded Corners 42">
            <a:extLst>
              <a:ext uri="{FF2B5EF4-FFF2-40B4-BE49-F238E27FC236}">
                <a16:creationId xmlns:a16="http://schemas.microsoft.com/office/drawing/2014/main" id="{517C487C-35C8-4119-8710-0B67D42F05FA}"/>
              </a:ext>
            </a:extLst>
          </p:cNvPr>
          <p:cNvSpPr/>
          <p:nvPr/>
        </p:nvSpPr>
        <p:spPr>
          <a:xfrm>
            <a:off x="6439838" y="578601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4.5-95.0</a:t>
            </a:r>
          </a:p>
        </p:txBody>
      </p:sp>
      <p:cxnSp>
        <p:nvCxnSpPr>
          <p:cNvPr id="210" name="Straight Connector 209">
            <a:extLst>
              <a:ext uri="{FF2B5EF4-FFF2-40B4-BE49-F238E27FC236}">
                <a16:creationId xmlns:a16="http://schemas.microsoft.com/office/drawing/2014/main" id="{0EA968FD-7002-476B-AC30-EF4E45513050}"/>
              </a:ext>
            </a:extLst>
          </p:cNvPr>
          <p:cNvCxnSpPr/>
          <p:nvPr/>
        </p:nvCxnSpPr>
        <p:spPr>
          <a:xfrm>
            <a:off x="141593" y="5240124"/>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1" name="Rectangle: Rounded Corners 42">
            <a:extLst>
              <a:ext uri="{FF2B5EF4-FFF2-40B4-BE49-F238E27FC236}">
                <a16:creationId xmlns:a16="http://schemas.microsoft.com/office/drawing/2014/main" id="{8FE85DBC-BE08-484E-BEC8-A1DE82479879}"/>
              </a:ext>
            </a:extLst>
          </p:cNvPr>
          <p:cNvSpPr/>
          <p:nvPr/>
        </p:nvSpPr>
        <p:spPr>
          <a:xfrm>
            <a:off x="6454955" y="4868647"/>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7-211</a:t>
            </a:r>
          </a:p>
        </p:txBody>
      </p:sp>
      <p:sp>
        <p:nvSpPr>
          <p:cNvPr id="218" name="Rectangle: Rounded Corners 42">
            <a:extLst>
              <a:ext uri="{FF2B5EF4-FFF2-40B4-BE49-F238E27FC236}">
                <a16:creationId xmlns:a16="http://schemas.microsoft.com/office/drawing/2014/main" id="{627D154D-D2AE-4150-95C3-40B6549CD8E9}"/>
              </a:ext>
            </a:extLst>
          </p:cNvPr>
          <p:cNvSpPr/>
          <p:nvPr/>
        </p:nvSpPr>
        <p:spPr>
          <a:xfrm>
            <a:off x="6465392" y="37507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70-71</a:t>
            </a:r>
          </a:p>
        </p:txBody>
      </p:sp>
      <p:sp>
        <p:nvSpPr>
          <p:cNvPr id="219" name="Rectangle: Rounded Corners 42">
            <a:extLst>
              <a:ext uri="{FF2B5EF4-FFF2-40B4-BE49-F238E27FC236}">
                <a16:creationId xmlns:a16="http://schemas.microsoft.com/office/drawing/2014/main" id="{6D00406F-B638-4EDD-B83F-0358CCD0C9E0}"/>
              </a:ext>
            </a:extLst>
          </p:cNvPr>
          <p:cNvSpPr/>
          <p:nvPr/>
        </p:nvSpPr>
        <p:spPr>
          <a:xfrm>
            <a:off x="6465392" y="398709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9.5-9.6</a:t>
            </a:r>
          </a:p>
        </p:txBody>
      </p:sp>
      <p:sp>
        <p:nvSpPr>
          <p:cNvPr id="221" name="Rectangle: Rounded Corners 42">
            <a:extLst>
              <a:ext uri="{FF2B5EF4-FFF2-40B4-BE49-F238E27FC236}">
                <a16:creationId xmlns:a16="http://schemas.microsoft.com/office/drawing/2014/main" id="{CA164233-6E4B-4B66-A00A-5FD68251DDE0}"/>
              </a:ext>
            </a:extLst>
          </p:cNvPr>
          <p:cNvSpPr/>
          <p:nvPr/>
        </p:nvSpPr>
        <p:spPr>
          <a:xfrm>
            <a:off x="6465392" y="42501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217-221</a:t>
            </a:r>
          </a:p>
        </p:txBody>
      </p:sp>
      <p:sp>
        <p:nvSpPr>
          <p:cNvPr id="230" name="Rectangle: Rounded Corners 36">
            <a:extLst>
              <a:ext uri="{FF2B5EF4-FFF2-40B4-BE49-F238E27FC236}">
                <a16:creationId xmlns:a16="http://schemas.microsoft.com/office/drawing/2014/main" id="{03A6E9AF-B999-44F4-882A-E2363F143548}"/>
              </a:ext>
            </a:extLst>
          </p:cNvPr>
          <p:cNvSpPr/>
          <p:nvPr/>
        </p:nvSpPr>
        <p:spPr>
          <a:xfrm>
            <a:off x="6454954" y="347959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36-139</a:t>
            </a:r>
          </a:p>
        </p:txBody>
      </p:sp>
      <p:sp>
        <p:nvSpPr>
          <p:cNvPr id="233" name="Arrow: Pentagon 13">
            <a:extLst>
              <a:ext uri="{FF2B5EF4-FFF2-40B4-BE49-F238E27FC236}">
                <a16:creationId xmlns:a16="http://schemas.microsoft.com/office/drawing/2014/main" id="{8565AF6B-D42C-4586-9D3D-615095155D24}"/>
              </a:ext>
            </a:extLst>
          </p:cNvPr>
          <p:cNvSpPr/>
          <p:nvPr/>
        </p:nvSpPr>
        <p:spPr>
          <a:xfrm rot="5400000">
            <a:off x="6819273" y="807499"/>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2 FY 23 P </a:t>
            </a:r>
          </a:p>
        </p:txBody>
      </p:sp>
      <p:cxnSp>
        <p:nvCxnSpPr>
          <p:cNvPr id="270" name="Straight Connector 269">
            <a:extLst>
              <a:ext uri="{FF2B5EF4-FFF2-40B4-BE49-F238E27FC236}">
                <a16:creationId xmlns:a16="http://schemas.microsoft.com/office/drawing/2014/main" id="{1D55CE6A-7F5C-43C1-AD48-474245D51EC4}"/>
              </a:ext>
            </a:extLst>
          </p:cNvPr>
          <p:cNvCxnSpPr/>
          <p:nvPr/>
        </p:nvCxnSpPr>
        <p:spPr>
          <a:xfrm>
            <a:off x="195997" y="3337866"/>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8" name="Arrow: Pentagon 13">
            <a:extLst>
              <a:ext uri="{FF2B5EF4-FFF2-40B4-BE49-F238E27FC236}">
                <a16:creationId xmlns:a16="http://schemas.microsoft.com/office/drawing/2014/main" id="{A20F9F30-4631-4F77-8779-17D552CB2D5E}"/>
              </a:ext>
            </a:extLst>
          </p:cNvPr>
          <p:cNvSpPr/>
          <p:nvPr/>
        </p:nvSpPr>
        <p:spPr>
          <a:xfrm rot="5400000">
            <a:off x="11180770" y="821363"/>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2 FY 23 P</a:t>
            </a:r>
          </a:p>
        </p:txBody>
      </p:sp>
      <p:sp>
        <p:nvSpPr>
          <p:cNvPr id="281" name="Rectangle: Rounded Corners 19">
            <a:extLst>
              <a:ext uri="{FF2B5EF4-FFF2-40B4-BE49-F238E27FC236}">
                <a16:creationId xmlns:a16="http://schemas.microsoft.com/office/drawing/2014/main" id="{7595607B-A25C-4BD7-8C49-C5E9DDDAB883}"/>
              </a:ext>
            </a:extLst>
          </p:cNvPr>
          <p:cNvSpPr/>
          <p:nvPr/>
        </p:nvSpPr>
        <p:spPr>
          <a:xfrm>
            <a:off x="10816453" y="233056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82" name="Rectangle: Rounded Corners 36">
            <a:extLst>
              <a:ext uri="{FF2B5EF4-FFF2-40B4-BE49-F238E27FC236}">
                <a16:creationId xmlns:a16="http://schemas.microsoft.com/office/drawing/2014/main" id="{E5714B7C-9130-4F3E-BF2F-A0473E1F127C}"/>
              </a:ext>
            </a:extLst>
          </p:cNvPr>
          <p:cNvSpPr/>
          <p:nvPr/>
        </p:nvSpPr>
        <p:spPr>
          <a:xfrm>
            <a:off x="10816453" y="257042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7)-(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7" name="Rectangle: Rounded Corners 36">
            <a:extLst>
              <a:ext uri="{FF2B5EF4-FFF2-40B4-BE49-F238E27FC236}">
                <a16:creationId xmlns:a16="http://schemas.microsoft.com/office/drawing/2014/main" id="{610ADEBB-E302-4868-8A92-598B935F7C0F}"/>
              </a:ext>
            </a:extLst>
          </p:cNvPr>
          <p:cNvSpPr/>
          <p:nvPr/>
        </p:nvSpPr>
        <p:spPr>
          <a:xfrm>
            <a:off x="10816453" y="284527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3)-(1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9" name="Rectangle: Rounded Corners 36">
            <a:extLst>
              <a:ext uri="{FF2B5EF4-FFF2-40B4-BE49-F238E27FC236}">
                <a16:creationId xmlns:a16="http://schemas.microsoft.com/office/drawing/2014/main" id="{002CD4C3-4C60-4D41-9E60-DCA69C42F394}"/>
              </a:ext>
            </a:extLst>
          </p:cNvPr>
          <p:cNvSpPr/>
          <p:nvPr/>
        </p:nvSpPr>
        <p:spPr>
          <a:xfrm>
            <a:off x="10816453" y="309471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7)</a:t>
            </a:r>
          </a:p>
        </p:txBody>
      </p:sp>
      <p:sp>
        <p:nvSpPr>
          <p:cNvPr id="304" name="Rectangle: Rounded Corners 19">
            <a:extLst>
              <a:ext uri="{FF2B5EF4-FFF2-40B4-BE49-F238E27FC236}">
                <a16:creationId xmlns:a16="http://schemas.microsoft.com/office/drawing/2014/main" id="{C1AD6E1C-D4C0-49EB-80E2-536A169990EE}"/>
              </a:ext>
            </a:extLst>
          </p:cNvPr>
          <p:cNvSpPr/>
          <p:nvPr/>
        </p:nvSpPr>
        <p:spPr>
          <a:xfrm>
            <a:off x="10816453" y="233056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4" name="Rectangle: Rounded Corners 19">
            <a:extLst>
              <a:ext uri="{FF2B5EF4-FFF2-40B4-BE49-F238E27FC236}">
                <a16:creationId xmlns:a16="http://schemas.microsoft.com/office/drawing/2014/main" id="{51C30ED3-1132-4C8B-9FB2-AF75B96C09A1}"/>
              </a:ext>
            </a:extLst>
          </p:cNvPr>
          <p:cNvSpPr/>
          <p:nvPr/>
        </p:nvSpPr>
        <p:spPr>
          <a:xfrm>
            <a:off x="10816453" y="151753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3-1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0" name="Rectangle: Rounded Corners 36">
            <a:extLst>
              <a:ext uri="{FF2B5EF4-FFF2-40B4-BE49-F238E27FC236}">
                <a16:creationId xmlns:a16="http://schemas.microsoft.com/office/drawing/2014/main" id="{6ACE1DAE-E55A-4F37-A09F-C0D6F0A7F68B}"/>
              </a:ext>
            </a:extLst>
          </p:cNvPr>
          <p:cNvSpPr/>
          <p:nvPr/>
        </p:nvSpPr>
        <p:spPr>
          <a:xfrm>
            <a:off x="10816453" y="175739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lang="en-US" sz="1100" dirty="0">
                <a:solidFill>
                  <a:srgbClr val="000000"/>
                </a:solidFill>
                <a:latin typeface="Arial" panose="020B0604020202020204" pitchFamily="34" charset="0"/>
                <a:cs typeface="Arial" panose="020B0604020202020204" pitchFamily="34" charset="0"/>
              </a:rPr>
              <a:t>8-2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1" name="Rectangle: Rounded Corners 36">
            <a:extLst>
              <a:ext uri="{FF2B5EF4-FFF2-40B4-BE49-F238E27FC236}">
                <a16:creationId xmlns:a16="http://schemas.microsoft.com/office/drawing/2014/main" id="{56D82E46-A969-4041-AA46-83EE6E7E064E}"/>
              </a:ext>
            </a:extLst>
          </p:cNvPr>
          <p:cNvSpPr/>
          <p:nvPr/>
        </p:nvSpPr>
        <p:spPr>
          <a:xfrm>
            <a:off x="10816453" y="203224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16-18</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 name="Rectangle: Rounded Corners 42">
            <a:extLst>
              <a:ext uri="{FF2B5EF4-FFF2-40B4-BE49-F238E27FC236}">
                <a16:creationId xmlns:a16="http://schemas.microsoft.com/office/drawing/2014/main" id="{BCB0711A-995E-4665-A302-7DB1598A674C}"/>
              </a:ext>
            </a:extLst>
          </p:cNvPr>
          <p:cNvSpPr/>
          <p:nvPr/>
        </p:nvSpPr>
        <p:spPr>
          <a:xfrm>
            <a:off x="10816453" y="528032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3-4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 name="Rectangle: Rounded Corners 42">
            <a:extLst>
              <a:ext uri="{FF2B5EF4-FFF2-40B4-BE49-F238E27FC236}">
                <a16:creationId xmlns:a16="http://schemas.microsoft.com/office/drawing/2014/main" id="{08DC79B0-01A3-4887-B711-829A98156880}"/>
              </a:ext>
            </a:extLst>
          </p:cNvPr>
          <p:cNvSpPr/>
          <p:nvPr/>
        </p:nvSpPr>
        <p:spPr>
          <a:xfrm>
            <a:off x="10816453" y="550588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0-3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 name="Rectangle: Rounded Corners 42">
            <a:extLst>
              <a:ext uri="{FF2B5EF4-FFF2-40B4-BE49-F238E27FC236}">
                <a16:creationId xmlns:a16="http://schemas.microsoft.com/office/drawing/2014/main" id="{E05BC8C4-68F4-4BDA-AC80-ADE0DF795839}"/>
              </a:ext>
            </a:extLst>
          </p:cNvPr>
          <p:cNvSpPr/>
          <p:nvPr/>
        </p:nvSpPr>
        <p:spPr>
          <a:xfrm>
            <a:off x="10816453" y="580394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4-36</a:t>
            </a:r>
          </a:p>
        </p:txBody>
      </p:sp>
      <p:sp>
        <p:nvSpPr>
          <p:cNvPr id="348" name="Rectangle: Rounded Corners 42">
            <a:extLst>
              <a:ext uri="{FF2B5EF4-FFF2-40B4-BE49-F238E27FC236}">
                <a16:creationId xmlns:a16="http://schemas.microsoft.com/office/drawing/2014/main" id="{0467A998-87E9-4B1B-890E-45EDD44F375E}"/>
              </a:ext>
            </a:extLst>
          </p:cNvPr>
          <p:cNvSpPr/>
          <p:nvPr/>
        </p:nvSpPr>
        <p:spPr>
          <a:xfrm>
            <a:off x="10816453" y="4882512"/>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 name="Rectangle: Rounded Corners 42">
            <a:extLst>
              <a:ext uri="{FF2B5EF4-FFF2-40B4-BE49-F238E27FC236}">
                <a16:creationId xmlns:a16="http://schemas.microsoft.com/office/drawing/2014/main" id="{D67A9070-BEDE-4F5E-87D3-F938CE629FD2}"/>
              </a:ext>
            </a:extLst>
          </p:cNvPr>
          <p:cNvSpPr/>
          <p:nvPr/>
        </p:nvSpPr>
        <p:spPr>
          <a:xfrm>
            <a:off x="10825855" y="375915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36-38</a:t>
            </a:r>
          </a:p>
        </p:txBody>
      </p:sp>
      <p:sp>
        <p:nvSpPr>
          <p:cNvPr id="350" name="Rectangle: Rounded Corners 42">
            <a:extLst>
              <a:ext uri="{FF2B5EF4-FFF2-40B4-BE49-F238E27FC236}">
                <a16:creationId xmlns:a16="http://schemas.microsoft.com/office/drawing/2014/main" id="{A400B572-1149-4C1E-9E53-AB12522D02FF}"/>
              </a:ext>
            </a:extLst>
          </p:cNvPr>
          <p:cNvSpPr/>
          <p:nvPr/>
        </p:nvSpPr>
        <p:spPr>
          <a:xfrm>
            <a:off x="10825855" y="399552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51-53</a:t>
            </a:r>
          </a:p>
        </p:txBody>
      </p:sp>
      <p:sp>
        <p:nvSpPr>
          <p:cNvPr id="351" name="Rectangle: Rounded Corners 42">
            <a:extLst>
              <a:ext uri="{FF2B5EF4-FFF2-40B4-BE49-F238E27FC236}">
                <a16:creationId xmlns:a16="http://schemas.microsoft.com/office/drawing/2014/main" id="{93B0C6D3-0345-4056-9B08-3AF9793C4583}"/>
              </a:ext>
            </a:extLst>
          </p:cNvPr>
          <p:cNvSpPr/>
          <p:nvPr/>
        </p:nvSpPr>
        <p:spPr>
          <a:xfrm>
            <a:off x="10825855" y="425859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30-32</a:t>
            </a:r>
          </a:p>
        </p:txBody>
      </p:sp>
      <p:sp>
        <p:nvSpPr>
          <p:cNvPr id="352" name="Rectangle: Rounded Corners 36">
            <a:extLst>
              <a:ext uri="{FF2B5EF4-FFF2-40B4-BE49-F238E27FC236}">
                <a16:creationId xmlns:a16="http://schemas.microsoft.com/office/drawing/2014/main" id="{DC8B6683-16E3-4F59-BA56-75B547A40E0D}"/>
              </a:ext>
            </a:extLst>
          </p:cNvPr>
          <p:cNvSpPr/>
          <p:nvPr/>
        </p:nvSpPr>
        <p:spPr>
          <a:xfrm>
            <a:off x="10815417" y="348801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26-28</a:t>
            </a:r>
          </a:p>
        </p:txBody>
      </p:sp>
    </p:spTree>
    <p:extLst>
      <p:ext uri="{BB962C8B-B14F-4D97-AF65-F5344CB8AC3E}">
        <p14:creationId xmlns:p14="http://schemas.microsoft.com/office/powerpoint/2010/main" val="3230126003"/>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553" y="2876105"/>
            <a:ext cx="10515600" cy="498598"/>
          </a:xfrm>
        </p:spPr>
        <p:txBody>
          <a:bodyPr/>
          <a:lstStyle/>
          <a:p>
            <a:pPr algn="ctr"/>
            <a:r>
              <a:rPr lang="en-US" sz="3600" dirty="0"/>
              <a:t>Thank You</a:t>
            </a:r>
          </a:p>
        </p:txBody>
      </p:sp>
      <p:sp>
        <p:nvSpPr>
          <p:cNvPr id="5" name="Rounded Rectangle 3">
            <a:hlinkClick r:id="" action="ppaction://noaction"/>
            <a:extLst>
              <a:ext uri="{FF2B5EF4-FFF2-40B4-BE49-F238E27FC236}">
                <a16:creationId xmlns:a16="http://schemas.microsoft.com/office/drawing/2014/main" id="{80A82B7D-A14C-413F-BEE8-40C53DB98A1F}"/>
              </a:ext>
            </a:extLst>
          </p:cNvPr>
          <p:cNvSpPr/>
          <p:nvPr/>
        </p:nvSpPr>
        <p:spPr>
          <a:xfrm>
            <a:off x="9926320" y="6273800"/>
            <a:ext cx="953589" cy="359229"/>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ction="ppaction://hlinksldjump"/>
              </a:rPr>
              <a:t>INDEX</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08989793"/>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3"/>
          <p:cNvSpPr txBox="1">
            <a:spLocks/>
          </p:cNvSpPr>
          <p:nvPr/>
        </p:nvSpPr>
        <p:spPr bwMode="auto">
          <a:xfrm>
            <a:off x="412750" y="1079500"/>
            <a:ext cx="11305876" cy="4976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bout CRISIL Limi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SIL is a leading, agile and innovative global analytics company driven by its mission of making markets function bet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It is India’s foremost provider of ratings, data, research, analytics and solutions, with a strong track record of growth, culture of innovation and global footpr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It has delivered independent opinions, actionable insights, and efficient solutions to over 100,000 custom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It is majority owned by S&amp;P Global </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Inc</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 leading provider of transparent and independent ratings, benchmarks, analytics and data to the capital and commodity markets worldw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bout CRISIL 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SIL Research is India's largest independent integrated research house. We provide insights, opinion and analysis on the Indian economy, industry, capital markets and companies. We also conduct training programs to financial sector professionals on a wide array of technical issues. We are India's most credible provider of economy and industry research. Our industry research covers 86 sectors and is known for its rich insights and perspectives. Our analysis is supported by inputs from our large network sources, including industry experts, industry associations and trade channels. We play a key role in India's fixed income markets. We are the largest provider of valuation of fixed income securities to the mutual fund, insurance and banking industries in the country. We are also the sole provider of debt and hybrid indices to India's mutual fund and life insurance industries. We pioneered independent equity research in India, and are today the country's largest independent equity research house. Our defining trait is the ability to convert information and data into expert judgments and forecasts with complete objectivity. We leverage our deep understanding of the macro-economy and our extensive sector coverage to provide unique insights on micro-macro and cross-sectoral linkages. Our talent pool comprises economists, sector experts, company analysts and information management specialis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SIL Priva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SIL respects your privacy. We may use your contact information, such as your name, address, and email id to fulfil your request and service your account and to provide you with additional information from CRISIL. For further information on CRISIL's privacy policy please visit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hlinkClick r:id="rId2"/>
              </a:rPr>
              <a:t>www.crisil.com</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Disclai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RISIL</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Research, a division of CRISIL Limited (CRISIL) has taken due care and caution in preparing this Report based on the information obtained by CRISIL from sources which it considers reliable (Data). However, CRISIL does not guarantee the accuracy, adequacy or completeness of the Data / Report and is not responsible for any errors or omissions or for the results obtained from the use of Data / Report. This Report is not a recommendation to invest / disinvest in any company covered in the Report. CRISIL especially states that it has no financial liability whatsoever to the subscribers/ users/ transmitters/ distributors of this Report. CRISIL Research operates independently of, and does not have access to information obtained by CRISIL’s Ratings Division / CRISIL Risk and Infrastructure Solutions Limited (CRIS), which may, in their regular operations, obtain information of a confidential nature. The views expressed in this Report are that of CRISIL Research and not of CRISIL’s Ratings Division / CRIS. No part of this Report may be published / reproduced in any form without CRISIL’s prior written approval.</a:t>
            </a:r>
          </a:p>
        </p:txBody>
      </p:sp>
    </p:spTree>
    <p:extLst>
      <p:ext uri="{BB962C8B-B14F-4D97-AF65-F5344CB8AC3E}">
        <p14:creationId xmlns:p14="http://schemas.microsoft.com/office/powerpoint/2010/main" val="26961516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8" y="164438"/>
            <a:ext cx="11484114" cy="387798"/>
          </a:xfrm>
        </p:spPr>
        <p:txBody>
          <a:bodyPr anchor="ctr"/>
          <a:lstStyle/>
          <a:p>
            <a:r>
              <a:rPr lang="en-IN" sz="2800" dirty="0">
                <a:solidFill>
                  <a:schemeClr val="tx1"/>
                </a:solidFill>
              </a:rPr>
              <a:t>A large chunk of adult population has now been vaccinated</a:t>
            </a:r>
          </a:p>
        </p:txBody>
      </p:sp>
      <p:sp>
        <p:nvSpPr>
          <p:cNvPr id="5" name="Text Placeholder 4"/>
          <p:cNvSpPr txBox="1">
            <a:spLocks/>
          </p:cNvSpPr>
          <p:nvPr/>
        </p:nvSpPr>
        <p:spPr>
          <a:xfrm>
            <a:off x="281606" y="871759"/>
            <a:ext cx="11654059" cy="323536"/>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Trend of daily vaccination pace</a:t>
            </a:r>
          </a:p>
        </p:txBody>
      </p:sp>
      <p:sp>
        <p:nvSpPr>
          <p:cNvPr id="8" name="Rectangle 7"/>
          <p:cNvSpPr/>
          <p:nvPr/>
        </p:nvSpPr>
        <p:spPr>
          <a:xfrm>
            <a:off x="1121094" y="6297484"/>
            <a:ext cx="8297538" cy="246221"/>
          </a:xfrm>
          <a:prstGeom prst="rect">
            <a:avLst/>
          </a:prstGeom>
        </p:spPr>
        <p:txBody>
          <a:bodyPr wrap="square">
            <a:spAutoFit/>
          </a:bodyPr>
          <a:lstStyle/>
          <a:p>
            <a:r>
              <a:rPr lang="en-IN" sz="1000" i="1" dirty="0">
                <a:latin typeface="Arial" panose="020B0604020202020204" pitchFamily="34" charset="0"/>
                <a:cs typeface="Arial" panose="020B0604020202020204" pitchFamily="34" charset="0"/>
              </a:rPr>
              <a:t>Source: Ministry of Health and Family Welfare, OurWorldinData.org, CRISIL Research</a:t>
            </a:r>
            <a:endParaRPr lang="en-IN" sz="1000" dirty="0">
              <a:latin typeface="Arial" panose="020B0604020202020204" pitchFamily="34" charset="0"/>
              <a:cs typeface="Arial" panose="020B0604020202020204" pitchFamily="34" charset="0"/>
            </a:endParaRPr>
          </a:p>
        </p:txBody>
      </p:sp>
      <p:sp>
        <p:nvSpPr>
          <p:cNvPr id="10" name="Left Arrow 9">
            <a:hlinkClick r:id="rId2" action="ppaction://hlinksldjump"/>
          </p:cNvPr>
          <p:cNvSpPr/>
          <p:nvPr/>
        </p:nvSpPr>
        <p:spPr>
          <a:xfrm>
            <a:off x="9244699" y="6191440"/>
            <a:ext cx="1365848" cy="551011"/>
          </a:xfrm>
          <a:prstGeom prst="leftArrow">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solidFill>
                  <a:schemeClr val="tx1"/>
                </a:solidFill>
                <a:hlinkClick r:id="rId2" action="ppaction://hlinksldjump"/>
              </a:rPr>
              <a:t>Back</a:t>
            </a:r>
            <a:endParaRPr lang="en-US" sz="1500" dirty="0">
              <a:solidFill>
                <a:schemeClr val="tx1"/>
              </a:solidFill>
            </a:endParaRPr>
          </a:p>
        </p:txBody>
      </p:sp>
      <p:sp>
        <p:nvSpPr>
          <p:cNvPr id="11" name="Rectangle 10"/>
          <p:cNvSpPr/>
          <p:nvPr/>
        </p:nvSpPr>
        <p:spPr>
          <a:xfrm>
            <a:off x="7075154" y="6066651"/>
            <a:ext cx="8297538" cy="246221"/>
          </a:xfrm>
          <a:prstGeom prst="rect">
            <a:avLst/>
          </a:prstGeom>
        </p:spPr>
        <p:txBody>
          <a:bodyPr wrap="square">
            <a:spAutoFit/>
          </a:bodyPr>
          <a:lstStyle/>
          <a:p>
            <a:r>
              <a:rPr lang="en-IN" sz="1000" b="1" i="1" dirty="0">
                <a:latin typeface="Arial" panose="020B0604020202020204" pitchFamily="34" charset="0"/>
                <a:cs typeface="Arial" panose="020B0604020202020204" pitchFamily="34" charset="0"/>
              </a:rPr>
              <a:t>Million doses per day</a:t>
            </a:r>
            <a:endParaRPr lang="en-IN" sz="1000" b="1" dirty="0">
              <a:latin typeface="Arial" panose="020B0604020202020204" pitchFamily="34" charset="0"/>
              <a:cs typeface="Arial" panose="020B0604020202020204" pitchFamily="34" charset="0"/>
            </a:endParaRPr>
          </a:p>
        </p:txBody>
      </p:sp>
      <p:graphicFrame>
        <p:nvGraphicFramePr>
          <p:cNvPr id="9" name="Chart 8">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1564043127"/>
              </p:ext>
            </p:extLst>
          </p:nvPr>
        </p:nvGraphicFramePr>
        <p:xfrm>
          <a:off x="281606" y="1301338"/>
          <a:ext cx="11576366" cy="47820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97774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3543" y="172467"/>
            <a:ext cx="10515600" cy="369332"/>
          </a:xfrm>
        </p:spPr>
        <p:txBody>
          <a:bodyPr vert="horz" lIns="0" tIns="0" rIns="0" bIns="0" rtlCol="0" anchor="ctr">
            <a:normAutofit/>
          </a:bodyPr>
          <a:lstStyle/>
          <a:p>
            <a:r>
              <a:rPr lang="en-US" sz="2400" dirty="0">
                <a:solidFill>
                  <a:schemeClr val="tx1"/>
                </a:solidFill>
              </a:rPr>
              <a:t>High frequency parameters seeing sequential improvement</a:t>
            </a:r>
          </a:p>
        </p:txBody>
      </p:sp>
      <p:sp>
        <p:nvSpPr>
          <p:cNvPr id="79" name="Slide Number Placeholder 1"/>
          <p:cNvSpPr txBox="1">
            <a:spLocks/>
          </p:cNvSpPr>
          <p:nvPr/>
        </p:nvSpPr>
        <p:spPr>
          <a:xfrm>
            <a:off x="0" y="6533697"/>
            <a:ext cx="3885182"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l"/>
            <a:r>
              <a:rPr lang="en-US" sz="1000" i="1" dirty="0">
                <a:solidFill>
                  <a:prstClr val="black"/>
                </a:solidFill>
              </a:rPr>
              <a:t>Source: CSO, RBI and CRISIL estimates</a:t>
            </a:r>
          </a:p>
        </p:txBody>
      </p:sp>
      <p:sp>
        <p:nvSpPr>
          <p:cNvPr id="9" name="Slide Number Placeholder 1"/>
          <p:cNvSpPr txBox="1">
            <a:spLocks/>
          </p:cNvSpPr>
          <p:nvPr/>
        </p:nvSpPr>
        <p:spPr>
          <a:xfrm>
            <a:off x="2656773" y="6459925"/>
            <a:ext cx="5019256" cy="365125"/>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l" fontAlgn="b"/>
            <a:r>
              <a:rPr lang="en-US" sz="1000" i="1" dirty="0">
                <a:solidFill>
                  <a:prstClr val="black"/>
                </a:solidFill>
              </a:rPr>
              <a:t>Note* - </a:t>
            </a:r>
            <a:r>
              <a:rPr lang="en-IN" sz="1000" i="1" dirty="0">
                <a:solidFill>
                  <a:srgbClr val="000000"/>
                </a:solidFill>
              </a:rPr>
              <a:t>(based on MOSPI classification)</a:t>
            </a:r>
            <a:endParaRPr lang="en-IN" sz="1000" b="1" dirty="0">
              <a:solidFill>
                <a:srgbClr val="000000"/>
              </a:solidFill>
            </a:endParaRPr>
          </a:p>
        </p:txBody>
      </p:sp>
      <p:graphicFrame>
        <p:nvGraphicFramePr>
          <p:cNvPr id="4" name="Table 3">
            <a:extLst>
              <a:ext uri="{FF2B5EF4-FFF2-40B4-BE49-F238E27FC236}">
                <a16:creationId xmlns:a16="http://schemas.microsoft.com/office/drawing/2014/main" id="{3A8774F3-7401-4DB2-BD75-80F4E9FB40EC}"/>
              </a:ext>
            </a:extLst>
          </p:cNvPr>
          <p:cNvGraphicFramePr>
            <a:graphicFrameLocks noGrp="1"/>
          </p:cNvGraphicFramePr>
          <p:nvPr>
            <p:extLst>
              <p:ext uri="{D42A27DB-BD31-4B8C-83A1-F6EECF244321}">
                <p14:modId xmlns:p14="http://schemas.microsoft.com/office/powerpoint/2010/main" val="1331993958"/>
              </p:ext>
            </p:extLst>
          </p:nvPr>
        </p:nvGraphicFramePr>
        <p:xfrm>
          <a:off x="253542" y="615570"/>
          <a:ext cx="11656615" cy="5595256"/>
        </p:xfrm>
        <a:graphic>
          <a:graphicData uri="http://schemas.openxmlformats.org/drawingml/2006/table">
            <a:tbl>
              <a:tblPr/>
              <a:tblGrid>
                <a:gridCol w="1531718">
                  <a:extLst>
                    <a:ext uri="{9D8B030D-6E8A-4147-A177-3AD203B41FA5}">
                      <a16:colId xmlns:a16="http://schemas.microsoft.com/office/drawing/2014/main" val="3085827050"/>
                    </a:ext>
                  </a:extLst>
                </a:gridCol>
                <a:gridCol w="424034">
                  <a:extLst>
                    <a:ext uri="{9D8B030D-6E8A-4147-A177-3AD203B41FA5}">
                      <a16:colId xmlns:a16="http://schemas.microsoft.com/office/drawing/2014/main" val="3780929901"/>
                    </a:ext>
                  </a:extLst>
                </a:gridCol>
                <a:gridCol w="424034">
                  <a:extLst>
                    <a:ext uri="{9D8B030D-6E8A-4147-A177-3AD203B41FA5}">
                      <a16:colId xmlns:a16="http://schemas.microsoft.com/office/drawing/2014/main" val="1381456150"/>
                    </a:ext>
                  </a:extLst>
                </a:gridCol>
                <a:gridCol w="424034">
                  <a:extLst>
                    <a:ext uri="{9D8B030D-6E8A-4147-A177-3AD203B41FA5}">
                      <a16:colId xmlns:a16="http://schemas.microsoft.com/office/drawing/2014/main" val="3126079837"/>
                    </a:ext>
                  </a:extLst>
                </a:gridCol>
                <a:gridCol w="380766">
                  <a:extLst>
                    <a:ext uri="{9D8B030D-6E8A-4147-A177-3AD203B41FA5}">
                      <a16:colId xmlns:a16="http://schemas.microsoft.com/office/drawing/2014/main" val="1342527152"/>
                    </a:ext>
                  </a:extLst>
                </a:gridCol>
                <a:gridCol w="424034">
                  <a:extLst>
                    <a:ext uri="{9D8B030D-6E8A-4147-A177-3AD203B41FA5}">
                      <a16:colId xmlns:a16="http://schemas.microsoft.com/office/drawing/2014/main" val="3733058987"/>
                    </a:ext>
                  </a:extLst>
                </a:gridCol>
                <a:gridCol w="424034">
                  <a:extLst>
                    <a:ext uri="{9D8B030D-6E8A-4147-A177-3AD203B41FA5}">
                      <a16:colId xmlns:a16="http://schemas.microsoft.com/office/drawing/2014/main" val="825614363"/>
                    </a:ext>
                  </a:extLst>
                </a:gridCol>
                <a:gridCol w="398073">
                  <a:extLst>
                    <a:ext uri="{9D8B030D-6E8A-4147-A177-3AD203B41FA5}">
                      <a16:colId xmlns:a16="http://schemas.microsoft.com/office/drawing/2014/main" val="3496215222"/>
                    </a:ext>
                  </a:extLst>
                </a:gridCol>
                <a:gridCol w="432688">
                  <a:extLst>
                    <a:ext uri="{9D8B030D-6E8A-4147-A177-3AD203B41FA5}">
                      <a16:colId xmlns:a16="http://schemas.microsoft.com/office/drawing/2014/main" val="3629466361"/>
                    </a:ext>
                  </a:extLst>
                </a:gridCol>
                <a:gridCol w="424034">
                  <a:extLst>
                    <a:ext uri="{9D8B030D-6E8A-4147-A177-3AD203B41FA5}">
                      <a16:colId xmlns:a16="http://schemas.microsoft.com/office/drawing/2014/main" val="2119443646"/>
                    </a:ext>
                  </a:extLst>
                </a:gridCol>
                <a:gridCol w="415381">
                  <a:extLst>
                    <a:ext uri="{9D8B030D-6E8A-4147-A177-3AD203B41FA5}">
                      <a16:colId xmlns:a16="http://schemas.microsoft.com/office/drawing/2014/main" val="1072787076"/>
                    </a:ext>
                  </a:extLst>
                </a:gridCol>
                <a:gridCol w="424034">
                  <a:extLst>
                    <a:ext uri="{9D8B030D-6E8A-4147-A177-3AD203B41FA5}">
                      <a16:colId xmlns:a16="http://schemas.microsoft.com/office/drawing/2014/main" val="297924545"/>
                    </a:ext>
                  </a:extLst>
                </a:gridCol>
                <a:gridCol w="424034">
                  <a:extLst>
                    <a:ext uri="{9D8B030D-6E8A-4147-A177-3AD203B41FA5}">
                      <a16:colId xmlns:a16="http://schemas.microsoft.com/office/drawing/2014/main" val="76469031"/>
                    </a:ext>
                  </a:extLst>
                </a:gridCol>
                <a:gridCol w="424034">
                  <a:extLst>
                    <a:ext uri="{9D8B030D-6E8A-4147-A177-3AD203B41FA5}">
                      <a16:colId xmlns:a16="http://schemas.microsoft.com/office/drawing/2014/main" val="2746892003"/>
                    </a:ext>
                  </a:extLst>
                </a:gridCol>
                <a:gridCol w="424034">
                  <a:extLst>
                    <a:ext uri="{9D8B030D-6E8A-4147-A177-3AD203B41FA5}">
                      <a16:colId xmlns:a16="http://schemas.microsoft.com/office/drawing/2014/main" val="4047468681"/>
                    </a:ext>
                  </a:extLst>
                </a:gridCol>
                <a:gridCol w="424034">
                  <a:extLst>
                    <a:ext uri="{9D8B030D-6E8A-4147-A177-3AD203B41FA5}">
                      <a16:colId xmlns:a16="http://schemas.microsoft.com/office/drawing/2014/main" val="1653528296"/>
                    </a:ext>
                  </a:extLst>
                </a:gridCol>
                <a:gridCol w="424034">
                  <a:extLst>
                    <a:ext uri="{9D8B030D-6E8A-4147-A177-3AD203B41FA5}">
                      <a16:colId xmlns:a16="http://schemas.microsoft.com/office/drawing/2014/main" val="1130958721"/>
                    </a:ext>
                  </a:extLst>
                </a:gridCol>
                <a:gridCol w="424034">
                  <a:extLst>
                    <a:ext uri="{9D8B030D-6E8A-4147-A177-3AD203B41FA5}">
                      <a16:colId xmlns:a16="http://schemas.microsoft.com/office/drawing/2014/main" val="2437880082"/>
                    </a:ext>
                  </a:extLst>
                </a:gridCol>
                <a:gridCol w="424034">
                  <a:extLst>
                    <a:ext uri="{9D8B030D-6E8A-4147-A177-3AD203B41FA5}">
                      <a16:colId xmlns:a16="http://schemas.microsoft.com/office/drawing/2014/main" val="1486137247"/>
                    </a:ext>
                  </a:extLst>
                </a:gridCol>
                <a:gridCol w="424034">
                  <a:extLst>
                    <a:ext uri="{9D8B030D-6E8A-4147-A177-3AD203B41FA5}">
                      <a16:colId xmlns:a16="http://schemas.microsoft.com/office/drawing/2014/main" val="1554032542"/>
                    </a:ext>
                  </a:extLst>
                </a:gridCol>
                <a:gridCol w="424034">
                  <a:extLst>
                    <a:ext uri="{9D8B030D-6E8A-4147-A177-3AD203B41FA5}">
                      <a16:colId xmlns:a16="http://schemas.microsoft.com/office/drawing/2014/main" val="3391700226"/>
                    </a:ext>
                  </a:extLst>
                </a:gridCol>
                <a:gridCol w="424034">
                  <a:extLst>
                    <a:ext uri="{9D8B030D-6E8A-4147-A177-3AD203B41FA5}">
                      <a16:colId xmlns:a16="http://schemas.microsoft.com/office/drawing/2014/main" val="4024305705"/>
                    </a:ext>
                  </a:extLst>
                </a:gridCol>
                <a:gridCol w="424034">
                  <a:extLst>
                    <a:ext uri="{9D8B030D-6E8A-4147-A177-3AD203B41FA5}">
                      <a16:colId xmlns:a16="http://schemas.microsoft.com/office/drawing/2014/main" val="3153129697"/>
                    </a:ext>
                  </a:extLst>
                </a:gridCol>
                <a:gridCol w="441343">
                  <a:extLst>
                    <a:ext uri="{9D8B030D-6E8A-4147-A177-3AD203B41FA5}">
                      <a16:colId xmlns:a16="http://schemas.microsoft.com/office/drawing/2014/main" val="1090780724"/>
                    </a:ext>
                  </a:extLst>
                </a:gridCol>
                <a:gridCol w="424034">
                  <a:extLst>
                    <a:ext uri="{9D8B030D-6E8A-4147-A177-3AD203B41FA5}">
                      <a16:colId xmlns:a16="http://schemas.microsoft.com/office/drawing/2014/main" val="1605328733"/>
                    </a:ext>
                  </a:extLst>
                </a:gridCol>
              </a:tblGrid>
              <a:tr h="315788">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Segment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Apr-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May-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Jun-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Jul-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Aug-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Sep-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Oct-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Nov-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Dec-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Jan-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Feb-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Mar-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Apr-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May-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Jun-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Jul-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Aug-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Sep-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a:solidFill>
                            <a:srgbClr val="FFFFFF"/>
                          </a:solidFill>
                          <a:effectLst/>
                          <a:latin typeface="Arial" panose="020B0604020202020204" pitchFamily="34" charset="0"/>
                          <a:cs typeface="Arial" panose="020B0604020202020204" pitchFamily="34" charset="0"/>
                        </a:rPr>
                        <a:t>Oc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Nov-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Dec-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Jan-2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Feb-2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tc>
                  <a:txBody>
                    <a:bodyPr/>
                    <a:lstStyle/>
                    <a:p>
                      <a:pPr algn="ctr" rtl="0" fontAlgn="b"/>
                      <a:r>
                        <a:rPr lang="en-US" sz="800" b="1" i="0" u="none" strike="noStrike" dirty="0">
                          <a:solidFill>
                            <a:srgbClr val="FFFFFF"/>
                          </a:solidFill>
                          <a:effectLst/>
                          <a:latin typeface="Arial" panose="020B0604020202020204" pitchFamily="34" charset="0"/>
                          <a:cs typeface="Arial" panose="020B0604020202020204" pitchFamily="34" charset="0"/>
                        </a:rPr>
                        <a:t>Mar-2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44546A"/>
                    </a:solidFill>
                  </a:tcPr>
                </a:tc>
                <a:extLst>
                  <a:ext uri="{0D108BD9-81ED-4DB2-BD59-A6C34878D82A}">
                    <a16:rowId xmlns:a16="http://schemas.microsoft.com/office/drawing/2014/main" val="808536431"/>
                  </a:ext>
                </a:extLst>
              </a:tr>
              <a:tr h="183840">
                <a:tc>
                  <a:txBody>
                    <a:bodyPr/>
                    <a:lstStyle/>
                    <a:p>
                      <a:pPr algn="l" rtl="0" fontAlgn="b"/>
                      <a:r>
                        <a:rPr lang="en-US" sz="800" b="1" i="0" u="none" strike="noStrike" dirty="0">
                          <a:solidFill>
                            <a:srgbClr val="000000"/>
                          </a:solidFill>
                          <a:effectLst/>
                          <a:latin typeface="Arial" panose="020B0604020202020204" pitchFamily="34" charset="0"/>
                          <a:cs typeface="Arial" panose="020B0604020202020204" pitchFamily="34" charset="0"/>
                        </a:rPr>
                        <a:t>Core Sector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solidFill>
                      <a:srgbClr val="FFFFFF"/>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w="19050" cap="flat" cmpd="sng" algn="ctr">
                      <a:solidFill>
                        <a:srgbClr val="FFFFFF"/>
                      </a:solidFill>
                      <a:prstDash val="solid"/>
                      <a:round/>
                      <a:headEnd type="none" w="med" len="med"/>
                      <a:tailEnd type="none" w="med" len="med"/>
                    </a:lnT>
                    <a:lnB>
                      <a:noFill/>
                    </a:lnB>
                  </a:tcPr>
                </a:tc>
                <a:extLst>
                  <a:ext uri="{0D108BD9-81ED-4DB2-BD59-A6C34878D82A}">
                    <a16:rowId xmlns:a16="http://schemas.microsoft.com/office/drawing/2014/main" val="2773043016"/>
                  </a:ext>
                </a:extLst>
              </a:tr>
              <a:tr h="183840">
                <a:tc>
                  <a:txBody>
                    <a:bodyPr/>
                    <a:lstStyle/>
                    <a:p>
                      <a:pPr algn="l" fontAlgn="b"/>
                      <a:r>
                        <a:rPr lang="en-US" sz="800" b="0" i="1" u="none" strike="noStrike" dirty="0">
                          <a:solidFill>
                            <a:srgbClr val="000000"/>
                          </a:solidFill>
                          <a:effectLst/>
                          <a:latin typeface="Arial" panose="020B0604020202020204" pitchFamily="34" charset="0"/>
                          <a:cs typeface="Arial" panose="020B0604020202020204" pitchFamily="34" charset="0"/>
                        </a:rPr>
                        <a:t>Coal</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47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B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37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8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9D7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3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D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F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8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B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3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E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78C5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a:noFill/>
                    </a:lnL>
                    <a:lnR>
                      <a:noFill/>
                    </a:lnR>
                    <a:lnT>
                      <a:noFill/>
                    </a:lnT>
                    <a:lnB>
                      <a:noFill/>
                    </a:lnB>
                    <a:solidFill>
                      <a:srgbClr val="68C0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D9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a:noFill/>
                    </a:lnL>
                    <a:lnR>
                      <a:noFill/>
                    </a:lnR>
                    <a:lnT>
                      <a:noFill/>
                    </a:lnT>
                    <a:lnB>
                      <a:noFill/>
                    </a:lnB>
                    <a:solidFill>
                      <a:srgbClr val="9DCF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D7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a:noFill/>
                    </a:lnL>
                    <a:lnR>
                      <a:noFill/>
                    </a:lnR>
                    <a:lnT>
                      <a:noFill/>
                    </a:lnT>
                    <a:lnB>
                      <a:noFill/>
                    </a:lnB>
                    <a:solidFill>
                      <a:srgbClr val="F2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D7E082"/>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E5E483"/>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1693321766"/>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Crude Oil</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376"/>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7B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7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6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8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4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A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D8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9D3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3D1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74C3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576"/>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8C0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A9D2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7FC6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7BC5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7BC5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68C0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84C87D"/>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7BC57D"/>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4285437094"/>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Natural Ga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7F6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276"/>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F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4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D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B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6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5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4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71C2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BCA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8C9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90CB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a:noFill/>
                    </a:lnL>
                    <a:lnR>
                      <a:noFill/>
                    </a:lnR>
                    <a:lnT>
                      <a:noFill/>
                    </a:lnT>
                    <a:lnB>
                      <a:noFill/>
                    </a:lnB>
                    <a:solidFill>
                      <a:srgbClr val="88C9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8%</a:t>
                      </a:r>
                    </a:p>
                  </a:txBody>
                  <a:tcPr marL="3723" marR="3723" marT="3723" marB="0" anchor="ctr">
                    <a:lnL>
                      <a:noFill/>
                    </a:lnL>
                    <a:lnR>
                      <a:noFill/>
                    </a:lnR>
                    <a:lnT>
                      <a:noFill/>
                    </a:lnT>
                    <a:lnB>
                      <a:noFill/>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6%</a:t>
                      </a:r>
                    </a:p>
                  </a:txBody>
                  <a:tcPr marL="3723" marR="3723" marT="3723" marB="0" anchor="ctr">
                    <a:lnL>
                      <a:noFill/>
                    </a:lnL>
                    <a:lnR>
                      <a:noFill/>
                    </a:lnR>
                    <a:lnT>
                      <a:noFill/>
                    </a:lnT>
                    <a:lnB>
                      <a:noFill/>
                    </a:lnB>
                    <a:solidFill>
                      <a:srgbClr val="6CC1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4%</a:t>
                      </a:r>
                    </a:p>
                  </a:txBody>
                  <a:tcPr marL="3723" marR="3723" marT="3723" marB="0" anchor="ctr">
                    <a:lnL>
                      <a:noFill/>
                    </a:lnL>
                    <a:lnR>
                      <a:noFill/>
                    </a:lnR>
                    <a:lnT>
                      <a:noFill/>
                    </a:lnT>
                    <a:lnB>
                      <a:noFill/>
                    </a:lnB>
                    <a:solidFill>
                      <a:srgbClr val="78C4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0%</a:t>
                      </a:r>
                    </a:p>
                  </a:txBody>
                  <a:tcPr marL="3723" marR="3723" marT="3723" marB="0" anchor="ctr">
                    <a:lnL>
                      <a:noFill/>
                    </a:lnL>
                    <a:lnR>
                      <a:noFill/>
                    </a:lnR>
                    <a:lnT>
                      <a:noFill/>
                    </a:lnT>
                    <a:lnB>
                      <a:noFill/>
                    </a:lnB>
                    <a:solidFill>
                      <a:srgbClr val="8ECB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a:noFill/>
                    </a:lnL>
                    <a:lnR>
                      <a:noFill/>
                    </a:lnR>
                    <a:lnT>
                      <a:noFill/>
                    </a:lnT>
                    <a:lnB>
                      <a:noFill/>
                    </a:lnB>
                    <a:solidFill>
                      <a:srgbClr val="B7D780"/>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a:noFill/>
                    </a:lnL>
                    <a:lnR>
                      <a:noFill/>
                    </a:lnR>
                    <a:lnT>
                      <a:noFill/>
                    </a:lnT>
                    <a:lnB>
                      <a:noFill/>
                    </a:lnB>
                    <a:solidFill>
                      <a:srgbClr val="B3D580"/>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3495836908"/>
                  </a:ext>
                </a:extLst>
              </a:tr>
              <a:tr h="315788">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Petroleum Refinery Product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86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9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F75"/>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37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6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8F7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F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A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B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F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5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3D5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5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DF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a:noFill/>
                    </a:lnL>
                    <a:lnR>
                      <a:noFill/>
                    </a:lnR>
                    <a:lnT>
                      <a:noFill/>
                    </a:lnT>
                    <a:lnB>
                      <a:noFill/>
                    </a:lnB>
                    <a:solidFill>
                      <a:srgbClr val="D3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E3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a:noFill/>
                    </a:lnL>
                    <a:lnR>
                      <a:noFill/>
                    </a:lnR>
                    <a:lnT>
                      <a:noFill/>
                    </a:lnT>
                    <a:lnB>
                      <a:noFill/>
                    </a:lnB>
                    <a:solidFill>
                      <a:srgbClr val="B8D7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EB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E3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EEE784"/>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a:noFill/>
                    </a:lnL>
                    <a:lnR>
                      <a:noFill/>
                    </a:lnR>
                    <a:lnT>
                      <a:noFill/>
                    </a:lnT>
                    <a:lnB>
                      <a:noFill/>
                    </a:lnB>
                    <a:solidFill>
                      <a:srgbClr val="D4DF82"/>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593488814"/>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Fertilizer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B0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3D5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D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AD7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5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9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2DA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F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0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8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77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1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7E6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E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C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a:noFill/>
                    </a:lnL>
                    <a:lnR>
                      <a:noFill/>
                    </a:lnR>
                    <a:lnT>
                      <a:noFill/>
                    </a:lnT>
                    <a:lnB>
                      <a:noFill/>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a:noFill/>
                    </a:lnL>
                    <a:lnR>
                      <a:noFill/>
                    </a:lnR>
                    <a:lnT>
                      <a:noFill/>
                    </a:lnT>
                    <a:lnB>
                      <a:noFill/>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3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E6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DC87D"/>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DCE7E"/>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2391013804"/>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Steel</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9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3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4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2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0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4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6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E5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FEB84"/>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FFEB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776277406"/>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Cement</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7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2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1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E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E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6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0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2%</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B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6%</a:t>
                      </a:r>
                    </a:p>
                  </a:txBody>
                  <a:tcPr marL="3723" marR="3723" marT="3723" marB="0" anchor="ctr">
                    <a:lnL>
                      <a:noFill/>
                    </a:lnL>
                    <a:lnR>
                      <a:noFill/>
                    </a:lnR>
                    <a:lnT>
                      <a:noFill/>
                    </a:lnT>
                    <a:lnB>
                      <a:noFill/>
                    </a:lnB>
                    <a:solidFill>
                      <a:srgbClr val="F7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a:noFill/>
                    </a:lnL>
                    <a:lnR>
                      <a:noFill/>
                    </a:lnR>
                    <a:lnT>
                      <a:noFill/>
                    </a:lnT>
                    <a:lnB>
                      <a:noFill/>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a:noFill/>
                    </a:lnL>
                    <a:lnR>
                      <a:noFill/>
                    </a:lnR>
                    <a:lnT>
                      <a:noFill/>
                    </a:lnT>
                    <a:lnB>
                      <a:noFill/>
                    </a:lnB>
                    <a:solidFill>
                      <a:srgbClr val="FC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EE2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a:noFill/>
                    </a:lnL>
                    <a:lnR>
                      <a:noFill/>
                    </a:lnR>
                    <a:lnT>
                      <a:noFill/>
                    </a:lnT>
                    <a:lnB>
                      <a:noFill/>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a:noFill/>
                    </a:lnL>
                    <a:lnR>
                      <a:noFill/>
                    </a:lnR>
                    <a:lnT>
                      <a:noFill/>
                    </a:lnT>
                    <a:lnB>
                      <a:noFill/>
                    </a:lnB>
                    <a:solidFill>
                      <a:srgbClr val="FDEB84"/>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a:noFill/>
                    </a:lnL>
                    <a:lnR>
                      <a:noFill/>
                    </a:lnR>
                    <a:lnT>
                      <a:noFill/>
                    </a:lnT>
                    <a:lnB>
                      <a:noFill/>
                    </a:lnB>
                    <a:solidFill>
                      <a:srgbClr val="FFEB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2112135897"/>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Electricity</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17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9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E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1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F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9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AD3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9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DD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a:noFill/>
                    </a:lnL>
                    <a:lnR>
                      <a:noFill/>
                    </a:lnR>
                    <a:lnT>
                      <a:noFill/>
                    </a:lnT>
                    <a:lnB>
                      <a:noFill/>
                    </a:lnB>
                    <a:solidFill>
                      <a:srgbClr val="CA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DF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EE2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DD81"/>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FCEA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2296658463"/>
                  </a:ext>
                </a:extLst>
              </a:tr>
              <a:tr h="183840">
                <a:tc>
                  <a:txBody>
                    <a:bodyPr/>
                    <a:lstStyle/>
                    <a:p>
                      <a:pPr algn="l" rtl="0" fontAlgn="b"/>
                      <a:r>
                        <a:rPr lang="en-US" sz="800" b="1" i="0" u="none" strike="noStrike">
                          <a:solidFill>
                            <a:srgbClr val="000000"/>
                          </a:solidFill>
                          <a:effectLst/>
                          <a:latin typeface="Arial" panose="020B0604020202020204" pitchFamily="34" charset="0"/>
                          <a:cs typeface="Arial" panose="020B0604020202020204" pitchFamily="34" charset="0"/>
                        </a:rPr>
                        <a:t>Auto-offtake</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l"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291408442"/>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Two Wheeler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16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7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F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0DE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7DB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DDD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7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M</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6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0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E8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a:t>
                      </a:r>
                    </a:p>
                  </a:txBody>
                  <a:tcPr marL="3723" marR="3723" marT="3723" marB="0" anchor="ctr">
                    <a:lnL>
                      <a:noFill/>
                    </a:lnL>
                    <a:lnR>
                      <a:noFill/>
                    </a:lnR>
                    <a:lnT>
                      <a:noFill/>
                    </a:lnT>
                    <a:lnB>
                      <a:noFill/>
                    </a:lnB>
                    <a:solidFill>
                      <a:srgbClr val="FEE8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5%</a:t>
                      </a:r>
                    </a:p>
                  </a:txBody>
                  <a:tcPr marL="3723" marR="3723" marT="3723" marB="0" anchor="ctr">
                    <a:lnL>
                      <a:noFill/>
                    </a:lnL>
                    <a:lnR>
                      <a:noFill/>
                    </a:lnR>
                    <a:lnT>
                      <a:noFill/>
                    </a:lnT>
                    <a:lnB>
                      <a:noFill/>
                    </a:lnB>
                    <a:solidFill>
                      <a:srgbClr val="FEDB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4%</a:t>
                      </a:r>
                    </a:p>
                  </a:txBody>
                  <a:tcPr marL="3723" marR="3723" marT="3723" marB="0" anchor="ctr">
                    <a:lnL>
                      <a:noFill/>
                    </a:lnL>
                    <a:lnR>
                      <a:noFill/>
                    </a:lnR>
                    <a:lnT>
                      <a:noFill/>
                    </a:lnT>
                    <a:lnB>
                      <a:noFill/>
                    </a:lnB>
                    <a:solidFill>
                      <a:srgbClr val="FDCE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a:noFill/>
                    </a:lnL>
                    <a:lnR>
                      <a:noFill/>
                    </a:lnR>
                    <a:lnT>
                      <a:noFill/>
                    </a:lnT>
                    <a:lnB>
                      <a:noFill/>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a:noFill/>
                    </a:lnL>
                    <a:lnR>
                      <a:noFill/>
                    </a:lnR>
                    <a:lnT>
                      <a:noFill/>
                    </a:lnT>
                    <a:lnB>
                      <a:noFill/>
                    </a:lnB>
                    <a:solidFill>
                      <a:srgbClr val="FEE182"/>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27%</a:t>
                      </a:r>
                    </a:p>
                  </a:txBody>
                  <a:tcPr marL="3723" marR="3723" marT="3723" marB="0" anchor="ctr">
                    <a:lnL>
                      <a:noFill/>
                    </a:lnL>
                    <a:lnR>
                      <a:noFill/>
                    </a:lnR>
                    <a:lnT>
                      <a:noFill/>
                    </a:lnT>
                    <a:lnB>
                      <a:noFill/>
                    </a:lnB>
                    <a:solidFill>
                      <a:srgbClr val="FED880"/>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116541650"/>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Car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A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276"/>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B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E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3DA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2DE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C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FCB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M</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ACA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5C8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5%</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CDDD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F1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1%</a:t>
                      </a:r>
                    </a:p>
                  </a:txBody>
                  <a:tcPr marL="3723" marR="3723" marT="3723" marB="0" anchor="ctr">
                    <a:lnL>
                      <a:noFill/>
                    </a:lnL>
                    <a:lnR>
                      <a:noFill/>
                    </a:lnR>
                    <a:lnT>
                      <a:noFill/>
                    </a:lnT>
                    <a:lnB>
                      <a:noFill/>
                    </a:lnB>
                    <a:solidFill>
                      <a:srgbClr val="FCBB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7%</a:t>
                      </a:r>
                    </a:p>
                  </a:txBody>
                  <a:tcPr marL="3723" marR="3723" marT="3723" marB="0" anchor="ctr">
                    <a:lnL>
                      <a:noFill/>
                    </a:lnL>
                    <a:lnR>
                      <a:noFill/>
                    </a:lnR>
                    <a:lnT>
                      <a:noFill/>
                    </a:lnT>
                    <a:lnB>
                      <a:noFill/>
                    </a:lnB>
                    <a:solidFill>
                      <a:srgbClr val="FDCF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a:noFill/>
                    </a:lnL>
                    <a:lnR>
                      <a:noFill/>
                    </a:lnR>
                    <a:lnT>
                      <a:noFill/>
                    </a:lnT>
                    <a:lnB>
                      <a:noFill/>
                    </a:lnB>
                    <a:solidFill>
                      <a:srgbClr val="FEDA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a:noFill/>
                    </a:lnL>
                    <a:lnR>
                      <a:noFill/>
                    </a:lnR>
                    <a:lnT>
                      <a:noFill/>
                    </a:lnT>
                    <a:lnB>
                      <a:noFill/>
                    </a:lnB>
                    <a:solidFill>
                      <a:srgbClr val="FEE2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FEE983"/>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FEB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1903518084"/>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Uvs + Van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B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8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F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6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2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0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9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M</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5C8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2814649505"/>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Three Wheeler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F6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47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8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B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07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5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CDD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NM</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B0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90CB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0%</a:t>
                      </a:r>
                    </a:p>
                  </a:txBody>
                  <a:tcPr marL="3723" marR="3723" marT="3723" marB="0" anchor="ctr">
                    <a:lnL>
                      <a:noFill/>
                    </a:lnL>
                    <a:lnR>
                      <a:noFill/>
                    </a:lnR>
                    <a:lnT>
                      <a:noFill/>
                    </a:lnT>
                    <a:lnB>
                      <a:noFill/>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4%</a:t>
                      </a:r>
                    </a:p>
                  </a:txBody>
                  <a:tcPr marL="3723" marR="3723" marT="3723" marB="0" anchor="ctr">
                    <a:lnL>
                      <a:noFill/>
                    </a:lnL>
                    <a:lnR>
                      <a:noFill/>
                    </a:lnR>
                    <a:lnT>
                      <a:noFill/>
                    </a:lnT>
                    <a:lnB>
                      <a:noFill/>
                    </a:lnB>
                    <a:solidFill>
                      <a:srgbClr val="72C3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a:noFill/>
                    </a:lnL>
                    <a:lnR>
                      <a:noFill/>
                    </a:lnR>
                    <a:lnT>
                      <a:noFill/>
                    </a:lnT>
                    <a:lnB>
                      <a:noFill/>
                    </a:lnB>
                    <a:solidFill>
                      <a:srgbClr val="C4DA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5%</a:t>
                      </a:r>
                    </a:p>
                  </a:txBody>
                  <a:tcPr marL="3723" marR="3723" marT="3723" marB="0" anchor="ctr">
                    <a:lnL>
                      <a:noFill/>
                    </a:lnL>
                    <a:lnR>
                      <a:noFill/>
                    </a:lnR>
                    <a:lnT>
                      <a:noFill/>
                    </a:lnT>
                    <a:lnB>
                      <a:noFill/>
                    </a:lnB>
                    <a:solidFill>
                      <a:srgbClr val="B6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FEE583"/>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6E9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1080115587"/>
                  </a:ext>
                </a:extLst>
              </a:tr>
              <a:tr h="183840">
                <a:tc>
                  <a:txBody>
                    <a:bodyPr/>
                    <a:lstStyle/>
                    <a:p>
                      <a:pPr algn="l" rtl="0" fontAlgn="b"/>
                      <a:r>
                        <a:rPr lang="en-US" sz="800" b="1" i="0" u="none" strike="noStrike">
                          <a:solidFill>
                            <a:srgbClr val="000000"/>
                          </a:solidFill>
                          <a:effectLst/>
                          <a:latin typeface="Arial" panose="020B0604020202020204" pitchFamily="34" charset="0"/>
                          <a:cs typeface="Arial" panose="020B0604020202020204" pitchFamily="34" charset="0"/>
                        </a:rPr>
                        <a:t>Auto-Vaahan</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1465480764"/>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2W</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7D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5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B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A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D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72C3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8%</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E1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4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a:noFill/>
                    </a:lnL>
                    <a:lnR>
                      <a:noFill/>
                    </a:lnR>
                    <a:lnT>
                      <a:noFill/>
                    </a:lnT>
                    <a:lnB>
                      <a:noFill/>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a:noFill/>
                    </a:lnL>
                    <a:lnR>
                      <a:noFill/>
                    </a:lnR>
                    <a:lnT>
                      <a:noFill/>
                    </a:lnT>
                    <a:lnB>
                      <a:noFill/>
                    </a:lnB>
                    <a:solidFill>
                      <a:srgbClr val="FA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a:noFill/>
                    </a:lnL>
                    <a:lnR>
                      <a:noFill/>
                    </a:lnR>
                    <a:lnT>
                      <a:noFill/>
                    </a:lnT>
                    <a:lnB>
                      <a:noFill/>
                    </a:lnB>
                    <a:solidFill>
                      <a:srgbClr val="FDD7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a:noFill/>
                    </a:lnL>
                    <a:lnR>
                      <a:noFill/>
                    </a:lnR>
                    <a:lnT>
                      <a:noFill/>
                    </a:lnT>
                    <a:lnB>
                      <a:noFill/>
                    </a:lnB>
                    <a:solidFill>
                      <a:srgbClr val="FEE081"/>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FEE482"/>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FDEB84"/>
                    </a:solidFill>
                  </a:tcPr>
                </a:tc>
                <a:extLst>
                  <a:ext uri="{0D108BD9-81ED-4DB2-BD59-A6C34878D82A}">
                    <a16:rowId xmlns:a16="http://schemas.microsoft.com/office/drawing/2014/main" val="3194387354"/>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Cars+Uv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F6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8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D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1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2E3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3%</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4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a:noFill/>
                    </a:lnL>
                    <a:lnR>
                      <a:noFill/>
                    </a:lnR>
                    <a:lnT>
                      <a:noFill/>
                    </a:lnT>
                    <a:lnB>
                      <a:noFill/>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2%</a:t>
                      </a:r>
                    </a:p>
                  </a:txBody>
                  <a:tcPr marL="3723" marR="3723" marT="3723" marB="0" anchor="ctr">
                    <a:lnL>
                      <a:noFill/>
                    </a:lnL>
                    <a:lnR>
                      <a:noFill/>
                    </a:lnR>
                    <a:lnT>
                      <a:noFill/>
                    </a:lnT>
                    <a:lnB>
                      <a:noFill/>
                    </a:lnB>
                    <a:solidFill>
                      <a:srgbClr val="FB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a:noFill/>
                    </a:lnL>
                    <a:lnR>
                      <a:noFill/>
                    </a:lnR>
                    <a:lnT>
                      <a:noFill/>
                    </a:lnT>
                    <a:lnB>
                      <a:noFill/>
                    </a:lnB>
                    <a:solidFill>
                      <a:srgbClr val="FEDE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a:noFill/>
                    </a:lnL>
                    <a:lnR>
                      <a:noFill/>
                    </a:lnR>
                    <a:lnT>
                      <a:noFill/>
                    </a:lnT>
                    <a:lnB>
                      <a:noFill/>
                    </a:lnB>
                    <a:solidFill>
                      <a:srgbClr val="FDD2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FEDF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FEE081"/>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EE482"/>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a:noFill/>
                    </a:lnL>
                    <a:lnR>
                      <a:noFill/>
                    </a:lnR>
                    <a:lnT>
                      <a:noFill/>
                    </a:lnT>
                    <a:lnB>
                      <a:noFill/>
                    </a:lnB>
                    <a:solidFill>
                      <a:srgbClr val="FEE683"/>
                    </a:solidFill>
                  </a:tcPr>
                </a:tc>
                <a:extLst>
                  <a:ext uri="{0D108BD9-81ED-4DB2-BD59-A6C34878D82A}">
                    <a16:rowId xmlns:a16="http://schemas.microsoft.com/office/drawing/2014/main" val="3446195056"/>
                  </a:ext>
                </a:extLst>
              </a:tr>
              <a:tr h="183840">
                <a:tc>
                  <a:txBody>
                    <a:bodyPr/>
                    <a:lstStyle/>
                    <a:p>
                      <a:pPr algn="l" rtl="0" fontAlgn="b"/>
                      <a:r>
                        <a:rPr lang="en-US" sz="800" b="1" i="0" u="none" strike="noStrike">
                          <a:solidFill>
                            <a:srgbClr val="000000"/>
                          </a:solidFill>
                          <a:effectLst/>
                          <a:latin typeface="Arial" panose="020B0604020202020204" pitchFamily="34" charset="0"/>
                          <a:cs typeface="Arial" panose="020B0604020202020204" pitchFamily="34" charset="0"/>
                        </a:rPr>
                        <a:t>Others</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rtl="0"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934326899"/>
                  </a:ext>
                </a:extLst>
              </a:tr>
              <a:tr h="183840">
                <a:tc>
                  <a:txBody>
                    <a:bodyPr/>
                    <a:lstStyle/>
                    <a:p>
                      <a:pPr algn="l" rtl="0" fontAlgn="b"/>
                      <a:r>
                        <a:rPr lang="en-US" sz="800" b="0" i="1" u="none" strike="noStrike">
                          <a:solidFill>
                            <a:srgbClr val="000000"/>
                          </a:solidFill>
                          <a:effectLst/>
                          <a:latin typeface="Arial" panose="020B0604020202020204" pitchFamily="34" charset="0"/>
                          <a:cs typeface="Arial" panose="020B0604020202020204" pitchFamily="34" charset="0"/>
                        </a:rPr>
                        <a:t>PMI Manufacturing</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7.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0.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A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7.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E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8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6.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98CE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8.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6.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5D17F"/>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6.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2D17F"/>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7.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2C77D"/>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7.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7C9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5.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CD881"/>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5.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9D780"/>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50.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8.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3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5.3</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BED9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2.3</a:t>
                      </a:r>
                    </a:p>
                  </a:txBody>
                  <a:tcPr marL="3723" marR="3723" marT="3723" marB="0" anchor="ctr">
                    <a:lnL>
                      <a:noFill/>
                    </a:lnL>
                    <a:lnR>
                      <a:noFill/>
                    </a:lnR>
                    <a:lnT>
                      <a:noFill/>
                    </a:lnT>
                    <a:lnB>
                      <a:noFill/>
                    </a:lnB>
                    <a:solidFill>
                      <a:srgbClr val="FEE8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3.7</a:t>
                      </a:r>
                    </a:p>
                  </a:txBody>
                  <a:tcPr marL="3723" marR="3723" marT="3723" marB="0" anchor="ctr">
                    <a:lnL>
                      <a:noFill/>
                    </a:lnL>
                    <a:lnR>
                      <a:noFill/>
                    </a:lnR>
                    <a:lnT>
                      <a:noFill/>
                    </a:lnT>
                    <a:lnB>
                      <a:noFill/>
                    </a:lnB>
                    <a:solidFill>
                      <a:srgbClr val="E6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5.9</a:t>
                      </a:r>
                    </a:p>
                  </a:txBody>
                  <a:tcPr marL="3723" marR="3723" marT="3723" marB="0" anchor="ctr">
                    <a:lnL>
                      <a:noFill/>
                    </a:lnL>
                    <a:lnR>
                      <a:noFill/>
                    </a:lnR>
                    <a:lnT>
                      <a:noFill/>
                    </a:lnT>
                    <a:lnB>
                      <a:noFill/>
                    </a:lnB>
                    <a:solidFill>
                      <a:srgbClr val="AFD4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7.6</a:t>
                      </a:r>
                    </a:p>
                  </a:txBody>
                  <a:tcPr marL="3723" marR="3723" marT="3723" marB="0" anchor="ctr">
                    <a:lnL>
                      <a:noFill/>
                    </a:lnL>
                    <a:lnR>
                      <a:noFill/>
                    </a:lnR>
                    <a:lnT>
                      <a:noFill/>
                    </a:lnT>
                    <a:lnB>
                      <a:noFill/>
                    </a:lnB>
                    <a:solidFill>
                      <a:srgbClr val="84C8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5.5</a:t>
                      </a:r>
                    </a:p>
                  </a:txBody>
                  <a:tcPr marL="3723" marR="3723" marT="3723" marB="0" anchor="ctr">
                    <a:lnL>
                      <a:noFill/>
                    </a:lnL>
                    <a:lnR>
                      <a:noFill/>
                    </a:lnR>
                    <a:lnT>
                      <a:noFill/>
                    </a:lnT>
                    <a:lnB>
                      <a:noFill/>
                    </a:lnB>
                    <a:solidFill>
                      <a:srgbClr val="B9D7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4</a:t>
                      </a:r>
                    </a:p>
                  </a:txBody>
                  <a:tcPr marL="3723" marR="3723" marT="3723" marB="0" anchor="ctr">
                    <a:lnL>
                      <a:noFill/>
                    </a:lnL>
                    <a:lnR>
                      <a:noFill/>
                    </a:lnR>
                    <a:lnT>
                      <a:noFill/>
                    </a:lnT>
                    <a:lnB>
                      <a:noFill/>
                    </a:lnB>
                    <a:solidFill>
                      <a:srgbClr val="DF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4.9</a:t>
                      </a:r>
                    </a:p>
                  </a:txBody>
                  <a:tcPr marL="3723" marR="3723" marT="3723" marB="0" anchor="ctr">
                    <a:lnL>
                      <a:noFill/>
                    </a:lnL>
                    <a:lnR>
                      <a:noFill/>
                    </a:lnR>
                    <a:lnT>
                      <a:noFill/>
                    </a:lnT>
                    <a:lnB>
                      <a:noFill/>
                    </a:lnB>
                    <a:solidFill>
                      <a:srgbClr val="C8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 </a:t>
                      </a:r>
                    </a:p>
                  </a:txBody>
                  <a:tcPr marL="3723" marR="3723" marT="3723" marB="0" anchor="ctr">
                    <a:lnL>
                      <a:noFill/>
                    </a:lnL>
                    <a:lnR>
                      <a:noFill/>
                    </a:lnR>
                    <a:lnT>
                      <a:noFill/>
                    </a:lnT>
                    <a:lnB>
                      <a:noFill/>
                    </a:lnB>
                    <a:solidFill>
                      <a:srgbClr val="FFFFFF"/>
                    </a:solidFill>
                  </a:tcPr>
                </a:tc>
                <a:extLst>
                  <a:ext uri="{0D108BD9-81ED-4DB2-BD59-A6C34878D82A}">
                    <a16:rowId xmlns:a16="http://schemas.microsoft.com/office/drawing/2014/main" val="2843300901"/>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IIP Overall</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E75"/>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3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0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8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3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0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5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FE2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1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4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a:noFill/>
                    </a:lnL>
                    <a:lnR>
                      <a:noFill/>
                    </a:lnR>
                    <a:lnT>
                      <a:noFill/>
                    </a:lnT>
                    <a:lnB>
                      <a:noFill/>
                    </a:lnB>
                    <a:solidFill>
                      <a:srgbClr val="F3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FC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EA83"/>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1624459533"/>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Diesel consumption</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9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A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1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C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0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D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A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5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ED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6%</a:t>
                      </a:r>
                    </a:p>
                  </a:txBody>
                  <a:tcPr marL="3723" marR="3723" marT="3723" marB="0" anchor="ctr">
                    <a:lnL>
                      <a:noFill/>
                    </a:lnL>
                    <a:lnR>
                      <a:noFill/>
                    </a:lnR>
                    <a:lnT>
                      <a:noFill/>
                    </a:lnT>
                    <a:lnB>
                      <a:noFill/>
                    </a:lnB>
                    <a:solidFill>
                      <a:srgbClr val="E7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a:noFill/>
                    </a:lnL>
                    <a:lnR>
                      <a:noFill/>
                    </a:lnR>
                    <a:lnT>
                      <a:noFill/>
                    </a:lnT>
                    <a:lnB>
                      <a:noFill/>
                    </a:lnB>
                    <a:solidFill>
                      <a:srgbClr val="FD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FEE182"/>
                    </a:solidFill>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FE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A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FEDF81"/>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EEB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426129587"/>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Rail freight (NTKM)</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9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5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0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8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D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5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EDD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1D0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A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E6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0%</a:t>
                      </a:r>
                    </a:p>
                  </a:txBody>
                  <a:tcPr marL="3723" marR="3723" marT="3723" marB="0" anchor="ctr">
                    <a:lnL>
                      <a:noFill/>
                    </a:lnL>
                    <a:lnR>
                      <a:noFill/>
                    </a:lnR>
                    <a:lnT>
                      <a:noFill/>
                    </a:lnT>
                    <a:lnB>
                      <a:noFill/>
                    </a:lnB>
                    <a:solidFill>
                      <a:srgbClr val="E8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a:noFill/>
                    </a:lnL>
                    <a:lnR>
                      <a:noFill/>
                    </a:lnR>
                    <a:lnT>
                      <a:noFill/>
                    </a:lnT>
                    <a:lnB>
                      <a:noFill/>
                    </a:lnB>
                    <a:solidFill>
                      <a:srgbClr val="FE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a:noFill/>
                    </a:lnL>
                    <a:lnR>
                      <a:noFill/>
                    </a:lnR>
                    <a:lnT>
                      <a:noFill/>
                    </a:lnT>
                    <a:lnB>
                      <a:noFill/>
                    </a:lnB>
                    <a:solidFill>
                      <a:srgbClr val="E6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a:noFill/>
                    </a:lnL>
                    <a:lnR>
                      <a:noFill/>
                    </a:lnR>
                    <a:lnT>
                      <a:noFill/>
                    </a:lnT>
                    <a:lnB>
                      <a:noFill/>
                    </a:lnB>
                    <a:solidFill>
                      <a:srgbClr val="F2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a:noFill/>
                    </a:lnL>
                    <a:lnR>
                      <a:noFill/>
                    </a:lnR>
                    <a:lnT>
                      <a:noFill/>
                    </a:lnT>
                    <a:lnB>
                      <a:noFill/>
                    </a:lnB>
                    <a:solidFill>
                      <a:srgbClr val="F9EA84"/>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11%</a:t>
                      </a:r>
                    </a:p>
                  </a:txBody>
                  <a:tcPr marL="3723" marR="3723" marT="3723" marB="0" anchor="ctr">
                    <a:lnL>
                      <a:noFill/>
                    </a:lnL>
                    <a:lnR>
                      <a:noFill/>
                    </a:lnR>
                    <a:lnT>
                      <a:noFill/>
                    </a:lnT>
                    <a:lnB>
                      <a:noFill/>
                    </a:lnB>
                    <a:solidFill>
                      <a:srgbClr val="FAEA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2526489078"/>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Bitumen consumption</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5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0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E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F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B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0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4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C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4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6%</a:t>
                      </a:r>
                    </a:p>
                  </a:txBody>
                  <a:tcPr marL="3723" marR="3723" marT="3723" marB="0" anchor="ctr">
                    <a:lnL>
                      <a:noFill/>
                    </a:lnL>
                    <a:lnR>
                      <a:noFill/>
                    </a:lnR>
                    <a:lnT>
                      <a:noFill/>
                    </a:lnT>
                    <a:lnB>
                      <a:noFill/>
                    </a:lnB>
                    <a:solidFill>
                      <a:srgbClr val="FA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E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2%</a:t>
                      </a:r>
                    </a:p>
                  </a:txBody>
                  <a:tcPr marL="3723" marR="3723" marT="3723" marB="0" anchor="ctr">
                    <a:lnL>
                      <a:noFill/>
                    </a:lnL>
                    <a:lnR>
                      <a:noFill/>
                    </a:lnR>
                    <a:lnT>
                      <a:noFill/>
                    </a:lnT>
                    <a:lnB>
                      <a:noFill/>
                    </a:lnB>
                    <a:solidFill>
                      <a:srgbClr val="FCBF7B"/>
                    </a:solidFill>
                  </a:tcPr>
                </a:tc>
                <a:tc>
                  <a:txBody>
                    <a:bodyPr/>
                    <a:lstStyle/>
                    <a:p>
                      <a:pPr algn="ctr" fontAlgn="b"/>
                      <a:r>
                        <a:rPr lang="en-US" sz="800" b="0" i="0" u="none" strike="noStrike" dirty="0">
                          <a:solidFill>
                            <a:srgbClr val="000000"/>
                          </a:solidFill>
                          <a:effectLst/>
                          <a:latin typeface="Arial" panose="020B0604020202020204" pitchFamily="34" charset="0"/>
                          <a:cs typeface="Arial" panose="020B0604020202020204" pitchFamily="34" charset="0"/>
                        </a:rPr>
                        <a:t>-18%</a:t>
                      </a:r>
                    </a:p>
                  </a:txBody>
                  <a:tcPr marL="3723" marR="3723" marT="3723" marB="0" anchor="ctr">
                    <a:lnL>
                      <a:noFill/>
                    </a:lnL>
                    <a:lnR>
                      <a:noFill/>
                    </a:lnR>
                    <a:lnT>
                      <a:noFill/>
                    </a:lnT>
                    <a:lnB>
                      <a:noFill/>
                    </a:lnB>
                    <a:solidFill>
                      <a:srgbClr val="FDC6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EE282"/>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a:noFill/>
                    </a:lnL>
                    <a:lnR>
                      <a:noFill/>
                    </a:lnR>
                    <a:lnT>
                      <a:noFill/>
                    </a:lnT>
                    <a:lnB>
                      <a:noFill/>
                    </a:lnB>
                    <a:solidFill>
                      <a:srgbClr val="FFEB84"/>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3464241080"/>
                  </a:ext>
                </a:extLst>
              </a:tr>
              <a:tr h="183840">
                <a:tc>
                  <a:txBody>
                    <a:bodyPr/>
                    <a:lstStyle/>
                    <a:p>
                      <a:pPr algn="l" fontAlgn="b"/>
                      <a:r>
                        <a:rPr lang="en-US" sz="800" b="1" i="1" u="none" strike="noStrike">
                          <a:solidFill>
                            <a:srgbClr val="000000"/>
                          </a:solidFill>
                          <a:effectLst/>
                          <a:latin typeface="Arial" panose="020B0604020202020204" pitchFamily="34" charset="0"/>
                          <a:cs typeface="Arial" panose="020B0604020202020204" pitchFamily="34" charset="0"/>
                        </a:rPr>
                        <a:t>Total credit</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C1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FCB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9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7C9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8ACA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8%</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5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ADC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DA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F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71C37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EE9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F4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a:t>
                      </a:r>
                    </a:p>
                  </a:txBody>
                  <a:tcPr marL="3723" marR="3723" marT="3723" marB="0" anchor="ctr">
                    <a:lnL>
                      <a:noFill/>
                    </a:lnL>
                    <a:lnR>
                      <a:noFill/>
                    </a:lnR>
                    <a:lnT>
                      <a:noFill/>
                    </a:lnT>
                    <a:lnB>
                      <a:noFill/>
                    </a:lnB>
                    <a:solidFill>
                      <a:srgbClr val="FFEB84"/>
                    </a:solidFill>
                  </a:tcPr>
                </a:tc>
                <a:tc>
                  <a:txBody>
                    <a:bodyPr/>
                    <a:lstStyle/>
                    <a:p>
                      <a:pPr algn="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FCEA84"/>
                    </a:solidFill>
                  </a:tcPr>
                </a:tc>
                <a:tc>
                  <a:txBody>
                    <a:bodyPr/>
                    <a:lstStyle/>
                    <a:p>
                      <a:pPr algn="r" fontAlgn="b"/>
                      <a:r>
                        <a:rPr lang="en-US" sz="800" b="0" i="0" u="none" strike="noStrike" dirty="0">
                          <a:solidFill>
                            <a:srgbClr val="000000"/>
                          </a:solidFill>
                          <a:effectLst/>
                          <a:latin typeface="Arial" panose="020B0604020202020204" pitchFamily="34" charset="0"/>
                          <a:cs typeface="Arial" panose="020B0604020202020204" pitchFamily="34" charset="0"/>
                        </a:rPr>
                        <a:t>9%</a:t>
                      </a:r>
                    </a:p>
                  </a:txBody>
                  <a:tcPr marL="3723" marR="3723" marT="3723" marB="0" anchor="ctr">
                    <a:lnL>
                      <a:noFill/>
                    </a:lnL>
                    <a:lnR>
                      <a:noFill/>
                    </a:lnR>
                    <a:lnT>
                      <a:noFill/>
                    </a:lnT>
                    <a:lnB>
                      <a:noFill/>
                    </a:lnB>
                    <a:solidFill>
                      <a:srgbClr val="F8E984"/>
                    </a:solidFill>
                  </a:tcPr>
                </a:tc>
                <a:extLst>
                  <a:ext uri="{0D108BD9-81ED-4DB2-BD59-A6C34878D82A}">
                    <a16:rowId xmlns:a16="http://schemas.microsoft.com/office/drawing/2014/main" val="3734955619"/>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Industry credit</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87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C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9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8F7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A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86D"/>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A075"/>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A7A"/>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9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CF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A977"/>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DCF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a:noFill/>
                    </a:lnL>
                    <a:lnR>
                      <a:noFill/>
                    </a:lnR>
                    <a:lnT>
                      <a:noFill/>
                    </a:lnT>
                    <a:lnB>
                      <a:noFill/>
                    </a:lnB>
                    <a:solidFill>
                      <a:srgbClr val="F8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C7DB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a:noFill/>
                    </a:lnL>
                    <a:lnR>
                      <a:noFill/>
                    </a:lnR>
                    <a:lnT>
                      <a:noFill/>
                    </a:lnT>
                    <a:lnB>
                      <a:noFill/>
                    </a:lnB>
                    <a:solidFill>
                      <a:srgbClr val="C7DB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a:t>
                      </a:r>
                    </a:p>
                  </a:txBody>
                  <a:tcPr marL="3723" marR="3723" marT="3723" marB="0" anchor="ctr">
                    <a:lnL>
                      <a:noFill/>
                    </a:lnL>
                    <a:lnR>
                      <a:noFill/>
                    </a:lnR>
                    <a:lnT>
                      <a:noFill/>
                    </a:lnT>
                    <a:lnB>
                      <a:noFill/>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a:noFill/>
                    </a:lnL>
                    <a:lnR>
                      <a:noFill/>
                    </a:lnR>
                    <a:lnT>
                      <a:noFill/>
                    </a:lnT>
                    <a:lnB>
                      <a:noFill/>
                    </a:lnB>
                    <a:solidFill>
                      <a:srgbClr val="95CD7E"/>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3827957651"/>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Micro and Small</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47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16C"/>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E75"/>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B3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DD3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5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B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B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EA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7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5E4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CE1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4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BCD8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B4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0%</a:t>
                      </a:r>
                    </a:p>
                  </a:txBody>
                  <a:tcPr marL="3723" marR="3723" marT="3723" marB="0" anchor="ctr">
                    <a:lnL>
                      <a:noFill/>
                    </a:lnL>
                    <a:lnR>
                      <a:noFill/>
                    </a:lnR>
                    <a:lnT>
                      <a:noFill/>
                    </a:lnT>
                    <a:lnB>
                      <a:noFill/>
                    </a:lnB>
                    <a:solidFill>
                      <a:srgbClr val="B4D6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2%</a:t>
                      </a:r>
                    </a:p>
                  </a:txBody>
                  <a:tcPr marL="3723" marR="3723" marT="3723" marB="0" anchor="ctr">
                    <a:lnL>
                      <a:noFill/>
                    </a:lnL>
                    <a:lnR>
                      <a:noFill/>
                    </a:lnR>
                    <a:lnT>
                      <a:noFill/>
                    </a:lnT>
                    <a:lnB>
                      <a:noFill/>
                    </a:lnB>
                    <a:solidFill>
                      <a:srgbClr val="A4D1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3%</a:t>
                      </a:r>
                    </a:p>
                  </a:txBody>
                  <a:tcPr marL="3723" marR="3723" marT="3723" marB="0" anchor="ctr">
                    <a:lnL>
                      <a:noFill/>
                    </a:lnL>
                    <a:lnR>
                      <a:noFill/>
                    </a:lnR>
                    <a:lnT>
                      <a:noFill/>
                    </a:lnT>
                    <a:lnB>
                      <a:noFill/>
                    </a:lnB>
                    <a:solidFill>
                      <a:srgbClr val="9CCF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0%</a:t>
                      </a:r>
                    </a:p>
                  </a:txBody>
                  <a:tcPr marL="3723" marR="3723" marT="3723" marB="0" anchor="ctr">
                    <a:lnL>
                      <a:noFill/>
                    </a:lnL>
                    <a:lnR>
                      <a:noFill/>
                    </a:lnR>
                    <a:lnT>
                      <a:noFill/>
                    </a:lnT>
                    <a:lnB>
                      <a:noFill/>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0%</a:t>
                      </a:r>
                    </a:p>
                  </a:txBody>
                  <a:tcPr marL="3723" marR="3723" marT="3723" marB="0" anchor="ctr">
                    <a:lnL>
                      <a:noFill/>
                    </a:lnL>
                    <a:lnR>
                      <a:noFill/>
                    </a:lnR>
                    <a:lnT>
                      <a:noFill/>
                    </a:lnT>
                    <a:lnB>
                      <a:noFill/>
                    </a:lnB>
                    <a:solidFill>
                      <a:srgbClr val="63BE7B"/>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3351724542"/>
                  </a:ext>
                </a:extLst>
              </a:tr>
              <a:tr h="183840">
                <a:tc>
                  <a:txBody>
                    <a:bodyPr/>
                    <a:lstStyle/>
                    <a:p>
                      <a:pPr algn="l" fontAlgn="b"/>
                      <a:r>
                        <a:rPr lang="en-US" sz="800" b="0" i="1" u="none" strike="noStrike">
                          <a:solidFill>
                            <a:srgbClr val="000000"/>
                          </a:solidFill>
                          <a:effectLst/>
                          <a:latin typeface="Arial" panose="020B0604020202020204" pitchFamily="34" charset="0"/>
                          <a:cs typeface="Arial" panose="020B0604020202020204" pitchFamily="34" charset="0"/>
                        </a:rPr>
                        <a:t>-Medium</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7B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37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37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D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5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7%</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1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5%</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E8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CE6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5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9%</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8E0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0%</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ED4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5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AAD3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98CE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6%</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8ECB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63%</a:t>
                      </a:r>
                    </a:p>
                  </a:txBody>
                  <a:tcPr marL="3723" marR="3723" marT="3723" marB="0" anchor="ctr">
                    <a:lnL>
                      <a:noFill/>
                    </a:lnL>
                    <a:lnR>
                      <a:noFill/>
                    </a:lnR>
                    <a:lnT>
                      <a:noFill/>
                    </a:lnT>
                    <a:lnB>
                      <a:noFill/>
                    </a:lnB>
                    <a:solidFill>
                      <a:srgbClr val="94CC7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a:t>
                      </a:r>
                    </a:p>
                  </a:txBody>
                  <a:tcPr marL="3723" marR="3723" marT="3723" marB="0" anchor="ctr">
                    <a:lnL>
                      <a:noFill/>
                    </a:lnL>
                    <a:lnR>
                      <a:noFill/>
                    </a:lnR>
                    <a:lnT>
                      <a:noFill/>
                    </a:lnT>
                    <a:lnB>
                      <a:noFill/>
                    </a:lnB>
                    <a:solidFill>
                      <a:srgbClr val="B0D4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a:t>
                      </a:r>
                    </a:p>
                  </a:txBody>
                  <a:tcPr marL="3723" marR="3723" marT="3723" marB="0" anchor="ctr">
                    <a:lnL>
                      <a:noFill/>
                    </a:lnL>
                    <a:lnR>
                      <a:noFill/>
                    </a:lnR>
                    <a:lnT>
                      <a:noFill/>
                    </a:lnT>
                    <a:lnB>
                      <a:noFill/>
                    </a:lnB>
                    <a:solidFill>
                      <a:srgbClr val="B0D4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9%</a:t>
                      </a:r>
                    </a:p>
                  </a:txBody>
                  <a:tcPr marL="3723" marR="3723" marT="3723" marB="0" anchor="ctr">
                    <a:lnL>
                      <a:noFill/>
                    </a:lnL>
                    <a:lnR>
                      <a:noFill/>
                    </a:lnR>
                    <a:lnT>
                      <a:noFill/>
                    </a:lnT>
                    <a:lnB>
                      <a:noFill/>
                    </a:lnB>
                    <a:solidFill>
                      <a:srgbClr val="B0D480"/>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87%</a:t>
                      </a:r>
                    </a:p>
                  </a:txBody>
                  <a:tcPr marL="3723" marR="3723" marT="3723" marB="0" anchor="ctr">
                    <a:lnL>
                      <a:noFill/>
                    </a:lnL>
                    <a:lnR>
                      <a:noFill/>
                    </a:lnR>
                    <a:lnT>
                      <a:noFill/>
                    </a:lnT>
                    <a:lnB>
                      <a:noFill/>
                    </a:lnB>
                    <a:solidFill>
                      <a:srgbClr val="63BE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75%</a:t>
                      </a:r>
                    </a:p>
                  </a:txBody>
                  <a:tcPr marL="3723" marR="3723" marT="3723" marB="0" anchor="ctr">
                    <a:lnL>
                      <a:noFill/>
                    </a:lnL>
                    <a:lnR>
                      <a:noFill/>
                    </a:lnR>
                    <a:lnT>
                      <a:noFill/>
                    </a:lnT>
                    <a:lnB>
                      <a:noFill/>
                    </a:lnB>
                    <a:solidFill>
                      <a:srgbClr val="7CC57D"/>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329835635"/>
                  </a:ext>
                </a:extLst>
              </a:tr>
              <a:tr h="183840">
                <a:tc>
                  <a:txBody>
                    <a:bodyPr/>
                    <a:lstStyle/>
                    <a:p>
                      <a:pPr algn="l" fontAlgn="b"/>
                      <a:r>
                        <a:rPr lang="en-US" sz="800" b="0" i="1" u="none" strike="noStrike" dirty="0">
                          <a:solidFill>
                            <a:srgbClr val="000000"/>
                          </a:solidFill>
                          <a:effectLst/>
                          <a:latin typeface="Arial" panose="020B0604020202020204" pitchFamily="34" charset="0"/>
                          <a:cs typeface="Arial" panose="020B0604020202020204" pitchFamily="34" charset="0"/>
                        </a:rPr>
                        <a:t>-Large</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4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D3DF8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4%</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D98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0E7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EEA83"/>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C7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C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272"/>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7F6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786E"/>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A9E75"/>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CB679"/>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C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2%</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98C71"/>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3%</a:t>
                      </a:r>
                    </a:p>
                  </a:txBody>
                  <a:tcPr marL="3723" marR="3723" marT="3723" marB="0" anchor="ctr">
                    <a:lnL w="19050" cap="flat" cmpd="sng" algn="ctr">
                      <a:solidFill>
                        <a:srgbClr val="FFFFFF"/>
                      </a:solidFill>
                      <a:prstDash val="solid"/>
                      <a:round/>
                      <a:headEnd type="none" w="med" len="med"/>
                      <a:tailEnd type="none" w="med" len="med"/>
                    </a:lnL>
                    <a:lnR>
                      <a:noFill/>
                    </a:lnR>
                    <a:lnT>
                      <a:noFill/>
                    </a:lnT>
                    <a:lnB>
                      <a:noFill/>
                    </a:lnB>
                    <a:solidFill>
                      <a:srgbClr val="F8696B"/>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BAF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BAF78"/>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9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a:noFill/>
                    </a:lnL>
                    <a:lnR>
                      <a:noFill/>
                    </a:lnR>
                    <a:lnT>
                      <a:noFill/>
                    </a:lnT>
                    <a:lnB>
                      <a:noFill/>
                    </a:lnB>
                    <a:solidFill>
                      <a:srgbClr val="FDD37F"/>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1%</a:t>
                      </a:r>
                    </a:p>
                  </a:txBody>
                  <a:tcPr marL="3723" marR="3723" marT="3723" marB="0" anchor="ctr">
                    <a:lnL>
                      <a:noFill/>
                    </a:lnL>
                    <a:lnR>
                      <a:noFill/>
                    </a:lnR>
                    <a:lnT>
                      <a:noFill/>
                    </a:lnT>
                    <a:lnB>
                      <a:noFill/>
                    </a:lnB>
                    <a:solidFill>
                      <a:srgbClr val="F9E984"/>
                    </a:solidFill>
                  </a:tcPr>
                </a:tc>
                <a:tc>
                  <a:txBody>
                    <a:bodyPr/>
                    <a:lstStyle/>
                    <a:p>
                      <a:pPr algn="ctr" fontAlgn="b"/>
                      <a:r>
                        <a:rPr lang="en-US" sz="800" b="0" i="0" u="none" strike="noStrike">
                          <a:solidFill>
                            <a:srgbClr val="000000"/>
                          </a:solidFill>
                          <a:effectLst/>
                          <a:latin typeface="Arial" panose="020B0604020202020204" pitchFamily="34" charset="0"/>
                          <a:cs typeface="Arial" panose="020B0604020202020204" pitchFamily="34" charset="0"/>
                        </a:rPr>
                        <a:t>0%</a:t>
                      </a:r>
                    </a:p>
                  </a:txBody>
                  <a:tcPr marL="3723" marR="3723" marT="3723" marB="0" anchor="ctr">
                    <a:lnL>
                      <a:noFill/>
                    </a:lnL>
                    <a:lnR>
                      <a:noFill/>
                    </a:lnR>
                    <a:lnT>
                      <a:noFill/>
                    </a:lnT>
                    <a:lnB>
                      <a:noFill/>
                    </a:lnB>
                    <a:solidFill>
                      <a:srgbClr val="FDD37F"/>
                    </a:solidFill>
                  </a:tcPr>
                </a:tc>
                <a:tc>
                  <a:txBody>
                    <a:bodyPr/>
                    <a:lstStyle/>
                    <a:p>
                      <a:pPr algn="l" fontAlgn="b"/>
                      <a:endParaRPr lang="en-US" sz="800" b="0" i="0" u="none" strike="noStrike">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tc>
                  <a:txBody>
                    <a:bodyPr/>
                    <a:lstStyle/>
                    <a:p>
                      <a:pPr algn="l" fontAlgn="b"/>
                      <a:endParaRPr lang="en-US" sz="800" b="0" i="0" u="none" strike="noStrike" dirty="0">
                        <a:solidFill>
                          <a:srgbClr val="000000"/>
                        </a:solidFill>
                        <a:effectLst/>
                        <a:latin typeface="Arial" panose="020B0604020202020204" pitchFamily="34" charset="0"/>
                        <a:cs typeface="Arial" panose="020B0604020202020204" pitchFamily="34" charset="0"/>
                      </a:endParaRPr>
                    </a:p>
                  </a:txBody>
                  <a:tcPr marL="3723" marR="3723" marT="3723" marB="0" anchor="ctr">
                    <a:lnL>
                      <a:noFill/>
                    </a:lnL>
                    <a:lnR>
                      <a:noFill/>
                    </a:lnR>
                    <a:lnT>
                      <a:noFill/>
                    </a:lnT>
                    <a:lnB>
                      <a:noFill/>
                    </a:lnB>
                  </a:tcPr>
                </a:tc>
                <a:extLst>
                  <a:ext uri="{0D108BD9-81ED-4DB2-BD59-A6C34878D82A}">
                    <a16:rowId xmlns:a16="http://schemas.microsoft.com/office/drawing/2014/main" val="605394876"/>
                  </a:ext>
                </a:extLst>
              </a:tr>
            </a:tbl>
          </a:graphicData>
        </a:graphic>
      </p:graphicFrame>
    </p:spTree>
    <p:extLst>
      <p:ext uri="{BB962C8B-B14F-4D97-AF65-F5344CB8AC3E}">
        <p14:creationId xmlns:p14="http://schemas.microsoft.com/office/powerpoint/2010/main" val="2485520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73858" y="88993"/>
            <a:ext cx="11178500" cy="664797"/>
          </a:xfrm>
        </p:spPr>
        <p:txBody>
          <a:bodyPr/>
          <a:lstStyle/>
          <a:p>
            <a:r>
              <a:rPr lang="en-IN" sz="2400" dirty="0">
                <a:solidFill>
                  <a:schemeClr val="tx1"/>
                </a:solidFill>
              </a:rPr>
              <a:t>Central government finances in a relatively healthier position compared to last year</a:t>
            </a:r>
          </a:p>
        </p:txBody>
      </p:sp>
      <p:sp>
        <p:nvSpPr>
          <p:cNvPr id="11" name="Rectangle 10"/>
          <p:cNvSpPr/>
          <p:nvPr/>
        </p:nvSpPr>
        <p:spPr>
          <a:xfrm>
            <a:off x="373858" y="865502"/>
            <a:ext cx="5700000" cy="3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r>
              <a:rPr lang="en-IN" sz="1167" b="1" dirty="0">
                <a:solidFill>
                  <a:prstClr val="white"/>
                </a:solidFill>
                <a:latin typeface="Arial" panose="020B0604020202020204" pitchFamily="34" charset="0"/>
                <a:cs typeface="Arial" panose="020B0604020202020204" pitchFamily="34" charset="0"/>
              </a:rPr>
              <a:t>Government expenditure at a peak in Q4FY21, Q4FY22 cautious thus far</a:t>
            </a:r>
          </a:p>
        </p:txBody>
      </p:sp>
      <p:sp>
        <p:nvSpPr>
          <p:cNvPr id="12" name="Rectangle 11"/>
          <p:cNvSpPr/>
          <p:nvPr/>
        </p:nvSpPr>
        <p:spPr>
          <a:xfrm>
            <a:off x="6382244" y="862763"/>
            <a:ext cx="5700000" cy="3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r>
              <a:rPr lang="en-IN" sz="1167" b="1" dirty="0">
                <a:solidFill>
                  <a:prstClr val="white"/>
                </a:solidFill>
                <a:latin typeface="Arial" panose="020B0604020202020204" pitchFamily="34" charset="0"/>
                <a:cs typeface="Arial" panose="020B0604020202020204" pitchFamily="34" charset="0"/>
              </a:rPr>
              <a:t>Receipts in Q4FY22 substantially lower than previous years</a:t>
            </a:r>
          </a:p>
        </p:txBody>
      </p:sp>
      <p:sp>
        <p:nvSpPr>
          <p:cNvPr id="13" name="Rectangle 12"/>
          <p:cNvSpPr/>
          <p:nvPr/>
        </p:nvSpPr>
        <p:spPr>
          <a:xfrm>
            <a:off x="373858" y="3620878"/>
            <a:ext cx="5700000" cy="3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r>
              <a:rPr lang="en-IN" sz="1167" b="1" dirty="0">
                <a:solidFill>
                  <a:prstClr val="white"/>
                </a:solidFill>
                <a:latin typeface="Arial" panose="020B0604020202020204" pitchFamily="34" charset="0"/>
                <a:cs typeface="Arial" panose="020B0604020202020204" pitchFamily="34" charset="0"/>
              </a:rPr>
              <a:t>m-o-m build up of cumulative fiscal deficit in value terms (INR trillion)</a:t>
            </a:r>
          </a:p>
        </p:txBody>
      </p:sp>
      <p:sp>
        <p:nvSpPr>
          <p:cNvPr id="14" name="Rectangle 13"/>
          <p:cNvSpPr/>
          <p:nvPr/>
        </p:nvSpPr>
        <p:spPr>
          <a:xfrm>
            <a:off x="6382244" y="3605092"/>
            <a:ext cx="5700000" cy="3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r>
              <a:rPr lang="en-IN" sz="1167" b="1" dirty="0">
                <a:solidFill>
                  <a:prstClr val="white"/>
                </a:solidFill>
                <a:latin typeface="Arial" panose="020B0604020202020204" pitchFamily="34" charset="0"/>
                <a:cs typeface="Arial" panose="020B0604020202020204" pitchFamily="34" charset="0"/>
              </a:rPr>
              <a:t>m-o-m build-up of cumulative market borrowings of the govt. (INR trillion)</a:t>
            </a:r>
          </a:p>
        </p:txBody>
      </p:sp>
      <p:sp>
        <p:nvSpPr>
          <p:cNvPr id="24" name="Slide Number Placeholder 1"/>
          <p:cNvSpPr txBox="1">
            <a:spLocks/>
          </p:cNvSpPr>
          <p:nvPr/>
        </p:nvSpPr>
        <p:spPr>
          <a:xfrm>
            <a:off x="1190625" y="6381732"/>
            <a:ext cx="6611817" cy="387233"/>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l"/>
            <a:r>
              <a:rPr lang="en-US" sz="1000" i="1" dirty="0">
                <a:solidFill>
                  <a:prstClr val="black"/>
                </a:solidFill>
              </a:rPr>
              <a:t>Note : exp and receipts data based on 2 months data</a:t>
            </a:r>
          </a:p>
          <a:p>
            <a:pPr algn="l"/>
            <a:r>
              <a:rPr lang="en-US" sz="1000" i="1" dirty="0">
                <a:solidFill>
                  <a:prstClr val="black"/>
                </a:solidFill>
              </a:rPr>
              <a:t>Source: RBI, </a:t>
            </a:r>
            <a:r>
              <a:rPr lang="en-IN" sz="1000" i="1" dirty="0">
                <a:solidFill>
                  <a:prstClr val="black"/>
                </a:solidFill>
              </a:rPr>
              <a:t>CONTROLLER GENERAL OF ACCOUNTS, MINISTRY OF FINANCE , CRISIL Research</a:t>
            </a:r>
          </a:p>
        </p:txBody>
      </p:sp>
      <p:graphicFrame>
        <p:nvGraphicFramePr>
          <p:cNvPr id="18" name="Chart 17">
            <a:extLst>
              <a:ext uri="{FF2B5EF4-FFF2-40B4-BE49-F238E27FC236}">
                <a16:creationId xmlns:a16="http://schemas.microsoft.com/office/drawing/2014/main" id="{00000000-0008-0000-0800-000002000000}"/>
              </a:ext>
            </a:extLst>
          </p:cNvPr>
          <p:cNvGraphicFramePr>
            <a:graphicFrameLocks/>
          </p:cNvGraphicFramePr>
          <p:nvPr>
            <p:extLst>
              <p:ext uri="{D42A27DB-BD31-4B8C-83A1-F6EECF244321}">
                <p14:modId xmlns:p14="http://schemas.microsoft.com/office/powerpoint/2010/main" val="787404046"/>
              </p:ext>
            </p:extLst>
          </p:nvPr>
        </p:nvGraphicFramePr>
        <p:xfrm>
          <a:off x="373858" y="3965946"/>
          <a:ext cx="5699999" cy="23206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a:extLst>
              <a:ext uri="{FF2B5EF4-FFF2-40B4-BE49-F238E27FC236}">
                <a16:creationId xmlns:a16="http://schemas.microsoft.com/office/drawing/2014/main" id="{00000000-0008-0000-0900-000002000000}"/>
              </a:ext>
            </a:extLst>
          </p:cNvPr>
          <p:cNvGraphicFramePr>
            <a:graphicFrameLocks/>
          </p:cNvGraphicFramePr>
          <p:nvPr>
            <p:extLst>
              <p:ext uri="{D42A27DB-BD31-4B8C-83A1-F6EECF244321}">
                <p14:modId xmlns:p14="http://schemas.microsoft.com/office/powerpoint/2010/main" val="428051113"/>
              </p:ext>
            </p:extLst>
          </p:nvPr>
        </p:nvGraphicFramePr>
        <p:xfrm>
          <a:off x="6382243" y="3905092"/>
          <a:ext cx="5699999" cy="23206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097421389"/>
              </p:ext>
            </p:extLst>
          </p:nvPr>
        </p:nvGraphicFramePr>
        <p:xfrm>
          <a:off x="6382243" y="1187887"/>
          <a:ext cx="5699998" cy="22119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3587292950"/>
              </p:ext>
            </p:extLst>
          </p:nvPr>
        </p:nvGraphicFramePr>
        <p:xfrm>
          <a:off x="373858" y="1187887"/>
          <a:ext cx="5699998" cy="232062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770275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5" y="124377"/>
            <a:ext cx="11709282" cy="664797"/>
          </a:xfrm>
        </p:spPr>
        <p:txBody>
          <a:bodyPr/>
          <a:lstStyle/>
          <a:p>
            <a:r>
              <a:rPr lang="en-IN" sz="2400" dirty="0">
                <a:solidFill>
                  <a:schemeClr val="tx1"/>
                </a:solidFill>
              </a:rPr>
              <a:t>State government borrowings similar to last year as partial lockdowns hurt state revenues</a:t>
            </a:r>
          </a:p>
        </p:txBody>
      </p:sp>
      <p:sp>
        <p:nvSpPr>
          <p:cNvPr id="3" name="Slide Number Placeholder 2"/>
          <p:cNvSpPr>
            <a:spLocks noGrp="1"/>
          </p:cNvSpPr>
          <p:nvPr>
            <p:ph type="sldNum" sz="quarter" idx="4"/>
          </p:nvPr>
        </p:nvSpPr>
        <p:spPr/>
        <p:txBody>
          <a:bodyPr/>
          <a:lstStyle/>
          <a:p>
            <a:fld id="{47FC1E78-8A1D-4B7B-BB49-A01A2C07F035}" type="slidenum">
              <a:rPr lang="en-US" smtClean="0"/>
              <a:t>16</a:t>
            </a:fld>
            <a:endParaRPr lang="en-US" dirty="0"/>
          </a:p>
        </p:txBody>
      </p:sp>
      <p:sp>
        <p:nvSpPr>
          <p:cNvPr id="4" name="Rectangle 3"/>
          <p:cNvSpPr/>
          <p:nvPr/>
        </p:nvSpPr>
        <p:spPr>
          <a:xfrm>
            <a:off x="373855" y="885335"/>
            <a:ext cx="11709284" cy="3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en-IN" sz="1167" b="1" dirty="0">
                <a:solidFill>
                  <a:prstClr val="white"/>
                </a:solidFill>
                <a:latin typeface="Arial" panose="020B0604020202020204" pitchFamily="34" charset="0"/>
                <a:cs typeface="Arial" panose="020B0604020202020204" pitchFamily="34" charset="0"/>
              </a:rPr>
              <a:t>m-o-m build-up of state government G-sec borrowings (INR trillion/INR lakh crore)</a:t>
            </a:r>
          </a:p>
        </p:txBody>
      </p:sp>
      <p:sp>
        <p:nvSpPr>
          <p:cNvPr id="5" name="Rectangle 4"/>
          <p:cNvSpPr/>
          <p:nvPr/>
        </p:nvSpPr>
        <p:spPr>
          <a:xfrm>
            <a:off x="373856" y="3414955"/>
            <a:ext cx="11709284" cy="3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en-IN" sz="1167" b="1" dirty="0">
                <a:solidFill>
                  <a:prstClr val="white"/>
                </a:solidFill>
                <a:latin typeface="Arial" panose="020B0604020202020204" pitchFamily="34" charset="0"/>
                <a:cs typeface="Arial" panose="020B0604020202020204" pitchFamily="34" charset="0"/>
              </a:rPr>
              <a:t>Year to date G-sec borrowings of various state governments and comparable levels for past year (INR crores)</a:t>
            </a:r>
          </a:p>
        </p:txBody>
      </p:sp>
      <p:sp>
        <p:nvSpPr>
          <p:cNvPr id="8" name="Slide Number Placeholder 1"/>
          <p:cNvSpPr txBox="1">
            <a:spLocks/>
          </p:cNvSpPr>
          <p:nvPr/>
        </p:nvSpPr>
        <p:spPr>
          <a:xfrm>
            <a:off x="1077499" y="6234785"/>
            <a:ext cx="6611817" cy="387233"/>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l"/>
            <a:r>
              <a:rPr lang="en-US" sz="1000" i="1" dirty="0">
                <a:solidFill>
                  <a:prstClr val="black"/>
                </a:solidFill>
              </a:rPr>
              <a:t>Source: RBI,</a:t>
            </a:r>
            <a:r>
              <a:rPr lang="en-IN" sz="1000" i="1" dirty="0">
                <a:solidFill>
                  <a:prstClr val="black"/>
                </a:solidFill>
              </a:rPr>
              <a:t> MINISTRY OF FINANCE , CRISIL Research</a:t>
            </a:r>
          </a:p>
        </p:txBody>
      </p:sp>
      <p:graphicFrame>
        <p:nvGraphicFramePr>
          <p:cNvPr id="10" name="Chart 9">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43426227"/>
              </p:ext>
            </p:extLst>
          </p:nvPr>
        </p:nvGraphicFramePr>
        <p:xfrm>
          <a:off x="414069" y="3768838"/>
          <a:ext cx="11669069" cy="230928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321423291"/>
              </p:ext>
            </p:extLst>
          </p:nvPr>
        </p:nvGraphicFramePr>
        <p:xfrm>
          <a:off x="373855" y="1185335"/>
          <a:ext cx="11709281" cy="20729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905690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4252"/>
            <a:ext cx="11468100" cy="387798"/>
          </a:xfrm>
        </p:spPr>
        <p:txBody>
          <a:bodyPr/>
          <a:lstStyle/>
          <a:p>
            <a:r>
              <a:rPr lang="en-US" sz="2800" dirty="0">
                <a:solidFill>
                  <a:schemeClr val="tx1"/>
                </a:solidFill>
              </a:rPr>
              <a:t>Perceptions and Expectations on the General Economic Situation</a:t>
            </a:r>
          </a:p>
        </p:txBody>
      </p:sp>
      <p:sp>
        <p:nvSpPr>
          <p:cNvPr id="15" name="Text Placeholder 3"/>
          <p:cNvSpPr txBox="1">
            <a:spLocks/>
          </p:cNvSpPr>
          <p:nvPr/>
        </p:nvSpPr>
        <p:spPr>
          <a:xfrm>
            <a:off x="381000" y="804332"/>
            <a:ext cx="5638800" cy="342900"/>
          </a:xfrm>
          <a:prstGeom prst="roundRect">
            <a:avLst/>
          </a:prstGeom>
          <a:solidFill>
            <a:schemeClr val="accent1"/>
          </a:solidFill>
        </p:spPr>
        <p:txBody>
          <a:bodyPr anchor="ctr" anchorCtr="1"/>
          <a:lstStyle>
            <a:defPPr>
              <a:defRPr lang="en-US"/>
            </a:defPPr>
            <a:lvl1pPr indent="0" algn="ctr" defTabSz="457200">
              <a:lnSpc>
                <a:spcPct val="90000"/>
              </a:lnSpc>
              <a:spcBef>
                <a:spcPts val="500"/>
              </a:spcBef>
              <a:buFont typeface="Arial" panose="020B0604020202020204" pitchFamily="34" charset="0"/>
              <a:buNone/>
              <a:defRPr sz="1600" b="1">
                <a:solidFill>
                  <a:schemeClr val="bg1"/>
                </a:solidFill>
                <a:latin typeface="Arial" charset="0"/>
                <a:ea typeface="Arial" charset="0"/>
                <a:cs typeface="Arial"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333" dirty="0">
                <a:solidFill>
                  <a:prstClr val="white"/>
                </a:solidFill>
              </a:rPr>
              <a:t>Consumer Confidence Index</a:t>
            </a:r>
          </a:p>
        </p:txBody>
      </p:sp>
      <p:sp>
        <p:nvSpPr>
          <p:cNvPr id="17" name="Text Placeholder 8"/>
          <p:cNvSpPr txBox="1">
            <a:spLocks/>
          </p:cNvSpPr>
          <p:nvPr/>
        </p:nvSpPr>
        <p:spPr>
          <a:xfrm>
            <a:off x="381000" y="6128139"/>
            <a:ext cx="5638800" cy="152400"/>
          </a:xfrm>
          <a:prstGeom prst="rect">
            <a:avLst/>
          </a:prstGeom>
        </p:spPr>
        <p:txBody>
          <a:bodyPr vert="horz" lIns="0" tIns="0" rIns="0" bIns="0" rtlCol="0" anchor="ctr">
            <a:noAutofit/>
          </a:bodyPr>
          <a:lstStyle>
            <a:lvl1pPr marL="0" indent="0" algn="l" defTabSz="457200" rtl="0" eaLnBrk="1" latinLnBrk="0" hangingPunct="1">
              <a:spcBef>
                <a:spcPts val="500"/>
              </a:spcBef>
              <a:buFont typeface="Arial"/>
              <a:buNone/>
              <a:defRPr lang="en-US" sz="800" b="0" i="0" kern="1200" baseline="0" dirty="0" smtClean="0">
                <a:solidFill>
                  <a:schemeClr val="tx1"/>
                </a:solidFill>
                <a:latin typeface="Arial" panose="020B0604020202020204" pitchFamily="34" charset="0"/>
                <a:ea typeface="MS PGothic" charset="0"/>
                <a:cs typeface="Arial" panose="020B0604020202020204" pitchFamily="34"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917" i="1" dirty="0">
                <a:solidFill>
                  <a:prstClr val="black"/>
                </a:solidFill>
              </a:rPr>
              <a:t>Source: CRISIL Research, RBI, NCAER</a:t>
            </a:r>
          </a:p>
        </p:txBody>
      </p:sp>
      <p:sp>
        <p:nvSpPr>
          <p:cNvPr id="21" name="Text Placeholder 3"/>
          <p:cNvSpPr txBox="1">
            <a:spLocks/>
          </p:cNvSpPr>
          <p:nvPr/>
        </p:nvSpPr>
        <p:spPr>
          <a:xfrm>
            <a:off x="6210300" y="804332"/>
            <a:ext cx="5638800" cy="342900"/>
          </a:xfrm>
          <a:prstGeom prst="roundRect">
            <a:avLst/>
          </a:prstGeom>
          <a:solidFill>
            <a:schemeClr val="accent1"/>
          </a:solidFill>
        </p:spPr>
        <p:txBody>
          <a:bodyPr anchor="ctr" anchorCtr="1"/>
          <a:lstStyle>
            <a:defPPr>
              <a:defRPr lang="en-US"/>
            </a:defPPr>
            <a:lvl1pPr indent="0" algn="ctr" defTabSz="457200">
              <a:lnSpc>
                <a:spcPct val="90000"/>
              </a:lnSpc>
              <a:spcBef>
                <a:spcPts val="500"/>
              </a:spcBef>
              <a:buFont typeface="Arial" panose="020B0604020202020204" pitchFamily="34" charset="0"/>
              <a:buNone/>
              <a:defRPr sz="1600" b="1">
                <a:solidFill>
                  <a:schemeClr val="bg1"/>
                </a:solidFill>
                <a:latin typeface="Arial" charset="0"/>
                <a:ea typeface="Arial" charset="0"/>
                <a:cs typeface="Arial"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333" dirty="0">
                <a:solidFill>
                  <a:prstClr val="white"/>
                </a:solidFill>
              </a:rPr>
              <a:t>PFCE to continue its momentum in FY23, albeit at a slower pace </a:t>
            </a:r>
          </a:p>
        </p:txBody>
      </p:sp>
      <p:sp>
        <p:nvSpPr>
          <p:cNvPr id="23" name="TextBox 22"/>
          <p:cNvSpPr txBox="1"/>
          <p:nvPr/>
        </p:nvSpPr>
        <p:spPr>
          <a:xfrm>
            <a:off x="6301274" y="6105264"/>
            <a:ext cx="5638800" cy="374590"/>
          </a:xfrm>
          <a:prstGeom prst="rect">
            <a:avLst/>
          </a:prstGeom>
          <a:noFill/>
        </p:spPr>
        <p:txBody>
          <a:bodyPr wrap="square" rtlCol="0">
            <a:spAutoFit/>
          </a:bodyPr>
          <a:lstStyle/>
          <a:p>
            <a:r>
              <a:rPr lang="en-US" sz="917" dirty="0">
                <a:solidFill>
                  <a:prstClr val="black"/>
                </a:solidFill>
                <a:latin typeface="Arial" panose="020B0604020202020204" pitchFamily="34" charset="0"/>
                <a:cs typeface="Arial" panose="020B0604020202020204" pitchFamily="34" charset="0"/>
              </a:rPr>
              <a:t>NOTE: New series considered with a base year - 2011-12</a:t>
            </a:r>
          </a:p>
          <a:p>
            <a:r>
              <a:rPr lang="en-US" sz="917" i="1" dirty="0">
                <a:solidFill>
                  <a:prstClr val="black"/>
                </a:solidFill>
                <a:latin typeface="Arial" panose="020B0604020202020204" pitchFamily="34" charset="0"/>
                <a:cs typeface="Arial" panose="020B0604020202020204" pitchFamily="34" charset="0"/>
              </a:rPr>
              <a:t>Source: CRISIL Research</a:t>
            </a:r>
          </a:p>
        </p:txBody>
      </p:sp>
      <p:sp>
        <p:nvSpPr>
          <p:cNvPr id="3" name="Slide Number Placeholder 2"/>
          <p:cNvSpPr>
            <a:spLocks noGrp="1"/>
          </p:cNvSpPr>
          <p:nvPr>
            <p:ph type="sldNum" sz="quarter" idx="4294967295"/>
          </p:nvPr>
        </p:nvSpPr>
        <p:spPr>
          <a:xfrm>
            <a:off x="8305800" y="6356351"/>
            <a:ext cx="2743200" cy="365125"/>
          </a:xfrm>
        </p:spPr>
        <p:txBody>
          <a:bodyPr/>
          <a:lstStyle/>
          <a:p>
            <a:fld id="{47FC1E78-8A1D-4B7B-BB49-A01A2C07F035}" type="slidenum">
              <a:rPr lang="en-US" smtClean="0"/>
              <a:t>17</a:t>
            </a:fld>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1" y="1283431"/>
            <a:ext cx="717244" cy="717244"/>
          </a:xfrm>
          <a:prstGeom prst="rect">
            <a:avLst/>
          </a:prstGeom>
        </p:spPr>
      </p:pic>
      <p:sp>
        <p:nvSpPr>
          <p:cNvPr id="24" name="Rectangle 23"/>
          <p:cNvSpPr/>
          <p:nvPr/>
        </p:nvSpPr>
        <p:spPr>
          <a:xfrm>
            <a:off x="1098245" y="1221701"/>
            <a:ext cx="4921555" cy="100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67" dirty="0">
                <a:solidFill>
                  <a:schemeClr val="tx1"/>
                </a:solidFill>
                <a:latin typeface="Arial" panose="020B0604020202020204" pitchFamily="34" charset="0"/>
                <a:cs typeface="Arial" panose="020B0604020202020204" pitchFamily="34" charset="0"/>
              </a:rPr>
              <a:t>Consumer confidence continued to improve from the historic low recorded in July 2021 though the pace slowed down in January 2022; the current situation index increased to 63.7 in January 2022 from 62.3 in the previous survey round</a:t>
            </a:r>
          </a:p>
          <a:p>
            <a:endParaRPr lang="en-IN" sz="1167"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35CDABD6-FAB6-47C1-8CF9-55026CD2511F}"/>
              </a:ext>
            </a:extLst>
          </p:cNvPr>
          <p:cNvSpPr/>
          <p:nvPr/>
        </p:nvSpPr>
        <p:spPr>
          <a:xfrm>
            <a:off x="11208774" y="2000674"/>
            <a:ext cx="731300" cy="210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sp>
        <p:nvSpPr>
          <p:cNvPr id="20" name="Rectangle 19">
            <a:extLst>
              <a:ext uri="{FF2B5EF4-FFF2-40B4-BE49-F238E27FC236}">
                <a16:creationId xmlns:a16="http://schemas.microsoft.com/office/drawing/2014/main" id="{8F7042B7-FA6B-4261-B39C-5956D0DEFDC9}"/>
              </a:ext>
            </a:extLst>
          </p:cNvPr>
          <p:cNvSpPr/>
          <p:nvPr/>
        </p:nvSpPr>
        <p:spPr>
          <a:xfrm>
            <a:off x="11117800" y="2159051"/>
            <a:ext cx="731300" cy="420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p>
        </p:txBody>
      </p:sp>
      <p:graphicFrame>
        <p:nvGraphicFramePr>
          <p:cNvPr id="25" name="Chart 24">
            <a:extLst>
              <a:ext uri="{FF2B5EF4-FFF2-40B4-BE49-F238E27FC236}">
                <a16:creationId xmlns:a16="http://schemas.microsoft.com/office/drawing/2014/main" id="{8FE26D77-750D-4D80-8DEF-2FEF3D285ECF}"/>
              </a:ext>
            </a:extLst>
          </p:cNvPr>
          <p:cNvGraphicFramePr>
            <a:graphicFrameLocks/>
          </p:cNvGraphicFramePr>
          <p:nvPr/>
        </p:nvGraphicFramePr>
        <p:xfrm>
          <a:off x="6210300" y="1254648"/>
          <a:ext cx="5638800" cy="47990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5">
            <a:extLst>
              <a:ext uri="{FF2B5EF4-FFF2-40B4-BE49-F238E27FC236}">
                <a16:creationId xmlns:a16="http://schemas.microsoft.com/office/drawing/2014/main" id="{4698EBAF-AE50-4FBC-AF9F-5958731E792B}"/>
              </a:ext>
            </a:extLst>
          </p:cNvPr>
          <p:cNvGraphicFramePr>
            <a:graphicFrameLocks/>
          </p:cNvGraphicFramePr>
          <p:nvPr/>
        </p:nvGraphicFramePr>
        <p:xfrm>
          <a:off x="520700" y="2303320"/>
          <a:ext cx="5499100" cy="382482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46192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776865"/>
            <a:ext cx="10515600" cy="415498"/>
          </a:xfrm>
        </p:spPr>
        <p:txBody>
          <a:bodyPr/>
          <a:lstStyle/>
          <a:p>
            <a:r>
              <a:rPr lang="en-US" sz="3000" dirty="0"/>
              <a:t>Rural Scenario and Government Spending</a:t>
            </a:r>
            <a:endParaRPr lang="en-IN" dirty="0"/>
          </a:p>
        </p:txBody>
      </p:sp>
    </p:spTree>
    <p:extLst>
      <p:ext uri="{BB962C8B-B14F-4D97-AF65-F5344CB8AC3E}">
        <p14:creationId xmlns:p14="http://schemas.microsoft.com/office/powerpoint/2010/main" val="35165017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3317F94-9F03-4ABB-A481-D6D329AD4C48}"/>
              </a:ext>
            </a:extLst>
          </p:cNvPr>
          <p:cNvSpPr txBox="1">
            <a:spLocks/>
          </p:cNvSpPr>
          <p:nvPr/>
        </p:nvSpPr>
        <p:spPr>
          <a:xfrm>
            <a:off x="284608" y="246081"/>
            <a:ext cx="11785600" cy="323102"/>
          </a:xfrm>
          <a:prstGeom prst="rect">
            <a:avLst/>
          </a:prstGeom>
        </p:spPr>
        <p:txBody>
          <a:bodyPr vert="horz" wrap="square" lIns="0" tIns="0" rIns="0" bIns="0" rtlCol="0" anchor="ctr">
            <a:spAutoFit/>
          </a:bodyPr>
          <a:lstStyle>
            <a:lvl1pPr algn="l" defTabSz="1097280" rtl="0" eaLnBrk="1" latinLnBrk="0" hangingPunct="1">
              <a:lnSpc>
                <a:spcPct val="90000"/>
              </a:lnSpc>
              <a:spcBef>
                <a:spcPct val="0"/>
              </a:spcBef>
              <a:buNone/>
              <a:defRPr sz="5280" kern="1200">
                <a:solidFill>
                  <a:schemeClr val="tx1"/>
                </a:solidFill>
                <a:latin typeface="+mj-lt"/>
                <a:ea typeface="+mj-ea"/>
                <a:cs typeface="+mj-cs"/>
              </a:defRPr>
            </a:lvl1pPr>
          </a:lstStyle>
          <a:p>
            <a:r>
              <a:rPr lang="en-US" sz="2333" b="1" dirty="0">
                <a:latin typeface="Arial" panose="020B0604020202020204" pitchFamily="34" charset="0"/>
                <a:cs typeface="Arial" panose="020B0604020202020204" pitchFamily="34" charset="0"/>
              </a:rPr>
              <a:t>Low government support and higher input cost to impact farm sentiments in FY23</a:t>
            </a:r>
          </a:p>
        </p:txBody>
      </p:sp>
      <p:sp>
        <p:nvSpPr>
          <p:cNvPr id="51" name="Rounded Rectangle 44">
            <a:extLst>
              <a:ext uri="{FF2B5EF4-FFF2-40B4-BE49-F238E27FC236}">
                <a16:creationId xmlns:a16="http://schemas.microsoft.com/office/drawing/2014/main" id="{633DC844-80B1-4F69-94FB-CC5F50DC6B45}"/>
              </a:ext>
            </a:extLst>
          </p:cNvPr>
          <p:cNvSpPr/>
          <p:nvPr/>
        </p:nvSpPr>
        <p:spPr>
          <a:xfrm>
            <a:off x="6164037" y="709306"/>
            <a:ext cx="5660573" cy="355444"/>
          </a:xfrm>
          <a:prstGeom prst="roundRect">
            <a:avLst>
              <a:gd name="adj" fmla="val 0"/>
            </a:avLst>
          </a:prstGeom>
          <a:solidFill>
            <a:schemeClr val="tx1"/>
          </a:solidFill>
        </p:spPr>
        <p:txBody>
          <a:bodyPr anchor="ctr"/>
          <a:lstStyle/>
          <a:p>
            <a:pPr marL="285717" indent="-285717" algn="ctr" defTabSz="380955" eaLnBrk="0" fontAlgn="base" hangingPunct="0">
              <a:lnSpc>
                <a:spcPts val="1100"/>
              </a:lnSpc>
              <a:spcBef>
                <a:spcPct val="0"/>
              </a:spcBef>
              <a:spcAft>
                <a:spcPct val="0"/>
              </a:spcAft>
              <a:defRPr/>
            </a:pPr>
            <a:r>
              <a:rPr lang="en-US" sz="1333" b="1" dirty="0">
                <a:solidFill>
                  <a:prstClr val="white"/>
                </a:solidFill>
                <a:latin typeface="Arial" panose="020B0604020202020204" pitchFamily="34" charset="0"/>
                <a:ea typeface="MS PGothic" charset="0"/>
                <a:cs typeface="Arial" panose="020B0604020202020204" pitchFamily="34" charset="0"/>
              </a:rPr>
              <a:t>Government support</a:t>
            </a:r>
          </a:p>
        </p:txBody>
      </p:sp>
      <p:sp>
        <p:nvSpPr>
          <p:cNvPr id="52" name="Rounded Rectangle 44">
            <a:extLst>
              <a:ext uri="{FF2B5EF4-FFF2-40B4-BE49-F238E27FC236}">
                <a16:creationId xmlns:a16="http://schemas.microsoft.com/office/drawing/2014/main" id="{633DC844-80B1-4F69-94FB-CC5F50DC6B45}"/>
              </a:ext>
            </a:extLst>
          </p:cNvPr>
          <p:cNvSpPr/>
          <p:nvPr/>
        </p:nvSpPr>
        <p:spPr>
          <a:xfrm>
            <a:off x="406403" y="680357"/>
            <a:ext cx="5524499" cy="355444"/>
          </a:xfrm>
          <a:prstGeom prst="roundRect">
            <a:avLst>
              <a:gd name="adj" fmla="val 0"/>
            </a:avLst>
          </a:prstGeom>
          <a:solidFill>
            <a:schemeClr val="tx1"/>
          </a:solidFill>
        </p:spPr>
        <p:txBody>
          <a:bodyPr anchor="ctr"/>
          <a:lstStyle/>
          <a:p>
            <a:pPr marL="285717" indent="-285717" algn="ctr" defTabSz="380955" eaLnBrk="0" fontAlgn="base" hangingPunct="0">
              <a:lnSpc>
                <a:spcPts val="1100"/>
              </a:lnSpc>
              <a:spcBef>
                <a:spcPct val="0"/>
              </a:spcBef>
              <a:spcAft>
                <a:spcPct val="0"/>
              </a:spcAft>
              <a:defRPr/>
            </a:pPr>
            <a:r>
              <a:rPr lang="en-US" sz="1333" b="1" dirty="0">
                <a:solidFill>
                  <a:prstClr val="white"/>
                </a:solidFill>
                <a:latin typeface="Arial" panose="020B0604020202020204" pitchFamily="34" charset="0"/>
                <a:ea typeface="MS PGothic" charset="0"/>
                <a:cs typeface="Arial" panose="020B0604020202020204" pitchFamily="34" charset="0"/>
              </a:rPr>
              <a:t>Agri scenario lends support to a struggling economy</a:t>
            </a:r>
          </a:p>
        </p:txBody>
      </p:sp>
      <p:sp>
        <p:nvSpPr>
          <p:cNvPr id="64" name="TextBox 63"/>
          <p:cNvSpPr txBox="1"/>
          <p:nvPr/>
        </p:nvSpPr>
        <p:spPr>
          <a:xfrm>
            <a:off x="454083" y="6139250"/>
            <a:ext cx="2045370" cy="230832"/>
          </a:xfrm>
          <a:prstGeom prst="rect">
            <a:avLst/>
          </a:prstGeom>
          <a:noFill/>
        </p:spPr>
        <p:txBody>
          <a:bodyPr wrap="square" rtlCol="0">
            <a:spAutoFit/>
          </a:bodyPr>
          <a:lstStyle/>
          <a:p>
            <a:r>
              <a:rPr lang="en-IN" sz="900" dirty="0">
                <a:latin typeface="Arial" panose="020B0604020202020204" pitchFamily="34" charset="0"/>
                <a:cs typeface="Arial" panose="020B0604020202020204" pitchFamily="34" charset="0"/>
              </a:rPr>
              <a:t>Source – Industry, CRISIL Research</a:t>
            </a:r>
          </a:p>
        </p:txBody>
      </p:sp>
      <p:sp>
        <p:nvSpPr>
          <p:cNvPr id="69" name="TextBox 68"/>
          <p:cNvSpPr txBox="1"/>
          <p:nvPr/>
        </p:nvSpPr>
        <p:spPr>
          <a:xfrm>
            <a:off x="6314112" y="5019136"/>
            <a:ext cx="2446605" cy="230832"/>
          </a:xfrm>
          <a:prstGeom prst="rect">
            <a:avLst/>
          </a:prstGeom>
          <a:noFill/>
        </p:spPr>
        <p:txBody>
          <a:bodyPr wrap="square" rtlCol="0">
            <a:spAutoFit/>
          </a:bodyPr>
          <a:lstStyle/>
          <a:p>
            <a:r>
              <a:rPr lang="en-IN" sz="900" dirty="0">
                <a:latin typeface="Arial" panose="020B0604020202020204" pitchFamily="34" charset="0"/>
                <a:cs typeface="Arial" panose="020B0604020202020204" pitchFamily="34" charset="0"/>
              </a:rPr>
              <a:t>Source: Ministry of Rural Development</a:t>
            </a:r>
          </a:p>
        </p:txBody>
      </p:sp>
      <p:grpSp>
        <p:nvGrpSpPr>
          <p:cNvPr id="71" name="Group 70"/>
          <p:cNvGrpSpPr/>
          <p:nvPr/>
        </p:nvGrpSpPr>
        <p:grpSpPr>
          <a:xfrm>
            <a:off x="227973" y="3556693"/>
            <a:ext cx="5701783" cy="1758949"/>
            <a:chOff x="4306473" y="5879886"/>
            <a:chExt cx="6842140" cy="2110739"/>
          </a:xfrm>
        </p:grpSpPr>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8191" y="6895045"/>
              <a:ext cx="935631" cy="633810"/>
            </a:xfrm>
            <a:prstGeom prst="rect">
              <a:avLst/>
            </a:prstGeom>
          </p:spPr>
        </p:pic>
        <p:sp>
          <p:nvSpPr>
            <p:cNvPr id="75" name="Rectangle 74"/>
            <p:cNvSpPr/>
            <p:nvPr/>
          </p:nvSpPr>
          <p:spPr>
            <a:xfrm>
              <a:off x="6640622" y="5879886"/>
              <a:ext cx="4507991" cy="2110739"/>
            </a:xfrm>
            <a:prstGeom prst="rect">
              <a:avLst/>
            </a:prstGeom>
            <a:solidFill>
              <a:srgbClr val="44546A"/>
            </a:solidFill>
          </p:spPr>
          <p:style>
            <a:lnRef idx="0">
              <a:scrgbClr r="0" g="0" b="0"/>
            </a:lnRef>
            <a:fillRef idx="0">
              <a:scrgbClr r="0" g="0" b="0"/>
            </a:fillRef>
            <a:effectRef idx="0">
              <a:scrgbClr r="0" g="0" b="0"/>
            </a:effectRef>
            <a:fontRef idx="minor">
              <a:schemeClr val="lt1"/>
            </a:fontRef>
          </p:style>
          <p:txBody>
            <a:bodyPr spcFirstLastPara="0" vert="horz" wrap="square" lIns="44450" tIns="44450" rIns="44450" bIns="44450" numCol="1" spcCol="1270" anchor="ctr" anchorCtr="0">
              <a:noAutofit/>
            </a:bodyPr>
            <a:lstStyle/>
            <a:p>
              <a:pPr marL="95242" lvl="1" indent="-95242" defTabSz="518543">
                <a:spcBef>
                  <a:spcPct val="0"/>
                </a:spcBef>
                <a:spcAft>
                  <a:spcPct val="15000"/>
                </a:spcAft>
                <a:buChar char="••"/>
              </a:pPr>
              <a:r>
                <a:rPr lang="en-IN" sz="1167" dirty="0">
                  <a:solidFill>
                    <a:schemeClr val="bg1"/>
                  </a:solidFill>
                  <a:latin typeface="Arial" panose="020B0604020202020204" pitchFamily="34" charset="0"/>
                  <a:cs typeface="Arial" panose="020B0604020202020204" pitchFamily="34" charset="0"/>
                </a:rPr>
                <a:t>As on 31</a:t>
              </a:r>
              <a:r>
                <a:rPr lang="en-IN" sz="1167" baseline="30000" dirty="0">
                  <a:solidFill>
                    <a:schemeClr val="bg1"/>
                  </a:solidFill>
                  <a:latin typeface="Arial" panose="020B0604020202020204" pitchFamily="34" charset="0"/>
                  <a:cs typeface="Arial" panose="020B0604020202020204" pitchFamily="34" charset="0"/>
                </a:rPr>
                <a:t>st</a:t>
              </a:r>
              <a:r>
                <a:rPr lang="en-IN" sz="1167" dirty="0">
                  <a:solidFill>
                    <a:schemeClr val="bg1"/>
                  </a:solidFill>
                  <a:latin typeface="Arial" panose="020B0604020202020204" pitchFamily="34" charset="0"/>
                  <a:cs typeface="Arial" panose="020B0604020202020204" pitchFamily="34" charset="0"/>
                </a:rPr>
                <a:t> March 2022, Rs. 1,06,290 </a:t>
              </a:r>
              <a:r>
                <a:rPr lang="en-IN" sz="1167" dirty="0" err="1">
                  <a:solidFill>
                    <a:schemeClr val="bg1"/>
                  </a:solidFill>
                  <a:latin typeface="Arial" panose="020B0604020202020204" pitchFamily="34" charset="0"/>
                  <a:cs typeface="Arial" panose="020B0604020202020204" pitchFamily="34" charset="0"/>
                </a:rPr>
                <a:t>cr</a:t>
              </a:r>
              <a:r>
                <a:rPr lang="en-IN" sz="1167" dirty="0">
                  <a:solidFill>
                    <a:schemeClr val="bg1"/>
                  </a:solidFill>
                  <a:latin typeface="Arial" panose="020B0604020202020204" pitchFamily="34" charset="0"/>
                  <a:cs typeface="Arial" panose="020B0604020202020204" pitchFamily="34" charset="0"/>
                </a:rPr>
                <a:t> has been spent against Rs. 98,000 </a:t>
              </a:r>
              <a:r>
                <a:rPr lang="en-IN" sz="1167" dirty="0" err="1">
                  <a:solidFill>
                    <a:schemeClr val="bg1"/>
                  </a:solidFill>
                  <a:latin typeface="Arial" panose="020B0604020202020204" pitchFamily="34" charset="0"/>
                  <a:cs typeface="Arial" panose="020B0604020202020204" pitchFamily="34" charset="0"/>
                </a:rPr>
                <a:t>cr</a:t>
              </a:r>
              <a:r>
                <a:rPr lang="en-IN" sz="1167" dirty="0">
                  <a:solidFill>
                    <a:schemeClr val="bg1"/>
                  </a:solidFill>
                  <a:latin typeface="Arial" panose="020B0604020202020204" pitchFamily="34" charset="0"/>
                  <a:cs typeface="Arial" panose="020B0604020202020204" pitchFamily="34" charset="0"/>
                </a:rPr>
                <a:t> allocated </a:t>
              </a:r>
            </a:p>
            <a:p>
              <a:pPr marL="95242" lvl="1" indent="-95242" defTabSz="518543">
                <a:spcBef>
                  <a:spcPct val="0"/>
                </a:spcBef>
                <a:spcAft>
                  <a:spcPct val="15000"/>
                </a:spcAft>
                <a:buChar char="••"/>
              </a:pPr>
              <a:r>
                <a:rPr lang="en-IN" sz="1167" dirty="0">
                  <a:solidFill>
                    <a:schemeClr val="bg1"/>
                  </a:solidFill>
                  <a:latin typeface="Arial" panose="020B0604020202020204" pitchFamily="34" charset="0"/>
                  <a:cs typeface="Arial" panose="020B0604020202020204" pitchFamily="34" charset="0"/>
                </a:rPr>
                <a:t>Around 72.44 million households have worked under the scheme in FY22, while the full-year number in last fiscal was 75 million</a:t>
              </a:r>
            </a:p>
          </p:txBody>
        </p:sp>
        <p:grpSp>
          <p:nvGrpSpPr>
            <p:cNvPr id="76" name="Group 75"/>
            <p:cNvGrpSpPr/>
            <p:nvPr/>
          </p:nvGrpSpPr>
          <p:grpSpPr>
            <a:xfrm>
              <a:off x="4306473" y="6060871"/>
              <a:ext cx="1657349" cy="1287000"/>
              <a:chOff x="0" y="4072861"/>
              <a:chExt cx="1657349" cy="1287000"/>
            </a:xfrm>
          </p:grpSpPr>
          <p:sp>
            <p:nvSpPr>
              <p:cNvPr id="79" name="Rectangle 78"/>
              <p:cNvSpPr/>
              <p:nvPr/>
            </p:nvSpPr>
            <p:spPr>
              <a:xfrm>
                <a:off x="0" y="4072861"/>
                <a:ext cx="1657349" cy="1287000"/>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sp>
          <p:sp>
            <p:nvSpPr>
              <p:cNvPr id="80" name="Rectangle 79"/>
              <p:cNvSpPr/>
              <p:nvPr/>
            </p:nvSpPr>
            <p:spPr>
              <a:xfrm>
                <a:off x="0" y="4072861"/>
                <a:ext cx="1657349" cy="1287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4827" tIns="33867" rIns="94827" bIns="33867" numCol="1" spcCol="1270" anchor="ctr" anchorCtr="0">
                <a:noAutofit/>
              </a:bodyPr>
              <a:lstStyle/>
              <a:p>
                <a:pPr algn="r" defTabSz="592620">
                  <a:lnSpc>
                    <a:spcPct val="90000"/>
                  </a:lnSpc>
                  <a:spcBef>
                    <a:spcPct val="0"/>
                  </a:spcBef>
                  <a:spcAft>
                    <a:spcPct val="35000"/>
                  </a:spcAft>
                </a:pPr>
                <a:r>
                  <a:rPr lang="en-IN" sz="1333" b="1" dirty="0">
                    <a:solidFill>
                      <a:schemeClr val="tx1"/>
                    </a:solidFill>
                    <a:latin typeface="Arial" panose="020B0604020202020204" pitchFamily="34" charset="0"/>
                    <a:cs typeface="Arial" panose="020B0604020202020204" pitchFamily="34" charset="0"/>
                  </a:rPr>
                  <a:t>MNREGA</a:t>
                </a:r>
              </a:p>
            </p:txBody>
          </p:sp>
        </p:grpSp>
        <p:sp>
          <p:nvSpPr>
            <p:cNvPr id="77" name="Left Brace 76"/>
            <p:cNvSpPr/>
            <p:nvPr/>
          </p:nvSpPr>
          <p:spPr>
            <a:xfrm>
              <a:off x="5963823" y="5879887"/>
              <a:ext cx="289122" cy="2110738"/>
            </a:xfrm>
            <a:prstGeom prst="leftBrace">
              <a:avLst>
                <a:gd name="adj1" fmla="val 35000"/>
                <a:gd name="adj2" fmla="val 50000"/>
              </a:avLst>
            </a:prstGeom>
          </p:spPr>
          <p:style>
            <a:lnRef idx="2">
              <a:schemeClr val="dk2">
                <a:shade val="60000"/>
                <a:hueOff val="0"/>
                <a:satOff val="0"/>
                <a:lumOff val="0"/>
                <a:alphaOff val="0"/>
              </a:schemeClr>
            </a:lnRef>
            <a:fillRef idx="0">
              <a:schemeClr val="dk2">
                <a:hueOff val="0"/>
                <a:satOff val="0"/>
                <a:lumOff val="0"/>
                <a:alphaOff val="0"/>
              </a:schemeClr>
            </a:fillRef>
            <a:effectRef idx="0">
              <a:schemeClr val="dk2">
                <a:hueOff val="0"/>
                <a:satOff val="0"/>
                <a:lumOff val="0"/>
                <a:alphaOff val="0"/>
              </a:schemeClr>
            </a:effectRef>
            <a:fontRef idx="minor">
              <a:schemeClr val="tx1">
                <a:hueOff val="0"/>
                <a:satOff val="0"/>
                <a:lumOff val="0"/>
                <a:alphaOff val="0"/>
              </a:schemeClr>
            </a:fontRef>
          </p:style>
        </p:sp>
      </p:grpSp>
      <p:grpSp>
        <p:nvGrpSpPr>
          <p:cNvPr id="81" name="Group 80"/>
          <p:cNvGrpSpPr/>
          <p:nvPr/>
        </p:nvGrpSpPr>
        <p:grpSpPr>
          <a:xfrm>
            <a:off x="256899" y="1331609"/>
            <a:ext cx="5771065" cy="1674638"/>
            <a:chOff x="324394" y="1595847"/>
            <a:chExt cx="6792686" cy="1723269"/>
          </a:xfrm>
        </p:grpSpPr>
        <p:grpSp>
          <p:nvGrpSpPr>
            <p:cNvPr id="82" name="Group 81"/>
            <p:cNvGrpSpPr/>
            <p:nvPr/>
          </p:nvGrpSpPr>
          <p:grpSpPr>
            <a:xfrm>
              <a:off x="324394" y="1595847"/>
              <a:ext cx="1988818" cy="1723269"/>
              <a:chOff x="7396843" y="4156618"/>
              <a:chExt cx="1988818" cy="1723269"/>
            </a:xfrm>
          </p:grpSpPr>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7609" y="5099903"/>
                <a:ext cx="779984" cy="779984"/>
              </a:xfrm>
              <a:prstGeom prst="rect">
                <a:avLst/>
              </a:prstGeom>
            </p:spPr>
          </p:pic>
          <p:grpSp>
            <p:nvGrpSpPr>
              <p:cNvPr id="85" name="Group 84"/>
              <p:cNvGrpSpPr/>
              <p:nvPr/>
            </p:nvGrpSpPr>
            <p:grpSpPr>
              <a:xfrm>
                <a:off x="7396843" y="4337602"/>
                <a:ext cx="1657349" cy="1287000"/>
                <a:chOff x="0" y="4072861"/>
                <a:chExt cx="1657349" cy="1287000"/>
              </a:xfrm>
            </p:grpSpPr>
            <p:sp>
              <p:nvSpPr>
                <p:cNvPr id="87" name="Rectangle 86"/>
                <p:cNvSpPr/>
                <p:nvPr/>
              </p:nvSpPr>
              <p:spPr>
                <a:xfrm>
                  <a:off x="0" y="4072861"/>
                  <a:ext cx="1657349" cy="1287000"/>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sp>
            <p:sp>
              <p:nvSpPr>
                <p:cNvPr id="88" name="Rectangle 87"/>
                <p:cNvSpPr/>
                <p:nvPr/>
              </p:nvSpPr>
              <p:spPr>
                <a:xfrm>
                  <a:off x="0" y="4072861"/>
                  <a:ext cx="1657349" cy="1287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4827" tIns="33867" rIns="94827" bIns="33867" numCol="1" spcCol="1270" anchor="ctr" anchorCtr="0">
                  <a:noAutofit/>
                </a:bodyPr>
                <a:lstStyle/>
                <a:p>
                  <a:pPr algn="r" defTabSz="592620">
                    <a:lnSpc>
                      <a:spcPct val="90000"/>
                    </a:lnSpc>
                    <a:spcBef>
                      <a:spcPct val="0"/>
                    </a:spcBef>
                    <a:spcAft>
                      <a:spcPct val="35000"/>
                    </a:spcAft>
                  </a:pPr>
                  <a:r>
                    <a:rPr lang="en-IN" sz="1333" b="1" dirty="0">
                      <a:latin typeface="Arial" panose="020B0604020202020204" pitchFamily="34" charset="0"/>
                      <a:cs typeface="Arial" panose="020B0604020202020204" pitchFamily="34" charset="0"/>
                    </a:rPr>
                    <a:t>Crop scenario</a:t>
                  </a:r>
                </a:p>
              </p:txBody>
            </p:sp>
          </p:grpSp>
          <p:sp>
            <p:nvSpPr>
              <p:cNvPr id="86" name="Left Brace 85"/>
              <p:cNvSpPr/>
              <p:nvPr/>
            </p:nvSpPr>
            <p:spPr>
              <a:xfrm>
                <a:off x="9054192" y="4156618"/>
                <a:ext cx="331469" cy="1648968"/>
              </a:xfrm>
              <a:prstGeom prst="leftBrace">
                <a:avLst>
                  <a:gd name="adj1" fmla="val 35000"/>
                  <a:gd name="adj2" fmla="val 50000"/>
                </a:avLst>
              </a:prstGeom>
            </p:spPr>
            <p:style>
              <a:lnRef idx="2">
                <a:schemeClr val="dk2">
                  <a:shade val="60000"/>
                  <a:hueOff val="0"/>
                  <a:satOff val="0"/>
                  <a:lumOff val="0"/>
                  <a:alphaOff val="0"/>
                </a:schemeClr>
              </a:lnRef>
              <a:fillRef idx="0">
                <a:schemeClr val="dk2">
                  <a:hueOff val="0"/>
                  <a:satOff val="0"/>
                  <a:lumOff val="0"/>
                  <a:alphaOff val="0"/>
                </a:schemeClr>
              </a:fillRef>
              <a:effectRef idx="0">
                <a:schemeClr val="dk2">
                  <a:hueOff val="0"/>
                  <a:satOff val="0"/>
                  <a:lumOff val="0"/>
                  <a:alphaOff val="0"/>
                </a:schemeClr>
              </a:effectRef>
              <a:fontRef idx="minor">
                <a:schemeClr val="tx1">
                  <a:hueOff val="0"/>
                  <a:satOff val="0"/>
                  <a:lumOff val="0"/>
                  <a:alphaOff val="0"/>
                </a:schemeClr>
              </a:fontRef>
            </p:style>
          </p:sp>
        </p:grpSp>
        <p:sp>
          <p:nvSpPr>
            <p:cNvPr id="83" name="Rectangle 82"/>
            <p:cNvSpPr/>
            <p:nvPr/>
          </p:nvSpPr>
          <p:spPr>
            <a:xfrm>
              <a:off x="2609089" y="1698451"/>
              <a:ext cx="4507991" cy="1436177"/>
            </a:xfrm>
            <a:prstGeom prst="rect">
              <a:avLst/>
            </a:prstGeom>
            <a:solidFill>
              <a:srgbClr val="44546A"/>
            </a:solidFill>
          </p:spPr>
          <p:style>
            <a:lnRef idx="0">
              <a:scrgbClr r="0" g="0" b="0"/>
            </a:lnRef>
            <a:fillRef idx="0">
              <a:scrgbClr r="0" g="0" b="0"/>
            </a:fillRef>
            <a:effectRef idx="0">
              <a:scrgbClr r="0" g="0" b="0"/>
            </a:effectRef>
            <a:fontRef idx="minor">
              <a:schemeClr val="lt1"/>
            </a:fontRef>
          </p:style>
          <p:txBody>
            <a:bodyPr spcFirstLastPara="0" vert="horz" wrap="square" lIns="44450" tIns="44450" rIns="44450" bIns="44450" numCol="1" spcCol="1270" anchor="ctr" anchorCtr="0">
              <a:noAutofit/>
            </a:bodyPr>
            <a:lstStyle/>
            <a:p>
              <a:pPr marL="79368" lvl="1" indent="-79368" defTabSz="432119">
                <a:lnSpc>
                  <a:spcPct val="90000"/>
                </a:lnSpc>
                <a:spcBef>
                  <a:spcPct val="0"/>
                </a:spcBef>
                <a:spcAft>
                  <a:spcPct val="15000"/>
                </a:spcAft>
                <a:buChar char="••"/>
              </a:pPr>
              <a:r>
                <a:rPr lang="en-US" sz="1167" dirty="0">
                  <a:solidFill>
                    <a:prstClr val="white"/>
                  </a:solidFill>
                  <a:latin typeface="Arial" panose="020B0604020202020204" pitchFamily="34" charset="0"/>
                  <a:cs typeface="Arial" panose="020B0604020202020204" pitchFamily="34" charset="0"/>
                </a:rPr>
                <a:t>Rabi CVI expected to improve marginally in FY22 on account of higher crop prices. However, the crop quality is impacted due to unseasonal rainfall which could alter crop prices when farmers sell their produce in </a:t>
              </a:r>
              <a:r>
                <a:rPr lang="en-US" sz="1167" dirty="0" err="1">
                  <a:solidFill>
                    <a:prstClr val="white"/>
                  </a:solidFill>
                  <a:latin typeface="Arial" panose="020B0604020202020204" pitchFamily="34" charset="0"/>
                  <a:cs typeface="Arial" panose="020B0604020202020204" pitchFamily="34" charset="0"/>
                </a:rPr>
                <a:t>madis</a:t>
              </a:r>
              <a:r>
                <a:rPr lang="en-US" sz="1167" dirty="0">
                  <a:solidFill>
                    <a:prstClr val="white"/>
                  </a:solidFill>
                  <a:latin typeface="Arial" panose="020B0604020202020204" pitchFamily="34" charset="0"/>
                  <a:cs typeface="Arial" panose="020B0604020202020204" pitchFamily="34" charset="0"/>
                </a:rPr>
                <a:t>.</a:t>
              </a:r>
            </a:p>
            <a:p>
              <a:pPr marL="79368" lvl="1" indent="-79368" defTabSz="432119">
                <a:lnSpc>
                  <a:spcPct val="90000"/>
                </a:lnSpc>
                <a:spcBef>
                  <a:spcPct val="0"/>
                </a:spcBef>
                <a:spcAft>
                  <a:spcPct val="15000"/>
                </a:spcAft>
                <a:buChar char="••"/>
              </a:pPr>
              <a:r>
                <a:rPr lang="en-US" sz="1167" dirty="0">
                  <a:solidFill>
                    <a:prstClr val="white"/>
                  </a:solidFill>
                  <a:latin typeface="Arial" panose="020B0604020202020204" pitchFamily="34" charset="0"/>
                  <a:cs typeface="Arial" panose="020B0604020202020204" pitchFamily="34" charset="0"/>
                </a:rPr>
                <a:t>Higher input cost and low realizations to impact farm sentiments in the near term</a:t>
              </a:r>
              <a:endParaRPr lang="en-IN" sz="1167" dirty="0">
                <a:latin typeface="Arial" panose="020B0604020202020204" pitchFamily="34" charset="0"/>
                <a:cs typeface="Arial" panose="020B0604020202020204" pitchFamily="34" charset="0"/>
              </a:endParaRPr>
            </a:p>
          </p:txBody>
        </p:sp>
      </p:grpSp>
      <p:sp>
        <p:nvSpPr>
          <p:cNvPr id="90" name="Rectangle 89"/>
          <p:cNvSpPr/>
          <p:nvPr/>
        </p:nvSpPr>
        <p:spPr>
          <a:xfrm>
            <a:off x="5712802" y="5645815"/>
            <a:ext cx="1209425" cy="5889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4827" tIns="33867" rIns="94827" bIns="33867" numCol="1" spcCol="1270" anchor="ctr" anchorCtr="0">
            <a:noAutofit/>
          </a:bodyPr>
          <a:lstStyle/>
          <a:p>
            <a:pPr algn="r" defTabSz="592620">
              <a:lnSpc>
                <a:spcPct val="90000"/>
              </a:lnSpc>
              <a:spcBef>
                <a:spcPct val="0"/>
              </a:spcBef>
              <a:spcAft>
                <a:spcPct val="35000"/>
              </a:spcAft>
            </a:pPr>
            <a:endParaRPr lang="en-IN" sz="1167" dirty="0">
              <a:latin typeface="Arial" panose="020B0604020202020204" pitchFamily="34" charset="0"/>
              <a:cs typeface="Arial" panose="020B0604020202020204" pitchFamily="34" charset="0"/>
            </a:endParaRPr>
          </a:p>
        </p:txBody>
      </p:sp>
      <p:pic>
        <p:nvPicPr>
          <p:cNvPr id="92" name="Picture 91"/>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7732630" y="705311"/>
            <a:ext cx="329911" cy="329911"/>
          </a:xfrm>
          <a:prstGeom prst="rect">
            <a:avLst/>
          </a:prstGeom>
        </p:spPr>
      </p:pic>
      <p:grpSp>
        <p:nvGrpSpPr>
          <p:cNvPr id="93" name="Group 92"/>
          <p:cNvGrpSpPr/>
          <p:nvPr/>
        </p:nvGrpSpPr>
        <p:grpSpPr>
          <a:xfrm>
            <a:off x="6164037" y="1252602"/>
            <a:ext cx="5660573" cy="1476001"/>
            <a:chOff x="7396843" y="1485660"/>
            <a:chExt cx="6792687" cy="1771201"/>
          </a:xfrm>
        </p:grpSpPr>
        <p:grpSp>
          <p:nvGrpSpPr>
            <p:cNvPr id="94" name="Group 93"/>
            <p:cNvGrpSpPr/>
            <p:nvPr/>
          </p:nvGrpSpPr>
          <p:grpSpPr>
            <a:xfrm>
              <a:off x="7396843" y="1485660"/>
              <a:ext cx="6792687" cy="1648968"/>
              <a:chOff x="7396843" y="1485660"/>
              <a:chExt cx="6792687" cy="1648968"/>
            </a:xfrm>
          </p:grpSpPr>
          <p:grpSp>
            <p:nvGrpSpPr>
              <p:cNvPr id="96" name="Group 95"/>
              <p:cNvGrpSpPr/>
              <p:nvPr/>
            </p:nvGrpSpPr>
            <p:grpSpPr>
              <a:xfrm>
                <a:off x="7396843" y="1666644"/>
                <a:ext cx="1657349" cy="1287000"/>
                <a:chOff x="0" y="4072861"/>
                <a:chExt cx="1657349" cy="1287000"/>
              </a:xfrm>
            </p:grpSpPr>
            <p:sp>
              <p:nvSpPr>
                <p:cNvPr id="101" name="Rectangle 100"/>
                <p:cNvSpPr/>
                <p:nvPr/>
              </p:nvSpPr>
              <p:spPr>
                <a:xfrm>
                  <a:off x="0" y="4072861"/>
                  <a:ext cx="1657349" cy="1287000"/>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sp>
            <p:sp>
              <p:nvSpPr>
                <p:cNvPr id="102" name="Rectangle 101"/>
                <p:cNvSpPr/>
                <p:nvPr/>
              </p:nvSpPr>
              <p:spPr>
                <a:xfrm>
                  <a:off x="0" y="4072861"/>
                  <a:ext cx="1657349" cy="128700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4827" tIns="33867" rIns="94827" bIns="33867" numCol="1" spcCol="1270" anchor="ctr" anchorCtr="0">
                  <a:noAutofit/>
                </a:bodyPr>
                <a:lstStyle/>
                <a:p>
                  <a:pPr algn="ctr" defTabSz="592620">
                    <a:lnSpc>
                      <a:spcPct val="90000"/>
                    </a:lnSpc>
                    <a:spcBef>
                      <a:spcPct val="0"/>
                    </a:spcBef>
                    <a:spcAft>
                      <a:spcPct val="35000"/>
                    </a:spcAft>
                  </a:pPr>
                  <a:r>
                    <a:rPr lang="en-IN" sz="1333" b="1" dirty="0">
                      <a:latin typeface="Arial" panose="020B0604020202020204" pitchFamily="34" charset="0"/>
                      <a:cs typeface="Arial" panose="020B0604020202020204" pitchFamily="34" charset="0"/>
                    </a:rPr>
                    <a:t>PM Kissan and PM Garib Kalyan Yojana</a:t>
                  </a:r>
                </a:p>
              </p:txBody>
            </p:sp>
          </p:grpSp>
          <p:sp>
            <p:nvSpPr>
              <p:cNvPr id="97" name="Left Brace 96"/>
              <p:cNvSpPr/>
              <p:nvPr/>
            </p:nvSpPr>
            <p:spPr>
              <a:xfrm>
                <a:off x="9054192" y="1485660"/>
                <a:ext cx="331469" cy="1648968"/>
              </a:xfrm>
              <a:prstGeom prst="leftBrace">
                <a:avLst>
                  <a:gd name="adj1" fmla="val 35000"/>
                  <a:gd name="adj2" fmla="val 50000"/>
                </a:avLst>
              </a:prstGeom>
            </p:spPr>
            <p:style>
              <a:lnRef idx="2">
                <a:schemeClr val="dk2">
                  <a:shade val="60000"/>
                  <a:hueOff val="0"/>
                  <a:satOff val="0"/>
                  <a:lumOff val="0"/>
                  <a:alphaOff val="0"/>
                </a:schemeClr>
              </a:lnRef>
              <a:fillRef idx="0">
                <a:schemeClr val="dk2">
                  <a:hueOff val="0"/>
                  <a:satOff val="0"/>
                  <a:lumOff val="0"/>
                  <a:alphaOff val="0"/>
                </a:schemeClr>
              </a:fillRef>
              <a:effectRef idx="0">
                <a:schemeClr val="dk2">
                  <a:hueOff val="0"/>
                  <a:satOff val="0"/>
                  <a:lumOff val="0"/>
                  <a:alphaOff val="0"/>
                </a:schemeClr>
              </a:effectRef>
              <a:fontRef idx="minor">
                <a:schemeClr val="tx1">
                  <a:hueOff val="0"/>
                  <a:satOff val="0"/>
                  <a:lumOff val="0"/>
                  <a:alphaOff val="0"/>
                </a:schemeClr>
              </a:fontRef>
            </p:style>
          </p:sp>
          <p:grpSp>
            <p:nvGrpSpPr>
              <p:cNvPr id="98" name="Group 97"/>
              <p:cNvGrpSpPr/>
              <p:nvPr/>
            </p:nvGrpSpPr>
            <p:grpSpPr>
              <a:xfrm>
                <a:off x="9681539" y="1485660"/>
                <a:ext cx="4507991" cy="1648968"/>
                <a:chOff x="2121407" y="3891877"/>
                <a:chExt cx="4507991" cy="1648968"/>
              </a:xfrm>
            </p:grpSpPr>
            <p:sp>
              <p:nvSpPr>
                <p:cNvPr id="99" name="Rectangle 98"/>
                <p:cNvSpPr/>
                <p:nvPr/>
              </p:nvSpPr>
              <p:spPr>
                <a:xfrm>
                  <a:off x="2121407" y="3891877"/>
                  <a:ext cx="4507991" cy="1648968"/>
                </a:xfrm>
                <a:prstGeom prst="rect">
                  <a:avLst/>
                </a:prstGeom>
                <a:solidFill>
                  <a:schemeClr val="accent6">
                    <a:lumMod val="50000"/>
                  </a:schemeClr>
                </a:solidFill>
                <a:ln>
                  <a:solidFill>
                    <a:schemeClr val="tx1"/>
                  </a:solidFill>
                </a:ln>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100" name="Rectangle 99"/>
                <p:cNvSpPr/>
                <p:nvPr/>
              </p:nvSpPr>
              <p:spPr>
                <a:xfrm>
                  <a:off x="2121407" y="3891877"/>
                  <a:ext cx="4507991" cy="16489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4450" tIns="44450" rIns="44450" bIns="44450" numCol="1" spcCol="1270" anchor="ctr" anchorCtr="0">
                  <a:noAutofit/>
                </a:bodyPr>
                <a:lstStyle/>
                <a:p>
                  <a:pPr marL="79368" lvl="1" indent="-79368" defTabSz="432119">
                    <a:lnSpc>
                      <a:spcPct val="90000"/>
                    </a:lnSpc>
                    <a:spcBef>
                      <a:spcPct val="0"/>
                    </a:spcBef>
                    <a:spcAft>
                      <a:spcPct val="15000"/>
                    </a:spcAft>
                    <a:buChar char="••"/>
                  </a:pPr>
                  <a:r>
                    <a:rPr lang="en-IN" sz="1167" dirty="0">
                      <a:latin typeface="Arial" panose="020B0604020202020204" pitchFamily="34" charset="0"/>
                      <a:cs typeface="Arial" panose="020B0604020202020204" pitchFamily="34" charset="0"/>
                    </a:rPr>
                    <a:t>A total of 12 crore beneficiaries have been transferred money under PM </a:t>
                  </a:r>
                  <a:r>
                    <a:rPr lang="en-IN" sz="1167" dirty="0" err="1">
                      <a:latin typeface="Arial" panose="020B0604020202020204" pitchFamily="34" charset="0"/>
                      <a:cs typeface="Arial" panose="020B0604020202020204" pitchFamily="34" charset="0"/>
                    </a:rPr>
                    <a:t>Kissan</a:t>
                  </a:r>
                  <a:r>
                    <a:rPr lang="en-IN" sz="1167" dirty="0">
                      <a:latin typeface="Arial" panose="020B0604020202020204" pitchFamily="34" charset="0"/>
                      <a:cs typeface="Arial" panose="020B0604020202020204" pitchFamily="34" charset="0"/>
                    </a:rPr>
                    <a:t> Yojana in fiscal 2022 </a:t>
                  </a:r>
                </a:p>
                <a:p>
                  <a:pPr marL="79368" lvl="1" indent="-79368" defTabSz="432119">
                    <a:lnSpc>
                      <a:spcPct val="90000"/>
                    </a:lnSpc>
                    <a:spcBef>
                      <a:spcPct val="0"/>
                    </a:spcBef>
                    <a:spcAft>
                      <a:spcPct val="15000"/>
                    </a:spcAft>
                    <a:buChar char="••"/>
                  </a:pPr>
                  <a:r>
                    <a:rPr lang="en-US" sz="1167" dirty="0">
                      <a:latin typeface="Arial" panose="020B0604020202020204" pitchFamily="34" charset="0"/>
                      <a:cs typeface="Arial" panose="020B0604020202020204" pitchFamily="34" charset="0"/>
                    </a:rPr>
                    <a:t>As per a statement from PMO (Prime Minister Office), PM Kisan 11th Installment List 2022 for Rs 2000 will be transferred directly in the bank account of eligible beneficiaries by first week of April 2022.</a:t>
                  </a:r>
                  <a:endParaRPr lang="en-IN" sz="1167" dirty="0">
                    <a:latin typeface="Arial" panose="020B0604020202020204" pitchFamily="34" charset="0"/>
                    <a:cs typeface="Arial" panose="020B0604020202020204" pitchFamily="34" charset="0"/>
                  </a:endParaRPr>
                </a:p>
              </p:txBody>
            </p:sp>
          </p:grpSp>
        </p:grpSp>
        <p:pic>
          <p:nvPicPr>
            <p:cNvPr id="95" name="Picture 94"/>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8039519" y="2722556"/>
              <a:ext cx="534305" cy="534305"/>
            </a:xfrm>
            <a:prstGeom prst="rect">
              <a:avLst/>
            </a:prstGeom>
          </p:spPr>
        </p:pic>
      </p:grpSp>
    </p:spTree>
    <p:extLst>
      <p:ext uri="{BB962C8B-B14F-4D97-AF65-F5344CB8AC3E}">
        <p14:creationId xmlns:p14="http://schemas.microsoft.com/office/powerpoint/2010/main" val="3395191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43277"/>
          <a:stretch/>
        </p:blipFill>
        <p:spPr>
          <a:xfrm flipH="1">
            <a:off x="9536430" y="941374"/>
            <a:ext cx="2609850" cy="5021488"/>
          </a:xfrm>
          <a:prstGeom prst="rect">
            <a:avLst/>
          </a:prstGeom>
        </p:spPr>
      </p:pic>
      <p:sp>
        <p:nvSpPr>
          <p:cNvPr id="15" name="Rectangle 14">
            <a:hlinkClick r:id="rId4" action="ppaction://hlinksldjump"/>
          </p:cNvPr>
          <p:cNvSpPr/>
          <p:nvPr/>
        </p:nvSpPr>
        <p:spPr>
          <a:xfrm>
            <a:off x="441762" y="965770"/>
            <a:ext cx="5915948" cy="600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4" action="ppaction://hlinksldjump"/>
              </a:rPr>
              <a:t>Economy overview</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Rectangle 20">
            <a:hlinkClick r:id="rId5" action="ppaction://hlinksldjump"/>
          </p:cNvPr>
          <p:cNvSpPr/>
          <p:nvPr/>
        </p:nvSpPr>
        <p:spPr>
          <a:xfrm>
            <a:off x="441760" y="1744996"/>
            <a:ext cx="5915949" cy="6306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6" action="ppaction://hlinksldjump"/>
              </a:rPr>
              <a:t>Rural Scenario</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22">
            <a:hlinkClick r:id="rId5" action="ppaction://hlinksldjump"/>
          </p:cNvPr>
          <p:cNvSpPr/>
          <p:nvPr/>
        </p:nvSpPr>
        <p:spPr>
          <a:xfrm>
            <a:off x="441760" y="2628111"/>
            <a:ext cx="5915949" cy="600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7" action="ppaction://hlinksldjump"/>
              </a:rPr>
              <a:t>Indian automobile industry</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ounded Rectangle 29"/>
          <p:cNvSpPr/>
          <p:nvPr/>
        </p:nvSpPr>
        <p:spPr>
          <a:xfrm>
            <a:off x="8133702" y="6281010"/>
            <a:ext cx="2805455" cy="365760"/>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6182" tIns="38090" rIns="76182" bIns="380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the text to go to the section</a:t>
            </a:r>
          </a:p>
        </p:txBody>
      </p:sp>
      <p:sp>
        <p:nvSpPr>
          <p:cNvPr id="14" name="Title 13"/>
          <p:cNvSpPr>
            <a:spLocks noGrp="1"/>
          </p:cNvSpPr>
          <p:nvPr>
            <p:ph type="title"/>
          </p:nvPr>
        </p:nvSpPr>
        <p:spPr>
          <a:xfrm>
            <a:off x="431916" y="206687"/>
            <a:ext cx="10515600" cy="443198"/>
          </a:xfrm>
        </p:spPr>
        <p:txBody>
          <a:bodyPr lIns="0" tIns="0" rIns="0" bIns="0">
            <a:noAutofit/>
          </a:bodyPr>
          <a:lstStyle/>
          <a:p>
            <a:r>
              <a:rPr lang="en-US" sz="3200" b="1" dirty="0">
                <a:solidFill>
                  <a:schemeClr val="tx1"/>
                </a:solidFill>
                <a:latin typeface="Arial" panose="020B0604020202020204" pitchFamily="34" charset="0"/>
                <a:cs typeface="Arial" panose="020B0604020202020204" pitchFamily="34" charset="0"/>
              </a:rPr>
              <a:t>Content</a:t>
            </a:r>
            <a:endParaRPr lang="en-IN" sz="3200" b="1" dirty="0">
              <a:solidFill>
                <a:schemeClr val="tx1"/>
              </a:solidFill>
              <a:latin typeface="Arial" panose="020B0604020202020204" pitchFamily="34" charset="0"/>
              <a:cs typeface="Arial" panose="020B0604020202020204" pitchFamily="34" charset="0"/>
            </a:endParaRPr>
          </a:p>
        </p:txBody>
      </p:sp>
      <p:pic>
        <p:nvPicPr>
          <p:cNvPr id="48" name="Picture 47"/>
          <p:cNvPicPr>
            <a:picLocks noChangeAspect="1"/>
          </p:cNvPicPr>
          <p:nvPr/>
        </p:nvPicPr>
        <p:blipFill rotWithShape="1">
          <a:blip r:embed="rId8" cstate="print">
            <a:extLst>
              <a:ext uri="{28A0092B-C50C-407E-A947-70E740481C1C}">
                <a14:useLocalDpi xmlns:a14="http://schemas.microsoft.com/office/drawing/2010/main" val="0"/>
              </a:ext>
            </a:extLst>
          </a:blip>
          <a:srcRect l="-9536" r="1"/>
          <a:stretch/>
        </p:blipFill>
        <p:spPr>
          <a:xfrm>
            <a:off x="10416214" y="4997696"/>
            <a:ext cx="1222703" cy="1118817"/>
          </a:xfrm>
          <a:prstGeom prst="rect">
            <a:avLst/>
          </a:prstGeom>
        </p:spPr>
      </p:pic>
      <p:sp>
        <p:nvSpPr>
          <p:cNvPr id="17" name="Rectangle 16">
            <a:hlinkClick r:id="" action="ppaction://noaction"/>
          </p:cNvPr>
          <p:cNvSpPr/>
          <p:nvPr/>
        </p:nvSpPr>
        <p:spPr>
          <a:xfrm>
            <a:off x="422071" y="3505116"/>
            <a:ext cx="5917926" cy="600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9" action="ppaction://hlinksldjump"/>
              </a:rPr>
              <a:t>Auto Components</a:t>
            </a: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72183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7" y="105501"/>
            <a:ext cx="11631238" cy="775597"/>
          </a:xfrm>
        </p:spPr>
        <p:txBody>
          <a:bodyPr/>
          <a:lstStyle/>
          <a:p>
            <a:pPr algn="l"/>
            <a:r>
              <a:rPr lang="en-US" sz="2800" dirty="0"/>
              <a:t>Higher input cost and low realizations to impact farm sentiments in the near term</a:t>
            </a:r>
          </a:p>
        </p:txBody>
      </p:sp>
      <p:sp>
        <p:nvSpPr>
          <p:cNvPr id="22" name="TextBox 21"/>
          <p:cNvSpPr txBox="1"/>
          <p:nvPr/>
        </p:nvSpPr>
        <p:spPr>
          <a:xfrm>
            <a:off x="498773" y="5050033"/>
            <a:ext cx="1423788" cy="400110"/>
          </a:xfrm>
          <a:prstGeom prst="rect">
            <a:avLst/>
          </a:prstGeom>
          <a:noFill/>
        </p:spPr>
        <p:txBody>
          <a:bodyPr wrap="none" rtlCol="0">
            <a:spAutoFit/>
          </a:bodyPr>
          <a:lstStyle/>
          <a:p>
            <a:pPr defTabSz="914253"/>
            <a:r>
              <a:rPr lang="en-IN" sz="1000" dirty="0">
                <a:solidFill>
                  <a:prstClr val="black"/>
                </a:solidFill>
              </a:rPr>
              <a:t>Source: CRISIL Research</a:t>
            </a:r>
          </a:p>
          <a:p>
            <a:pPr defTabSz="914253"/>
            <a:endParaRPr lang="en-IN" sz="1000" dirty="0">
              <a:solidFill>
                <a:prstClr val="black"/>
              </a:solidFill>
            </a:endParaRPr>
          </a:p>
        </p:txBody>
      </p:sp>
      <p:sp>
        <p:nvSpPr>
          <p:cNvPr id="20" name="Rounded Rectangle 19">
            <a:hlinkClick r:id="" action="ppaction://noaction"/>
          </p:cNvPr>
          <p:cNvSpPr/>
          <p:nvPr/>
        </p:nvSpPr>
        <p:spPr>
          <a:xfrm>
            <a:off x="2390732" y="5572927"/>
            <a:ext cx="7613571" cy="405578"/>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en-US" sz="1333" dirty="0">
                <a:solidFill>
                  <a:schemeClr val="tx1"/>
                </a:solidFill>
              </a:rPr>
              <a:t>Crop damage on account of unseasonal rainfall to impact rabi crop output in FY22</a:t>
            </a:r>
            <a:endParaRPr lang="en-IN" sz="1333" dirty="0">
              <a:solidFill>
                <a:schemeClr val="tx1"/>
              </a:solidFill>
            </a:endParaRPr>
          </a:p>
        </p:txBody>
      </p:sp>
      <p:pic>
        <p:nvPicPr>
          <p:cNvPr id="4" name="Picture 3"/>
          <p:cNvPicPr>
            <a:picLocks noChangeAspect="1"/>
          </p:cNvPicPr>
          <p:nvPr/>
        </p:nvPicPr>
        <p:blipFill>
          <a:blip r:embed="rId2"/>
          <a:stretch>
            <a:fillRect/>
          </a:stretch>
        </p:blipFill>
        <p:spPr>
          <a:xfrm>
            <a:off x="1800193" y="5460334"/>
            <a:ext cx="590537" cy="637014"/>
          </a:xfrm>
          <a:prstGeom prst="rect">
            <a:avLst/>
          </a:prstGeom>
        </p:spPr>
      </p:pic>
      <p:sp>
        <p:nvSpPr>
          <p:cNvPr id="24" name="TextBox 23"/>
          <p:cNvSpPr txBox="1"/>
          <p:nvPr/>
        </p:nvSpPr>
        <p:spPr>
          <a:xfrm>
            <a:off x="6189476" y="5051667"/>
            <a:ext cx="3780202" cy="400110"/>
          </a:xfrm>
          <a:prstGeom prst="rect">
            <a:avLst/>
          </a:prstGeom>
          <a:noFill/>
        </p:spPr>
        <p:txBody>
          <a:bodyPr wrap="none" rtlCol="0">
            <a:spAutoFit/>
          </a:bodyPr>
          <a:lstStyle/>
          <a:p>
            <a:pPr defTabSz="914253"/>
            <a:r>
              <a:rPr lang="en-IN" sz="1000" dirty="0">
                <a:solidFill>
                  <a:prstClr val="black"/>
                </a:solidFill>
              </a:rPr>
              <a:t>Source: CRISIL Research;</a:t>
            </a:r>
          </a:p>
          <a:p>
            <a:pPr defTabSz="914253"/>
            <a:r>
              <a:rPr lang="en-IN" sz="1000" dirty="0">
                <a:solidFill>
                  <a:prstClr val="black"/>
                </a:solidFill>
              </a:rPr>
              <a:t>Note: CVI- Crop value index, CVI has been indexed to 100 at 2011-12 </a:t>
            </a:r>
          </a:p>
        </p:txBody>
      </p:sp>
      <p:sp>
        <p:nvSpPr>
          <p:cNvPr id="25" name="Rectangle 24"/>
          <p:cNvSpPr/>
          <p:nvPr/>
        </p:nvSpPr>
        <p:spPr>
          <a:xfrm>
            <a:off x="10023559" y="5110661"/>
            <a:ext cx="1398737" cy="225008"/>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500" dirty="0">
                <a:solidFill>
                  <a:prstClr val="black"/>
                </a:solidFill>
              </a:rPr>
              <a:t>Total CVI </a:t>
            </a:r>
          </a:p>
        </p:txBody>
      </p:sp>
      <p:sp>
        <p:nvSpPr>
          <p:cNvPr id="47" name="Rounded Rectangle 46">
            <a:hlinkClick r:id="" action="ppaction://noaction"/>
          </p:cNvPr>
          <p:cNvSpPr/>
          <p:nvPr/>
        </p:nvSpPr>
        <p:spPr>
          <a:xfrm>
            <a:off x="2390732" y="6167729"/>
            <a:ext cx="7613571" cy="405578"/>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0"/>
            <a:r>
              <a:rPr lang="en-US" sz="1333" dirty="0">
                <a:solidFill>
                  <a:schemeClr val="tx1"/>
                </a:solidFill>
              </a:rPr>
              <a:t>Lower government procurement to impact farm income for the current fiscal</a:t>
            </a:r>
            <a:endParaRPr lang="en-IN" sz="1333" dirty="0">
              <a:solidFill>
                <a:schemeClr val="tx1"/>
              </a:solidFill>
            </a:endParaRPr>
          </a:p>
        </p:txBody>
      </p:sp>
      <p:pic>
        <p:nvPicPr>
          <p:cNvPr id="48" name="Picture 47"/>
          <p:cNvPicPr>
            <a:picLocks noChangeAspect="1"/>
          </p:cNvPicPr>
          <p:nvPr/>
        </p:nvPicPr>
        <p:blipFill>
          <a:blip r:embed="rId2"/>
          <a:stretch>
            <a:fillRect/>
          </a:stretch>
        </p:blipFill>
        <p:spPr>
          <a:xfrm>
            <a:off x="1800193" y="6055135"/>
            <a:ext cx="590537" cy="637014"/>
          </a:xfrm>
          <a:prstGeom prst="rect">
            <a:avLst/>
          </a:prstGeom>
        </p:spPr>
      </p:pic>
      <p:sp>
        <p:nvSpPr>
          <p:cNvPr id="23" name="Rectangle 22"/>
          <p:cNvSpPr/>
          <p:nvPr/>
        </p:nvSpPr>
        <p:spPr>
          <a:xfrm rot="5400000">
            <a:off x="2972216" y="-1508252"/>
            <a:ext cx="401156" cy="542694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a:r>
              <a:rPr lang="en-US" sz="1330" b="1" dirty="0">
                <a:latin typeface="Arial" panose="020B0604020202020204" pitchFamily="34" charset="0"/>
                <a:cs typeface="Arial" panose="020B0604020202020204" pitchFamily="34" charset="0"/>
              </a:rPr>
              <a:t>Food-grain Crop Production</a:t>
            </a:r>
          </a:p>
        </p:txBody>
      </p:sp>
      <p:sp>
        <p:nvSpPr>
          <p:cNvPr id="26" name="Rectangle 25"/>
          <p:cNvSpPr/>
          <p:nvPr/>
        </p:nvSpPr>
        <p:spPr>
          <a:xfrm rot="5400000">
            <a:off x="8766471" y="-1606559"/>
            <a:ext cx="401156" cy="563143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a:r>
              <a:rPr lang="en-US" sz="1330" b="1" dirty="0">
                <a:latin typeface="Arial" panose="020B0604020202020204" pitchFamily="34" charset="0"/>
                <a:cs typeface="Arial" panose="020B0604020202020204" pitchFamily="34" charset="0"/>
              </a:rPr>
              <a:t>Food-grain CVI (Crop Value Index)</a:t>
            </a:r>
          </a:p>
        </p:txBody>
      </p:sp>
      <p:sp>
        <p:nvSpPr>
          <p:cNvPr id="30" name="Rectangle 29"/>
          <p:cNvSpPr/>
          <p:nvPr/>
        </p:nvSpPr>
        <p:spPr>
          <a:xfrm rot="16200000">
            <a:off x="28740" y="2871799"/>
            <a:ext cx="1152881" cy="271934"/>
          </a:xfrm>
          <a:prstGeom prst="rect">
            <a:avLst/>
          </a:prstGeom>
        </p:spPr>
        <p:txBody>
          <a:bodyPr wrap="none">
            <a:spAutoFit/>
          </a:bodyPr>
          <a:lstStyle/>
          <a:p>
            <a:pPr algn="ctr" defTabSz="914253">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sz="1167" dirty="0">
                <a:solidFill>
                  <a:sysClr val="windowText" lastClr="000000"/>
                </a:solidFill>
                <a:latin typeface="Arial" panose="020B0604020202020204" pitchFamily="34" charset="0"/>
                <a:cs typeface="Arial" panose="020B0604020202020204" pitchFamily="34" charset="0"/>
              </a:rPr>
              <a:t>Million Tonnes</a:t>
            </a:r>
          </a:p>
        </p:txBody>
      </p:sp>
      <p:sp>
        <p:nvSpPr>
          <p:cNvPr id="37" name="Rectangle 36"/>
          <p:cNvSpPr/>
          <p:nvPr/>
        </p:nvSpPr>
        <p:spPr>
          <a:xfrm>
            <a:off x="7384463" y="2351634"/>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160</a:t>
            </a:r>
          </a:p>
        </p:txBody>
      </p:sp>
      <p:graphicFrame>
        <p:nvGraphicFramePr>
          <p:cNvPr id="21" name="Chart 20">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876389106"/>
              </p:ext>
            </p:extLst>
          </p:nvPr>
        </p:nvGraphicFramePr>
        <p:xfrm>
          <a:off x="6151330" y="1522331"/>
          <a:ext cx="5631438" cy="3527702"/>
        </p:xfrm>
        <a:graphic>
          <a:graphicData uri="http://schemas.openxmlformats.org/drawingml/2006/chart">
            <c:chart xmlns:c="http://schemas.openxmlformats.org/drawingml/2006/chart" xmlns:r="http://schemas.openxmlformats.org/officeDocument/2006/relationships" r:id="rId3"/>
          </a:graphicData>
        </a:graphic>
      </p:graphicFrame>
      <p:sp>
        <p:nvSpPr>
          <p:cNvPr id="28" name="Rectangle 27">
            <a:extLst>
              <a:ext uri="{FF2B5EF4-FFF2-40B4-BE49-F238E27FC236}">
                <a16:creationId xmlns:a16="http://schemas.microsoft.com/office/drawing/2014/main" id="{03E3A6D6-2ED4-4330-8B2E-CBDEE2B931B3}"/>
              </a:ext>
            </a:extLst>
          </p:cNvPr>
          <p:cNvSpPr/>
          <p:nvPr/>
        </p:nvSpPr>
        <p:spPr>
          <a:xfrm>
            <a:off x="6556552" y="2334724"/>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138</a:t>
            </a:r>
          </a:p>
        </p:txBody>
      </p:sp>
      <p:sp>
        <p:nvSpPr>
          <p:cNvPr id="32" name="Rectangle 31">
            <a:extLst>
              <a:ext uri="{FF2B5EF4-FFF2-40B4-BE49-F238E27FC236}">
                <a16:creationId xmlns:a16="http://schemas.microsoft.com/office/drawing/2014/main" id="{E7036D86-CF43-47B2-BE72-BC84933D9D97}"/>
              </a:ext>
            </a:extLst>
          </p:cNvPr>
          <p:cNvSpPr/>
          <p:nvPr/>
        </p:nvSpPr>
        <p:spPr>
          <a:xfrm>
            <a:off x="8201276" y="2229047"/>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174</a:t>
            </a:r>
          </a:p>
        </p:txBody>
      </p:sp>
      <p:sp>
        <p:nvSpPr>
          <p:cNvPr id="34" name="Rectangle 33">
            <a:extLst>
              <a:ext uri="{FF2B5EF4-FFF2-40B4-BE49-F238E27FC236}">
                <a16:creationId xmlns:a16="http://schemas.microsoft.com/office/drawing/2014/main" id="{9BC90A95-8352-4A2D-A9BB-F7CC2191BE5A}"/>
              </a:ext>
            </a:extLst>
          </p:cNvPr>
          <p:cNvSpPr/>
          <p:nvPr/>
        </p:nvSpPr>
        <p:spPr>
          <a:xfrm>
            <a:off x="8991644" y="2024594"/>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185</a:t>
            </a:r>
          </a:p>
        </p:txBody>
      </p:sp>
      <p:sp>
        <p:nvSpPr>
          <p:cNvPr id="35" name="Rectangle 34">
            <a:extLst>
              <a:ext uri="{FF2B5EF4-FFF2-40B4-BE49-F238E27FC236}">
                <a16:creationId xmlns:a16="http://schemas.microsoft.com/office/drawing/2014/main" id="{934277FD-27E8-4D45-AA17-37403EEBC406}"/>
              </a:ext>
            </a:extLst>
          </p:cNvPr>
          <p:cNvSpPr/>
          <p:nvPr/>
        </p:nvSpPr>
        <p:spPr>
          <a:xfrm>
            <a:off x="9722698" y="1988584"/>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189</a:t>
            </a:r>
          </a:p>
        </p:txBody>
      </p:sp>
      <p:sp>
        <p:nvSpPr>
          <p:cNvPr id="36" name="Rectangle 35">
            <a:extLst>
              <a:ext uri="{FF2B5EF4-FFF2-40B4-BE49-F238E27FC236}">
                <a16:creationId xmlns:a16="http://schemas.microsoft.com/office/drawing/2014/main" id="{B730BC32-7E01-4A53-890A-A2A28CBD8A44}"/>
              </a:ext>
            </a:extLst>
          </p:cNvPr>
          <p:cNvSpPr/>
          <p:nvPr/>
        </p:nvSpPr>
        <p:spPr>
          <a:xfrm>
            <a:off x="10453753" y="1918752"/>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198</a:t>
            </a:r>
          </a:p>
        </p:txBody>
      </p:sp>
      <p:sp>
        <p:nvSpPr>
          <p:cNvPr id="44" name="Rectangle 43">
            <a:extLst>
              <a:ext uri="{FF2B5EF4-FFF2-40B4-BE49-F238E27FC236}">
                <a16:creationId xmlns:a16="http://schemas.microsoft.com/office/drawing/2014/main" id="{195AEF4D-8849-4D2B-B304-2439BE1086CE}"/>
              </a:ext>
            </a:extLst>
          </p:cNvPr>
          <p:cNvSpPr/>
          <p:nvPr/>
        </p:nvSpPr>
        <p:spPr>
          <a:xfrm>
            <a:off x="11144633" y="1817152"/>
            <a:ext cx="538350" cy="243843"/>
          </a:xfrm>
          <a:prstGeom prst="rect">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400" dirty="0">
                <a:solidFill>
                  <a:prstClr val="black"/>
                </a:solidFill>
              </a:rPr>
              <a:t>201</a:t>
            </a:r>
          </a:p>
        </p:txBody>
      </p:sp>
      <p:graphicFrame>
        <p:nvGraphicFramePr>
          <p:cNvPr id="45" name="Chart 44">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1224329401"/>
              </p:ext>
            </p:extLst>
          </p:nvPr>
        </p:nvGraphicFramePr>
        <p:xfrm>
          <a:off x="498773" y="1509429"/>
          <a:ext cx="5348042" cy="355518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9131729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9" y="283695"/>
            <a:ext cx="11631238" cy="387798"/>
          </a:xfrm>
        </p:spPr>
        <p:txBody>
          <a:bodyPr/>
          <a:lstStyle/>
          <a:p>
            <a:r>
              <a:rPr lang="en-US" sz="2800" dirty="0">
                <a:solidFill>
                  <a:schemeClr val="tx1"/>
                </a:solidFill>
              </a:rPr>
              <a:t>State wise Crop Value Index </a:t>
            </a:r>
          </a:p>
        </p:txBody>
      </p:sp>
      <p:sp>
        <p:nvSpPr>
          <p:cNvPr id="31" name="Rounded Rectangle 30"/>
          <p:cNvSpPr/>
          <p:nvPr/>
        </p:nvSpPr>
        <p:spPr>
          <a:xfrm>
            <a:off x="373859" y="976793"/>
            <a:ext cx="5436393" cy="33547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167" b="1" dirty="0">
                <a:solidFill>
                  <a:prstClr val="white"/>
                </a:solidFill>
                <a:latin typeface="Arial" panose="020B0604020202020204" pitchFamily="34" charset="0"/>
                <a:cs typeface="Arial" panose="020B0604020202020204" pitchFamily="34" charset="0"/>
              </a:rPr>
              <a:t>Kharif CVI heat Map for FY22</a:t>
            </a:r>
          </a:p>
        </p:txBody>
      </p:sp>
      <p:sp>
        <p:nvSpPr>
          <p:cNvPr id="35" name="Rounded Rectangle 34"/>
          <p:cNvSpPr/>
          <p:nvPr/>
        </p:nvSpPr>
        <p:spPr>
          <a:xfrm>
            <a:off x="6338065" y="956244"/>
            <a:ext cx="5436393" cy="33547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167" b="1" dirty="0">
                <a:solidFill>
                  <a:prstClr val="white"/>
                </a:solidFill>
                <a:latin typeface="Arial" panose="020B0604020202020204" pitchFamily="34" charset="0"/>
                <a:cs typeface="Arial" panose="020B0604020202020204" pitchFamily="34" charset="0"/>
              </a:rPr>
              <a:t>Rabi CVI heat map for FY22</a:t>
            </a:r>
          </a:p>
        </p:txBody>
      </p:sp>
      <p:grpSp>
        <p:nvGrpSpPr>
          <p:cNvPr id="6" name="Group 5"/>
          <p:cNvGrpSpPr/>
          <p:nvPr/>
        </p:nvGrpSpPr>
        <p:grpSpPr>
          <a:xfrm>
            <a:off x="3381686" y="6422090"/>
            <a:ext cx="5912758" cy="380751"/>
            <a:chOff x="3710464" y="7332453"/>
            <a:chExt cx="7095309" cy="456897"/>
          </a:xfrm>
        </p:grpSpPr>
        <p:sp>
          <p:nvSpPr>
            <p:cNvPr id="17" name="TextBox 16"/>
            <p:cNvSpPr txBox="1"/>
            <p:nvPr/>
          </p:nvSpPr>
          <p:spPr>
            <a:xfrm>
              <a:off x="5385039" y="7342664"/>
              <a:ext cx="1656272"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0-10%</a:t>
              </a:r>
            </a:p>
          </p:txBody>
        </p:sp>
        <p:grpSp>
          <p:nvGrpSpPr>
            <p:cNvPr id="5" name="Group 4"/>
            <p:cNvGrpSpPr/>
            <p:nvPr/>
          </p:nvGrpSpPr>
          <p:grpSpPr>
            <a:xfrm>
              <a:off x="3710464" y="7332453"/>
              <a:ext cx="7095309" cy="456897"/>
              <a:chOff x="3710464" y="7332453"/>
              <a:chExt cx="7095309" cy="456897"/>
            </a:xfrm>
          </p:grpSpPr>
          <p:sp>
            <p:nvSpPr>
              <p:cNvPr id="3" name="Rectangle 2"/>
              <p:cNvSpPr/>
              <p:nvPr/>
            </p:nvSpPr>
            <p:spPr>
              <a:xfrm>
                <a:off x="3710464" y="7349706"/>
                <a:ext cx="550985" cy="2602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4" name="TextBox 3"/>
              <p:cNvSpPr txBox="1"/>
              <p:nvPr/>
            </p:nvSpPr>
            <p:spPr>
              <a:xfrm>
                <a:off x="4261449" y="7346889"/>
                <a:ext cx="1353296"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gt;10%</a:t>
                </a:r>
              </a:p>
            </p:txBody>
          </p:sp>
          <p:sp>
            <p:nvSpPr>
              <p:cNvPr id="16" name="Rectangle 15"/>
              <p:cNvSpPr/>
              <p:nvPr/>
            </p:nvSpPr>
            <p:spPr>
              <a:xfrm>
                <a:off x="4834054" y="7345481"/>
                <a:ext cx="550985" cy="260201"/>
              </a:xfrm>
              <a:prstGeom prst="rect">
                <a:avLst/>
              </a:prstGeom>
              <a:solidFill>
                <a:srgbClr val="C0E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8" name="Rectangle 17"/>
              <p:cNvSpPr/>
              <p:nvPr/>
            </p:nvSpPr>
            <p:spPr>
              <a:xfrm>
                <a:off x="5954383" y="7349707"/>
                <a:ext cx="550985" cy="260201"/>
              </a:xfrm>
              <a:prstGeom prst="rect">
                <a:avLst/>
              </a:prstGeom>
              <a:solidFill>
                <a:srgbClr val="F2BC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9" name="TextBox 18"/>
              <p:cNvSpPr txBox="1"/>
              <p:nvPr/>
            </p:nvSpPr>
            <p:spPr>
              <a:xfrm>
                <a:off x="6505368" y="7346889"/>
                <a:ext cx="1656272" cy="280152"/>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10)%-0%</a:t>
                </a:r>
              </a:p>
            </p:txBody>
          </p:sp>
          <p:sp>
            <p:nvSpPr>
              <p:cNvPr id="20" name="Rectangle 19"/>
              <p:cNvSpPr/>
              <p:nvPr/>
            </p:nvSpPr>
            <p:spPr>
              <a:xfrm>
                <a:off x="7335162" y="7342664"/>
                <a:ext cx="550985" cy="26020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21" name="TextBox 20"/>
              <p:cNvSpPr txBox="1"/>
              <p:nvPr/>
            </p:nvSpPr>
            <p:spPr>
              <a:xfrm>
                <a:off x="7931934" y="7339846"/>
                <a:ext cx="666582" cy="449504"/>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lt;(10)%</a:t>
                </a:r>
              </a:p>
            </p:txBody>
          </p:sp>
          <p:sp>
            <p:nvSpPr>
              <p:cNvPr id="22" name="Rectangle 21"/>
              <p:cNvSpPr/>
              <p:nvPr/>
            </p:nvSpPr>
            <p:spPr>
              <a:xfrm>
                <a:off x="8598516" y="7332453"/>
                <a:ext cx="550985" cy="2602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23" name="TextBox 22"/>
              <p:cNvSpPr txBox="1"/>
              <p:nvPr/>
            </p:nvSpPr>
            <p:spPr>
              <a:xfrm>
                <a:off x="9149501" y="7346889"/>
                <a:ext cx="1656272" cy="280152"/>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No data</a:t>
                </a:r>
              </a:p>
            </p:txBody>
          </p:sp>
        </p:grpSp>
      </p:grpSp>
      <p:sp>
        <p:nvSpPr>
          <p:cNvPr id="7" name="Rectangle 6"/>
          <p:cNvSpPr/>
          <p:nvPr/>
        </p:nvSpPr>
        <p:spPr>
          <a:xfrm>
            <a:off x="3284006" y="6108472"/>
            <a:ext cx="5112372" cy="271934"/>
          </a:xfrm>
          <a:prstGeom prst="rect">
            <a:avLst/>
          </a:prstGeom>
        </p:spPr>
        <p:txBody>
          <a:bodyPr wrap="square">
            <a:spAutoFit/>
          </a:bodyPr>
          <a:lstStyle/>
          <a:p>
            <a:pPr algn="ctr" defTabSz="914253"/>
            <a:r>
              <a:rPr lang="en-IN" sz="1167" b="1" dirty="0">
                <a:solidFill>
                  <a:prstClr val="black"/>
                </a:solidFill>
                <a:latin typeface="Arial" panose="020B0604020202020204" pitchFamily="34" charset="0"/>
                <a:cs typeface="Arial" panose="020B0604020202020204" pitchFamily="34" charset="0"/>
              </a:rPr>
              <a:t>Colours indicate % change on-year</a:t>
            </a:r>
          </a:p>
        </p:txBody>
      </p:sp>
      <p:sp>
        <p:nvSpPr>
          <p:cNvPr id="29" name="TextBox 28"/>
          <p:cNvSpPr txBox="1"/>
          <p:nvPr/>
        </p:nvSpPr>
        <p:spPr>
          <a:xfrm>
            <a:off x="6400889" y="5844916"/>
            <a:ext cx="1437691" cy="246221"/>
          </a:xfrm>
          <a:prstGeom prst="rect">
            <a:avLst/>
          </a:prstGeom>
          <a:noFill/>
        </p:spPr>
        <p:txBody>
          <a:bodyPr wrap="square" rtlCol="0">
            <a:spAutoFit/>
          </a:bodyPr>
          <a:lstStyle/>
          <a:p>
            <a:pPr defTabSz="914253"/>
            <a:r>
              <a:rPr lang="en-IN" sz="1000" dirty="0">
                <a:solidFill>
                  <a:prstClr val="black"/>
                </a:solidFill>
              </a:rPr>
              <a:t>Source: CRISIL Research</a:t>
            </a:r>
          </a:p>
        </p:txBody>
      </p:sp>
      <p:sp>
        <p:nvSpPr>
          <p:cNvPr id="107" name="TextBox 106"/>
          <p:cNvSpPr txBox="1"/>
          <p:nvPr/>
        </p:nvSpPr>
        <p:spPr>
          <a:xfrm>
            <a:off x="373860" y="5892412"/>
            <a:ext cx="1437691" cy="246221"/>
          </a:xfrm>
          <a:prstGeom prst="rect">
            <a:avLst/>
          </a:prstGeom>
          <a:noFill/>
        </p:spPr>
        <p:txBody>
          <a:bodyPr wrap="square" rtlCol="0">
            <a:spAutoFit/>
          </a:bodyPr>
          <a:lstStyle/>
          <a:p>
            <a:pPr defTabSz="914253"/>
            <a:r>
              <a:rPr lang="en-IN" sz="1000" dirty="0">
                <a:solidFill>
                  <a:prstClr val="black"/>
                </a:solidFill>
              </a:rPr>
              <a:t>Source: CRISIL Research</a:t>
            </a:r>
          </a:p>
        </p:txBody>
      </p:sp>
      <p:sp>
        <p:nvSpPr>
          <p:cNvPr id="139" name="Freeform 1216"/>
          <p:cNvSpPr>
            <a:spLocks noChangeAspect="1"/>
          </p:cNvSpPr>
          <p:nvPr/>
        </p:nvSpPr>
        <p:spPr bwMode="auto">
          <a:xfrm>
            <a:off x="4674687" y="2479429"/>
            <a:ext cx="1036087" cy="427063"/>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0" name="Freeform 1223"/>
          <p:cNvSpPr>
            <a:spLocks noChangeAspect="1"/>
          </p:cNvSpPr>
          <p:nvPr/>
        </p:nvSpPr>
        <p:spPr bwMode="auto">
          <a:xfrm>
            <a:off x="678589" y="2432894"/>
            <a:ext cx="1573073" cy="1074503"/>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41" name="Freeform 1191"/>
          <p:cNvSpPr>
            <a:spLocks noChangeAspect="1"/>
          </p:cNvSpPr>
          <p:nvPr/>
        </p:nvSpPr>
        <p:spPr bwMode="auto">
          <a:xfrm>
            <a:off x="1297934" y="1363863"/>
            <a:ext cx="1385293" cy="76104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no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C00000"/>
              </a:solidFill>
              <a:latin typeface="Arial" pitchFamily="34" charset="0"/>
              <a:cs typeface="Arial" pitchFamily="34" charset="0"/>
            </a:endParaRPr>
          </a:p>
        </p:txBody>
      </p:sp>
      <p:sp>
        <p:nvSpPr>
          <p:cNvPr id="142" name="Freeform 1192"/>
          <p:cNvSpPr>
            <a:spLocks noChangeAspect="1"/>
          </p:cNvSpPr>
          <p:nvPr/>
        </p:nvSpPr>
        <p:spPr bwMode="auto">
          <a:xfrm>
            <a:off x="1866218" y="1982560"/>
            <a:ext cx="536985" cy="413376"/>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43" name="Freeform 1195"/>
          <p:cNvSpPr>
            <a:spLocks noChangeAspect="1"/>
          </p:cNvSpPr>
          <p:nvPr/>
        </p:nvSpPr>
        <p:spPr bwMode="auto">
          <a:xfrm>
            <a:off x="2126476" y="2250840"/>
            <a:ext cx="644054" cy="431170"/>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4" name="Freeform 1196"/>
          <p:cNvSpPr>
            <a:spLocks noChangeAspect="1"/>
          </p:cNvSpPr>
          <p:nvPr/>
        </p:nvSpPr>
        <p:spPr bwMode="auto">
          <a:xfrm>
            <a:off x="2070469" y="2424682"/>
            <a:ext cx="1355643" cy="985531"/>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F2BCCD"/>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 </a:t>
            </a:r>
          </a:p>
        </p:txBody>
      </p:sp>
      <p:sp>
        <p:nvSpPr>
          <p:cNvPr id="145" name="Freeform 1199"/>
          <p:cNvSpPr>
            <a:spLocks noChangeAspect="1"/>
          </p:cNvSpPr>
          <p:nvPr/>
        </p:nvSpPr>
        <p:spPr bwMode="auto">
          <a:xfrm>
            <a:off x="1530190" y="2962614"/>
            <a:ext cx="1571426" cy="878765"/>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6" name="Freeform 1200"/>
          <p:cNvSpPr>
            <a:spLocks noChangeAspect="1"/>
          </p:cNvSpPr>
          <p:nvPr/>
        </p:nvSpPr>
        <p:spPr bwMode="auto">
          <a:xfrm>
            <a:off x="3152677" y="2854483"/>
            <a:ext cx="841718" cy="499609"/>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7" name="Freeform 1202"/>
          <p:cNvSpPr>
            <a:spLocks noChangeAspect="1"/>
          </p:cNvSpPr>
          <p:nvPr/>
        </p:nvSpPr>
        <p:spPr bwMode="auto">
          <a:xfrm>
            <a:off x="1303163" y="4597786"/>
            <a:ext cx="217431" cy="153304"/>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48" name="Freeform 1204"/>
          <p:cNvSpPr>
            <a:spLocks noChangeAspect="1"/>
          </p:cNvSpPr>
          <p:nvPr/>
        </p:nvSpPr>
        <p:spPr bwMode="auto">
          <a:xfrm>
            <a:off x="1916211" y="4001587"/>
            <a:ext cx="1503890" cy="1086822"/>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49" name="Freeform 1206"/>
          <p:cNvSpPr>
            <a:spLocks noChangeAspect="1"/>
          </p:cNvSpPr>
          <p:nvPr/>
        </p:nvSpPr>
        <p:spPr bwMode="auto">
          <a:xfrm>
            <a:off x="2615691" y="3361665"/>
            <a:ext cx="711589" cy="974581"/>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0" name="Freeform 1207"/>
          <p:cNvSpPr>
            <a:spLocks noChangeAspect="1"/>
          </p:cNvSpPr>
          <p:nvPr/>
        </p:nvSpPr>
        <p:spPr bwMode="auto">
          <a:xfrm>
            <a:off x="2810829" y="3596364"/>
            <a:ext cx="1123389" cy="728198"/>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1" name="Freeform 1208"/>
          <p:cNvSpPr>
            <a:spLocks noChangeAspect="1"/>
          </p:cNvSpPr>
          <p:nvPr/>
        </p:nvSpPr>
        <p:spPr bwMode="auto">
          <a:xfrm>
            <a:off x="3177386" y="3156982"/>
            <a:ext cx="797244" cy="543412"/>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52" name="Freeform 1209"/>
          <p:cNvSpPr>
            <a:spLocks noChangeAspect="1"/>
          </p:cNvSpPr>
          <p:nvPr/>
        </p:nvSpPr>
        <p:spPr bwMode="auto">
          <a:xfrm>
            <a:off x="4035573" y="2761401"/>
            <a:ext cx="135070" cy="150568"/>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53" name="Freeform 1210"/>
          <p:cNvSpPr>
            <a:spLocks noChangeAspect="1"/>
          </p:cNvSpPr>
          <p:nvPr/>
        </p:nvSpPr>
        <p:spPr bwMode="auto">
          <a:xfrm>
            <a:off x="3607307" y="2869535"/>
            <a:ext cx="729709" cy="874660"/>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00B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4" name="Freeform 1211"/>
          <p:cNvSpPr>
            <a:spLocks noChangeAspect="1"/>
          </p:cNvSpPr>
          <p:nvPr/>
        </p:nvSpPr>
        <p:spPr bwMode="auto">
          <a:xfrm>
            <a:off x="4376544" y="3035163"/>
            <a:ext cx="589698" cy="158781"/>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5" name="Freeform 1212"/>
          <p:cNvSpPr>
            <a:spLocks noChangeAspect="1"/>
          </p:cNvSpPr>
          <p:nvPr/>
        </p:nvSpPr>
        <p:spPr bwMode="auto">
          <a:xfrm>
            <a:off x="4649978" y="3274698"/>
            <a:ext cx="232255" cy="242277"/>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6" name="Freeform 1213"/>
          <p:cNvSpPr>
            <a:spLocks noChangeAspect="1"/>
          </p:cNvSpPr>
          <p:nvPr/>
        </p:nvSpPr>
        <p:spPr bwMode="auto">
          <a:xfrm>
            <a:off x="4249710" y="2638211"/>
            <a:ext cx="1261753" cy="670708"/>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noFill/>
              <a:latin typeface="Arial" pitchFamily="34" charset="0"/>
              <a:cs typeface="Arial" pitchFamily="34" charset="0"/>
            </a:endParaRPr>
          </a:p>
        </p:txBody>
      </p:sp>
      <p:sp>
        <p:nvSpPr>
          <p:cNvPr id="157" name="Freeform 1214"/>
          <p:cNvSpPr>
            <a:spLocks noChangeAspect="1"/>
          </p:cNvSpPr>
          <p:nvPr/>
        </p:nvSpPr>
        <p:spPr bwMode="auto">
          <a:xfrm>
            <a:off x="4854231" y="3243221"/>
            <a:ext cx="220724" cy="403794"/>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58" name="Freeform 1215"/>
          <p:cNvSpPr>
            <a:spLocks noChangeAspect="1"/>
          </p:cNvSpPr>
          <p:nvPr/>
        </p:nvSpPr>
        <p:spPr bwMode="auto">
          <a:xfrm>
            <a:off x="4969534" y="3061170"/>
            <a:ext cx="312968" cy="283341"/>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59" name="Freeform 1217"/>
          <p:cNvSpPr>
            <a:spLocks noChangeAspect="1"/>
          </p:cNvSpPr>
          <p:nvPr/>
        </p:nvSpPr>
        <p:spPr bwMode="auto">
          <a:xfrm>
            <a:off x="5015660" y="2824366"/>
            <a:ext cx="368971" cy="327142"/>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0" name="Freeform 1222"/>
          <p:cNvSpPr>
            <a:spLocks noChangeAspect="1"/>
          </p:cNvSpPr>
          <p:nvPr/>
        </p:nvSpPr>
        <p:spPr bwMode="auto">
          <a:xfrm>
            <a:off x="2045759" y="2330234"/>
            <a:ext cx="70830" cy="45171"/>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chemeClr val="tx2">
              <a:lumMod val="20000"/>
              <a:lumOff val="80000"/>
            </a:schemeClr>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1" name="Freeform 1194"/>
          <p:cNvSpPr>
            <a:spLocks noChangeAspect="1"/>
          </p:cNvSpPr>
          <p:nvPr/>
        </p:nvSpPr>
        <p:spPr bwMode="auto">
          <a:xfrm>
            <a:off x="2065529" y="2598514"/>
            <a:ext cx="105421" cy="98553"/>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2" name="Freeform 1197"/>
          <p:cNvSpPr>
            <a:spLocks noChangeAspect="1"/>
          </p:cNvSpPr>
          <p:nvPr/>
        </p:nvSpPr>
        <p:spPr bwMode="auto">
          <a:xfrm>
            <a:off x="373860" y="3215841"/>
            <a:ext cx="1218926" cy="751468"/>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63" name="Freeform 1201"/>
          <p:cNvSpPr>
            <a:spLocks noChangeAspect="1"/>
          </p:cNvSpPr>
          <p:nvPr/>
        </p:nvSpPr>
        <p:spPr bwMode="auto">
          <a:xfrm>
            <a:off x="1167808" y="3664019"/>
            <a:ext cx="1575921" cy="960313"/>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4" name="Freeform 1205"/>
          <p:cNvSpPr>
            <a:spLocks noChangeAspect="1"/>
          </p:cNvSpPr>
          <p:nvPr/>
        </p:nvSpPr>
        <p:spPr bwMode="auto">
          <a:xfrm>
            <a:off x="1760795" y="4959850"/>
            <a:ext cx="849953" cy="852758"/>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5" name="Freeform 1219"/>
          <p:cNvSpPr>
            <a:spLocks noChangeAspect="1"/>
          </p:cNvSpPr>
          <p:nvPr/>
        </p:nvSpPr>
        <p:spPr bwMode="auto">
          <a:xfrm>
            <a:off x="1513755" y="5062255"/>
            <a:ext cx="484276" cy="696716"/>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baseline="-25000" dirty="0">
              <a:solidFill>
                <a:srgbClr val="C79B3A"/>
              </a:solidFill>
              <a:latin typeface="Arial" pitchFamily="34" charset="0"/>
              <a:cs typeface="Arial" pitchFamily="34" charset="0"/>
            </a:endParaRPr>
          </a:p>
        </p:txBody>
      </p:sp>
      <p:sp>
        <p:nvSpPr>
          <p:cNvPr id="166" name="Freeform 1221"/>
          <p:cNvSpPr>
            <a:spLocks noChangeAspect="1"/>
          </p:cNvSpPr>
          <p:nvPr/>
        </p:nvSpPr>
        <p:spPr bwMode="auto">
          <a:xfrm>
            <a:off x="1503835" y="2022254"/>
            <a:ext cx="625936" cy="524248"/>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44546A">
                  <a:lumMod val="50000"/>
                </a:srgbClr>
              </a:solidFill>
              <a:latin typeface="Arial" pitchFamily="34" charset="0"/>
              <a:cs typeface="Arial" pitchFamily="34" charset="0"/>
            </a:endParaRPr>
          </a:p>
        </p:txBody>
      </p:sp>
      <p:sp>
        <p:nvSpPr>
          <p:cNvPr id="167" name="Freeform 1193"/>
          <p:cNvSpPr>
            <a:spLocks noChangeAspect="1"/>
          </p:cNvSpPr>
          <p:nvPr/>
        </p:nvSpPr>
        <p:spPr bwMode="auto">
          <a:xfrm>
            <a:off x="1674694" y="2390461"/>
            <a:ext cx="518868" cy="461284"/>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68" name="Freeform 1203"/>
          <p:cNvSpPr>
            <a:spLocks noChangeAspect="1"/>
          </p:cNvSpPr>
          <p:nvPr/>
        </p:nvSpPr>
        <p:spPr bwMode="auto">
          <a:xfrm>
            <a:off x="1385839" y="4183405"/>
            <a:ext cx="884543" cy="1069028"/>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C0E399"/>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69" name="Freeform 1204"/>
          <p:cNvSpPr>
            <a:spLocks noChangeAspect="1"/>
          </p:cNvSpPr>
          <p:nvPr/>
        </p:nvSpPr>
        <p:spPr bwMode="auto">
          <a:xfrm>
            <a:off x="2067639" y="4016233"/>
            <a:ext cx="712018" cy="584325"/>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a:t>
            </a:r>
          </a:p>
        </p:txBody>
      </p:sp>
      <p:sp>
        <p:nvSpPr>
          <p:cNvPr id="108" name="Rectangle 107">
            <a:extLst>
              <a:ext uri="{FF2B5EF4-FFF2-40B4-BE49-F238E27FC236}">
                <a16:creationId xmlns:a16="http://schemas.microsoft.com/office/drawing/2014/main" id="{6FA5C7BA-DFFB-49F2-967E-8AAEC1B1A9D9}"/>
              </a:ext>
            </a:extLst>
          </p:cNvPr>
          <p:cNvSpPr/>
          <p:nvPr/>
        </p:nvSpPr>
        <p:spPr>
          <a:xfrm>
            <a:off x="10041627" y="1650253"/>
            <a:ext cx="1651842" cy="433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09" name="Freeform 1216">
            <a:extLst>
              <a:ext uri="{FF2B5EF4-FFF2-40B4-BE49-F238E27FC236}">
                <a16:creationId xmlns:a16="http://schemas.microsoft.com/office/drawing/2014/main" id="{98737F34-B966-4C19-8021-66094F33416F}"/>
              </a:ext>
            </a:extLst>
          </p:cNvPr>
          <p:cNvSpPr>
            <a:spLocks noChangeAspect="1"/>
          </p:cNvSpPr>
          <p:nvPr/>
        </p:nvSpPr>
        <p:spPr bwMode="auto">
          <a:xfrm>
            <a:off x="10777322" y="2548874"/>
            <a:ext cx="1020738" cy="420363"/>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0" name="Freeform 1223">
            <a:extLst>
              <a:ext uri="{FF2B5EF4-FFF2-40B4-BE49-F238E27FC236}">
                <a16:creationId xmlns:a16="http://schemas.microsoft.com/office/drawing/2014/main" id="{BD31C3A1-71E8-4EC8-89A9-1F131ACFFE24}"/>
              </a:ext>
            </a:extLst>
          </p:cNvPr>
          <p:cNvSpPr>
            <a:spLocks noChangeAspect="1"/>
          </p:cNvSpPr>
          <p:nvPr/>
        </p:nvSpPr>
        <p:spPr bwMode="auto">
          <a:xfrm>
            <a:off x="6839605" y="2504186"/>
            <a:ext cx="1549771" cy="1057644"/>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11" name="Freeform 1191">
            <a:extLst>
              <a:ext uri="{FF2B5EF4-FFF2-40B4-BE49-F238E27FC236}">
                <a16:creationId xmlns:a16="http://schemas.microsoft.com/office/drawing/2014/main" id="{1E5AEBB6-D17F-40A5-96B1-130F50566548}"/>
              </a:ext>
            </a:extLst>
          </p:cNvPr>
          <p:cNvSpPr>
            <a:spLocks noChangeAspect="1"/>
          </p:cNvSpPr>
          <p:nvPr/>
        </p:nvSpPr>
        <p:spPr bwMode="auto">
          <a:xfrm>
            <a:off x="7450593" y="1449855"/>
            <a:ext cx="1364771" cy="74910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no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C00000"/>
              </a:solidFill>
              <a:latin typeface="Arial" pitchFamily="34" charset="0"/>
              <a:cs typeface="Arial" pitchFamily="34" charset="0"/>
            </a:endParaRPr>
          </a:p>
        </p:txBody>
      </p:sp>
      <p:sp>
        <p:nvSpPr>
          <p:cNvPr id="112" name="Freeform 1192">
            <a:extLst>
              <a:ext uri="{FF2B5EF4-FFF2-40B4-BE49-F238E27FC236}">
                <a16:creationId xmlns:a16="http://schemas.microsoft.com/office/drawing/2014/main" id="{8EB7B15B-AF3E-4771-A258-628DCCCCA90C}"/>
              </a:ext>
            </a:extLst>
          </p:cNvPr>
          <p:cNvSpPr>
            <a:spLocks noChangeAspect="1"/>
          </p:cNvSpPr>
          <p:nvPr/>
        </p:nvSpPr>
        <p:spPr bwMode="auto">
          <a:xfrm>
            <a:off x="8010458" y="2059798"/>
            <a:ext cx="529031" cy="406890"/>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13" name="Freeform 1195">
            <a:extLst>
              <a:ext uri="{FF2B5EF4-FFF2-40B4-BE49-F238E27FC236}">
                <a16:creationId xmlns:a16="http://schemas.microsoft.com/office/drawing/2014/main" id="{DFA986F6-90A0-4D2A-AF8D-99053128075E}"/>
              </a:ext>
            </a:extLst>
          </p:cNvPr>
          <p:cNvSpPr>
            <a:spLocks noChangeAspect="1"/>
          </p:cNvSpPr>
          <p:nvPr/>
        </p:nvSpPr>
        <p:spPr bwMode="auto">
          <a:xfrm>
            <a:off x="8266859" y="2323875"/>
            <a:ext cx="634513" cy="424406"/>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4" name="Freeform 1196">
            <a:extLst>
              <a:ext uri="{FF2B5EF4-FFF2-40B4-BE49-F238E27FC236}">
                <a16:creationId xmlns:a16="http://schemas.microsoft.com/office/drawing/2014/main" id="{46CE8921-BFD5-43A2-AAC9-DBA72E7A50F4}"/>
              </a:ext>
            </a:extLst>
          </p:cNvPr>
          <p:cNvSpPr>
            <a:spLocks noChangeAspect="1"/>
          </p:cNvSpPr>
          <p:nvPr/>
        </p:nvSpPr>
        <p:spPr bwMode="auto">
          <a:xfrm>
            <a:off x="8211685" y="2494986"/>
            <a:ext cx="1335561" cy="970069"/>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 </a:t>
            </a:r>
          </a:p>
        </p:txBody>
      </p:sp>
      <p:sp>
        <p:nvSpPr>
          <p:cNvPr id="115" name="Freeform 1199">
            <a:extLst>
              <a:ext uri="{FF2B5EF4-FFF2-40B4-BE49-F238E27FC236}">
                <a16:creationId xmlns:a16="http://schemas.microsoft.com/office/drawing/2014/main" id="{E4EEBE07-CEEF-481C-81B5-0CB588A982A8}"/>
              </a:ext>
            </a:extLst>
          </p:cNvPr>
          <p:cNvSpPr>
            <a:spLocks noChangeAspect="1"/>
          </p:cNvSpPr>
          <p:nvPr/>
        </p:nvSpPr>
        <p:spPr bwMode="auto">
          <a:xfrm>
            <a:off x="7679404" y="3024479"/>
            <a:ext cx="1548148" cy="864978"/>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2BCCD"/>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6" name="Freeform 1200">
            <a:extLst>
              <a:ext uri="{FF2B5EF4-FFF2-40B4-BE49-F238E27FC236}">
                <a16:creationId xmlns:a16="http://schemas.microsoft.com/office/drawing/2014/main" id="{B05062AD-F954-4830-A85C-1141217F3E60}"/>
              </a:ext>
            </a:extLst>
          </p:cNvPr>
          <p:cNvSpPr>
            <a:spLocks noChangeAspect="1"/>
          </p:cNvSpPr>
          <p:nvPr/>
        </p:nvSpPr>
        <p:spPr bwMode="auto">
          <a:xfrm>
            <a:off x="9277747" y="2920286"/>
            <a:ext cx="829249" cy="491771"/>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7" name="Freeform 1202">
            <a:extLst>
              <a:ext uri="{FF2B5EF4-FFF2-40B4-BE49-F238E27FC236}">
                <a16:creationId xmlns:a16="http://schemas.microsoft.com/office/drawing/2014/main" id="{0B973F95-69CE-466F-AC63-C99828A89963}"/>
              </a:ext>
            </a:extLst>
          </p:cNvPr>
          <p:cNvSpPr>
            <a:spLocks noChangeAspect="1"/>
          </p:cNvSpPr>
          <p:nvPr/>
        </p:nvSpPr>
        <p:spPr bwMode="auto">
          <a:xfrm>
            <a:off x="7455739" y="4633998"/>
            <a:ext cx="214210" cy="150899"/>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8" name="Freeform 1204">
            <a:extLst>
              <a:ext uri="{FF2B5EF4-FFF2-40B4-BE49-F238E27FC236}">
                <a16:creationId xmlns:a16="http://schemas.microsoft.com/office/drawing/2014/main" id="{92AB55BA-4A9F-4B85-8CB5-4D335B1613EF}"/>
              </a:ext>
            </a:extLst>
          </p:cNvPr>
          <p:cNvSpPr>
            <a:spLocks noChangeAspect="1"/>
          </p:cNvSpPr>
          <p:nvPr/>
        </p:nvSpPr>
        <p:spPr bwMode="auto">
          <a:xfrm>
            <a:off x="8059709" y="4047155"/>
            <a:ext cx="1481613" cy="1069771"/>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X`</a:t>
            </a:r>
          </a:p>
        </p:txBody>
      </p:sp>
      <p:sp>
        <p:nvSpPr>
          <p:cNvPr id="119" name="Freeform 1206">
            <a:extLst>
              <a:ext uri="{FF2B5EF4-FFF2-40B4-BE49-F238E27FC236}">
                <a16:creationId xmlns:a16="http://schemas.microsoft.com/office/drawing/2014/main" id="{37B68A58-EEB7-4054-BA37-6E4A3CC9F3C9}"/>
              </a:ext>
            </a:extLst>
          </p:cNvPr>
          <p:cNvSpPr>
            <a:spLocks noChangeAspect="1"/>
          </p:cNvSpPr>
          <p:nvPr/>
        </p:nvSpPr>
        <p:spPr bwMode="auto">
          <a:xfrm>
            <a:off x="8748824" y="3417269"/>
            <a:ext cx="701048" cy="959291"/>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0" name="Freeform 1207">
            <a:extLst>
              <a:ext uri="{FF2B5EF4-FFF2-40B4-BE49-F238E27FC236}">
                <a16:creationId xmlns:a16="http://schemas.microsoft.com/office/drawing/2014/main" id="{DB0D1559-BF5D-47E1-9096-D2F48F2F4262}"/>
              </a:ext>
            </a:extLst>
          </p:cNvPr>
          <p:cNvSpPr>
            <a:spLocks noChangeAspect="1"/>
          </p:cNvSpPr>
          <p:nvPr/>
        </p:nvSpPr>
        <p:spPr bwMode="auto">
          <a:xfrm>
            <a:off x="8941071" y="3648289"/>
            <a:ext cx="1106748" cy="716773"/>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1" name="Freeform 1208">
            <a:extLst>
              <a:ext uri="{FF2B5EF4-FFF2-40B4-BE49-F238E27FC236}">
                <a16:creationId xmlns:a16="http://schemas.microsoft.com/office/drawing/2014/main" id="{7B7B3E88-3290-4F74-96C9-1C2D0A11444C}"/>
              </a:ext>
            </a:extLst>
          </p:cNvPr>
          <p:cNvSpPr>
            <a:spLocks noChangeAspect="1"/>
          </p:cNvSpPr>
          <p:nvPr/>
        </p:nvSpPr>
        <p:spPr bwMode="auto">
          <a:xfrm>
            <a:off x="9302201" y="3215800"/>
            <a:ext cx="785434" cy="534886"/>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2" name="Freeform 1209">
            <a:extLst>
              <a:ext uri="{FF2B5EF4-FFF2-40B4-BE49-F238E27FC236}">
                <a16:creationId xmlns:a16="http://schemas.microsoft.com/office/drawing/2014/main" id="{C07D65DA-D20A-4F1C-AADC-902C1F681175}"/>
              </a:ext>
            </a:extLst>
          </p:cNvPr>
          <p:cNvSpPr>
            <a:spLocks noChangeAspect="1"/>
          </p:cNvSpPr>
          <p:nvPr/>
        </p:nvSpPr>
        <p:spPr bwMode="auto">
          <a:xfrm>
            <a:off x="10147679" y="2826423"/>
            <a:ext cx="133069" cy="148205"/>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3" name="Freeform 1210">
            <a:extLst>
              <a:ext uri="{FF2B5EF4-FFF2-40B4-BE49-F238E27FC236}">
                <a16:creationId xmlns:a16="http://schemas.microsoft.com/office/drawing/2014/main" id="{F9F0BA43-C0F4-4A39-93EB-2E3CB318D2B2}"/>
              </a:ext>
            </a:extLst>
          </p:cNvPr>
          <p:cNvSpPr>
            <a:spLocks noChangeAspect="1"/>
          </p:cNvSpPr>
          <p:nvPr/>
        </p:nvSpPr>
        <p:spPr bwMode="auto">
          <a:xfrm>
            <a:off x="9725754" y="2932862"/>
            <a:ext cx="718899" cy="860937"/>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4" name="Freeform 1211">
            <a:extLst>
              <a:ext uri="{FF2B5EF4-FFF2-40B4-BE49-F238E27FC236}">
                <a16:creationId xmlns:a16="http://schemas.microsoft.com/office/drawing/2014/main" id="{B239175D-70C4-45EF-A96B-8A5C9DFCAD44}"/>
              </a:ext>
            </a:extLst>
          </p:cNvPr>
          <p:cNvSpPr>
            <a:spLocks noChangeAspect="1"/>
          </p:cNvSpPr>
          <p:nvPr/>
        </p:nvSpPr>
        <p:spPr bwMode="auto">
          <a:xfrm>
            <a:off x="10483596" y="3095887"/>
            <a:ext cx="580962" cy="156290"/>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5" name="Freeform 1212">
            <a:extLst>
              <a:ext uri="{FF2B5EF4-FFF2-40B4-BE49-F238E27FC236}">
                <a16:creationId xmlns:a16="http://schemas.microsoft.com/office/drawing/2014/main" id="{89701B6C-1A96-4A59-9752-9D2BC0FA4EF4}"/>
              </a:ext>
            </a:extLst>
          </p:cNvPr>
          <p:cNvSpPr>
            <a:spLocks noChangeAspect="1"/>
          </p:cNvSpPr>
          <p:nvPr/>
        </p:nvSpPr>
        <p:spPr bwMode="auto">
          <a:xfrm>
            <a:off x="10752981" y="3331670"/>
            <a:ext cx="228814" cy="238476"/>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6" name="Freeform 1213">
            <a:extLst>
              <a:ext uri="{FF2B5EF4-FFF2-40B4-BE49-F238E27FC236}">
                <a16:creationId xmlns:a16="http://schemas.microsoft.com/office/drawing/2014/main" id="{26813B49-C3C3-4180-B1CF-40A33CFB83C1}"/>
              </a:ext>
            </a:extLst>
          </p:cNvPr>
          <p:cNvSpPr>
            <a:spLocks noChangeAspect="1"/>
          </p:cNvSpPr>
          <p:nvPr/>
        </p:nvSpPr>
        <p:spPr bwMode="auto">
          <a:xfrm>
            <a:off x="10358644" y="2705165"/>
            <a:ext cx="1243063" cy="660186"/>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noFill/>
              <a:latin typeface="Arial" pitchFamily="34" charset="0"/>
              <a:cs typeface="Arial" pitchFamily="34" charset="0"/>
            </a:endParaRPr>
          </a:p>
        </p:txBody>
      </p:sp>
      <p:sp>
        <p:nvSpPr>
          <p:cNvPr id="127" name="Freeform 1214">
            <a:extLst>
              <a:ext uri="{FF2B5EF4-FFF2-40B4-BE49-F238E27FC236}">
                <a16:creationId xmlns:a16="http://schemas.microsoft.com/office/drawing/2014/main" id="{3A3CB386-3D92-4957-BE0A-9466B0202443}"/>
              </a:ext>
            </a:extLst>
          </p:cNvPr>
          <p:cNvSpPr>
            <a:spLocks noChangeAspect="1"/>
          </p:cNvSpPr>
          <p:nvPr/>
        </p:nvSpPr>
        <p:spPr bwMode="auto">
          <a:xfrm>
            <a:off x="10954208" y="3300680"/>
            <a:ext cx="217455" cy="397458"/>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8" name="Freeform 1215">
            <a:extLst>
              <a:ext uri="{FF2B5EF4-FFF2-40B4-BE49-F238E27FC236}">
                <a16:creationId xmlns:a16="http://schemas.microsoft.com/office/drawing/2014/main" id="{68964C9E-6FB9-45B4-A4FF-58572D182060}"/>
              </a:ext>
            </a:extLst>
          </p:cNvPr>
          <p:cNvSpPr>
            <a:spLocks noChangeAspect="1"/>
          </p:cNvSpPr>
          <p:nvPr/>
        </p:nvSpPr>
        <p:spPr bwMode="auto">
          <a:xfrm>
            <a:off x="11067805" y="3121485"/>
            <a:ext cx="308331" cy="278896"/>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9" name="Freeform 1217">
            <a:extLst>
              <a:ext uri="{FF2B5EF4-FFF2-40B4-BE49-F238E27FC236}">
                <a16:creationId xmlns:a16="http://schemas.microsoft.com/office/drawing/2014/main" id="{593110EF-7C47-4988-BB35-02DE558E6870}"/>
              </a:ext>
            </a:extLst>
          </p:cNvPr>
          <p:cNvSpPr>
            <a:spLocks noChangeAspect="1"/>
          </p:cNvSpPr>
          <p:nvPr/>
        </p:nvSpPr>
        <p:spPr bwMode="auto">
          <a:xfrm>
            <a:off x="11113241" y="2888404"/>
            <a:ext cx="363506" cy="322009"/>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0" name="Freeform 1222">
            <a:extLst>
              <a:ext uri="{FF2B5EF4-FFF2-40B4-BE49-F238E27FC236}">
                <a16:creationId xmlns:a16="http://schemas.microsoft.com/office/drawing/2014/main" id="{F5A6909B-AFC9-42A6-96E5-5293CEEFBBE4}"/>
              </a:ext>
            </a:extLst>
          </p:cNvPr>
          <p:cNvSpPr>
            <a:spLocks noChangeAspect="1"/>
          </p:cNvSpPr>
          <p:nvPr/>
        </p:nvSpPr>
        <p:spPr bwMode="auto">
          <a:xfrm>
            <a:off x="8187342" y="2402017"/>
            <a:ext cx="69781" cy="44462"/>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chemeClr val="tx2">
              <a:lumMod val="20000"/>
              <a:lumOff val="80000"/>
            </a:schemeClr>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1" name="Freeform 1194">
            <a:extLst>
              <a:ext uri="{FF2B5EF4-FFF2-40B4-BE49-F238E27FC236}">
                <a16:creationId xmlns:a16="http://schemas.microsoft.com/office/drawing/2014/main" id="{F66BF5A7-CE24-43FF-BFDA-68F1F8F23277}"/>
              </a:ext>
            </a:extLst>
          </p:cNvPr>
          <p:cNvSpPr>
            <a:spLocks noChangeAspect="1"/>
          </p:cNvSpPr>
          <p:nvPr/>
        </p:nvSpPr>
        <p:spPr bwMode="auto">
          <a:xfrm>
            <a:off x="8206816" y="2666092"/>
            <a:ext cx="103859" cy="97008"/>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2" name="Freeform 1197">
            <a:extLst>
              <a:ext uri="{FF2B5EF4-FFF2-40B4-BE49-F238E27FC236}">
                <a16:creationId xmlns:a16="http://schemas.microsoft.com/office/drawing/2014/main" id="{72F8FE09-7F4D-46DF-9244-F05732D67F4E}"/>
              </a:ext>
            </a:extLst>
          </p:cNvPr>
          <p:cNvSpPr>
            <a:spLocks noChangeAspect="1"/>
          </p:cNvSpPr>
          <p:nvPr/>
        </p:nvSpPr>
        <p:spPr bwMode="auto">
          <a:xfrm>
            <a:off x="6541820" y="3273349"/>
            <a:ext cx="1200870" cy="739678"/>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3" name="Freeform 1201">
            <a:extLst>
              <a:ext uri="{FF2B5EF4-FFF2-40B4-BE49-F238E27FC236}">
                <a16:creationId xmlns:a16="http://schemas.microsoft.com/office/drawing/2014/main" id="{A1DCA9FC-B581-41AC-965B-F9E4AA76CDB0}"/>
              </a:ext>
            </a:extLst>
          </p:cNvPr>
          <p:cNvSpPr>
            <a:spLocks noChangeAspect="1"/>
          </p:cNvSpPr>
          <p:nvPr/>
        </p:nvSpPr>
        <p:spPr bwMode="auto">
          <a:xfrm>
            <a:off x="7322390" y="3714876"/>
            <a:ext cx="1552576" cy="945248"/>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4" name="Freeform 1205">
            <a:extLst>
              <a:ext uri="{FF2B5EF4-FFF2-40B4-BE49-F238E27FC236}">
                <a16:creationId xmlns:a16="http://schemas.microsoft.com/office/drawing/2014/main" id="{7A867897-C341-431E-A008-FED66754E1C3}"/>
              </a:ext>
            </a:extLst>
          </p:cNvPr>
          <p:cNvSpPr>
            <a:spLocks noChangeAspect="1"/>
          </p:cNvSpPr>
          <p:nvPr/>
        </p:nvSpPr>
        <p:spPr bwMode="auto">
          <a:xfrm>
            <a:off x="7907514" y="4976932"/>
            <a:ext cx="837362" cy="839378"/>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5" name="Freeform 1219">
            <a:extLst>
              <a:ext uri="{FF2B5EF4-FFF2-40B4-BE49-F238E27FC236}">
                <a16:creationId xmlns:a16="http://schemas.microsoft.com/office/drawing/2014/main" id="{FBBF1932-CCB0-41C7-8825-2531472954A6}"/>
              </a:ext>
            </a:extLst>
          </p:cNvPr>
          <p:cNvSpPr>
            <a:spLocks noChangeAspect="1"/>
          </p:cNvSpPr>
          <p:nvPr/>
        </p:nvSpPr>
        <p:spPr bwMode="auto">
          <a:xfrm>
            <a:off x="7663212" y="5091178"/>
            <a:ext cx="477102" cy="685785"/>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baseline="-25000" dirty="0">
              <a:solidFill>
                <a:srgbClr val="C79B3A"/>
              </a:solidFill>
              <a:latin typeface="Arial" pitchFamily="34" charset="0"/>
              <a:cs typeface="Arial" pitchFamily="34" charset="0"/>
            </a:endParaRPr>
          </a:p>
        </p:txBody>
      </p:sp>
      <p:sp>
        <p:nvSpPr>
          <p:cNvPr id="136" name="Freeform 1221">
            <a:extLst>
              <a:ext uri="{FF2B5EF4-FFF2-40B4-BE49-F238E27FC236}">
                <a16:creationId xmlns:a16="http://schemas.microsoft.com/office/drawing/2014/main" id="{AF9BC9B1-EF5E-4B4A-885C-78DEE99329AD}"/>
              </a:ext>
            </a:extLst>
          </p:cNvPr>
          <p:cNvSpPr>
            <a:spLocks noChangeAspect="1"/>
          </p:cNvSpPr>
          <p:nvPr/>
        </p:nvSpPr>
        <p:spPr bwMode="auto">
          <a:xfrm>
            <a:off x="7656614" y="2098872"/>
            <a:ext cx="616663" cy="516023"/>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44546A">
                  <a:lumMod val="50000"/>
                </a:srgbClr>
              </a:solidFill>
              <a:latin typeface="Arial" pitchFamily="34" charset="0"/>
              <a:cs typeface="Arial" pitchFamily="34" charset="0"/>
            </a:endParaRPr>
          </a:p>
        </p:txBody>
      </p:sp>
      <p:sp>
        <p:nvSpPr>
          <p:cNvPr id="137" name="Freeform 1193">
            <a:extLst>
              <a:ext uri="{FF2B5EF4-FFF2-40B4-BE49-F238E27FC236}">
                <a16:creationId xmlns:a16="http://schemas.microsoft.com/office/drawing/2014/main" id="{ADD10674-A000-46C8-8C95-6E39E70F6F7B}"/>
              </a:ext>
            </a:extLst>
          </p:cNvPr>
          <p:cNvSpPr>
            <a:spLocks noChangeAspect="1"/>
          </p:cNvSpPr>
          <p:nvPr/>
        </p:nvSpPr>
        <p:spPr bwMode="auto">
          <a:xfrm>
            <a:off x="7821770" y="2461302"/>
            <a:ext cx="511182" cy="454047"/>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8" name="Freeform 1203">
            <a:extLst>
              <a:ext uri="{FF2B5EF4-FFF2-40B4-BE49-F238E27FC236}">
                <a16:creationId xmlns:a16="http://schemas.microsoft.com/office/drawing/2014/main" id="{E049BA34-3CC8-4F1E-B7E3-F90642321880}"/>
              </a:ext>
            </a:extLst>
          </p:cNvPr>
          <p:cNvSpPr>
            <a:spLocks noChangeAspect="1"/>
          </p:cNvSpPr>
          <p:nvPr/>
        </p:nvSpPr>
        <p:spPr bwMode="auto">
          <a:xfrm>
            <a:off x="7553213" y="4226034"/>
            <a:ext cx="871440" cy="1052256"/>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F2BCCD"/>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70" name="Freeform 1204">
            <a:extLst>
              <a:ext uri="{FF2B5EF4-FFF2-40B4-BE49-F238E27FC236}">
                <a16:creationId xmlns:a16="http://schemas.microsoft.com/office/drawing/2014/main" id="{5F8FE311-EEFB-4909-9536-D6D8FEC27737}"/>
              </a:ext>
            </a:extLst>
          </p:cNvPr>
          <p:cNvSpPr>
            <a:spLocks noChangeAspect="1"/>
          </p:cNvSpPr>
          <p:nvPr/>
        </p:nvSpPr>
        <p:spPr bwMode="auto">
          <a:xfrm>
            <a:off x="8208893" y="4061564"/>
            <a:ext cx="701470" cy="575158"/>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r>
              <a:rPr lang="en-US" sz="347" dirty="0">
                <a:solidFill>
                  <a:prstClr val="white">
                    <a:lumMod val="85000"/>
                  </a:prstClr>
                </a:solidFill>
                <a:latin typeface="Arial" pitchFamily="34" charset="0"/>
                <a:cs typeface="Arial" pitchFamily="34" charset="0"/>
              </a:rPr>
              <a:t>+</a:t>
            </a:r>
          </a:p>
        </p:txBody>
      </p:sp>
    </p:spTree>
    <p:extLst>
      <p:ext uri="{BB962C8B-B14F-4D97-AF65-F5344CB8AC3E}">
        <p14:creationId xmlns:p14="http://schemas.microsoft.com/office/powerpoint/2010/main" val="8341659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7" y="90968"/>
            <a:ext cx="11631238" cy="775597"/>
          </a:xfrm>
        </p:spPr>
        <p:txBody>
          <a:bodyPr/>
          <a:lstStyle/>
          <a:p>
            <a:r>
              <a:rPr lang="en-US" sz="2800" dirty="0">
                <a:solidFill>
                  <a:schemeClr val="tx1"/>
                </a:solidFill>
              </a:rPr>
              <a:t>State-wise production and farm income expectation for the rabi season</a:t>
            </a:r>
          </a:p>
        </p:txBody>
      </p:sp>
      <p:sp>
        <p:nvSpPr>
          <p:cNvPr id="31" name="Rounded Rectangle 30"/>
          <p:cNvSpPr/>
          <p:nvPr/>
        </p:nvSpPr>
        <p:spPr>
          <a:xfrm>
            <a:off x="373857" y="956244"/>
            <a:ext cx="5436393" cy="33547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167" b="1" dirty="0">
                <a:solidFill>
                  <a:prstClr val="white"/>
                </a:solidFill>
                <a:latin typeface="Arial" panose="020B0604020202020204" pitchFamily="34" charset="0"/>
                <a:cs typeface="Arial" panose="020B0604020202020204" pitchFamily="34" charset="0"/>
              </a:rPr>
              <a:t>Rabi CVI heat Map for FY22 </a:t>
            </a:r>
          </a:p>
        </p:txBody>
      </p:sp>
      <p:sp>
        <p:nvSpPr>
          <p:cNvPr id="35" name="Rounded Rectangle 34"/>
          <p:cNvSpPr/>
          <p:nvPr/>
        </p:nvSpPr>
        <p:spPr>
          <a:xfrm>
            <a:off x="6338065" y="956244"/>
            <a:ext cx="5436393" cy="33547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r>
              <a:rPr lang="en-IN" sz="1167" b="1" dirty="0">
                <a:solidFill>
                  <a:prstClr val="white"/>
                </a:solidFill>
                <a:latin typeface="Arial" panose="020B0604020202020204" pitchFamily="34" charset="0"/>
                <a:cs typeface="Arial" panose="020B0604020202020204" pitchFamily="34" charset="0"/>
              </a:rPr>
              <a:t>Rabi Production for FY22</a:t>
            </a:r>
          </a:p>
        </p:txBody>
      </p:sp>
      <p:grpSp>
        <p:nvGrpSpPr>
          <p:cNvPr id="6" name="Group 5"/>
          <p:cNvGrpSpPr/>
          <p:nvPr/>
        </p:nvGrpSpPr>
        <p:grpSpPr>
          <a:xfrm>
            <a:off x="3381686" y="6422728"/>
            <a:ext cx="5912758" cy="380751"/>
            <a:chOff x="3710464" y="7332453"/>
            <a:chExt cx="7095309" cy="456899"/>
          </a:xfrm>
        </p:grpSpPr>
        <p:sp>
          <p:nvSpPr>
            <p:cNvPr id="17" name="TextBox 16"/>
            <p:cNvSpPr txBox="1"/>
            <p:nvPr/>
          </p:nvSpPr>
          <p:spPr>
            <a:xfrm>
              <a:off x="5385039" y="7342664"/>
              <a:ext cx="1656272"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0-10%</a:t>
              </a:r>
            </a:p>
          </p:txBody>
        </p:sp>
        <p:grpSp>
          <p:nvGrpSpPr>
            <p:cNvPr id="5" name="Group 4"/>
            <p:cNvGrpSpPr/>
            <p:nvPr/>
          </p:nvGrpSpPr>
          <p:grpSpPr>
            <a:xfrm>
              <a:off x="3710464" y="7332453"/>
              <a:ext cx="7095309" cy="456899"/>
              <a:chOff x="3710464" y="7332453"/>
              <a:chExt cx="7095309" cy="456899"/>
            </a:xfrm>
          </p:grpSpPr>
          <p:sp>
            <p:nvSpPr>
              <p:cNvPr id="3" name="Rectangle 2"/>
              <p:cNvSpPr/>
              <p:nvPr/>
            </p:nvSpPr>
            <p:spPr>
              <a:xfrm>
                <a:off x="3710464" y="7349706"/>
                <a:ext cx="550985" cy="2602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4" name="TextBox 3"/>
              <p:cNvSpPr txBox="1"/>
              <p:nvPr/>
            </p:nvSpPr>
            <p:spPr>
              <a:xfrm>
                <a:off x="4261449" y="7346889"/>
                <a:ext cx="1353296"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gt;10%</a:t>
                </a:r>
              </a:p>
            </p:txBody>
          </p:sp>
          <p:sp>
            <p:nvSpPr>
              <p:cNvPr id="16" name="Rectangle 15"/>
              <p:cNvSpPr/>
              <p:nvPr/>
            </p:nvSpPr>
            <p:spPr>
              <a:xfrm>
                <a:off x="4834054" y="7345481"/>
                <a:ext cx="550985" cy="260201"/>
              </a:xfrm>
              <a:prstGeom prst="rect">
                <a:avLst/>
              </a:prstGeom>
              <a:solidFill>
                <a:srgbClr val="C0E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8" name="Rectangle 17"/>
              <p:cNvSpPr/>
              <p:nvPr/>
            </p:nvSpPr>
            <p:spPr>
              <a:xfrm>
                <a:off x="5954383" y="7349706"/>
                <a:ext cx="550985" cy="26020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9" name="TextBox 18"/>
              <p:cNvSpPr txBox="1"/>
              <p:nvPr/>
            </p:nvSpPr>
            <p:spPr>
              <a:xfrm>
                <a:off x="6505368" y="7346889"/>
                <a:ext cx="1656272"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10)%-0%</a:t>
                </a:r>
              </a:p>
            </p:txBody>
          </p:sp>
          <p:sp>
            <p:nvSpPr>
              <p:cNvPr id="20" name="Rectangle 19"/>
              <p:cNvSpPr/>
              <p:nvPr/>
            </p:nvSpPr>
            <p:spPr>
              <a:xfrm>
                <a:off x="7335162" y="7342664"/>
                <a:ext cx="550985" cy="26020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21" name="TextBox 20"/>
              <p:cNvSpPr txBox="1"/>
              <p:nvPr/>
            </p:nvSpPr>
            <p:spPr>
              <a:xfrm>
                <a:off x="7931934" y="7339846"/>
                <a:ext cx="666582" cy="449506"/>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lt;(10)%</a:t>
                </a:r>
              </a:p>
            </p:txBody>
          </p:sp>
          <p:sp>
            <p:nvSpPr>
              <p:cNvPr id="22" name="Rectangle 21"/>
              <p:cNvSpPr/>
              <p:nvPr/>
            </p:nvSpPr>
            <p:spPr>
              <a:xfrm>
                <a:off x="8598516" y="7332453"/>
                <a:ext cx="550985" cy="2602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23" name="TextBox 22"/>
              <p:cNvSpPr txBox="1"/>
              <p:nvPr/>
            </p:nvSpPr>
            <p:spPr>
              <a:xfrm>
                <a:off x="9149501" y="7346889"/>
                <a:ext cx="1656272" cy="280153"/>
              </a:xfrm>
              <a:prstGeom prst="rect">
                <a:avLst/>
              </a:prstGeom>
              <a:noFill/>
            </p:spPr>
            <p:txBody>
              <a:bodyPr wrap="square" rtlCol="0">
                <a:spAutoFit/>
              </a:bodyPr>
              <a:lstStyle/>
              <a:p>
                <a:pPr defTabSz="914253"/>
                <a:r>
                  <a:rPr lang="en-US" sz="917" dirty="0">
                    <a:solidFill>
                      <a:prstClr val="black"/>
                    </a:solidFill>
                    <a:latin typeface="Arial" panose="020B0604020202020204" pitchFamily="34" charset="0"/>
                    <a:cs typeface="Arial" panose="020B0604020202020204" pitchFamily="34" charset="0"/>
                  </a:rPr>
                  <a:t>No data</a:t>
                </a:r>
              </a:p>
            </p:txBody>
          </p:sp>
        </p:grpSp>
      </p:grpSp>
      <p:sp>
        <p:nvSpPr>
          <p:cNvPr id="7" name="Rectangle 6"/>
          <p:cNvSpPr/>
          <p:nvPr/>
        </p:nvSpPr>
        <p:spPr>
          <a:xfrm>
            <a:off x="3284006" y="6108472"/>
            <a:ext cx="5112372" cy="271934"/>
          </a:xfrm>
          <a:prstGeom prst="rect">
            <a:avLst/>
          </a:prstGeom>
        </p:spPr>
        <p:txBody>
          <a:bodyPr wrap="square">
            <a:spAutoFit/>
          </a:bodyPr>
          <a:lstStyle/>
          <a:p>
            <a:pPr algn="ctr" defTabSz="914253"/>
            <a:r>
              <a:rPr lang="en-IN" sz="1167" b="1" dirty="0">
                <a:solidFill>
                  <a:prstClr val="black"/>
                </a:solidFill>
                <a:latin typeface="Arial" panose="020B0604020202020204" pitchFamily="34" charset="0"/>
                <a:cs typeface="Arial" panose="020B0604020202020204" pitchFamily="34" charset="0"/>
              </a:rPr>
              <a:t>Colours indicate % change on-year</a:t>
            </a:r>
          </a:p>
        </p:txBody>
      </p:sp>
      <p:sp>
        <p:nvSpPr>
          <p:cNvPr id="29" name="TextBox 28"/>
          <p:cNvSpPr txBox="1"/>
          <p:nvPr/>
        </p:nvSpPr>
        <p:spPr>
          <a:xfrm>
            <a:off x="6400889" y="5844916"/>
            <a:ext cx="1437691" cy="246221"/>
          </a:xfrm>
          <a:prstGeom prst="rect">
            <a:avLst/>
          </a:prstGeom>
          <a:noFill/>
        </p:spPr>
        <p:txBody>
          <a:bodyPr wrap="square" rtlCol="0">
            <a:spAutoFit/>
          </a:bodyPr>
          <a:lstStyle/>
          <a:p>
            <a:pPr defTabSz="914253"/>
            <a:r>
              <a:rPr lang="en-IN" sz="1000" dirty="0">
                <a:solidFill>
                  <a:prstClr val="black"/>
                </a:solidFill>
              </a:rPr>
              <a:t>Source: CRISIL Research</a:t>
            </a:r>
          </a:p>
        </p:txBody>
      </p:sp>
      <p:sp>
        <p:nvSpPr>
          <p:cNvPr id="30" name="Rectangle 29"/>
          <p:cNvSpPr/>
          <p:nvPr/>
        </p:nvSpPr>
        <p:spPr>
          <a:xfrm>
            <a:off x="9889227" y="1593103"/>
            <a:ext cx="1651842" cy="433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76" name="Freeform 1216"/>
          <p:cNvSpPr>
            <a:spLocks noChangeAspect="1"/>
          </p:cNvSpPr>
          <p:nvPr/>
        </p:nvSpPr>
        <p:spPr bwMode="auto">
          <a:xfrm>
            <a:off x="10624922" y="2491724"/>
            <a:ext cx="1020738" cy="420363"/>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77" name="Freeform 1223"/>
          <p:cNvSpPr>
            <a:spLocks noChangeAspect="1"/>
          </p:cNvSpPr>
          <p:nvPr/>
        </p:nvSpPr>
        <p:spPr bwMode="auto">
          <a:xfrm>
            <a:off x="6688023" y="2445916"/>
            <a:ext cx="1549771" cy="1057644"/>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78" name="Freeform 1191"/>
          <p:cNvSpPr>
            <a:spLocks noChangeAspect="1"/>
          </p:cNvSpPr>
          <p:nvPr/>
        </p:nvSpPr>
        <p:spPr bwMode="auto">
          <a:xfrm>
            <a:off x="7298193" y="1393660"/>
            <a:ext cx="1364771" cy="74910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no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C00000"/>
              </a:solidFill>
              <a:latin typeface="Arial" pitchFamily="34" charset="0"/>
              <a:cs typeface="Arial" pitchFamily="34" charset="0"/>
            </a:endParaRPr>
          </a:p>
        </p:txBody>
      </p:sp>
      <p:sp>
        <p:nvSpPr>
          <p:cNvPr id="79" name="Freeform 1192"/>
          <p:cNvSpPr>
            <a:spLocks noChangeAspect="1"/>
          </p:cNvSpPr>
          <p:nvPr/>
        </p:nvSpPr>
        <p:spPr bwMode="auto">
          <a:xfrm>
            <a:off x="7858058" y="2002648"/>
            <a:ext cx="529031" cy="406890"/>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80" name="Freeform 1195"/>
          <p:cNvSpPr>
            <a:spLocks noChangeAspect="1"/>
          </p:cNvSpPr>
          <p:nvPr/>
        </p:nvSpPr>
        <p:spPr bwMode="auto">
          <a:xfrm>
            <a:off x="8114459" y="2266725"/>
            <a:ext cx="634513" cy="424406"/>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81" name="Freeform 1196"/>
          <p:cNvSpPr>
            <a:spLocks noChangeAspect="1"/>
          </p:cNvSpPr>
          <p:nvPr/>
        </p:nvSpPr>
        <p:spPr bwMode="auto">
          <a:xfrm>
            <a:off x="8059285" y="2437836"/>
            <a:ext cx="1335561" cy="970069"/>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F2BCCD"/>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 </a:t>
            </a:r>
          </a:p>
        </p:txBody>
      </p:sp>
      <p:sp>
        <p:nvSpPr>
          <p:cNvPr id="82" name="Freeform 1199"/>
          <p:cNvSpPr>
            <a:spLocks noChangeAspect="1"/>
          </p:cNvSpPr>
          <p:nvPr/>
        </p:nvSpPr>
        <p:spPr bwMode="auto">
          <a:xfrm>
            <a:off x="7527004" y="2967329"/>
            <a:ext cx="1548148" cy="864978"/>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2BCCD"/>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83" name="Freeform 1200"/>
          <p:cNvSpPr>
            <a:spLocks noChangeAspect="1"/>
          </p:cNvSpPr>
          <p:nvPr/>
        </p:nvSpPr>
        <p:spPr bwMode="auto">
          <a:xfrm>
            <a:off x="9125462" y="2860893"/>
            <a:ext cx="829249" cy="491771"/>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84" name="Freeform 1202"/>
          <p:cNvSpPr>
            <a:spLocks noChangeAspect="1"/>
          </p:cNvSpPr>
          <p:nvPr/>
        </p:nvSpPr>
        <p:spPr bwMode="auto">
          <a:xfrm>
            <a:off x="7303339" y="4576848"/>
            <a:ext cx="214210" cy="150899"/>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85" name="Freeform 1204"/>
          <p:cNvSpPr>
            <a:spLocks noChangeAspect="1"/>
          </p:cNvSpPr>
          <p:nvPr/>
        </p:nvSpPr>
        <p:spPr bwMode="auto">
          <a:xfrm>
            <a:off x="7908510" y="3989820"/>
            <a:ext cx="1481613" cy="1069771"/>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86" name="Freeform 1206"/>
          <p:cNvSpPr>
            <a:spLocks noChangeAspect="1"/>
          </p:cNvSpPr>
          <p:nvPr/>
        </p:nvSpPr>
        <p:spPr bwMode="auto">
          <a:xfrm>
            <a:off x="8596424" y="3360119"/>
            <a:ext cx="701048" cy="959291"/>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87" name="Freeform 1207"/>
          <p:cNvSpPr>
            <a:spLocks noChangeAspect="1"/>
          </p:cNvSpPr>
          <p:nvPr/>
        </p:nvSpPr>
        <p:spPr bwMode="auto">
          <a:xfrm>
            <a:off x="8788671" y="3591139"/>
            <a:ext cx="1106748" cy="716773"/>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88" name="Freeform 1208"/>
          <p:cNvSpPr>
            <a:spLocks noChangeAspect="1"/>
          </p:cNvSpPr>
          <p:nvPr/>
        </p:nvSpPr>
        <p:spPr bwMode="auto">
          <a:xfrm>
            <a:off x="9149801" y="3158650"/>
            <a:ext cx="785434" cy="534886"/>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89" name="Freeform 1209"/>
          <p:cNvSpPr>
            <a:spLocks noChangeAspect="1"/>
          </p:cNvSpPr>
          <p:nvPr/>
        </p:nvSpPr>
        <p:spPr bwMode="auto">
          <a:xfrm>
            <a:off x="9995279" y="2769273"/>
            <a:ext cx="133069" cy="148205"/>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90" name="Freeform 1210"/>
          <p:cNvSpPr>
            <a:spLocks noChangeAspect="1"/>
          </p:cNvSpPr>
          <p:nvPr/>
        </p:nvSpPr>
        <p:spPr bwMode="auto">
          <a:xfrm>
            <a:off x="9573354" y="2875712"/>
            <a:ext cx="718899" cy="860937"/>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91" name="Freeform 1211"/>
          <p:cNvSpPr>
            <a:spLocks noChangeAspect="1"/>
          </p:cNvSpPr>
          <p:nvPr/>
        </p:nvSpPr>
        <p:spPr bwMode="auto">
          <a:xfrm>
            <a:off x="10331196" y="3038737"/>
            <a:ext cx="580962" cy="156290"/>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92" name="Freeform 1212"/>
          <p:cNvSpPr>
            <a:spLocks noChangeAspect="1"/>
          </p:cNvSpPr>
          <p:nvPr/>
        </p:nvSpPr>
        <p:spPr bwMode="auto">
          <a:xfrm>
            <a:off x="10600581" y="3274520"/>
            <a:ext cx="228814" cy="238476"/>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93" name="Freeform 1213"/>
          <p:cNvSpPr>
            <a:spLocks noChangeAspect="1"/>
          </p:cNvSpPr>
          <p:nvPr/>
        </p:nvSpPr>
        <p:spPr bwMode="auto">
          <a:xfrm>
            <a:off x="10206244" y="2648015"/>
            <a:ext cx="1243063" cy="660186"/>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noFill/>
              <a:latin typeface="Arial" pitchFamily="34" charset="0"/>
              <a:cs typeface="Arial" pitchFamily="34" charset="0"/>
            </a:endParaRPr>
          </a:p>
        </p:txBody>
      </p:sp>
      <p:sp>
        <p:nvSpPr>
          <p:cNvPr id="94" name="Freeform 1214"/>
          <p:cNvSpPr>
            <a:spLocks noChangeAspect="1"/>
          </p:cNvSpPr>
          <p:nvPr/>
        </p:nvSpPr>
        <p:spPr bwMode="auto">
          <a:xfrm>
            <a:off x="10801808" y="3243530"/>
            <a:ext cx="217455" cy="397458"/>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95" name="Freeform 1215"/>
          <p:cNvSpPr>
            <a:spLocks noChangeAspect="1"/>
          </p:cNvSpPr>
          <p:nvPr/>
        </p:nvSpPr>
        <p:spPr bwMode="auto">
          <a:xfrm>
            <a:off x="10915405" y="3064335"/>
            <a:ext cx="308331" cy="278896"/>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96" name="Freeform 1217"/>
          <p:cNvSpPr>
            <a:spLocks noChangeAspect="1"/>
          </p:cNvSpPr>
          <p:nvPr/>
        </p:nvSpPr>
        <p:spPr bwMode="auto">
          <a:xfrm>
            <a:off x="10960841" y="2831254"/>
            <a:ext cx="363506" cy="322009"/>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97" name="Freeform 1222"/>
          <p:cNvSpPr>
            <a:spLocks noChangeAspect="1"/>
          </p:cNvSpPr>
          <p:nvPr/>
        </p:nvSpPr>
        <p:spPr bwMode="auto">
          <a:xfrm>
            <a:off x="8034942" y="2344867"/>
            <a:ext cx="69781" cy="44462"/>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chemeClr val="tx2">
              <a:lumMod val="20000"/>
              <a:lumOff val="80000"/>
            </a:schemeClr>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98" name="Freeform 1194"/>
          <p:cNvSpPr>
            <a:spLocks noChangeAspect="1"/>
          </p:cNvSpPr>
          <p:nvPr/>
        </p:nvSpPr>
        <p:spPr bwMode="auto">
          <a:xfrm>
            <a:off x="8054416" y="2608942"/>
            <a:ext cx="103859" cy="97008"/>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99" name="Freeform 1197"/>
          <p:cNvSpPr>
            <a:spLocks noChangeAspect="1"/>
          </p:cNvSpPr>
          <p:nvPr/>
        </p:nvSpPr>
        <p:spPr bwMode="auto">
          <a:xfrm>
            <a:off x="6387803" y="3216583"/>
            <a:ext cx="1200870" cy="739678"/>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00" name="Freeform 1201"/>
          <p:cNvSpPr>
            <a:spLocks noChangeAspect="1"/>
          </p:cNvSpPr>
          <p:nvPr/>
        </p:nvSpPr>
        <p:spPr bwMode="auto">
          <a:xfrm>
            <a:off x="7169990" y="3657726"/>
            <a:ext cx="1552576" cy="945248"/>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01" name="Freeform 1205"/>
          <p:cNvSpPr>
            <a:spLocks noChangeAspect="1"/>
          </p:cNvSpPr>
          <p:nvPr/>
        </p:nvSpPr>
        <p:spPr bwMode="auto">
          <a:xfrm>
            <a:off x="7754196" y="4919594"/>
            <a:ext cx="837362" cy="839378"/>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02" name="Freeform 1219"/>
          <p:cNvSpPr>
            <a:spLocks noChangeAspect="1"/>
          </p:cNvSpPr>
          <p:nvPr/>
        </p:nvSpPr>
        <p:spPr bwMode="auto">
          <a:xfrm>
            <a:off x="7510812" y="5034028"/>
            <a:ext cx="477102" cy="685785"/>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baseline="-25000" dirty="0">
              <a:solidFill>
                <a:srgbClr val="C79B3A"/>
              </a:solidFill>
              <a:latin typeface="Arial" pitchFamily="34" charset="0"/>
              <a:cs typeface="Arial" pitchFamily="34" charset="0"/>
            </a:endParaRPr>
          </a:p>
        </p:txBody>
      </p:sp>
      <p:sp>
        <p:nvSpPr>
          <p:cNvPr id="103" name="Freeform 1221"/>
          <p:cNvSpPr>
            <a:spLocks noChangeAspect="1"/>
          </p:cNvSpPr>
          <p:nvPr/>
        </p:nvSpPr>
        <p:spPr bwMode="auto">
          <a:xfrm>
            <a:off x="7501044" y="2041724"/>
            <a:ext cx="616663" cy="516023"/>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44546A">
                  <a:lumMod val="50000"/>
                </a:srgbClr>
              </a:solidFill>
              <a:latin typeface="Arial" pitchFamily="34" charset="0"/>
              <a:cs typeface="Arial" pitchFamily="34" charset="0"/>
            </a:endParaRPr>
          </a:p>
        </p:txBody>
      </p:sp>
      <p:sp>
        <p:nvSpPr>
          <p:cNvPr id="104" name="Freeform 1193"/>
          <p:cNvSpPr>
            <a:spLocks noChangeAspect="1"/>
          </p:cNvSpPr>
          <p:nvPr/>
        </p:nvSpPr>
        <p:spPr bwMode="auto">
          <a:xfrm>
            <a:off x="7669370" y="2404152"/>
            <a:ext cx="511182" cy="454047"/>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05" name="Freeform 1203"/>
          <p:cNvSpPr>
            <a:spLocks noChangeAspect="1"/>
          </p:cNvSpPr>
          <p:nvPr/>
        </p:nvSpPr>
        <p:spPr bwMode="auto">
          <a:xfrm>
            <a:off x="7384793" y="4168970"/>
            <a:ext cx="871440" cy="1052256"/>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C0E399"/>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06" name="Freeform 1204"/>
          <p:cNvSpPr>
            <a:spLocks noChangeAspect="1"/>
          </p:cNvSpPr>
          <p:nvPr/>
        </p:nvSpPr>
        <p:spPr bwMode="auto">
          <a:xfrm>
            <a:off x="8056493" y="4004414"/>
            <a:ext cx="701470" cy="575158"/>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r>
              <a:rPr lang="en-US" sz="347" dirty="0">
                <a:solidFill>
                  <a:prstClr val="white">
                    <a:lumMod val="85000"/>
                  </a:prstClr>
                </a:solidFill>
                <a:latin typeface="Arial" pitchFamily="34" charset="0"/>
                <a:cs typeface="Arial" pitchFamily="34" charset="0"/>
              </a:rPr>
              <a:t>+</a:t>
            </a:r>
          </a:p>
        </p:txBody>
      </p:sp>
      <p:sp>
        <p:nvSpPr>
          <p:cNvPr id="107" name="TextBox 106">
            <a:extLst>
              <a:ext uri="{FF2B5EF4-FFF2-40B4-BE49-F238E27FC236}">
                <a16:creationId xmlns:a16="http://schemas.microsoft.com/office/drawing/2014/main" id="{161A7E4D-A5F8-4A06-A98A-106BF3C4CE9A}"/>
              </a:ext>
            </a:extLst>
          </p:cNvPr>
          <p:cNvSpPr txBox="1"/>
          <p:nvPr/>
        </p:nvSpPr>
        <p:spPr>
          <a:xfrm>
            <a:off x="485864" y="5902066"/>
            <a:ext cx="1437691" cy="246221"/>
          </a:xfrm>
          <a:prstGeom prst="rect">
            <a:avLst/>
          </a:prstGeom>
          <a:noFill/>
        </p:spPr>
        <p:txBody>
          <a:bodyPr wrap="square" rtlCol="0">
            <a:spAutoFit/>
          </a:bodyPr>
          <a:lstStyle/>
          <a:p>
            <a:pPr defTabSz="914253"/>
            <a:r>
              <a:rPr lang="en-IN" sz="1000" dirty="0">
                <a:solidFill>
                  <a:prstClr val="black"/>
                </a:solidFill>
              </a:rPr>
              <a:t>Source: CRISIL Research</a:t>
            </a:r>
          </a:p>
        </p:txBody>
      </p:sp>
      <p:sp>
        <p:nvSpPr>
          <p:cNvPr id="108" name="Rectangle 107">
            <a:extLst>
              <a:ext uri="{FF2B5EF4-FFF2-40B4-BE49-F238E27FC236}">
                <a16:creationId xmlns:a16="http://schemas.microsoft.com/office/drawing/2014/main" id="{9CD0D88D-CC36-446D-900B-97F75555319D}"/>
              </a:ext>
            </a:extLst>
          </p:cNvPr>
          <p:cNvSpPr/>
          <p:nvPr/>
        </p:nvSpPr>
        <p:spPr>
          <a:xfrm>
            <a:off x="3974202" y="1650253"/>
            <a:ext cx="1651842" cy="433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53"/>
            <a:endParaRPr lang="en-US" sz="2160" dirty="0">
              <a:solidFill>
                <a:prstClr val="white"/>
              </a:solidFill>
            </a:endParaRPr>
          </a:p>
        </p:txBody>
      </p:sp>
      <p:sp>
        <p:nvSpPr>
          <p:cNvPr id="109" name="Freeform 1216">
            <a:extLst>
              <a:ext uri="{FF2B5EF4-FFF2-40B4-BE49-F238E27FC236}">
                <a16:creationId xmlns:a16="http://schemas.microsoft.com/office/drawing/2014/main" id="{685DAF4C-2D97-4BB7-A4CE-3AA704488B9A}"/>
              </a:ext>
            </a:extLst>
          </p:cNvPr>
          <p:cNvSpPr>
            <a:spLocks noChangeAspect="1"/>
          </p:cNvSpPr>
          <p:nvPr/>
        </p:nvSpPr>
        <p:spPr bwMode="auto">
          <a:xfrm>
            <a:off x="4709897" y="2548874"/>
            <a:ext cx="1020738" cy="420363"/>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0" name="Freeform 1223">
            <a:extLst>
              <a:ext uri="{FF2B5EF4-FFF2-40B4-BE49-F238E27FC236}">
                <a16:creationId xmlns:a16="http://schemas.microsoft.com/office/drawing/2014/main" id="{ABD3EBC9-C4FA-49B6-A1E3-68426FDF3CA9}"/>
              </a:ext>
            </a:extLst>
          </p:cNvPr>
          <p:cNvSpPr>
            <a:spLocks noChangeAspect="1"/>
          </p:cNvSpPr>
          <p:nvPr/>
        </p:nvSpPr>
        <p:spPr bwMode="auto">
          <a:xfrm>
            <a:off x="772180" y="2504186"/>
            <a:ext cx="1549771" cy="1057644"/>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11" name="Freeform 1191">
            <a:extLst>
              <a:ext uri="{FF2B5EF4-FFF2-40B4-BE49-F238E27FC236}">
                <a16:creationId xmlns:a16="http://schemas.microsoft.com/office/drawing/2014/main" id="{C51D0BB8-5B2F-423D-9322-8E8614A8E865}"/>
              </a:ext>
            </a:extLst>
          </p:cNvPr>
          <p:cNvSpPr>
            <a:spLocks noChangeAspect="1"/>
          </p:cNvSpPr>
          <p:nvPr/>
        </p:nvSpPr>
        <p:spPr bwMode="auto">
          <a:xfrm>
            <a:off x="1383168" y="1449855"/>
            <a:ext cx="1364771" cy="74910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no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C00000"/>
              </a:solidFill>
              <a:latin typeface="Arial" pitchFamily="34" charset="0"/>
              <a:cs typeface="Arial" pitchFamily="34" charset="0"/>
            </a:endParaRPr>
          </a:p>
        </p:txBody>
      </p:sp>
      <p:sp>
        <p:nvSpPr>
          <p:cNvPr id="112" name="Freeform 1192">
            <a:extLst>
              <a:ext uri="{FF2B5EF4-FFF2-40B4-BE49-F238E27FC236}">
                <a16:creationId xmlns:a16="http://schemas.microsoft.com/office/drawing/2014/main" id="{74B11FBC-4F1D-44EF-9F19-7B79F1F1ECE7}"/>
              </a:ext>
            </a:extLst>
          </p:cNvPr>
          <p:cNvSpPr>
            <a:spLocks noChangeAspect="1"/>
          </p:cNvSpPr>
          <p:nvPr/>
        </p:nvSpPr>
        <p:spPr bwMode="auto">
          <a:xfrm>
            <a:off x="1943033" y="2059798"/>
            <a:ext cx="529031" cy="406890"/>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13" name="Freeform 1195">
            <a:extLst>
              <a:ext uri="{FF2B5EF4-FFF2-40B4-BE49-F238E27FC236}">
                <a16:creationId xmlns:a16="http://schemas.microsoft.com/office/drawing/2014/main" id="{BB6D64A4-C300-46A2-87B8-AE625462579B}"/>
              </a:ext>
            </a:extLst>
          </p:cNvPr>
          <p:cNvSpPr>
            <a:spLocks noChangeAspect="1"/>
          </p:cNvSpPr>
          <p:nvPr/>
        </p:nvSpPr>
        <p:spPr bwMode="auto">
          <a:xfrm>
            <a:off x="2199434" y="2323875"/>
            <a:ext cx="634513" cy="424406"/>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4" name="Freeform 1196">
            <a:extLst>
              <a:ext uri="{FF2B5EF4-FFF2-40B4-BE49-F238E27FC236}">
                <a16:creationId xmlns:a16="http://schemas.microsoft.com/office/drawing/2014/main" id="{046CCA31-2895-4CF6-AC9D-A4B70EDD4FED}"/>
              </a:ext>
            </a:extLst>
          </p:cNvPr>
          <p:cNvSpPr>
            <a:spLocks noChangeAspect="1"/>
          </p:cNvSpPr>
          <p:nvPr/>
        </p:nvSpPr>
        <p:spPr bwMode="auto">
          <a:xfrm>
            <a:off x="2144260" y="2494986"/>
            <a:ext cx="1335561" cy="970069"/>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 </a:t>
            </a:r>
          </a:p>
        </p:txBody>
      </p:sp>
      <p:sp>
        <p:nvSpPr>
          <p:cNvPr id="115" name="Freeform 1199">
            <a:extLst>
              <a:ext uri="{FF2B5EF4-FFF2-40B4-BE49-F238E27FC236}">
                <a16:creationId xmlns:a16="http://schemas.microsoft.com/office/drawing/2014/main" id="{9A6AA4B6-2B0A-4843-B750-0ACEF6F0132C}"/>
              </a:ext>
            </a:extLst>
          </p:cNvPr>
          <p:cNvSpPr>
            <a:spLocks noChangeAspect="1"/>
          </p:cNvSpPr>
          <p:nvPr/>
        </p:nvSpPr>
        <p:spPr bwMode="auto">
          <a:xfrm>
            <a:off x="1611979" y="3024479"/>
            <a:ext cx="1548148" cy="864978"/>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2BCCD"/>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6" name="Freeform 1200">
            <a:extLst>
              <a:ext uri="{FF2B5EF4-FFF2-40B4-BE49-F238E27FC236}">
                <a16:creationId xmlns:a16="http://schemas.microsoft.com/office/drawing/2014/main" id="{AA633E30-B262-4C87-9BF9-330437DB4EDE}"/>
              </a:ext>
            </a:extLst>
          </p:cNvPr>
          <p:cNvSpPr>
            <a:spLocks noChangeAspect="1"/>
          </p:cNvSpPr>
          <p:nvPr/>
        </p:nvSpPr>
        <p:spPr bwMode="auto">
          <a:xfrm>
            <a:off x="3210322" y="2920286"/>
            <a:ext cx="829249" cy="491771"/>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7" name="Freeform 1202">
            <a:extLst>
              <a:ext uri="{FF2B5EF4-FFF2-40B4-BE49-F238E27FC236}">
                <a16:creationId xmlns:a16="http://schemas.microsoft.com/office/drawing/2014/main" id="{126064E6-5A3F-4521-B6D6-BB7B713BE0A0}"/>
              </a:ext>
            </a:extLst>
          </p:cNvPr>
          <p:cNvSpPr>
            <a:spLocks noChangeAspect="1"/>
          </p:cNvSpPr>
          <p:nvPr/>
        </p:nvSpPr>
        <p:spPr bwMode="auto">
          <a:xfrm>
            <a:off x="1388314" y="4633998"/>
            <a:ext cx="214210" cy="150899"/>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no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18" name="Freeform 1204">
            <a:extLst>
              <a:ext uri="{FF2B5EF4-FFF2-40B4-BE49-F238E27FC236}">
                <a16:creationId xmlns:a16="http://schemas.microsoft.com/office/drawing/2014/main" id="{187B394D-9401-4FFB-9875-80AA8C0A50B1}"/>
              </a:ext>
            </a:extLst>
          </p:cNvPr>
          <p:cNvSpPr>
            <a:spLocks noChangeAspect="1"/>
          </p:cNvSpPr>
          <p:nvPr/>
        </p:nvSpPr>
        <p:spPr bwMode="auto">
          <a:xfrm>
            <a:off x="1992284" y="4047155"/>
            <a:ext cx="1481613" cy="1069771"/>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r>
              <a:rPr lang="en-US" sz="347" dirty="0">
                <a:solidFill>
                  <a:prstClr val="white">
                    <a:lumMod val="85000"/>
                  </a:prstClr>
                </a:solidFill>
                <a:latin typeface="Arial" pitchFamily="34" charset="0"/>
                <a:cs typeface="Arial" pitchFamily="34" charset="0"/>
              </a:rPr>
              <a:t>X`</a:t>
            </a:r>
          </a:p>
        </p:txBody>
      </p:sp>
      <p:sp>
        <p:nvSpPr>
          <p:cNvPr id="119" name="Freeform 1206">
            <a:extLst>
              <a:ext uri="{FF2B5EF4-FFF2-40B4-BE49-F238E27FC236}">
                <a16:creationId xmlns:a16="http://schemas.microsoft.com/office/drawing/2014/main" id="{A287B1D3-F2C6-4A4B-8566-0F388A6D2370}"/>
              </a:ext>
            </a:extLst>
          </p:cNvPr>
          <p:cNvSpPr>
            <a:spLocks noChangeAspect="1"/>
          </p:cNvSpPr>
          <p:nvPr/>
        </p:nvSpPr>
        <p:spPr bwMode="auto">
          <a:xfrm>
            <a:off x="2681399" y="3417269"/>
            <a:ext cx="701048" cy="959291"/>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F2BCCD"/>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0" name="Freeform 1207">
            <a:extLst>
              <a:ext uri="{FF2B5EF4-FFF2-40B4-BE49-F238E27FC236}">
                <a16:creationId xmlns:a16="http://schemas.microsoft.com/office/drawing/2014/main" id="{34BE7501-48B1-4AAB-A3CA-66F79E13AB8B}"/>
              </a:ext>
            </a:extLst>
          </p:cNvPr>
          <p:cNvSpPr>
            <a:spLocks noChangeAspect="1"/>
          </p:cNvSpPr>
          <p:nvPr/>
        </p:nvSpPr>
        <p:spPr bwMode="auto">
          <a:xfrm>
            <a:off x="2873646" y="3648289"/>
            <a:ext cx="1106748" cy="716773"/>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C0E399"/>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1" name="Freeform 1208">
            <a:extLst>
              <a:ext uri="{FF2B5EF4-FFF2-40B4-BE49-F238E27FC236}">
                <a16:creationId xmlns:a16="http://schemas.microsoft.com/office/drawing/2014/main" id="{6A7FEE5F-5492-4EA1-908F-5CE79C7FF840}"/>
              </a:ext>
            </a:extLst>
          </p:cNvPr>
          <p:cNvSpPr>
            <a:spLocks noChangeAspect="1"/>
          </p:cNvSpPr>
          <p:nvPr/>
        </p:nvSpPr>
        <p:spPr bwMode="auto">
          <a:xfrm>
            <a:off x="3234776" y="3215800"/>
            <a:ext cx="785434" cy="534886"/>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2" name="Freeform 1209">
            <a:extLst>
              <a:ext uri="{FF2B5EF4-FFF2-40B4-BE49-F238E27FC236}">
                <a16:creationId xmlns:a16="http://schemas.microsoft.com/office/drawing/2014/main" id="{6CAB1961-20BB-41BD-B8AD-285CB19171BE}"/>
              </a:ext>
            </a:extLst>
          </p:cNvPr>
          <p:cNvSpPr>
            <a:spLocks noChangeAspect="1"/>
          </p:cNvSpPr>
          <p:nvPr/>
        </p:nvSpPr>
        <p:spPr bwMode="auto">
          <a:xfrm>
            <a:off x="4080254" y="2826423"/>
            <a:ext cx="133069" cy="148205"/>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3" name="Freeform 1210">
            <a:extLst>
              <a:ext uri="{FF2B5EF4-FFF2-40B4-BE49-F238E27FC236}">
                <a16:creationId xmlns:a16="http://schemas.microsoft.com/office/drawing/2014/main" id="{18021DA8-9D75-4887-A4D6-300EEA68DBB0}"/>
              </a:ext>
            </a:extLst>
          </p:cNvPr>
          <p:cNvSpPr>
            <a:spLocks noChangeAspect="1"/>
          </p:cNvSpPr>
          <p:nvPr/>
        </p:nvSpPr>
        <p:spPr bwMode="auto">
          <a:xfrm>
            <a:off x="3658329" y="2932862"/>
            <a:ext cx="718899" cy="860937"/>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4" name="Freeform 1211">
            <a:extLst>
              <a:ext uri="{FF2B5EF4-FFF2-40B4-BE49-F238E27FC236}">
                <a16:creationId xmlns:a16="http://schemas.microsoft.com/office/drawing/2014/main" id="{DD4690A8-3B9B-4406-A9E0-F9463201A077}"/>
              </a:ext>
            </a:extLst>
          </p:cNvPr>
          <p:cNvSpPr>
            <a:spLocks noChangeAspect="1"/>
          </p:cNvSpPr>
          <p:nvPr/>
        </p:nvSpPr>
        <p:spPr bwMode="auto">
          <a:xfrm>
            <a:off x="4416171" y="3095887"/>
            <a:ext cx="580962" cy="156290"/>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5" name="Freeform 1212">
            <a:extLst>
              <a:ext uri="{FF2B5EF4-FFF2-40B4-BE49-F238E27FC236}">
                <a16:creationId xmlns:a16="http://schemas.microsoft.com/office/drawing/2014/main" id="{6F3D9123-6CE3-489F-91C1-38B61FE876D1}"/>
              </a:ext>
            </a:extLst>
          </p:cNvPr>
          <p:cNvSpPr>
            <a:spLocks noChangeAspect="1"/>
          </p:cNvSpPr>
          <p:nvPr/>
        </p:nvSpPr>
        <p:spPr bwMode="auto">
          <a:xfrm>
            <a:off x="4685556" y="3331670"/>
            <a:ext cx="228814" cy="238476"/>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6" name="Freeform 1213">
            <a:extLst>
              <a:ext uri="{FF2B5EF4-FFF2-40B4-BE49-F238E27FC236}">
                <a16:creationId xmlns:a16="http://schemas.microsoft.com/office/drawing/2014/main" id="{7E5A8414-5BA1-4E0C-BF3E-DF55637E2121}"/>
              </a:ext>
            </a:extLst>
          </p:cNvPr>
          <p:cNvSpPr>
            <a:spLocks noChangeAspect="1"/>
          </p:cNvSpPr>
          <p:nvPr/>
        </p:nvSpPr>
        <p:spPr bwMode="auto">
          <a:xfrm>
            <a:off x="4291219" y="2705165"/>
            <a:ext cx="1243063" cy="660186"/>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noFill/>
              <a:latin typeface="Arial" pitchFamily="34" charset="0"/>
              <a:cs typeface="Arial" pitchFamily="34" charset="0"/>
            </a:endParaRPr>
          </a:p>
        </p:txBody>
      </p:sp>
      <p:sp>
        <p:nvSpPr>
          <p:cNvPr id="127" name="Freeform 1214">
            <a:extLst>
              <a:ext uri="{FF2B5EF4-FFF2-40B4-BE49-F238E27FC236}">
                <a16:creationId xmlns:a16="http://schemas.microsoft.com/office/drawing/2014/main" id="{3133079B-D07F-4844-8B72-4D50CAC5D384}"/>
              </a:ext>
            </a:extLst>
          </p:cNvPr>
          <p:cNvSpPr>
            <a:spLocks noChangeAspect="1"/>
          </p:cNvSpPr>
          <p:nvPr/>
        </p:nvSpPr>
        <p:spPr bwMode="auto">
          <a:xfrm>
            <a:off x="4886783" y="3300680"/>
            <a:ext cx="217455" cy="397458"/>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chemeClr val="bg1"/>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28" name="Freeform 1215">
            <a:extLst>
              <a:ext uri="{FF2B5EF4-FFF2-40B4-BE49-F238E27FC236}">
                <a16:creationId xmlns:a16="http://schemas.microsoft.com/office/drawing/2014/main" id="{70546F6F-2A6F-4888-8274-7C79B29DA922}"/>
              </a:ext>
            </a:extLst>
          </p:cNvPr>
          <p:cNvSpPr>
            <a:spLocks noChangeAspect="1"/>
          </p:cNvSpPr>
          <p:nvPr/>
        </p:nvSpPr>
        <p:spPr bwMode="auto">
          <a:xfrm>
            <a:off x="5000380" y="3121485"/>
            <a:ext cx="308331" cy="278896"/>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29" name="Freeform 1217">
            <a:extLst>
              <a:ext uri="{FF2B5EF4-FFF2-40B4-BE49-F238E27FC236}">
                <a16:creationId xmlns:a16="http://schemas.microsoft.com/office/drawing/2014/main" id="{A1BC95D8-3881-4D18-B7E2-968266A2F5BD}"/>
              </a:ext>
            </a:extLst>
          </p:cNvPr>
          <p:cNvSpPr>
            <a:spLocks noChangeAspect="1"/>
          </p:cNvSpPr>
          <p:nvPr/>
        </p:nvSpPr>
        <p:spPr bwMode="auto">
          <a:xfrm>
            <a:off x="5045816" y="2888404"/>
            <a:ext cx="363506" cy="322009"/>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chemeClr val="bg1"/>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0" name="Freeform 1222">
            <a:extLst>
              <a:ext uri="{FF2B5EF4-FFF2-40B4-BE49-F238E27FC236}">
                <a16:creationId xmlns:a16="http://schemas.microsoft.com/office/drawing/2014/main" id="{055FCAC4-CBF9-44AD-BFCC-E93D951A67D3}"/>
              </a:ext>
            </a:extLst>
          </p:cNvPr>
          <p:cNvSpPr>
            <a:spLocks noChangeAspect="1"/>
          </p:cNvSpPr>
          <p:nvPr/>
        </p:nvSpPr>
        <p:spPr bwMode="auto">
          <a:xfrm>
            <a:off x="2119917" y="2402017"/>
            <a:ext cx="69781" cy="44462"/>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solidFill>
            <a:schemeClr val="tx2">
              <a:lumMod val="20000"/>
              <a:lumOff val="80000"/>
            </a:schemeClr>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1" name="Freeform 1194">
            <a:extLst>
              <a:ext uri="{FF2B5EF4-FFF2-40B4-BE49-F238E27FC236}">
                <a16:creationId xmlns:a16="http://schemas.microsoft.com/office/drawing/2014/main" id="{AEF2944E-503A-4747-8A88-0B6993353B51}"/>
              </a:ext>
            </a:extLst>
          </p:cNvPr>
          <p:cNvSpPr>
            <a:spLocks noChangeAspect="1"/>
          </p:cNvSpPr>
          <p:nvPr/>
        </p:nvSpPr>
        <p:spPr bwMode="auto">
          <a:xfrm>
            <a:off x="2139391" y="2666092"/>
            <a:ext cx="103859" cy="97008"/>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2" name="Freeform 1197">
            <a:extLst>
              <a:ext uri="{FF2B5EF4-FFF2-40B4-BE49-F238E27FC236}">
                <a16:creationId xmlns:a16="http://schemas.microsoft.com/office/drawing/2014/main" id="{217304E6-D05A-4DA3-827B-13EB21C0C5B7}"/>
              </a:ext>
            </a:extLst>
          </p:cNvPr>
          <p:cNvSpPr>
            <a:spLocks noChangeAspect="1"/>
          </p:cNvSpPr>
          <p:nvPr/>
        </p:nvSpPr>
        <p:spPr bwMode="auto">
          <a:xfrm>
            <a:off x="474395" y="3273349"/>
            <a:ext cx="1200870" cy="739678"/>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3" name="Freeform 1201">
            <a:extLst>
              <a:ext uri="{FF2B5EF4-FFF2-40B4-BE49-F238E27FC236}">
                <a16:creationId xmlns:a16="http://schemas.microsoft.com/office/drawing/2014/main" id="{E3949A4C-D073-4679-8BBA-DA953A68F637}"/>
              </a:ext>
            </a:extLst>
          </p:cNvPr>
          <p:cNvSpPr>
            <a:spLocks noChangeAspect="1"/>
          </p:cNvSpPr>
          <p:nvPr/>
        </p:nvSpPr>
        <p:spPr bwMode="auto">
          <a:xfrm>
            <a:off x="1254965" y="3714876"/>
            <a:ext cx="1552576" cy="945248"/>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4" name="Freeform 1205">
            <a:extLst>
              <a:ext uri="{FF2B5EF4-FFF2-40B4-BE49-F238E27FC236}">
                <a16:creationId xmlns:a16="http://schemas.microsoft.com/office/drawing/2014/main" id="{CD388F2F-62CB-48B6-9D4D-147920FB93C5}"/>
              </a:ext>
            </a:extLst>
          </p:cNvPr>
          <p:cNvSpPr>
            <a:spLocks noChangeAspect="1"/>
          </p:cNvSpPr>
          <p:nvPr/>
        </p:nvSpPr>
        <p:spPr bwMode="auto">
          <a:xfrm>
            <a:off x="1840089" y="4976932"/>
            <a:ext cx="837362" cy="839378"/>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5" name="Freeform 1219">
            <a:extLst>
              <a:ext uri="{FF2B5EF4-FFF2-40B4-BE49-F238E27FC236}">
                <a16:creationId xmlns:a16="http://schemas.microsoft.com/office/drawing/2014/main" id="{4C13CF50-A6D1-4F78-B67A-3FB22BA5AA9F}"/>
              </a:ext>
            </a:extLst>
          </p:cNvPr>
          <p:cNvSpPr>
            <a:spLocks noChangeAspect="1"/>
          </p:cNvSpPr>
          <p:nvPr/>
        </p:nvSpPr>
        <p:spPr bwMode="auto">
          <a:xfrm>
            <a:off x="1595787" y="5091178"/>
            <a:ext cx="477102" cy="685785"/>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chemeClr val="bg1"/>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baseline="-25000" dirty="0">
              <a:solidFill>
                <a:srgbClr val="C79B3A"/>
              </a:solidFill>
              <a:latin typeface="Arial" pitchFamily="34" charset="0"/>
              <a:cs typeface="Arial" pitchFamily="34" charset="0"/>
            </a:endParaRPr>
          </a:p>
        </p:txBody>
      </p:sp>
      <p:sp>
        <p:nvSpPr>
          <p:cNvPr id="136" name="Freeform 1221">
            <a:extLst>
              <a:ext uri="{FF2B5EF4-FFF2-40B4-BE49-F238E27FC236}">
                <a16:creationId xmlns:a16="http://schemas.microsoft.com/office/drawing/2014/main" id="{0D0DABA2-D7CF-4703-A845-62B99DD08F80}"/>
              </a:ext>
            </a:extLst>
          </p:cNvPr>
          <p:cNvSpPr>
            <a:spLocks noChangeAspect="1"/>
          </p:cNvSpPr>
          <p:nvPr/>
        </p:nvSpPr>
        <p:spPr bwMode="auto">
          <a:xfrm>
            <a:off x="1589189" y="2098872"/>
            <a:ext cx="616663" cy="516023"/>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C0E399"/>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srgbClr val="44546A">
                  <a:lumMod val="50000"/>
                </a:srgbClr>
              </a:solidFill>
              <a:latin typeface="Arial" pitchFamily="34" charset="0"/>
              <a:cs typeface="Arial" pitchFamily="34" charset="0"/>
            </a:endParaRPr>
          </a:p>
        </p:txBody>
      </p:sp>
      <p:sp>
        <p:nvSpPr>
          <p:cNvPr id="137" name="Freeform 1193">
            <a:extLst>
              <a:ext uri="{FF2B5EF4-FFF2-40B4-BE49-F238E27FC236}">
                <a16:creationId xmlns:a16="http://schemas.microsoft.com/office/drawing/2014/main" id="{218A7CBD-63A0-4A74-A454-074ACE3B5F93}"/>
              </a:ext>
            </a:extLst>
          </p:cNvPr>
          <p:cNvSpPr>
            <a:spLocks noChangeAspect="1"/>
          </p:cNvSpPr>
          <p:nvPr/>
        </p:nvSpPr>
        <p:spPr bwMode="auto">
          <a:xfrm>
            <a:off x="1754345" y="2461302"/>
            <a:ext cx="511182" cy="454047"/>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849"/>
            <a:endParaRPr lang="en-US" sz="347" dirty="0">
              <a:solidFill>
                <a:prstClr val="white">
                  <a:lumMod val="85000"/>
                </a:prstClr>
              </a:solidFill>
              <a:latin typeface="Arial" pitchFamily="34" charset="0"/>
              <a:cs typeface="Arial" pitchFamily="34" charset="0"/>
            </a:endParaRPr>
          </a:p>
        </p:txBody>
      </p:sp>
      <p:sp>
        <p:nvSpPr>
          <p:cNvPr id="138" name="Freeform 1203">
            <a:extLst>
              <a:ext uri="{FF2B5EF4-FFF2-40B4-BE49-F238E27FC236}">
                <a16:creationId xmlns:a16="http://schemas.microsoft.com/office/drawing/2014/main" id="{9EB36692-81C6-464D-B7FD-EF0586517E2E}"/>
              </a:ext>
            </a:extLst>
          </p:cNvPr>
          <p:cNvSpPr>
            <a:spLocks noChangeAspect="1"/>
          </p:cNvSpPr>
          <p:nvPr/>
        </p:nvSpPr>
        <p:spPr bwMode="auto">
          <a:xfrm>
            <a:off x="1485788" y="4226034"/>
            <a:ext cx="871440" cy="1052256"/>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F2BCCD"/>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849">
              <a:defRPr/>
            </a:pPr>
            <a:endParaRPr lang="en-US" sz="347" dirty="0">
              <a:solidFill>
                <a:prstClr val="white">
                  <a:lumMod val="85000"/>
                </a:prstClr>
              </a:solidFill>
              <a:latin typeface="Arial" pitchFamily="34" charset="0"/>
              <a:cs typeface="Arial" pitchFamily="34" charset="0"/>
            </a:endParaRPr>
          </a:p>
        </p:txBody>
      </p:sp>
      <p:sp>
        <p:nvSpPr>
          <p:cNvPr id="139" name="Freeform 1204">
            <a:extLst>
              <a:ext uri="{FF2B5EF4-FFF2-40B4-BE49-F238E27FC236}">
                <a16:creationId xmlns:a16="http://schemas.microsoft.com/office/drawing/2014/main" id="{BC572260-9798-4380-BE97-6FC903C305AE}"/>
              </a:ext>
            </a:extLst>
          </p:cNvPr>
          <p:cNvSpPr>
            <a:spLocks noChangeAspect="1"/>
          </p:cNvSpPr>
          <p:nvPr/>
        </p:nvSpPr>
        <p:spPr bwMode="auto">
          <a:xfrm>
            <a:off x="2141468" y="4061564"/>
            <a:ext cx="701470" cy="575158"/>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C0E399"/>
          </a:solidFill>
          <a:ln w="6350" cap="flat" cmpd="sng">
            <a:solidFill>
              <a:schemeClr val="tx1"/>
            </a:solidFill>
            <a:prstDash val="solid"/>
            <a:round/>
            <a:headEnd type="none" w="med" len="med"/>
            <a:tailEnd type="none" w="med" len="med"/>
          </a:ln>
        </p:spPr>
        <p:txBody>
          <a:bodyPr/>
          <a:lstStyle/>
          <a:p>
            <a:pPr algn="ctr" defTabSz="761849"/>
            <a:r>
              <a:rPr lang="en-US" sz="347" dirty="0">
                <a:solidFill>
                  <a:prstClr val="white">
                    <a:lumMod val="85000"/>
                  </a:prstClr>
                </a:solidFill>
                <a:latin typeface="Arial" pitchFamily="34" charset="0"/>
                <a:cs typeface="Arial" pitchFamily="34" charset="0"/>
              </a:rPr>
              <a:t>+</a:t>
            </a:r>
          </a:p>
        </p:txBody>
      </p:sp>
    </p:spTree>
    <p:extLst>
      <p:ext uri="{BB962C8B-B14F-4D97-AF65-F5344CB8AC3E}">
        <p14:creationId xmlns:p14="http://schemas.microsoft.com/office/powerpoint/2010/main" val="5726417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960" y="126015"/>
            <a:ext cx="11845040" cy="775597"/>
          </a:xfrm>
        </p:spPr>
        <p:txBody>
          <a:bodyPr/>
          <a:lstStyle/>
          <a:p>
            <a:r>
              <a:rPr lang="en-IN" sz="2800" dirty="0">
                <a:solidFill>
                  <a:schemeClr val="tx1"/>
                </a:solidFill>
              </a:rPr>
              <a:t>After a record spending in FY21, MNREGA scheme expenditure tapered down in FY22 </a:t>
            </a:r>
          </a:p>
        </p:txBody>
      </p:sp>
      <p:sp>
        <p:nvSpPr>
          <p:cNvPr id="16" name="TextBox 15"/>
          <p:cNvSpPr txBox="1"/>
          <p:nvPr/>
        </p:nvSpPr>
        <p:spPr>
          <a:xfrm>
            <a:off x="1106399" y="6097163"/>
            <a:ext cx="6330803" cy="476862"/>
          </a:xfrm>
          <a:prstGeom prst="rect">
            <a:avLst/>
          </a:prstGeom>
          <a:noFill/>
        </p:spPr>
        <p:txBody>
          <a:bodyPr wrap="square" rtlCol="0">
            <a:spAutoFit/>
          </a:bodyPr>
          <a:lstStyle/>
          <a:p>
            <a:r>
              <a:rPr lang="en-IN" sz="833" b="1" i="1" dirty="0">
                <a:solidFill>
                  <a:srgbClr val="FF0000"/>
                </a:solidFill>
                <a:latin typeface="Arial" panose="020B0604020202020204" pitchFamily="34" charset="0"/>
                <a:cs typeface="Arial" panose="020B0604020202020204" pitchFamily="34" charset="0"/>
              </a:rPr>
              <a:t>Note:</a:t>
            </a:r>
          </a:p>
          <a:p>
            <a:r>
              <a:rPr lang="en-IN" sz="833" b="1" i="1" dirty="0">
                <a:solidFill>
                  <a:srgbClr val="FF0000"/>
                </a:solidFill>
                <a:latin typeface="Arial" panose="020B0604020202020204" pitchFamily="34" charset="0"/>
                <a:cs typeface="Arial" panose="020B0604020202020204" pitchFamily="34" charset="0"/>
              </a:rPr>
              <a:t>Dec data is provisional and maybe restated over the next few days</a:t>
            </a:r>
          </a:p>
          <a:p>
            <a:r>
              <a:rPr lang="en-IN" sz="833" i="1" dirty="0">
                <a:latin typeface="Arial" panose="020B0604020202020204" pitchFamily="34" charset="0"/>
                <a:cs typeface="Arial" panose="020B0604020202020204" pitchFamily="34" charset="0"/>
              </a:rPr>
              <a:t>Source: Budget documents, Ministry of Rural development, CRISIL Research</a:t>
            </a:r>
          </a:p>
        </p:txBody>
      </p:sp>
      <p:sp>
        <p:nvSpPr>
          <p:cNvPr id="22" name="Text Placeholder 11">
            <a:extLst>
              <a:ext uri="{FF2B5EF4-FFF2-40B4-BE49-F238E27FC236}">
                <a16:creationId xmlns:a16="http://schemas.microsoft.com/office/drawing/2014/main" id="{2763471E-2988-4506-888A-B130E795A6F8}"/>
              </a:ext>
            </a:extLst>
          </p:cNvPr>
          <p:cNvSpPr txBox="1">
            <a:spLocks/>
          </p:cNvSpPr>
          <p:nvPr/>
        </p:nvSpPr>
        <p:spPr>
          <a:xfrm>
            <a:off x="321276" y="960583"/>
            <a:ext cx="6023451" cy="265551"/>
          </a:xfrm>
          <a:prstGeom prst="rect">
            <a:avLst/>
          </a:prstGeom>
          <a:solidFill>
            <a:schemeClr val="accent1"/>
          </a:solidFill>
        </p:spPr>
        <p:txBody>
          <a:bodyPr vert="horz" lIns="76200" tIns="38100" rIns="76200" bIns="38100" rtlCol="0" anchor="ctr">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defTabSz="761970">
              <a:lnSpc>
                <a:spcPts val="1100"/>
              </a:lnSpc>
              <a:spcBef>
                <a:spcPts val="0"/>
              </a:spcBef>
              <a:buNone/>
              <a:defRPr/>
            </a:pPr>
            <a:r>
              <a:rPr lang="en-US" sz="1333" b="1" dirty="0">
                <a:solidFill>
                  <a:prstClr val="white"/>
                </a:solidFill>
                <a:latin typeface="Arial" panose="020B0604020202020204" pitchFamily="34" charset="0"/>
                <a:ea typeface="MS PGothic" charset="0"/>
                <a:cs typeface="Arial" panose="020B0604020202020204" pitchFamily="34" charset="0"/>
              </a:rPr>
              <a:t>MNREGA wages growth</a:t>
            </a:r>
          </a:p>
        </p:txBody>
      </p:sp>
      <p:sp>
        <p:nvSpPr>
          <p:cNvPr id="27" name="Text Placeholder 11">
            <a:extLst>
              <a:ext uri="{FF2B5EF4-FFF2-40B4-BE49-F238E27FC236}">
                <a16:creationId xmlns:a16="http://schemas.microsoft.com/office/drawing/2014/main" id="{2763471E-2988-4506-888A-B130E795A6F8}"/>
              </a:ext>
            </a:extLst>
          </p:cNvPr>
          <p:cNvSpPr txBox="1">
            <a:spLocks/>
          </p:cNvSpPr>
          <p:nvPr/>
        </p:nvSpPr>
        <p:spPr>
          <a:xfrm>
            <a:off x="6553200" y="940035"/>
            <a:ext cx="5517026" cy="272023"/>
          </a:xfrm>
          <a:prstGeom prst="rect">
            <a:avLst/>
          </a:prstGeom>
          <a:solidFill>
            <a:schemeClr val="accent1"/>
          </a:solidFill>
        </p:spPr>
        <p:txBody>
          <a:bodyPr vert="horz" lIns="76200" tIns="38100" rIns="76200" bIns="38100" rtlCol="0" anchor="ctr">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defTabSz="761970">
              <a:lnSpc>
                <a:spcPts val="1100"/>
              </a:lnSpc>
              <a:spcBef>
                <a:spcPts val="0"/>
              </a:spcBef>
              <a:buNone/>
              <a:defRPr/>
            </a:pPr>
            <a:r>
              <a:rPr lang="en-US" sz="1333" b="1" dirty="0">
                <a:solidFill>
                  <a:prstClr val="white"/>
                </a:solidFill>
                <a:latin typeface="Arial" panose="020B0604020202020204" pitchFamily="34" charset="0"/>
                <a:ea typeface="MS PGothic" charset="0"/>
                <a:cs typeface="Arial" panose="020B0604020202020204" pitchFamily="34" charset="0"/>
              </a:rPr>
              <a:t>State wise growth in MNREGA wages expenditure for FY22</a:t>
            </a:r>
          </a:p>
        </p:txBody>
      </p:sp>
      <p:grpSp>
        <p:nvGrpSpPr>
          <p:cNvPr id="7" name="Group 6"/>
          <p:cNvGrpSpPr/>
          <p:nvPr/>
        </p:nvGrpSpPr>
        <p:grpSpPr>
          <a:xfrm>
            <a:off x="6406740" y="1298166"/>
            <a:ext cx="5336916" cy="4669875"/>
            <a:chOff x="7863840" y="2079689"/>
            <a:chExt cx="6404299" cy="5321870"/>
          </a:xfrm>
          <a:solidFill>
            <a:srgbClr val="FFC000"/>
          </a:solidFill>
        </p:grpSpPr>
        <p:sp>
          <p:nvSpPr>
            <p:cNvPr id="28" name="Freeform 1216"/>
            <p:cNvSpPr>
              <a:spLocks noChangeAspect="1"/>
            </p:cNvSpPr>
            <p:nvPr/>
          </p:nvSpPr>
          <p:spPr bwMode="auto">
            <a:xfrm>
              <a:off x="13024835" y="3418369"/>
              <a:ext cx="1243304" cy="512476"/>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29" name="Freeform 1223"/>
            <p:cNvSpPr>
              <a:spLocks noChangeAspect="1"/>
            </p:cNvSpPr>
            <p:nvPr/>
          </p:nvSpPr>
          <p:spPr bwMode="auto">
            <a:xfrm>
              <a:off x="8229518" y="3362524"/>
              <a:ext cx="1887688" cy="1289404"/>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0" name="Freeform 1191"/>
            <p:cNvSpPr>
              <a:spLocks noChangeAspect="1"/>
            </p:cNvSpPr>
            <p:nvPr/>
          </p:nvSpPr>
          <p:spPr bwMode="auto">
            <a:xfrm>
              <a:off x="8972732" y="2079689"/>
              <a:ext cx="1662352" cy="91325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solidFill>
              <a:srgbClr val="92D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srgbClr val="C00000"/>
                </a:solidFill>
                <a:latin typeface="Arial" pitchFamily="34" charset="0"/>
                <a:cs typeface="Arial" pitchFamily="34" charset="0"/>
              </a:endParaRPr>
            </a:p>
          </p:txBody>
        </p:sp>
        <p:sp>
          <p:nvSpPr>
            <p:cNvPr id="31" name="Freeform 1192"/>
            <p:cNvSpPr>
              <a:spLocks noChangeAspect="1"/>
            </p:cNvSpPr>
            <p:nvPr/>
          </p:nvSpPr>
          <p:spPr bwMode="auto">
            <a:xfrm>
              <a:off x="9654670" y="2822124"/>
              <a:ext cx="644382" cy="496051"/>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2" name="Freeform 1195"/>
            <p:cNvSpPr>
              <a:spLocks noChangeAspect="1"/>
            </p:cNvSpPr>
            <p:nvPr/>
          </p:nvSpPr>
          <p:spPr bwMode="auto">
            <a:xfrm>
              <a:off x="9966981" y="3144062"/>
              <a:ext cx="772865" cy="517404"/>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3" name="Freeform 1196"/>
            <p:cNvSpPr>
              <a:spLocks noChangeAspect="1"/>
            </p:cNvSpPr>
            <p:nvPr/>
          </p:nvSpPr>
          <p:spPr bwMode="auto">
            <a:xfrm>
              <a:off x="9899774" y="3352670"/>
              <a:ext cx="1626772" cy="1182637"/>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r>
                <a:rPr lang="en-US" sz="347" dirty="0">
                  <a:solidFill>
                    <a:prstClr val="white">
                      <a:lumMod val="85000"/>
                    </a:prstClr>
                  </a:solidFill>
                  <a:latin typeface="Arial" pitchFamily="34" charset="0"/>
                  <a:cs typeface="Arial" pitchFamily="34" charset="0"/>
                </a:rPr>
                <a:t> </a:t>
              </a:r>
            </a:p>
          </p:txBody>
        </p:sp>
        <p:sp>
          <p:nvSpPr>
            <p:cNvPr id="34" name="Freeform 1199"/>
            <p:cNvSpPr>
              <a:spLocks noChangeAspect="1"/>
            </p:cNvSpPr>
            <p:nvPr/>
          </p:nvSpPr>
          <p:spPr bwMode="auto">
            <a:xfrm>
              <a:off x="9251437" y="3998191"/>
              <a:ext cx="1885711" cy="1054518"/>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5" name="Freeform 1200"/>
            <p:cNvSpPr>
              <a:spLocks noChangeAspect="1"/>
            </p:cNvSpPr>
            <p:nvPr/>
          </p:nvSpPr>
          <p:spPr bwMode="auto">
            <a:xfrm>
              <a:off x="11198423" y="3868431"/>
              <a:ext cx="1010062" cy="599531"/>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6" name="Freeform 1202"/>
            <p:cNvSpPr>
              <a:spLocks noChangeAspect="1"/>
            </p:cNvSpPr>
            <p:nvPr/>
          </p:nvSpPr>
          <p:spPr bwMode="auto">
            <a:xfrm>
              <a:off x="8979004" y="5960395"/>
              <a:ext cx="260917" cy="183965"/>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7" name="Freeform 1204"/>
            <p:cNvSpPr>
              <a:spLocks noChangeAspect="1"/>
            </p:cNvSpPr>
            <p:nvPr/>
          </p:nvSpPr>
          <p:spPr bwMode="auto">
            <a:xfrm>
              <a:off x="9714664" y="5244959"/>
              <a:ext cx="1804668" cy="1304186"/>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8" name="Freeform 1206"/>
            <p:cNvSpPr>
              <a:spLocks noChangeAspect="1"/>
            </p:cNvSpPr>
            <p:nvPr/>
          </p:nvSpPr>
          <p:spPr bwMode="auto">
            <a:xfrm>
              <a:off x="10554037" y="4477049"/>
              <a:ext cx="853907" cy="1169497"/>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9" name="Freeform 1207"/>
            <p:cNvSpPr>
              <a:spLocks noChangeAspect="1"/>
            </p:cNvSpPr>
            <p:nvPr/>
          </p:nvSpPr>
          <p:spPr bwMode="auto">
            <a:xfrm>
              <a:off x="10788203" y="4758691"/>
              <a:ext cx="1348067" cy="873838"/>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0" name="Freeform 1208"/>
            <p:cNvSpPr>
              <a:spLocks noChangeAspect="1"/>
            </p:cNvSpPr>
            <p:nvPr/>
          </p:nvSpPr>
          <p:spPr bwMode="auto">
            <a:xfrm>
              <a:off x="11228073" y="4231433"/>
              <a:ext cx="956693" cy="652094"/>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rgbClr val="92D05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41" name="Freeform 1209"/>
            <p:cNvSpPr>
              <a:spLocks noChangeAspect="1"/>
            </p:cNvSpPr>
            <p:nvPr/>
          </p:nvSpPr>
          <p:spPr bwMode="auto">
            <a:xfrm>
              <a:off x="12257899" y="3756735"/>
              <a:ext cx="162084" cy="180682"/>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42" name="Freeform 1210"/>
            <p:cNvSpPr>
              <a:spLocks noChangeAspect="1"/>
            </p:cNvSpPr>
            <p:nvPr/>
          </p:nvSpPr>
          <p:spPr bwMode="auto">
            <a:xfrm>
              <a:off x="11743976" y="3886496"/>
              <a:ext cx="875651" cy="1049592"/>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3" name="Freeform 1211"/>
            <p:cNvSpPr>
              <a:spLocks noChangeAspect="1"/>
            </p:cNvSpPr>
            <p:nvPr/>
          </p:nvSpPr>
          <p:spPr bwMode="auto">
            <a:xfrm>
              <a:off x="12667064" y="4085247"/>
              <a:ext cx="707638" cy="190537"/>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4" name="Freeform 1212"/>
            <p:cNvSpPr>
              <a:spLocks noChangeAspect="1"/>
            </p:cNvSpPr>
            <p:nvPr/>
          </p:nvSpPr>
          <p:spPr bwMode="auto">
            <a:xfrm>
              <a:off x="12995185" y="4372692"/>
              <a:ext cx="278706" cy="290732"/>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5" name="Freeform 1213"/>
            <p:cNvSpPr>
              <a:spLocks noChangeAspect="1"/>
            </p:cNvSpPr>
            <p:nvPr/>
          </p:nvSpPr>
          <p:spPr bwMode="auto">
            <a:xfrm>
              <a:off x="12514863" y="3608907"/>
              <a:ext cx="1514104" cy="804850"/>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noFill/>
                <a:latin typeface="Arial" pitchFamily="34" charset="0"/>
                <a:cs typeface="Arial" pitchFamily="34" charset="0"/>
              </a:endParaRPr>
            </a:p>
          </p:txBody>
        </p:sp>
        <p:sp>
          <p:nvSpPr>
            <p:cNvPr id="46" name="Freeform 1214"/>
            <p:cNvSpPr>
              <a:spLocks noChangeAspect="1"/>
            </p:cNvSpPr>
            <p:nvPr/>
          </p:nvSpPr>
          <p:spPr bwMode="auto">
            <a:xfrm>
              <a:off x="13240288" y="4334916"/>
              <a:ext cx="264869" cy="484553"/>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47" name="Freeform 1215"/>
            <p:cNvSpPr>
              <a:spLocks noChangeAspect="1"/>
            </p:cNvSpPr>
            <p:nvPr/>
          </p:nvSpPr>
          <p:spPr bwMode="auto">
            <a:xfrm>
              <a:off x="13378652" y="4116455"/>
              <a:ext cx="375562" cy="340009"/>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rgbClr val="FFC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8" name="Freeform 1217"/>
            <p:cNvSpPr>
              <a:spLocks noChangeAspect="1"/>
            </p:cNvSpPr>
            <p:nvPr/>
          </p:nvSpPr>
          <p:spPr bwMode="auto">
            <a:xfrm>
              <a:off x="13434000" y="3832293"/>
              <a:ext cx="442765" cy="392570"/>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9" name="Freeform 1222"/>
            <p:cNvSpPr>
              <a:spLocks noChangeAspect="1"/>
            </p:cNvSpPr>
            <p:nvPr/>
          </p:nvSpPr>
          <p:spPr bwMode="auto">
            <a:xfrm>
              <a:off x="9876862" y="3244990"/>
              <a:ext cx="84996" cy="54205"/>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no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0" name="Freeform 1194"/>
            <p:cNvSpPr>
              <a:spLocks noChangeAspect="1"/>
            </p:cNvSpPr>
            <p:nvPr/>
          </p:nvSpPr>
          <p:spPr bwMode="auto">
            <a:xfrm>
              <a:off x="9893843" y="3561271"/>
              <a:ext cx="126505" cy="118264"/>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1" name="Freeform 1197"/>
            <p:cNvSpPr>
              <a:spLocks noChangeAspect="1"/>
            </p:cNvSpPr>
            <p:nvPr/>
          </p:nvSpPr>
          <p:spPr bwMode="auto">
            <a:xfrm>
              <a:off x="7863840" y="4302063"/>
              <a:ext cx="1462711" cy="901762"/>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52" name="Freeform 1201"/>
            <p:cNvSpPr>
              <a:spLocks noChangeAspect="1"/>
            </p:cNvSpPr>
            <p:nvPr/>
          </p:nvSpPr>
          <p:spPr bwMode="auto">
            <a:xfrm>
              <a:off x="8816578" y="4839874"/>
              <a:ext cx="1891105" cy="1152376"/>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3" name="Freeform 1205"/>
            <p:cNvSpPr>
              <a:spLocks noChangeAspect="1"/>
            </p:cNvSpPr>
            <p:nvPr/>
          </p:nvSpPr>
          <p:spPr bwMode="auto">
            <a:xfrm>
              <a:off x="9528165" y="6378249"/>
              <a:ext cx="1019944" cy="1023310"/>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4" name="Freeform 1219"/>
            <p:cNvSpPr>
              <a:spLocks noChangeAspect="1"/>
            </p:cNvSpPr>
            <p:nvPr/>
          </p:nvSpPr>
          <p:spPr bwMode="auto">
            <a:xfrm>
              <a:off x="9231715" y="6517760"/>
              <a:ext cx="581131" cy="836059"/>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baseline="-25000" dirty="0">
                <a:solidFill>
                  <a:srgbClr val="C79B3A"/>
                </a:solidFill>
                <a:latin typeface="Arial" pitchFamily="34" charset="0"/>
                <a:cs typeface="Arial" pitchFamily="34" charset="0"/>
              </a:endParaRPr>
            </a:p>
          </p:txBody>
        </p:sp>
        <p:sp>
          <p:nvSpPr>
            <p:cNvPr id="55" name="Freeform 1221"/>
            <p:cNvSpPr>
              <a:spLocks noChangeAspect="1"/>
            </p:cNvSpPr>
            <p:nvPr/>
          </p:nvSpPr>
          <p:spPr bwMode="auto">
            <a:xfrm>
              <a:off x="9219813" y="2869759"/>
              <a:ext cx="751123" cy="629098"/>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srgbClr val="44546A">
                    <a:lumMod val="50000"/>
                  </a:srgbClr>
                </a:solidFill>
                <a:latin typeface="Arial" pitchFamily="34" charset="0"/>
                <a:cs typeface="Arial" pitchFamily="34" charset="0"/>
              </a:endParaRPr>
            </a:p>
          </p:txBody>
        </p:sp>
        <p:sp>
          <p:nvSpPr>
            <p:cNvPr id="56" name="Freeform 1193"/>
            <p:cNvSpPr>
              <a:spLocks noChangeAspect="1"/>
            </p:cNvSpPr>
            <p:nvPr/>
          </p:nvSpPr>
          <p:spPr bwMode="auto">
            <a:xfrm>
              <a:off x="9410330" y="3312335"/>
              <a:ext cx="622642" cy="553541"/>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57" name="Freeform 1203"/>
            <p:cNvSpPr>
              <a:spLocks noChangeAspect="1"/>
            </p:cNvSpPr>
            <p:nvPr/>
          </p:nvSpPr>
          <p:spPr bwMode="auto">
            <a:xfrm>
              <a:off x="9078217" y="5463140"/>
              <a:ext cx="1061452" cy="1282834"/>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00B050"/>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8" name="Freeform 1204"/>
            <p:cNvSpPr>
              <a:spLocks noChangeAspect="1"/>
            </p:cNvSpPr>
            <p:nvPr/>
          </p:nvSpPr>
          <p:spPr bwMode="auto">
            <a:xfrm>
              <a:off x="9896378" y="5262531"/>
              <a:ext cx="854422" cy="701190"/>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r>
                <a:rPr lang="en-US" sz="347" dirty="0">
                  <a:solidFill>
                    <a:prstClr val="white">
                      <a:lumMod val="85000"/>
                    </a:prstClr>
                  </a:solidFill>
                  <a:latin typeface="Arial" pitchFamily="34" charset="0"/>
                  <a:cs typeface="Arial" pitchFamily="34" charset="0"/>
                </a:rPr>
                <a:t>+</a:t>
              </a:r>
            </a:p>
          </p:txBody>
        </p:sp>
      </p:grpSp>
      <p:graphicFrame>
        <p:nvGraphicFramePr>
          <p:cNvPr id="8" name="Table 7"/>
          <p:cNvGraphicFramePr>
            <a:graphicFrameLocks noGrp="1"/>
          </p:cNvGraphicFramePr>
          <p:nvPr/>
        </p:nvGraphicFramePr>
        <p:xfrm>
          <a:off x="9338456" y="4531540"/>
          <a:ext cx="2442405" cy="1709568"/>
        </p:xfrm>
        <a:graphic>
          <a:graphicData uri="http://schemas.openxmlformats.org/drawingml/2006/table">
            <a:tbl>
              <a:tblPr/>
              <a:tblGrid>
                <a:gridCol w="834947">
                  <a:extLst>
                    <a:ext uri="{9D8B030D-6E8A-4147-A177-3AD203B41FA5}">
                      <a16:colId xmlns:a16="http://schemas.microsoft.com/office/drawing/2014/main" val="20000"/>
                    </a:ext>
                  </a:extLst>
                </a:gridCol>
                <a:gridCol w="1607458">
                  <a:extLst>
                    <a:ext uri="{9D8B030D-6E8A-4147-A177-3AD203B41FA5}">
                      <a16:colId xmlns:a16="http://schemas.microsoft.com/office/drawing/2014/main" val="20001"/>
                    </a:ext>
                  </a:extLst>
                </a:gridCol>
              </a:tblGrid>
              <a:tr h="312738">
                <a:tc gridSpan="2">
                  <a:txBody>
                    <a:bodyPr/>
                    <a:lstStyle/>
                    <a:p>
                      <a:pPr marL="0" marR="0" lvl="0" indent="0" algn="ctr" defTabSz="1097280" rtl="0" eaLnBrk="1" fontAlgn="b" latinLnBrk="0" hangingPunct="1">
                        <a:lnSpc>
                          <a:spcPct val="100000"/>
                        </a:lnSpc>
                        <a:spcBef>
                          <a:spcPts val="0"/>
                        </a:spcBef>
                        <a:spcAft>
                          <a:spcPts val="0"/>
                        </a:spcAft>
                        <a:buClrTx/>
                        <a:buSzTx/>
                        <a:buFontTx/>
                        <a:buNone/>
                        <a:tabLst/>
                        <a:defRPr/>
                      </a:pPr>
                      <a:r>
                        <a:rPr lang="en-IN" sz="2000" b="1" i="0" u="none" strike="noStrike" dirty="0">
                          <a:solidFill>
                            <a:srgbClr val="FFFFFF"/>
                          </a:solidFill>
                          <a:effectLst/>
                          <a:latin typeface="Arial" panose="020B0604020202020204" pitchFamily="34" charset="0"/>
                          <a:cs typeface="Arial" panose="020B0604020202020204" pitchFamily="34" charset="0"/>
                        </a:rPr>
                        <a:t>LEGEND</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44546A"/>
                    </a:solidFill>
                  </a:tcPr>
                </a:tc>
                <a:tc hMerge="1">
                  <a:txBody>
                    <a:bodyPr/>
                    <a:lstStyle/>
                    <a:p>
                      <a:pPr algn="ctr" fontAlgn="b"/>
                      <a:endParaRPr lang="en-IN" sz="14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44546A"/>
                    </a:solidFill>
                  </a:tcPr>
                </a:tc>
                <a:extLst>
                  <a:ext uri="{0D108BD9-81ED-4DB2-BD59-A6C34878D82A}">
                    <a16:rowId xmlns:a16="http://schemas.microsoft.com/office/drawing/2014/main" val="10000"/>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B05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gt; 15% growth</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1"/>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5% to 15% growth</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2"/>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FFC00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0 to 5% growth</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3"/>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FF000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0 to (25)% decline</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4"/>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C0000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lt; (25) % decline</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5"/>
                  </a:ext>
                </a:extLst>
              </a:tr>
            </a:tbl>
          </a:graphicData>
        </a:graphic>
      </p:graphicFrame>
      <p:sp>
        <p:nvSpPr>
          <p:cNvPr id="60" name="Rectangle 59"/>
          <p:cNvSpPr/>
          <p:nvPr/>
        </p:nvSpPr>
        <p:spPr>
          <a:xfrm>
            <a:off x="9074620" y="1353307"/>
            <a:ext cx="2706241" cy="1155552"/>
          </a:xfrm>
          <a:prstGeom prst="rect">
            <a:avLst/>
          </a:prstGeom>
          <a:noFill/>
          <a:ln>
            <a:no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000" b="1" dirty="0">
                <a:latin typeface="Arial" panose="020B0604020202020204" pitchFamily="34" charset="0"/>
                <a:cs typeface="Arial" panose="020B0604020202020204" pitchFamily="34" charset="0"/>
              </a:rPr>
              <a:t>Northern has seen relatively higher decrease y-o-y in MNRRGA expenditure.</a:t>
            </a:r>
          </a:p>
        </p:txBody>
      </p:sp>
      <p:sp>
        <p:nvSpPr>
          <p:cNvPr id="6" name="Slide Number Placeholder 5"/>
          <p:cNvSpPr>
            <a:spLocks noGrp="1"/>
          </p:cNvSpPr>
          <p:nvPr>
            <p:ph type="sldNum" sz="quarter" idx="4"/>
          </p:nvPr>
        </p:nvSpPr>
        <p:spPr/>
        <p:txBody>
          <a:bodyPr/>
          <a:lstStyle/>
          <a:p>
            <a:fld id="{47FC1E78-8A1D-4B7B-BB49-A01A2C07F035}" type="slidenum">
              <a:rPr lang="en-US" smtClean="0"/>
              <a:t>23</a:t>
            </a:fld>
            <a:endParaRPr lang="en-US" dirty="0"/>
          </a:p>
        </p:txBody>
      </p:sp>
      <p:sp>
        <p:nvSpPr>
          <p:cNvPr id="62" name="Text Placeholder 11">
            <a:extLst>
              <a:ext uri="{FF2B5EF4-FFF2-40B4-BE49-F238E27FC236}">
                <a16:creationId xmlns:a16="http://schemas.microsoft.com/office/drawing/2014/main" id="{2763471E-2988-4506-888A-B130E795A6F8}"/>
              </a:ext>
            </a:extLst>
          </p:cNvPr>
          <p:cNvSpPr txBox="1">
            <a:spLocks/>
          </p:cNvSpPr>
          <p:nvPr/>
        </p:nvSpPr>
        <p:spPr>
          <a:xfrm>
            <a:off x="321276" y="3560788"/>
            <a:ext cx="6009014" cy="243833"/>
          </a:xfrm>
          <a:prstGeom prst="rect">
            <a:avLst/>
          </a:prstGeom>
          <a:solidFill>
            <a:schemeClr val="accent1"/>
          </a:solidFill>
        </p:spPr>
        <p:txBody>
          <a:bodyPr vert="horz" lIns="76200" tIns="38100" rIns="76200" bIns="38100" rtlCol="0" anchor="ctr">
            <a:normAutofit/>
          </a:bodyPr>
          <a:lstStyle>
            <a:defPPr>
              <a:defRPr lang="en-US"/>
            </a:defPPr>
            <a:lvl1pPr indent="0" algn="ctr" defTabSz="914400">
              <a:lnSpc>
                <a:spcPts val="1320"/>
              </a:lnSpc>
              <a:spcBef>
                <a:spcPts val="0"/>
              </a:spcBef>
              <a:buFont typeface="Arial" panose="020B0604020202020204" pitchFamily="34" charset="0"/>
              <a:buNone/>
              <a:defRPr sz="1600" b="1">
                <a:solidFill>
                  <a:prstClr val="white"/>
                </a:solidFill>
                <a:latin typeface="Arial" panose="020B0604020202020204" pitchFamily="34" charset="0"/>
                <a:ea typeface="MS PGothic"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333" dirty="0"/>
              <a:t>The MNREGA scheme has a history of overshooting budget</a:t>
            </a:r>
          </a:p>
        </p:txBody>
      </p:sp>
      <p:graphicFrame>
        <p:nvGraphicFramePr>
          <p:cNvPr id="61" name="Chart 60">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3046182475"/>
              </p:ext>
            </p:extLst>
          </p:nvPr>
        </p:nvGraphicFramePr>
        <p:xfrm>
          <a:off x="283511" y="1243849"/>
          <a:ext cx="6044161" cy="21537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5" name="Chart 64">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796194771"/>
              </p:ext>
            </p:extLst>
          </p:nvPr>
        </p:nvGraphicFramePr>
        <p:xfrm>
          <a:off x="309941" y="3831238"/>
          <a:ext cx="6056384" cy="22393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27253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776865"/>
            <a:ext cx="10515600" cy="415498"/>
          </a:xfrm>
        </p:spPr>
        <p:txBody>
          <a:bodyPr/>
          <a:lstStyle/>
          <a:p>
            <a:r>
              <a:rPr lang="en-US" sz="3000" dirty="0"/>
              <a:t>How is the infrastructure scenario shaping up?</a:t>
            </a:r>
            <a:endParaRPr lang="en-IN" dirty="0"/>
          </a:p>
        </p:txBody>
      </p:sp>
    </p:spTree>
    <p:extLst>
      <p:ext uri="{BB962C8B-B14F-4D97-AF65-F5344CB8AC3E}">
        <p14:creationId xmlns:p14="http://schemas.microsoft.com/office/powerpoint/2010/main" val="163092333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National Infrastructure Pipeline</a:t>
            </a:r>
          </a:p>
        </p:txBody>
      </p:sp>
    </p:spTree>
    <p:extLst>
      <p:ext uri="{BB962C8B-B14F-4D97-AF65-F5344CB8AC3E}">
        <p14:creationId xmlns:p14="http://schemas.microsoft.com/office/powerpoint/2010/main" val="419199105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a:xfrm>
            <a:off x="1216918" y="6324515"/>
            <a:ext cx="4764261" cy="515719"/>
          </a:xfrm>
          <a:prstGeom prst="rect">
            <a:avLst/>
          </a:prstGeom>
          <a:noFill/>
        </p:spPr>
        <p:txBody>
          <a:bodyPr wrap="square" rtlCol="0">
            <a:spAutoFit/>
          </a:bodyPr>
          <a:lstStyle/>
          <a:p>
            <a:r>
              <a:rPr lang="en-US" sz="917" dirty="0">
                <a:latin typeface="Arial" panose="020B0604020202020204" pitchFamily="34" charset="0"/>
                <a:cs typeface="Arial" panose="020B0604020202020204" pitchFamily="34" charset="0"/>
              </a:rPr>
              <a:t>Source: CRISIL Research, India Investment Grid</a:t>
            </a:r>
          </a:p>
          <a:p>
            <a:r>
              <a:rPr lang="en-US" sz="917" dirty="0">
                <a:latin typeface="Arial" panose="020B0604020202020204" pitchFamily="34" charset="0"/>
                <a:cs typeface="Arial" panose="020B0604020202020204" pitchFamily="34" charset="0"/>
              </a:rPr>
              <a:t>Note: March-22 has seen dip in total project value compared to Dec-22 largely due to Energy sector </a:t>
            </a:r>
            <a:endParaRPr lang="en-GB" sz="917" dirty="0">
              <a:latin typeface="Arial" panose="020B0604020202020204" pitchFamily="34" charset="0"/>
              <a:cs typeface="Arial" panose="020B0604020202020204" pitchFamily="34" charset="0"/>
            </a:endParaRPr>
          </a:p>
        </p:txBody>
      </p:sp>
      <p:sp>
        <p:nvSpPr>
          <p:cNvPr id="16" name="Title 5"/>
          <p:cNvSpPr txBox="1">
            <a:spLocks/>
          </p:cNvSpPr>
          <p:nvPr/>
        </p:nvSpPr>
        <p:spPr>
          <a:xfrm>
            <a:off x="314534" y="140361"/>
            <a:ext cx="11422590" cy="697755"/>
          </a:xfrm>
          <a:prstGeom prst="rect">
            <a:avLst/>
          </a:prstGeom>
        </p:spPr>
        <p:txBody>
          <a:bodyPr vert="horz" wrap="square" lIns="0" tIns="0" rIns="0" bIns="0" numCol="1" rtlCol="0" anchor="b" anchorCtr="0" compatLnSpc="1">
            <a:prstTxWarp prst="textNoShape">
              <a:avLst/>
            </a:prstTxWarp>
            <a:spAutoFit/>
          </a:bodyPr>
          <a:lstStyle>
            <a:lvl1pPr algn="l" defTabSz="457200" rtl="0" eaLnBrk="0" fontAlgn="base" hangingPunct="0">
              <a:lnSpc>
                <a:spcPct val="85000"/>
              </a:lnSpc>
              <a:spcBef>
                <a:spcPct val="0"/>
              </a:spcBef>
              <a:spcAft>
                <a:spcPct val="0"/>
              </a:spcAft>
              <a:defRPr sz="2800" b="1" kern="1200">
                <a:solidFill>
                  <a:schemeClr val="tx1"/>
                </a:solidFill>
                <a:latin typeface="Arial" charset="0"/>
                <a:ea typeface="Arial" charset="0"/>
                <a:cs typeface="Arial" charset="0"/>
              </a:defRPr>
            </a:lvl1pPr>
            <a:lvl2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2pPr>
            <a:lvl3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3pPr>
            <a:lvl4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4pPr>
            <a:lvl5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5pPr>
            <a:lvl6pPr marL="4572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6pPr>
            <a:lvl7pPr marL="9144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7pPr>
            <a:lvl8pPr marL="13716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8pPr>
            <a:lvl9pPr marL="18288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9pPr>
          </a:lstStyle>
          <a:p>
            <a:r>
              <a:rPr lang="en-US" sz="2667" dirty="0"/>
              <a:t>Transport , energy, water and sanitation investments dominate the investments outlined in the NIP, momentum improving sequentially</a:t>
            </a:r>
          </a:p>
        </p:txBody>
      </p:sp>
      <p:sp>
        <p:nvSpPr>
          <p:cNvPr id="3" name="Rectangle 2"/>
          <p:cNvSpPr/>
          <p:nvPr/>
        </p:nvSpPr>
        <p:spPr>
          <a:xfrm>
            <a:off x="439118" y="1071966"/>
            <a:ext cx="5385662" cy="28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333" b="1" dirty="0">
                <a:latin typeface="Arial" panose="020B0604020202020204" pitchFamily="34" charset="0"/>
                <a:cs typeface="Arial" panose="020B0604020202020204" pitchFamily="34" charset="0"/>
              </a:rPr>
              <a:t>Total project value of the NIP umbrella on the rise (INR trillion) </a:t>
            </a:r>
          </a:p>
        </p:txBody>
      </p:sp>
      <p:sp>
        <p:nvSpPr>
          <p:cNvPr id="23" name="Rectangle 22"/>
          <p:cNvSpPr/>
          <p:nvPr/>
        </p:nvSpPr>
        <p:spPr>
          <a:xfrm>
            <a:off x="6351463" y="1071965"/>
            <a:ext cx="5631770" cy="28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333" b="1" dirty="0">
                <a:latin typeface="Arial" panose="020B0604020202020204" pitchFamily="34" charset="0"/>
                <a:cs typeface="Arial" panose="020B0604020202020204" pitchFamily="34" charset="0"/>
              </a:rPr>
              <a:t>Sector wise stage wise value of projects (INR trillion)</a:t>
            </a:r>
          </a:p>
        </p:txBody>
      </p:sp>
      <p:graphicFrame>
        <p:nvGraphicFramePr>
          <p:cNvPr id="5" name="Table 4">
            <a:extLst>
              <a:ext uri="{FF2B5EF4-FFF2-40B4-BE49-F238E27FC236}">
                <a16:creationId xmlns:a16="http://schemas.microsoft.com/office/drawing/2014/main" id="{CB2686FE-9039-45F4-979B-415ECE029697}"/>
              </a:ext>
            </a:extLst>
          </p:cNvPr>
          <p:cNvGraphicFramePr>
            <a:graphicFrameLocks noGrp="1"/>
          </p:cNvGraphicFramePr>
          <p:nvPr/>
        </p:nvGraphicFramePr>
        <p:xfrm>
          <a:off x="6296451" y="1440173"/>
          <a:ext cx="5686784" cy="4884340"/>
        </p:xfrm>
        <a:graphic>
          <a:graphicData uri="http://schemas.openxmlformats.org/drawingml/2006/table">
            <a:tbl>
              <a:tblPr/>
              <a:tblGrid>
                <a:gridCol w="1812554">
                  <a:extLst>
                    <a:ext uri="{9D8B030D-6E8A-4147-A177-3AD203B41FA5}">
                      <a16:colId xmlns:a16="http://schemas.microsoft.com/office/drawing/2014/main" val="1116327360"/>
                    </a:ext>
                  </a:extLst>
                </a:gridCol>
                <a:gridCol w="1245594">
                  <a:extLst>
                    <a:ext uri="{9D8B030D-6E8A-4147-A177-3AD203B41FA5}">
                      <a16:colId xmlns:a16="http://schemas.microsoft.com/office/drawing/2014/main" val="942471626"/>
                    </a:ext>
                  </a:extLst>
                </a:gridCol>
                <a:gridCol w="438106">
                  <a:extLst>
                    <a:ext uri="{9D8B030D-6E8A-4147-A177-3AD203B41FA5}">
                      <a16:colId xmlns:a16="http://schemas.microsoft.com/office/drawing/2014/main" val="589440512"/>
                    </a:ext>
                  </a:extLst>
                </a:gridCol>
                <a:gridCol w="438106">
                  <a:extLst>
                    <a:ext uri="{9D8B030D-6E8A-4147-A177-3AD203B41FA5}">
                      <a16:colId xmlns:a16="http://schemas.microsoft.com/office/drawing/2014/main" val="2424681603"/>
                    </a:ext>
                  </a:extLst>
                </a:gridCol>
                <a:gridCol w="438106">
                  <a:extLst>
                    <a:ext uri="{9D8B030D-6E8A-4147-A177-3AD203B41FA5}">
                      <a16:colId xmlns:a16="http://schemas.microsoft.com/office/drawing/2014/main" val="2608153815"/>
                    </a:ext>
                  </a:extLst>
                </a:gridCol>
                <a:gridCol w="438106">
                  <a:extLst>
                    <a:ext uri="{9D8B030D-6E8A-4147-A177-3AD203B41FA5}">
                      <a16:colId xmlns:a16="http://schemas.microsoft.com/office/drawing/2014/main" val="3598682096"/>
                    </a:ext>
                  </a:extLst>
                </a:gridCol>
                <a:gridCol w="438106">
                  <a:extLst>
                    <a:ext uri="{9D8B030D-6E8A-4147-A177-3AD203B41FA5}">
                      <a16:colId xmlns:a16="http://schemas.microsoft.com/office/drawing/2014/main" val="1142324931"/>
                    </a:ext>
                  </a:extLst>
                </a:gridCol>
                <a:gridCol w="438106">
                  <a:extLst>
                    <a:ext uri="{9D8B030D-6E8A-4147-A177-3AD203B41FA5}">
                      <a16:colId xmlns:a16="http://schemas.microsoft.com/office/drawing/2014/main" val="2545191507"/>
                    </a:ext>
                  </a:extLst>
                </a:gridCol>
              </a:tblGrid>
              <a:tr h="191602">
                <a:tc>
                  <a:txBody>
                    <a:bodyPr/>
                    <a:lstStyle/>
                    <a:p>
                      <a:pPr algn="l" fontAlgn="b"/>
                      <a:r>
                        <a:rPr lang="en-US" sz="1000" b="1" i="0" u="none" strike="noStrike">
                          <a:solidFill>
                            <a:srgbClr val="FFFFFF"/>
                          </a:solidFill>
                          <a:effectLst/>
                          <a:latin typeface="Arial" panose="020B0604020202020204" pitchFamily="34" charset="0"/>
                        </a:rPr>
                        <a:t>Stage/Progress</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l" fontAlgn="b"/>
                      <a:r>
                        <a:rPr lang="en-US" sz="1000" b="1" i="0" u="none" strike="noStrike">
                          <a:solidFill>
                            <a:srgbClr val="FFFFFF"/>
                          </a:solidFill>
                          <a:effectLst/>
                          <a:latin typeface="Arial" panose="020B0604020202020204" pitchFamily="34" charset="0"/>
                        </a:rPr>
                        <a:t>Segment</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r" fontAlgn="b"/>
                      <a:r>
                        <a:rPr lang="en-US" sz="1000" b="1" i="0" u="none" strike="noStrike">
                          <a:solidFill>
                            <a:srgbClr val="FFFFFF"/>
                          </a:solidFill>
                          <a:effectLst/>
                          <a:latin typeface="Arial" panose="020B0604020202020204" pitchFamily="34" charset="0"/>
                        </a:rPr>
                        <a:t>Jan-2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r" fontAlgn="b"/>
                      <a:r>
                        <a:rPr lang="en-US" sz="1000" b="1" i="0" u="none" strike="noStrike">
                          <a:solidFill>
                            <a:srgbClr val="FFFFFF"/>
                          </a:solidFill>
                          <a:effectLst/>
                          <a:latin typeface="Arial" panose="020B0604020202020204" pitchFamily="34" charset="0"/>
                        </a:rPr>
                        <a:t>Mar-2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r" fontAlgn="b"/>
                      <a:r>
                        <a:rPr lang="en-US" sz="1000" b="1" i="0" u="none" strike="noStrike">
                          <a:solidFill>
                            <a:srgbClr val="FFFFFF"/>
                          </a:solidFill>
                          <a:effectLst/>
                          <a:latin typeface="Arial" panose="020B0604020202020204" pitchFamily="34" charset="0"/>
                        </a:rPr>
                        <a:t>Jun-2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r" fontAlgn="b"/>
                      <a:r>
                        <a:rPr lang="en-US" sz="1000" b="1" i="0" u="none" strike="noStrike">
                          <a:solidFill>
                            <a:srgbClr val="FFFFFF"/>
                          </a:solidFill>
                          <a:effectLst/>
                          <a:latin typeface="Arial" panose="020B0604020202020204" pitchFamily="34" charset="0"/>
                        </a:rPr>
                        <a:t>Sep-2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r" fontAlgn="b"/>
                      <a:r>
                        <a:rPr lang="en-US" sz="1000" b="1" i="0" u="none" strike="noStrike" dirty="0">
                          <a:solidFill>
                            <a:srgbClr val="FFFFFF"/>
                          </a:solidFill>
                          <a:effectLst/>
                          <a:latin typeface="Arial" panose="020B0604020202020204" pitchFamily="34" charset="0"/>
                        </a:rPr>
                        <a:t>Dec-2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tc>
                  <a:txBody>
                    <a:bodyPr/>
                    <a:lstStyle/>
                    <a:p>
                      <a:pPr algn="r" fontAlgn="b"/>
                      <a:r>
                        <a:rPr lang="en-US" sz="1000" b="1" i="0" u="none" strike="noStrike" dirty="0">
                          <a:solidFill>
                            <a:srgbClr val="FFFFFF"/>
                          </a:solidFill>
                          <a:effectLst/>
                          <a:latin typeface="Arial" panose="020B0604020202020204" pitchFamily="34" charset="0"/>
                        </a:rPr>
                        <a:t>Mar-22</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4546A"/>
                    </a:solidFill>
                  </a:tcPr>
                </a:tc>
                <a:extLst>
                  <a:ext uri="{0D108BD9-81ED-4DB2-BD59-A6C34878D82A}">
                    <a16:rowId xmlns:a16="http://schemas.microsoft.com/office/drawing/2014/main" val="2817701070"/>
                  </a:ext>
                </a:extLst>
              </a:tr>
              <a:tr h="191602">
                <a:tc rowSpan="7">
                  <a:txBody>
                    <a:bodyPr/>
                    <a:lstStyle/>
                    <a:p>
                      <a:pPr algn="ctr" fontAlgn="ctr"/>
                      <a:r>
                        <a:rPr lang="en-US" sz="1000" b="1" i="0" u="none" strike="noStrike">
                          <a:solidFill>
                            <a:srgbClr val="000000"/>
                          </a:solidFill>
                          <a:effectLst/>
                          <a:latin typeface="Arial" panose="020B0604020202020204" pitchFamily="34" charset="0"/>
                        </a:rPr>
                        <a:t>Completed</a:t>
                      </a:r>
                    </a:p>
                  </a:txBody>
                  <a:tcPr marL="5292" marR="5292" marT="52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Transport</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1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1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32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32</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1.2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1.3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82765762"/>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Energy</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0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1.4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1.8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1.8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1.8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30388975"/>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Water and Sanita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12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5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5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6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0.6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96166160"/>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Commercial Infra</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0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0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037</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0.10</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6858465"/>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Social Infra</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0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07</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07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0.08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2044742"/>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Logistics</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2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2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3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0.2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30225793"/>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Communica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0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0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00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00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0.00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60290616"/>
                  </a:ext>
                </a:extLst>
              </a:tr>
              <a:tr h="191602">
                <a:tc rowSpan="7">
                  <a:txBody>
                    <a:bodyPr/>
                    <a:lstStyle/>
                    <a:p>
                      <a:pPr algn="ctr" fontAlgn="ctr"/>
                      <a:r>
                        <a:rPr lang="en-US" sz="1000" b="1" i="0" u="none" strike="noStrike">
                          <a:solidFill>
                            <a:srgbClr val="000000"/>
                          </a:solidFill>
                          <a:effectLst/>
                          <a:latin typeface="Arial" panose="020B0604020202020204" pitchFamily="34" charset="0"/>
                        </a:rPr>
                        <a:t>Under Construction</a:t>
                      </a:r>
                    </a:p>
                  </a:txBody>
                  <a:tcPr marL="5292" marR="5292" marT="52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Transport</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6.7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8.8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29.7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29.8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31.72</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31.8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61519863"/>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Energy</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0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6.95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7.24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7.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10.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9.5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49489997"/>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Water and Sanita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1.9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2.12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11.6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11.6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11.6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12.1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43680613"/>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Commercial Infra</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7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34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1.3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7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7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0.7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17740834"/>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Social Infra</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0.6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3.8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15.2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15.2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15.2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fontAlgn="b"/>
                      <a:r>
                        <a:rPr lang="en-US" sz="1000" b="0" i="1" u="none" strike="noStrike" dirty="0">
                          <a:solidFill>
                            <a:srgbClr val="000000"/>
                          </a:solidFill>
                          <a:effectLst/>
                          <a:latin typeface="Arial" panose="020B0604020202020204" pitchFamily="34" charset="0"/>
                        </a:rPr>
                        <a:t>   15.24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6722"/>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Logistics</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8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7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2.7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2.6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2.6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2.7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5202787"/>
                  </a:ext>
                </a:extLst>
              </a:tr>
              <a:tr h="191602">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Communica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65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74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74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7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1.0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1.0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2617424"/>
                  </a:ext>
                </a:extLst>
              </a:tr>
              <a:tr h="182893">
                <a:tc rowSpan="7">
                  <a:txBody>
                    <a:bodyPr/>
                    <a:lstStyle/>
                    <a:p>
                      <a:pPr algn="ctr" fontAlgn="ctr"/>
                      <a:r>
                        <a:rPr lang="en-US" sz="1000" b="1" i="0" u="none" strike="noStrike">
                          <a:solidFill>
                            <a:srgbClr val="000000"/>
                          </a:solidFill>
                          <a:effectLst/>
                          <a:latin typeface="Arial" panose="020B0604020202020204" pitchFamily="34" charset="0"/>
                        </a:rPr>
                        <a:t>Pre-construction &amp; planning</a:t>
                      </a:r>
                    </a:p>
                  </a:txBody>
                  <a:tcPr marL="5292" marR="5292" marT="52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Transport</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7.6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7.55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27.0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27.15</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26.4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26.7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17787685"/>
                  </a:ext>
                </a:extLst>
              </a:tr>
              <a:tr h="182893">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Energy</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4.1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24.7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25.9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26.0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23.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19.2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10667099"/>
                  </a:ext>
                </a:extLst>
              </a:tr>
              <a:tr h="182893">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Water and Sanita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9.5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8.9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8.8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9.12</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8.92</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9.5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13511710"/>
                  </a:ext>
                </a:extLst>
              </a:tr>
              <a:tr h="182893">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Commercial Infra</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5.25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5.26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5.3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5.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5.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5.3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97109191"/>
                  </a:ext>
                </a:extLst>
              </a:tr>
              <a:tr h="182893">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Social Infra</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3.8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4.23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3.32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3.3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3.3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3.4</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3550077"/>
                  </a:ext>
                </a:extLst>
              </a:tr>
              <a:tr h="182893">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Logistics</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1.2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7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7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7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7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0.62</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16868319"/>
                  </a:ext>
                </a:extLst>
              </a:tr>
              <a:tr h="182893">
                <a:tc vMerge="1">
                  <a:txBody>
                    <a:bodyPr/>
                    <a:lstStyle/>
                    <a:p>
                      <a:endParaRPr lang="en-US"/>
                    </a:p>
                  </a:txBody>
                  <a:tcPr/>
                </a:tc>
                <a:tc>
                  <a:txBody>
                    <a:bodyPr/>
                    <a:lstStyle/>
                    <a:p>
                      <a:pPr algn="l" fontAlgn="b"/>
                      <a:r>
                        <a:rPr lang="en-US" sz="1000" b="0" i="1" u="none" strike="noStrike">
                          <a:solidFill>
                            <a:srgbClr val="000000"/>
                          </a:solidFill>
                          <a:effectLst/>
                          <a:latin typeface="Arial" panose="020B0604020202020204" pitchFamily="34" charset="0"/>
                        </a:rPr>
                        <a:t>Communica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1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a:solidFill>
                            <a:srgbClr val="000000"/>
                          </a:solidFill>
                          <a:effectLst/>
                          <a:latin typeface="Arial" panose="020B0604020202020204" pitchFamily="34" charset="0"/>
                        </a:rPr>
                        <a:t>     0.1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l" fontAlgn="b"/>
                      <a:r>
                        <a:rPr lang="en-US" sz="1000" b="0" i="1" u="none" strike="noStrike" dirty="0">
                          <a:solidFill>
                            <a:srgbClr val="000000"/>
                          </a:solidFill>
                          <a:effectLst/>
                          <a:latin typeface="Arial" panose="020B0604020202020204" pitchFamily="34" charset="0"/>
                        </a:rPr>
                        <a:t>     0.0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2F2F2"/>
                    </a:solidFill>
                  </a:tcPr>
                </a:tc>
                <a:tc>
                  <a:txBody>
                    <a:bodyPr/>
                    <a:lstStyle/>
                    <a:p>
                      <a:pPr algn="r" fontAlgn="b"/>
                      <a:r>
                        <a:rPr lang="en-US" sz="1000" b="0" i="0" u="none" strike="noStrike" dirty="0">
                          <a:solidFill>
                            <a:schemeClr val="tx1"/>
                          </a:solidFill>
                          <a:effectLst/>
                          <a:latin typeface="Arial" panose="020B0604020202020204" pitchFamily="34" charset="0"/>
                        </a:rPr>
                        <a:t>0.09</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chemeClr val="tx1"/>
                          </a:solidFill>
                          <a:effectLst/>
                          <a:latin typeface="Arial" panose="020B0604020202020204" pitchFamily="34" charset="0"/>
                        </a:rPr>
                        <a:t>0.0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r" fontAlgn="b"/>
                      <a:r>
                        <a:rPr lang="en-US" sz="1000" b="0" i="0" u="none" strike="noStrike" dirty="0">
                          <a:solidFill>
                            <a:srgbClr val="000000"/>
                          </a:solidFill>
                          <a:effectLst/>
                          <a:latin typeface="Arial" panose="020B0604020202020204" pitchFamily="34" charset="0"/>
                        </a:rPr>
                        <a:t>0.0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78490139"/>
                  </a:ext>
                </a:extLst>
              </a:tr>
              <a:tr h="191602">
                <a:tc>
                  <a:txBody>
                    <a:bodyPr/>
                    <a:lstStyle/>
                    <a:p>
                      <a:pPr algn="l" fontAlgn="b"/>
                      <a:r>
                        <a:rPr lang="en-US" sz="1000" b="1" i="0" u="none" strike="noStrike">
                          <a:solidFill>
                            <a:srgbClr val="000000"/>
                          </a:solidFill>
                          <a:effectLst/>
                          <a:latin typeface="Arial" panose="020B0604020202020204" pitchFamily="34" charset="0"/>
                        </a:rPr>
                        <a:t>Total Completed</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0.25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1.5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dirty="0">
                          <a:solidFill>
                            <a:srgbClr val="000000"/>
                          </a:solidFill>
                          <a:effectLst/>
                          <a:latin typeface="Arial" panose="020B0604020202020204" pitchFamily="34" charset="0"/>
                        </a:rPr>
                        <a:t>     2.6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r" fontAlgn="b"/>
                      <a:r>
                        <a:rPr lang="en-US" sz="1000" b="1" i="0" u="none" strike="noStrike" dirty="0">
                          <a:solidFill>
                            <a:schemeClr val="tx1"/>
                          </a:solidFill>
                          <a:effectLst/>
                          <a:latin typeface="Arial" panose="020B0604020202020204" pitchFamily="34" charset="0"/>
                        </a:rPr>
                        <a:t>3.1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fontAlgn="b"/>
                      <a:r>
                        <a:rPr lang="en-US" sz="1000" b="1" i="0" u="none" strike="noStrike" dirty="0">
                          <a:solidFill>
                            <a:schemeClr val="tx1"/>
                          </a:solidFill>
                          <a:effectLst/>
                          <a:latin typeface="Arial" panose="020B0604020202020204" pitchFamily="34" charset="0"/>
                        </a:rPr>
                        <a:t>4.156</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fontAlgn="b"/>
                      <a:r>
                        <a:rPr lang="en-US" sz="1000" b="1" i="0" u="none" strike="noStrike" dirty="0">
                          <a:solidFill>
                            <a:srgbClr val="000000"/>
                          </a:solidFill>
                          <a:effectLst/>
                          <a:latin typeface="Arial" panose="020B0604020202020204" pitchFamily="34" charset="0"/>
                        </a:rPr>
                        <a:t>4.4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3332458436"/>
                  </a:ext>
                </a:extLst>
              </a:tr>
              <a:tr h="191602">
                <a:tc>
                  <a:txBody>
                    <a:bodyPr/>
                    <a:lstStyle/>
                    <a:p>
                      <a:pPr algn="l" fontAlgn="b"/>
                      <a:r>
                        <a:rPr lang="en-US" sz="1000" b="1" i="0" u="none" strike="noStrike">
                          <a:solidFill>
                            <a:srgbClr val="000000"/>
                          </a:solidFill>
                          <a:effectLst/>
                          <a:latin typeface="Arial" panose="020B0604020202020204" pitchFamily="34" charset="0"/>
                        </a:rPr>
                        <a:t>Total Under Construction</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54.71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66.6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dirty="0">
                          <a:solidFill>
                            <a:srgbClr val="000000"/>
                          </a:solidFill>
                          <a:effectLst/>
                          <a:latin typeface="Arial" panose="020B0604020202020204" pitchFamily="34" charset="0"/>
                        </a:rPr>
                        <a:t>   68.77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r" fontAlgn="b"/>
                      <a:r>
                        <a:rPr lang="en-US" sz="1000" b="1" i="0" u="none" strike="noStrike" dirty="0">
                          <a:solidFill>
                            <a:schemeClr val="tx1"/>
                          </a:solidFill>
                          <a:effectLst/>
                          <a:latin typeface="Arial" panose="020B0604020202020204" pitchFamily="34" charset="0"/>
                        </a:rPr>
                        <a:t>68.6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fontAlgn="b"/>
                      <a:r>
                        <a:rPr lang="en-US" sz="1000" b="1" i="0" u="none" strike="noStrike" dirty="0">
                          <a:solidFill>
                            <a:schemeClr val="tx1"/>
                          </a:solidFill>
                          <a:effectLst/>
                          <a:latin typeface="Arial" panose="020B0604020202020204" pitchFamily="34" charset="0"/>
                        </a:rPr>
                        <a:t>73.11</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fontAlgn="b"/>
                      <a:r>
                        <a:rPr lang="en-US" sz="1000" b="1" i="0" u="none" strike="noStrike" dirty="0">
                          <a:solidFill>
                            <a:srgbClr val="000000"/>
                          </a:solidFill>
                          <a:effectLst/>
                          <a:latin typeface="Arial" panose="020B0604020202020204" pitchFamily="34" charset="0"/>
                        </a:rPr>
                        <a:t>73.25</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559557663"/>
                  </a:ext>
                </a:extLst>
              </a:tr>
              <a:tr h="346855">
                <a:tc>
                  <a:txBody>
                    <a:bodyPr/>
                    <a:lstStyle/>
                    <a:p>
                      <a:pPr algn="l" fontAlgn="b"/>
                      <a:r>
                        <a:rPr lang="en-US" sz="1000" b="1" i="0" u="none" strike="noStrike">
                          <a:solidFill>
                            <a:srgbClr val="000000"/>
                          </a:solidFill>
                          <a:effectLst/>
                          <a:latin typeface="Arial" panose="020B0604020202020204" pitchFamily="34" charset="0"/>
                        </a:rPr>
                        <a:t>Total Pre-construction &amp; planning</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71.69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a:solidFill>
                            <a:srgbClr val="000000"/>
                          </a:solidFill>
                          <a:effectLst/>
                          <a:latin typeface="Arial" panose="020B0604020202020204" pitchFamily="34" charset="0"/>
                        </a:rPr>
                        <a:t>   71.68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l" fontAlgn="b"/>
                      <a:r>
                        <a:rPr lang="en-US" sz="1000" b="1" i="0" u="none" strike="noStrike" dirty="0">
                          <a:solidFill>
                            <a:srgbClr val="000000"/>
                          </a:solidFill>
                          <a:effectLst/>
                          <a:latin typeface="Arial" panose="020B0604020202020204" pitchFamily="34" charset="0"/>
                        </a:rPr>
                        <a:t>   71.50 </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6E6"/>
                    </a:solidFill>
                  </a:tcPr>
                </a:tc>
                <a:tc>
                  <a:txBody>
                    <a:bodyPr/>
                    <a:lstStyle/>
                    <a:p>
                      <a:pPr algn="r" fontAlgn="b"/>
                      <a:r>
                        <a:rPr lang="en-US" sz="1000" b="1" i="0" u="none" strike="noStrike" dirty="0">
                          <a:solidFill>
                            <a:schemeClr val="tx1"/>
                          </a:solidFill>
                          <a:effectLst/>
                          <a:latin typeface="Arial" panose="020B0604020202020204" pitchFamily="34" charset="0"/>
                        </a:rPr>
                        <a:t>71.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fontAlgn="b"/>
                      <a:r>
                        <a:rPr lang="en-US" sz="1000" b="1" i="0" u="none" strike="noStrike" dirty="0">
                          <a:solidFill>
                            <a:schemeClr val="tx1"/>
                          </a:solidFill>
                          <a:effectLst/>
                          <a:latin typeface="Arial" panose="020B0604020202020204" pitchFamily="34" charset="0"/>
                        </a:rPr>
                        <a:t>68.8</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r" fontAlgn="b"/>
                      <a:r>
                        <a:rPr lang="en-US" sz="1000" b="1" i="0" u="none" strike="noStrike" dirty="0">
                          <a:solidFill>
                            <a:srgbClr val="000000"/>
                          </a:solidFill>
                          <a:effectLst/>
                          <a:latin typeface="Arial" panose="020B0604020202020204" pitchFamily="34" charset="0"/>
                        </a:rPr>
                        <a:t>64.93</a:t>
                      </a:r>
                    </a:p>
                  </a:txBody>
                  <a:tcPr marL="5292" marR="5292" marT="5292"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41070706"/>
                  </a:ext>
                </a:extLst>
              </a:tr>
            </a:tbl>
          </a:graphicData>
        </a:graphic>
      </p:graphicFrame>
      <p:graphicFrame>
        <p:nvGraphicFramePr>
          <p:cNvPr id="8" name="Chart 7">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466216466"/>
              </p:ext>
            </p:extLst>
          </p:nvPr>
        </p:nvGraphicFramePr>
        <p:xfrm>
          <a:off x="435453" y="1356101"/>
          <a:ext cx="5385661" cy="488433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651997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5"/>
          <p:cNvSpPr txBox="1">
            <a:spLocks/>
          </p:cNvSpPr>
          <p:nvPr/>
        </p:nvSpPr>
        <p:spPr>
          <a:xfrm>
            <a:off x="314534" y="247757"/>
            <a:ext cx="11422590" cy="370551"/>
          </a:xfrm>
          <a:prstGeom prst="rect">
            <a:avLst/>
          </a:prstGeom>
        </p:spPr>
        <p:txBody>
          <a:bodyPr vert="horz" wrap="square" lIns="0" tIns="0" rIns="0" bIns="0" numCol="1" rtlCol="0" anchor="b" anchorCtr="0" compatLnSpc="1">
            <a:prstTxWarp prst="textNoShape">
              <a:avLst/>
            </a:prstTxWarp>
            <a:spAutoFit/>
          </a:bodyPr>
          <a:lstStyle>
            <a:lvl1pPr algn="l" defTabSz="457200" rtl="0" eaLnBrk="0" fontAlgn="base" hangingPunct="0">
              <a:lnSpc>
                <a:spcPct val="85000"/>
              </a:lnSpc>
              <a:spcBef>
                <a:spcPct val="0"/>
              </a:spcBef>
              <a:spcAft>
                <a:spcPct val="0"/>
              </a:spcAft>
              <a:defRPr sz="2800" b="1" kern="1200">
                <a:solidFill>
                  <a:schemeClr val="tx1"/>
                </a:solidFill>
                <a:latin typeface="Arial" charset="0"/>
                <a:ea typeface="Arial" charset="0"/>
                <a:cs typeface="Arial" charset="0"/>
              </a:defRPr>
            </a:lvl1pPr>
            <a:lvl2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2pPr>
            <a:lvl3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3pPr>
            <a:lvl4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4pPr>
            <a:lvl5pPr algn="l" defTabSz="457200" rtl="0" eaLnBrk="0" fontAlgn="base" hangingPunct="0">
              <a:lnSpc>
                <a:spcPct val="85000"/>
              </a:lnSpc>
              <a:spcBef>
                <a:spcPct val="0"/>
              </a:spcBef>
              <a:spcAft>
                <a:spcPct val="0"/>
              </a:spcAft>
              <a:defRPr sz="2800" b="1">
                <a:solidFill>
                  <a:schemeClr val="tx1"/>
                </a:solidFill>
                <a:latin typeface="Arial" pitchFamily="34" charset="0"/>
                <a:cs typeface="Arial" pitchFamily="34" charset="0"/>
              </a:defRPr>
            </a:lvl5pPr>
            <a:lvl6pPr marL="4572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6pPr>
            <a:lvl7pPr marL="9144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7pPr>
            <a:lvl8pPr marL="13716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8pPr>
            <a:lvl9pPr marL="1828800" algn="l" defTabSz="457200" rtl="0" fontAlgn="base">
              <a:lnSpc>
                <a:spcPct val="85000"/>
              </a:lnSpc>
              <a:spcBef>
                <a:spcPct val="0"/>
              </a:spcBef>
              <a:spcAft>
                <a:spcPct val="0"/>
              </a:spcAft>
              <a:defRPr sz="2800" b="1">
                <a:solidFill>
                  <a:schemeClr val="tx1"/>
                </a:solidFill>
                <a:latin typeface="Arial" pitchFamily="34" charset="0"/>
                <a:cs typeface="Arial" pitchFamily="34" charset="0"/>
              </a:defRPr>
            </a:lvl9pPr>
          </a:lstStyle>
          <a:p>
            <a:endParaRPr lang="en-US" sz="2833" dirty="0">
              <a:solidFill>
                <a:prstClr val="black"/>
              </a:solidFill>
            </a:endParaRPr>
          </a:p>
        </p:txBody>
      </p:sp>
      <p:sp>
        <p:nvSpPr>
          <p:cNvPr id="17" name="TextBox 16"/>
          <p:cNvSpPr txBox="1"/>
          <p:nvPr/>
        </p:nvSpPr>
        <p:spPr>
          <a:xfrm>
            <a:off x="-77757" y="1046885"/>
            <a:ext cx="5528733" cy="502573"/>
          </a:xfrm>
          <a:prstGeom prst="rect">
            <a:avLst/>
          </a:prstGeom>
          <a:noFill/>
        </p:spPr>
        <p:txBody>
          <a:bodyPr wrap="square" rtlCol="0">
            <a:spAutoFit/>
          </a:bodyPr>
          <a:lstStyle/>
          <a:p>
            <a:pPr algn="ctr"/>
            <a:r>
              <a:rPr lang="en-IN" altLang="en-US" sz="1333" b="1" dirty="0">
                <a:solidFill>
                  <a:schemeClr val="accent3"/>
                </a:solidFill>
                <a:latin typeface="Arial" pitchFamily="34" charset="0"/>
                <a:cs typeface="Arial" pitchFamily="34" charset="0"/>
              </a:rPr>
              <a:t>Transport, energy and water projects account for </a:t>
            </a:r>
            <a:br>
              <a:rPr lang="en-IN" altLang="en-US" sz="1333" b="1" dirty="0">
                <a:solidFill>
                  <a:schemeClr val="accent3"/>
                </a:solidFill>
                <a:latin typeface="Arial" pitchFamily="34" charset="0"/>
                <a:cs typeface="Arial" pitchFamily="34" charset="0"/>
              </a:rPr>
            </a:br>
            <a:r>
              <a:rPr lang="en-IN" altLang="en-US" sz="1333" b="1" dirty="0">
                <a:solidFill>
                  <a:schemeClr val="accent3"/>
                </a:solidFill>
                <a:latin typeface="Arial" pitchFamily="34" charset="0"/>
                <a:cs typeface="Arial" pitchFamily="34" charset="0"/>
              </a:rPr>
              <a:t>~80% of NIP spending of Rs. 143 lakh crore</a:t>
            </a:r>
          </a:p>
        </p:txBody>
      </p:sp>
      <p:sp>
        <p:nvSpPr>
          <p:cNvPr id="20" name="TextBox 19"/>
          <p:cNvSpPr txBox="1"/>
          <p:nvPr/>
        </p:nvSpPr>
        <p:spPr>
          <a:xfrm>
            <a:off x="6234431" y="1046885"/>
            <a:ext cx="5528733" cy="553998"/>
          </a:xfrm>
          <a:prstGeom prst="rect">
            <a:avLst/>
          </a:prstGeom>
          <a:noFill/>
        </p:spPr>
        <p:txBody>
          <a:bodyPr wrap="square" rtlCol="0">
            <a:spAutoFit/>
          </a:bodyPr>
          <a:lstStyle/>
          <a:p>
            <a:pPr algn="ctr"/>
            <a:r>
              <a:rPr lang="en-IN" altLang="en-US" sz="1500" b="1" dirty="0">
                <a:solidFill>
                  <a:schemeClr val="accent3"/>
                </a:solidFill>
                <a:latin typeface="Arial" pitchFamily="34" charset="0"/>
                <a:cs typeface="Arial" pitchFamily="34" charset="0"/>
              </a:rPr>
              <a:t>~Rs 73.3 lakh crore of projects currently under implementation</a:t>
            </a:r>
          </a:p>
        </p:txBody>
      </p:sp>
      <p:sp>
        <p:nvSpPr>
          <p:cNvPr id="3" name="Title 2"/>
          <p:cNvSpPr>
            <a:spLocks noGrp="1"/>
          </p:cNvSpPr>
          <p:nvPr>
            <p:ph type="title"/>
          </p:nvPr>
        </p:nvSpPr>
        <p:spPr>
          <a:xfrm>
            <a:off x="377281" y="352564"/>
            <a:ext cx="11446214" cy="387798"/>
          </a:xfrm>
        </p:spPr>
        <p:txBody>
          <a:bodyPr/>
          <a:lstStyle/>
          <a:p>
            <a:r>
              <a:rPr lang="en-US" sz="2800" dirty="0">
                <a:solidFill>
                  <a:schemeClr val="tx1"/>
                </a:solidFill>
              </a:rPr>
              <a:t>Roads account for ~</a:t>
            </a:r>
            <a:r>
              <a:rPr lang="en-IN" altLang="en-US" sz="2800" dirty="0">
                <a:solidFill>
                  <a:schemeClr val="tx1"/>
                </a:solidFill>
              </a:rPr>
              <a:t>76% of opportunity in the transport segment</a:t>
            </a:r>
            <a:r>
              <a:rPr lang="en-US" sz="2800" dirty="0">
                <a:solidFill>
                  <a:schemeClr val="tx1"/>
                </a:solidFill>
              </a:rPr>
              <a:t> </a:t>
            </a:r>
          </a:p>
        </p:txBody>
      </p:sp>
      <p:sp>
        <p:nvSpPr>
          <p:cNvPr id="22" name="TextBox 21"/>
          <p:cNvSpPr txBox="1"/>
          <p:nvPr/>
        </p:nvSpPr>
        <p:spPr>
          <a:xfrm>
            <a:off x="891579" y="6657008"/>
            <a:ext cx="3302379" cy="233462"/>
          </a:xfrm>
          <a:prstGeom prst="rect">
            <a:avLst/>
          </a:prstGeom>
          <a:noFill/>
        </p:spPr>
        <p:txBody>
          <a:bodyPr wrap="square" rtlCol="0">
            <a:spAutoFit/>
          </a:bodyPr>
          <a:lstStyle/>
          <a:p>
            <a:r>
              <a:rPr lang="en-US" sz="917" dirty="0">
                <a:solidFill>
                  <a:prstClr val="black"/>
                </a:solidFill>
                <a:latin typeface="Arial" panose="020B0604020202020204" pitchFamily="34" charset="0"/>
                <a:cs typeface="Arial" panose="020B0604020202020204" pitchFamily="34" charset="0"/>
              </a:rPr>
              <a:t>Source: CRISIL Research, India Investment Grid</a:t>
            </a:r>
            <a:endParaRPr lang="en-GB" sz="917" dirty="0">
              <a:solidFill>
                <a:prstClr val="black"/>
              </a:solidFill>
              <a:latin typeface="Arial" panose="020B0604020202020204" pitchFamily="34" charset="0"/>
              <a:cs typeface="Arial" panose="020B0604020202020204" pitchFamily="34" charset="0"/>
            </a:endParaRPr>
          </a:p>
        </p:txBody>
      </p:sp>
      <p:pic>
        <p:nvPicPr>
          <p:cNvPr id="54274" name="Picture 2" descr="Road Icons - Download Free Vector Icons | Noun Projec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8745" y="1790290"/>
            <a:ext cx="605618" cy="605618"/>
          </a:xfrm>
          <a:prstGeom prst="rect">
            <a:avLst/>
          </a:prstGeom>
          <a:noFill/>
          <a:extLst>
            <a:ext uri="{909E8E84-426E-40DD-AFC4-6F175D3DCCD1}">
              <a14:hiddenFill xmlns:a14="http://schemas.microsoft.com/office/drawing/2010/main">
                <a:solidFill>
                  <a:srgbClr val="FFFFFF"/>
                </a:solidFill>
              </a14:hiddenFill>
            </a:ext>
          </a:extLst>
        </p:spPr>
      </p:pic>
      <p:pic>
        <p:nvPicPr>
          <p:cNvPr id="54276" name="Picture 4" descr="Rail, railroad, track, train icon - Download on Iconfind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6667" y="1851764"/>
            <a:ext cx="452351" cy="452351"/>
          </a:xfrm>
          <a:prstGeom prst="rect">
            <a:avLst/>
          </a:prstGeom>
          <a:noFill/>
          <a:extLst>
            <a:ext uri="{909E8E84-426E-40DD-AFC4-6F175D3DCCD1}">
              <a14:hiddenFill xmlns:a14="http://schemas.microsoft.com/office/drawing/2010/main">
                <a:solidFill>
                  <a:srgbClr val="FFFFFF"/>
                </a:solidFill>
              </a14:hiddenFill>
            </a:ext>
          </a:extLst>
        </p:spPr>
      </p:pic>
      <p:pic>
        <p:nvPicPr>
          <p:cNvPr id="54278" name="Picture 6" descr="Thermal power plant black icon sign on Royalty Free Vecto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8240" t="18208" r="20791" b="26899"/>
          <a:stretch/>
        </p:blipFill>
        <p:spPr bwMode="auto">
          <a:xfrm>
            <a:off x="2815968" y="1820701"/>
            <a:ext cx="419190" cy="407610"/>
          </a:xfrm>
          <a:prstGeom prst="rect">
            <a:avLst/>
          </a:prstGeom>
          <a:noFill/>
          <a:extLst>
            <a:ext uri="{909E8E84-426E-40DD-AFC4-6F175D3DCCD1}">
              <a14:hiddenFill xmlns:a14="http://schemas.microsoft.com/office/drawing/2010/main">
                <a:solidFill>
                  <a:srgbClr val="FFFFFF"/>
                </a:solidFill>
              </a14:hiddenFill>
            </a:ext>
          </a:extLst>
        </p:spPr>
      </p:pic>
      <p:pic>
        <p:nvPicPr>
          <p:cNvPr id="54280" name="Picture 8" descr="Water Pipes Icons - Download Free Vector Icons | Noun Projec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6609" y="1761308"/>
            <a:ext cx="500069" cy="500069"/>
          </a:xfrm>
          <a:prstGeom prst="rect">
            <a:avLst/>
          </a:prstGeom>
          <a:noFill/>
          <a:extLst>
            <a:ext uri="{909E8E84-426E-40DD-AFC4-6F175D3DCCD1}">
              <a14:hiddenFill xmlns:a14="http://schemas.microsoft.com/office/drawing/2010/main">
                <a:solidFill>
                  <a:srgbClr val="FFFFFF"/>
                </a:solidFill>
              </a14:hiddenFill>
            </a:ext>
          </a:extLst>
        </p:spPr>
      </p:pic>
      <p:pic>
        <p:nvPicPr>
          <p:cNvPr id="54282" name="Picture 10" descr="Infrastructure Icons - Download Free Vector Icons | Noun Projec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17688" y="1816643"/>
            <a:ext cx="452351" cy="452351"/>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686756" y="2355174"/>
            <a:ext cx="605618" cy="451534"/>
          </a:xfrm>
          <a:prstGeom prst="rect">
            <a:avLst/>
          </a:prstGeom>
          <a:noFill/>
        </p:spPr>
        <p:txBody>
          <a:bodyPr wrap="square" rtlCol="0">
            <a:spAutoFit/>
          </a:bodyPr>
          <a:lstStyle/>
          <a:p>
            <a:r>
              <a:rPr lang="en-US" sz="1167" b="1" dirty="0">
                <a:solidFill>
                  <a:prstClr val="black"/>
                </a:solidFill>
                <a:latin typeface="Arial" panose="020B0604020202020204" pitchFamily="34" charset="0"/>
                <a:cs typeface="Arial" panose="020B0604020202020204" pitchFamily="34" charset="0"/>
              </a:rPr>
              <a:t>ROAD</a:t>
            </a:r>
            <a:endParaRPr lang="en-GB" sz="1167" b="1" dirty="0">
              <a:solidFill>
                <a:prstClr val="black"/>
              </a:solidFill>
              <a:latin typeface="Arial" panose="020B0604020202020204" pitchFamily="34" charset="0"/>
              <a:cs typeface="Arial" panose="020B0604020202020204" pitchFamily="34" charset="0"/>
            </a:endParaRPr>
          </a:p>
        </p:txBody>
      </p:sp>
      <p:sp>
        <p:nvSpPr>
          <p:cNvPr id="29" name="TextBox 28"/>
          <p:cNvSpPr txBox="1"/>
          <p:nvPr/>
        </p:nvSpPr>
        <p:spPr>
          <a:xfrm>
            <a:off x="1402691" y="2343438"/>
            <a:ext cx="1415834" cy="271934"/>
          </a:xfrm>
          <a:prstGeom prst="rect">
            <a:avLst/>
          </a:prstGeom>
          <a:noFill/>
        </p:spPr>
        <p:txBody>
          <a:bodyPr wrap="square" rtlCol="0">
            <a:spAutoFit/>
          </a:bodyPr>
          <a:lstStyle/>
          <a:p>
            <a:r>
              <a:rPr lang="en-US" sz="1167" b="1" dirty="0">
                <a:solidFill>
                  <a:prstClr val="black"/>
                </a:solidFill>
                <a:latin typeface="Arial" panose="020B0604020202020204" pitchFamily="34" charset="0"/>
                <a:cs typeface="Arial" panose="020B0604020202020204" pitchFamily="34" charset="0"/>
              </a:rPr>
              <a:t>RAIL </a:t>
            </a:r>
            <a:r>
              <a:rPr lang="en-US" sz="1000" dirty="0">
                <a:solidFill>
                  <a:prstClr val="black"/>
                </a:solidFill>
                <a:latin typeface="Arial" panose="020B0604020202020204" pitchFamily="34" charset="0"/>
                <a:cs typeface="Arial" panose="020B0604020202020204" pitchFamily="34" charset="0"/>
              </a:rPr>
              <a:t>(incl. MRTS)</a:t>
            </a:r>
            <a:endParaRPr lang="en-GB" sz="1000" dirty="0">
              <a:solidFill>
                <a:prstClr val="black"/>
              </a:solidFill>
              <a:latin typeface="Arial" panose="020B0604020202020204" pitchFamily="34" charset="0"/>
              <a:cs typeface="Arial" panose="020B0604020202020204" pitchFamily="34" charset="0"/>
            </a:endParaRPr>
          </a:p>
        </p:txBody>
      </p:sp>
      <p:sp>
        <p:nvSpPr>
          <p:cNvPr id="30" name="TextBox 29"/>
          <p:cNvSpPr txBox="1"/>
          <p:nvPr/>
        </p:nvSpPr>
        <p:spPr>
          <a:xfrm>
            <a:off x="2660444" y="2355174"/>
            <a:ext cx="887375" cy="271934"/>
          </a:xfrm>
          <a:prstGeom prst="rect">
            <a:avLst/>
          </a:prstGeom>
          <a:noFill/>
        </p:spPr>
        <p:txBody>
          <a:bodyPr wrap="square" rtlCol="0">
            <a:spAutoFit/>
          </a:bodyPr>
          <a:lstStyle/>
          <a:p>
            <a:r>
              <a:rPr lang="en-US" sz="1167" b="1" dirty="0">
                <a:solidFill>
                  <a:prstClr val="black"/>
                </a:solidFill>
                <a:latin typeface="Arial" panose="020B0604020202020204" pitchFamily="34" charset="0"/>
                <a:cs typeface="Arial" panose="020B0604020202020204" pitchFamily="34" charset="0"/>
              </a:rPr>
              <a:t>ENERGY</a:t>
            </a:r>
            <a:endParaRPr lang="en-GB" sz="1167" b="1" dirty="0">
              <a:solidFill>
                <a:prstClr val="black"/>
              </a:solidFill>
              <a:latin typeface="Arial" panose="020B0604020202020204" pitchFamily="34" charset="0"/>
              <a:cs typeface="Arial" panose="020B0604020202020204" pitchFamily="34" charset="0"/>
            </a:endParaRPr>
          </a:p>
        </p:txBody>
      </p:sp>
      <p:sp>
        <p:nvSpPr>
          <p:cNvPr id="31" name="TextBox 30"/>
          <p:cNvSpPr txBox="1"/>
          <p:nvPr/>
        </p:nvSpPr>
        <p:spPr>
          <a:xfrm>
            <a:off x="3681225" y="2355174"/>
            <a:ext cx="887375" cy="271934"/>
          </a:xfrm>
          <a:prstGeom prst="rect">
            <a:avLst/>
          </a:prstGeom>
          <a:noFill/>
        </p:spPr>
        <p:txBody>
          <a:bodyPr wrap="square" rtlCol="0">
            <a:spAutoFit/>
          </a:bodyPr>
          <a:lstStyle/>
          <a:p>
            <a:r>
              <a:rPr lang="en-US" sz="1167" b="1" dirty="0">
                <a:solidFill>
                  <a:prstClr val="black"/>
                </a:solidFill>
                <a:latin typeface="Arial" panose="020B0604020202020204" pitchFamily="34" charset="0"/>
                <a:cs typeface="Arial" panose="020B0604020202020204" pitchFamily="34" charset="0"/>
              </a:rPr>
              <a:t>WSS</a:t>
            </a:r>
            <a:endParaRPr lang="en-GB" sz="1167" b="1" dirty="0">
              <a:solidFill>
                <a:prstClr val="black"/>
              </a:solidFill>
              <a:latin typeface="Arial" panose="020B0604020202020204" pitchFamily="34" charset="0"/>
              <a:cs typeface="Arial" panose="020B0604020202020204" pitchFamily="34" charset="0"/>
            </a:endParaRPr>
          </a:p>
        </p:txBody>
      </p:sp>
      <p:sp>
        <p:nvSpPr>
          <p:cNvPr id="32" name="TextBox 31"/>
          <p:cNvSpPr txBox="1"/>
          <p:nvPr/>
        </p:nvSpPr>
        <p:spPr>
          <a:xfrm>
            <a:off x="4441470" y="2355174"/>
            <a:ext cx="887375" cy="271934"/>
          </a:xfrm>
          <a:prstGeom prst="rect">
            <a:avLst/>
          </a:prstGeom>
          <a:noFill/>
        </p:spPr>
        <p:txBody>
          <a:bodyPr wrap="square" rtlCol="0">
            <a:spAutoFit/>
          </a:bodyPr>
          <a:lstStyle/>
          <a:p>
            <a:r>
              <a:rPr lang="en-US" sz="1167" b="1" dirty="0">
                <a:solidFill>
                  <a:prstClr val="black"/>
                </a:solidFill>
                <a:latin typeface="Arial" panose="020B0604020202020204" pitchFamily="34" charset="0"/>
                <a:cs typeface="Arial" panose="020B0604020202020204" pitchFamily="34" charset="0"/>
              </a:rPr>
              <a:t>OTHERS</a:t>
            </a:r>
            <a:endParaRPr lang="en-GB" sz="1167" b="1" dirty="0">
              <a:solidFill>
                <a:prstClr val="black"/>
              </a:solidFill>
              <a:latin typeface="Arial" panose="020B0604020202020204" pitchFamily="34" charset="0"/>
              <a:cs typeface="Arial" panose="020B0604020202020204" pitchFamily="34" charset="0"/>
            </a:endParaRPr>
          </a:p>
        </p:txBody>
      </p:sp>
      <p:sp>
        <p:nvSpPr>
          <p:cNvPr id="33" name="TextBox 32"/>
          <p:cNvSpPr txBox="1"/>
          <p:nvPr/>
        </p:nvSpPr>
        <p:spPr>
          <a:xfrm>
            <a:off x="686756" y="2850495"/>
            <a:ext cx="715934" cy="451342"/>
          </a:xfrm>
          <a:prstGeom prst="rect">
            <a:avLst/>
          </a:prstGeom>
          <a:noFill/>
        </p:spPr>
        <p:txBody>
          <a:bodyPr wrap="square" rtlCol="0">
            <a:spAutoFit/>
          </a:bodyPr>
          <a:lstStyle/>
          <a:p>
            <a:r>
              <a:rPr lang="en-US" sz="2333" b="1" dirty="0">
                <a:solidFill>
                  <a:prstClr val="black"/>
                </a:solidFill>
                <a:latin typeface="Arial" panose="020B0604020202020204" pitchFamily="34" charset="0"/>
                <a:cs typeface="Arial" panose="020B0604020202020204" pitchFamily="34" charset="0"/>
              </a:rPr>
              <a:t>22</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34" name="TextBox 33"/>
          <p:cNvSpPr txBox="1"/>
          <p:nvPr/>
        </p:nvSpPr>
        <p:spPr>
          <a:xfrm>
            <a:off x="1658397" y="2850495"/>
            <a:ext cx="754777" cy="451342"/>
          </a:xfrm>
          <a:prstGeom prst="rect">
            <a:avLst/>
          </a:prstGeom>
          <a:noFill/>
        </p:spPr>
        <p:txBody>
          <a:bodyPr wrap="square" rtlCol="0">
            <a:spAutoFit/>
          </a:bodyPr>
          <a:lstStyle/>
          <a:p>
            <a:r>
              <a:rPr lang="en-US" sz="2333" b="1" dirty="0">
                <a:solidFill>
                  <a:prstClr val="black"/>
                </a:solidFill>
                <a:latin typeface="Arial" panose="020B0604020202020204" pitchFamily="34" charset="0"/>
                <a:cs typeface="Arial" panose="020B0604020202020204" pitchFamily="34" charset="0"/>
              </a:rPr>
              <a:t>12</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35" name="TextBox 34"/>
          <p:cNvSpPr txBox="1"/>
          <p:nvPr/>
        </p:nvSpPr>
        <p:spPr>
          <a:xfrm>
            <a:off x="2668882" y="2799199"/>
            <a:ext cx="758541" cy="553998"/>
          </a:xfrm>
          <a:prstGeom prst="rect">
            <a:avLst/>
          </a:prstGeom>
          <a:noFill/>
        </p:spPr>
        <p:txBody>
          <a:bodyPr wrap="square" rtlCol="0">
            <a:spAutoFit/>
          </a:bodyPr>
          <a:lstStyle/>
          <a:p>
            <a:r>
              <a:rPr lang="en-US" sz="3000" b="1" dirty="0">
                <a:solidFill>
                  <a:prstClr val="black"/>
                </a:solidFill>
                <a:latin typeface="Arial" panose="020B0604020202020204" pitchFamily="34" charset="0"/>
                <a:cs typeface="Arial" panose="020B0604020202020204" pitchFamily="34" charset="0"/>
              </a:rPr>
              <a:t>22</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36" name="TextBox 35"/>
          <p:cNvSpPr txBox="1"/>
          <p:nvPr/>
        </p:nvSpPr>
        <p:spPr>
          <a:xfrm>
            <a:off x="3683130" y="2876143"/>
            <a:ext cx="605618" cy="400110"/>
          </a:xfrm>
          <a:prstGeom prst="rect">
            <a:avLst/>
          </a:prstGeom>
          <a:noFill/>
        </p:spPr>
        <p:txBody>
          <a:bodyPr wrap="square" rtlCol="0">
            <a:spAutoFit/>
          </a:bodyPr>
          <a:lstStyle/>
          <a:p>
            <a:r>
              <a:rPr lang="en-US" sz="2000" b="1" dirty="0">
                <a:solidFill>
                  <a:prstClr val="black"/>
                </a:solidFill>
                <a:latin typeface="Arial" panose="020B0604020202020204" pitchFamily="34" charset="0"/>
                <a:cs typeface="Arial" panose="020B0604020202020204" pitchFamily="34" charset="0"/>
              </a:rPr>
              <a:t>16</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37" name="TextBox 36"/>
          <p:cNvSpPr txBox="1"/>
          <p:nvPr/>
        </p:nvSpPr>
        <p:spPr>
          <a:xfrm>
            <a:off x="4544454" y="2786375"/>
            <a:ext cx="800730" cy="579710"/>
          </a:xfrm>
          <a:prstGeom prst="rect">
            <a:avLst/>
          </a:prstGeom>
          <a:noFill/>
        </p:spPr>
        <p:txBody>
          <a:bodyPr wrap="square" rtlCol="0">
            <a:spAutoFit/>
          </a:bodyPr>
          <a:lstStyle/>
          <a:p>
            <a:r>
              <a:rPr lang="en-US" sz="3167" b="1" dirty="0">
                <a:solidFill>
                  <a:prstClr val="black"/>
                </a:solidFill>
                <a:latin typeface="Arial" panose="020B0604020202020204" pitchFamily="34" charset="0"/>
                <a:cs typeface="Arial" panose="020B0604020202020204" pitchFamily="34" charset="0"/>
              </a:rPr>
              <a:t>28</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pic>
        <p:nvPicPr>
          <p:cNvPr id="54284" name="Picture 12" descr="Check, checked, circle, completed, confirmed, ok, success icon - Download  on Iconfind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70910" y="1769710"/>
            <a:ext cx="519099" cy="519099"/>
          </a:xfrm>
          <a:prstGeom prst="rect">
            <a:avLst/>
          </a:prstGeom>
          <a:noFill/>
          <a:extLst>
            <a:ext uri="{909E8E84-426E-40DD-AFC4-6F175D3DCCD1}">
              <a14:hiddenFill xmlns:a14="http://schemas.microsoft.com/office/drawing/2010/main">
                <a:solidFill>
                  <a:srgbClr val="FFFFFF"/>
                </a:solidFill>
              </a14:hiddenFill>
            </a:ext>
          </a:extLst>
        </p:spPr>
      </p:pic>
      <p:pic>
        <p:nvPicPr>
          <p:cNvPr id="54286" name="Picture 14" descr="Under Construction Icon – Free Download, PNG and Vecto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04507" y="1767944"/>
            <a:ext cx="514418" cy="514418"/>
          </a:xfrm>
          <a:prstGeom prst="rect">
            <a:avLst/>
          </a:prstGeom>
          <a:noFill/>
          <a:extLst>
            <a:ext uri="{909E8E84-426E-40DD-AFC4-6F175D3DCCD1}">
              <a14:hiddenFill xmlns:a14="http://schemas.microsoft.com/office/drawing/2010/main">
                <a:solidFill>
                  <a:srgbClr val="FFFFFF"/>
                </a:solidFill>
              </a14:hiddenFill>
            </a:ext>
          </a:extLst>
        </p:spPr>
      </p:pic>
      <p:pic>
        <p:nvPicPr>
          <p:cNvPr id="54288" name="Picture 16" descr="Planning - Free marketing icon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37764" y="1797393"/>
            <a:ext cx="452351" cy="452351"/>
          </a:xfrm>
          <a:prstGeom prst="rect">
            <a:avLst/>
          </a:prstGeom>
          <a:noFill/>
          <a:extLst>
            <a:ext uri="{909E8E84-426E-40DD-AFC4-6F175D3DCCD1}">
              <a14:hiddenFill xmlns:a14="http://schemas.microsoft.com/office/drawing/2010/main">
                <a:solidFill>
                  <a:srgbClr val="FFFFFF"/>
                </a:solidFill>
              </a14:hiddenFill>
            </a:ext>
          </a:extLst>
        </p:spPr>
      </p:pic>
      <p:pic>
        <p:nvPicPr>
          <p:cNvPr id="54290" name="Picture 18" descr="Tender Icon #70608 - Free Icons Library"/>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283334" y="1761308"/>
            <a:ext cx="452351" cy="452351"/>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6038849" y="2355174"/>
            <a:ext cx="1800710" cy="451534"/>
          </a:xfrm>
          <a:prstGeom prst="rect">
            <a:avLst/>
          </a:prstGeom>
          <a:noFill/>
        </p:spPr>
        <p:txBody>
          <a:bodyPr wrap="square" rtlCol="0">
            <a:spAutoFit/>
          </a:bodyPr>
          <a:lstStyle/>
          <a:p>
            <a:r>
              <a:rPr lang="en-US" sz="1167" b="1" dirty="0">
                <a:solidFill>
                  <a:prstClr val="black"/>
                </a:solidFill>
                <a:latin typeface="Arial" panose="020B0604020202020204" pitchFamily="34" charset="0"/>
                <a:cs typeface="Arial" panose="020B0604020202020204" pitchFamily="34" charset="0"/>
              </a:rPr>
              <a:t> UNDER CONCEPTUALIZATION</a:t>
            </a:r>
            <a:endParaRPr lang="en-GB" sz="1167" b="1" dirty="0">
              <a:solidFill>
                <a:prstClr val="black"/>
              </a:solidFill>
              <a:latin typeface="Arial" panose="020B0604020202020204" pitchFamily="34" charset="0"/>
              <a:cs typeface="Arial" panose="020B0604020202020204" pitchFamily="34" charset="0"/>
            </a:endParaRPr>
          </a:p>
        </p:txBody>
      </p:sp>
      <p:sp>
        <p:nvSpPr>
          <p:cNvPr id="44" name="TextBox 43"/>
          <p:cNvSpPr txBox="1"/>
          <p:nvPr/>
        </p:nvSpPr>
        <p:spPr>
          <a:xfrm>
            <a:off x="7629904" y="2274964"/>
            <a:ext cx="1536022" cy="451534"/>
          </a:xfrm>
          <a:prstGeom prst="rect">
            <a:avLst/>
          </a:prstGeom>
          <a:noFill/>
        </p:spPr>
        <p:txBody>
          <a:bodyPr wrap="square" rtlCol="0">
            <a:spAutoFit/>
          </a:bodyPr>
          <a:lstStyle/>
          <a:p>
            <a:pPr algn="ctr"/>
            <a:r>
              <a:rPr lang="en-US" sz="1167" b="1" dirty="0">
                <a:solidFill>
                  <a:prstClr val="black"/>
                </a:solidFill>
                <a:latin typeface="Arial" panose="020B0604020202020204" pitchFamily="34" charset="0"/>
                <a:cs typeface="Arial" panose="020B0604020202020204" pitchFamily="34" charset="0"/>
              </a:rPr>
              <a:t>UNDER IMPLEMENTATION</a:t>
            </a:r>
            <a:endParaRPr lang="en-GB" sz="1167" b="1" dirty="0">
              <a:solidFill>
                <a:prstClr val="black"/>
              </a:solidFill>
              <a:latin typeface="Arial" panose="020B0604020202020204" pitchFamily="34" charset="0"/>
              <a:cs typeface="Arial" panose="020B0604020202020204" pitchFamily="34" charset="0"/>
            </a:endParaRPr>
          </a:p>
        </p:txBody>
      </p:sp>
      <p:sp>
        <p:nvSpPr>
          <p:cNvPr id="45" name="TextBox 44"/>
          <p:cNvSpPr txBox="1"/>
          <p:nvPr/>
        </p:nvSpPr>
        <p:spPr>
          <a:xfrm>
            <a:off x="9007113" y="2274964"/>
            <a:ext cx="1571288" cy="451534"/>
          </a:xfrm>
          <a:prstGeom prst="rect">
            <a:avLst/>
          </a:prstGeom>
          <a:noFill/>
        </p:spPr>
        <p:txBody>
          <a:bodyPr wrap="square" rtlCol="0">
            <a:spAutoFit/>
          </a:bodyPr>
          <a:lstStyle/>
          <a:p>
            <a:pPr algn="ctr"/>
            <a:r>
              <a:rPr lang="en-US" sz="1167" b="1" dirty="0">
                <a:solidFill>
                  <a:prstClr val="black"/>
                </a:solidFill>
                <a:latin typeface="Arial" panose="020B0604020202020204" pitchFamily="34" charset="0"/>
                <a:cs typeface="Arial" panose="020B0604020202020204" pitchFamily="34" charset="0"/>
              </a:rPr>
              <a:t>UNDER  DEVELOPMENT</a:t>
            </a:r>
            <a:endParaRPr lang="en-GB" sz="1167" b="1" dirty="0">
              <a:solidFill>
                <a:prstClr val="black"/>
              </a:solidFill>
              <a:latin typeface="Arial" panose="020B0604020202020204" pitchFamily="34" charset="0"/>
              <a:cs typeface="Arial" panose="020B0604020202020204" pitchFamily="34" charset="0"/>
            </a:endParaRPr>
          </a:p>
        </p:txBody>
      </p:sp>
      <p:sp>
        <p:nvSpPr>
          <p:cNvPr id="46" name="TextBox 45"/>
          <p:cNvSpPr txBox="1"/>
          <p:nvPr/>
        </p:nvSpPr>
        <p:spPr>
          <a:xfrm>
            <a:off x="10276904" y="2354466"/>
            <a:ext cx="1571288" cy="271934"/>
          </a:xfrm>
          <a:prstGeom prst="rect">
            <a:avLst/>
          </a:prstGeom>
          <a:noFill/>
        </p:spPr>
        <p:txBody>
          <a:bodyPr wrap="square" rtlCol="0">
            <a:spAutoFit/>
          </a:bodyPr>
          <a:lstStyle/>
          <a:p>
            <a:pPr algn="ctr"/>
            <a:r>
              <a:rPr lang="en-US" sz="1167" b="1" dirty="0">
                <a:solidFill>
                  <a:prstClr val="black"/>
                </a:solidFill>
                <a:latin typeface="Arial" panose="020B0604020202020204" pitchFamily="34" charset="0"/>
                <a:cs typeface="Arial" panose="020B0604020202020204" pitchFamily="34" charset="0"/>
              </a:rPr>
              <a:t>COMPLETED</a:t>
            </a:r>
            <a:endParaRPr lang="en-GB" sz="1167" b="1" dirty="0">
              <a:solidFill>
                <a:prstClr val="black"/>
              </a:solidFill>
              <a:latin typeface="Arial" panose="020B0604020202020204" pitchFamily="34" charset="0"/>
              <a:cs typeface="Arial" panose="020B0604020202020204" pitchFamily="34" charset="0"/>
            </a:endParaRPr>
          </a:p>
        </p:txBody>
      </p:sp>
      <p:sp>
        <p:nvSpPr>
          <p:cNvPr id="47" name="TextBox 46"/>
          <p:cNvSpPr txBox="1"/>
          <p:nvPr/>
        </p:nvSpPr>
        <p:spPr>
          <a:xfrm>
            <a:off x="9402365" y="2786375"/>
            <a:ext cx="874539" cy="682174"/>
          </a:xfrm>
          <a:prstGeom prst="rect">
            <a:avLst/>
          </a:prstGeom>
          <a:noFill/>
        </p:spPr>
        <p:txBody>
          <a:bodyPr wrap="square" rtlCol="0">
            <a:spAutoFit/>
          </a:bodyPr>
          <a:lstStyle/>
          <a:p>
            <a:r>
              <a:rPr lang="en-US" sz="3833" b="1" dirty="0">
                <a:solidFill>
                  <a:prstClr val="black"/>
                </a:solidFill>
                <a:latin typeface="Arial" panose="020B0604020202020204" pitchFamily="34" charset="0"/>
                <a:cs typeface="Arial" panose="020B0604020202020204" pitchFamily="34" charset="0"/>
              </a:rPr>
              <a:t>28</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48" name="TextBox 47"/>
          <p:cNvSpPr txBox="1"/>
          <p:nvPr/>
        </p:nvSpPr>
        <p:spPr>
          <a:xfrm>
            <a:off x="8115768" y="2837671"/>
            <a:ext cx="800730" cy="579710"/>
          </a:xfrm>
          <a:prstGeom prst="rect">
            <a:avLst/>
          </a:prstGeom>
          <a:noFill/>
        </p:spPr>
        <p:txBody>
          <a:bodyPr wrap="square" rtlCol="0">
            <a:spAutoFit/>
          </a:bodyPr>
          <a:lstStyle/>
          <a:p>
            <a:r>
              <a:rPr lang="en-US" sz="3167" b="1" dirty="0">
                <a:solidFill>
                  <a:prstClr val="black"/>
                </a:solidFill>
                <a:latin typeface="Arial" panose="020B0604020202020204" pitchFamily="34" charset="0"/>
                <a:cs typeface="Arial" panose="020B0604020202020204" pitchFamily="34" charset="0"/>
              </a:rPr>
              <a:t>52</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52" name="TextBox 51"/>
          <p:cNvSpPr txBox="1"/>
          <p:nvPr/>
        </p:nvSpPr>
        <p:spPr>
          <a:xfrm>
            <a:off x="6829173" y="2901791"/>
            <a:ext cx="800730" cy="451342"/>
          </a:xfrm>
          <a:prstGeom prst="rect">
            <a:avLst/>
          </a:prstGeom>
          <a:noFill/>
        </p:spPr>
        <p:txBody>
          <a:bodyPr wrap="square" rtlCol="0">
            <a:spAutoFit/>
          </a:bodyPr>
          <a:lstStyle/>
          <a:p>
            <a:r>
              <a:rPr lang="en-US" sz="2333" b="1" dirty="0">
                <a:solidFill>
                  <a:prstClr val="black"/>
                </a:solidFill>
                <a:latin typeface="Arial" panose="020B0604020202020204" pitchFamily="34" charset="0"/>
                <a:cs typeface="Arial" panose="020B0604020202020204" pitchFamily="34" charset="0"/>
              </a:rPr>
              <a:t>17</a:t>
            </a:r>
            <a:r>
              <a:rPr lang="en-US" sz="1167" b="1" dirty="0">
                <a:solidFill>
                  <a:prstClr val="black"/>
                </a:solidFill>
                <a:latin typeface="Arial" panose="020B0604020202020204" pitchFamily="34" charset="0"/>
                <a:cs typeface="Arial" panose="020B0604020202020204" pitchFamily="34" charset="0"/>
              </a:rPr>
              <a:t>%</a:t>
            </a:r>
            <a:endParaRPr lang="en-GB" sz="1167" b="1" dirty="0">
              <a:solidFill>
                <a:prstClr val="black"/>
              </a:solidFill>
              <a:latin typeface="Arial" panose="020B0604020202020204" pitchFamily="34" charset="0"/>
              <a:cs typeface="Arial" panose="020B0604020202020204" pitchFamily="34" charset="0"/>
            </a:endParaRPr>
          </a:p>
        </p:txBody>
      </p:sp>
      <p:sp>
        <p:nvSpPr>
          <p:cNvPr id="53" name="TextBox 52"/>
          <p:cNvSpPr txBox="1"/>
          <p:nvPr/>
        </p:nvSpPr>
        <p:spPr>
          <a:xfrm>
            <a:off x="10877424" y="2879953"/>
            <a:ext cx="800730" cy="348878"/>
          </a:xfrm>
          <a:prstGeom prst="rect">
            <a:avLst/>
          </a:prstGeom>
          <a:noFill/>
        </p:spPr>
        <p:txBody>
          <a:bodyPr wrap="square" rtlCol="0">
            <a:spAutoFit/>
          </a:bodyPr>
          <a:lstStyle/>
          <a:p>
            <a:r>
              <a:rPr lang="en-US" sz="1667" b="1" dirty="0">
                <a:solidFill>
                  <a:prstClr val="black"/>
                </a:solidFill>
                <a:latin typeface="Arial" panose="020B0604020202020204" pitchFamily="34" charset="0"/>
                <a:cs typeface="Arial" panose="020B0604020202020204" pitchFamily="34" charset="0"/>
              </a:rPr>
              <a:t>3%</a:t>
            </a:r>
            <a:endParaRPr lang="en-GB" sz="1667" b="1" dirty="0">
              <a:solidFill>
                <a:prstClr val="black"/>
              </a:solidFill>
              <a:latin typeface="Arial" panose="020B0604020202020204" pitchFamily="34" charset="0"/>
              <a:cs typeface="Arial" panose="020B0604020202020204" pitchFamily="34" charset="0"/>
            </a:endParaRPr>
          </a:p>
        </p:txBody>
      </p:sp>
      <p:sp>
        <p:nvSpPr>
          <p:cNvPr id="54" name="TextBox 53"/>
          <p:cNvSpPr txBox="1"/>
          <p:nvPr/>
        </p:nvSpPr>
        <p:spPr>
          <a:xfrm>
            <a:off x="1043583" y="6156872"/>
            <a:ext cx="5881840" cy="515719"/>
          </a:xfrm>
          <a:prstGeom prst="rect">
            <a:avLst/>
          </a:prstGeom>
          <a:noFill/>
        </p:spPr>
        <p:txBody>
          <a:bodyPr wrap="square" rtlCol="0">
            <a:spAutoFit/>
          </a:bodyPr>
          <a:lstStyle/>
          <a:p>
            <a:r>
              <a:rPr lang="en-US" sz="917" dirty="0">
                <a:solidFill>
                  <a:prstClr val="black"/>
                </a:solidFill>
                <a:latin typeface="Arial" panose="020B0604020202020204" pitchFamily="34" charset="0"/>
                <a:cs typeface="Arial" panose="020B0604020202020204" pitchFamily="34" charset="0"/>
              </a:rPr>
              <a:t>Note: 1. All charts are for the period FY20-25</a:t>
            </a:r>
          </a:p>
          <a:p>
            <a:r>
              <a:rPr lang="en-US" sz="917" dirty="0">
                <a:solidFill>
                  <a:prstClr val="black"/>
                </a:solidFill>
                <a:latin typeface="Arial" panose="020B0604020202020204" pitchFamily="34" charset="0"/>
                <a:cs typeface="Arial" panose="020B0604020202020204" pitchFamily="34" charset="0"/>
              </a:rPr>
              <a:t>  2. Others include irrigation, rural infra, ports, airports, health, petroleum, natural gas, education, </a:t>
            </a:r>
            <a:r>
              <a:rPr lang="en-US" sz="917" dirty="0" err="1">
                <a:solidFill>
                  <a:prstClr val="black"/>
                </a:solidFill>
                <a:latin typeface="Arial" panose="020B0604020202020204" pitchFamily="34" charset="0"/>
                <a:cs typeface="Arial" panose="020B0604020202020204" pitchFamily="34" charset="0"/>
              </a:rPr>
              <a:t>etc</a:t>
            </a:r>
            <a:endParaRPr lang="en-US" sz="917" dirty="0">
              <a:solidFill>
                <a:prstClr val="black"/>
              </a:solidFill>
              <a:latin typeface="Arial" panose="020B0604020202020204" pitchFamily="34" charset="0"/>
              <a:cs typeface="Arial" panose="020B0604020202020204" pitchFamily="34" charset="0"/>
            </a:endParaRPr>
          </a:p>
          <a:p>
            <a:r>
              <a:rPr lang="en-US" sz="917" dirty="0">
                <a:solidFill>
                  <a:prstClr val="black"/>
                </a:solidFill>
                <a:latin typeface="Arial" panose="020B0604020202020204" pitchFamily="34" charset="0"/>
                <a:cs typeface="Arial" panose="020B0604020202020204" pitchFamily="34" charset="0"/>
              </a:rPr>
              <a:t> 3. Updated as on 2</a:t>
            </a:r>
            <a:r>
              <a:rPr lang="en-US" sz="917" baseline="30000" dirty="0">
                <a:solidFill>
                  <a:prstClr val="black"/>
                </a:solidFill>
                <a:latin typeface="Arial" panose="020B0604020202020204" pitchFamily="34" charset="0"/>
                <a:cs typeface="Arial" panose="020B0604020202020204" pitchFamily="34" charset="0"/>
              </a:rPr>
              <a:t>nd</a:t>
            </a:r>
            <a:r>
              <a:rPr lang="en-US" sz="917" dirty="0">
                <a:solidFill>
                  <a:prstClr val="black"/>
                </a:solidFill>
                <a:latin typeface="Arial" panose="020B0604020202020204" pitchFamily="34" charset="0"/>
                <a:cs typeface="Arial" panose="020B0604020202020204" pitchFamily="34" charset="0"/>
              </a:rPr>
              <a:t> April 2022</a:t>
            </a:r>
            <a:endParaRPr lang="en-GB" sz="917" dirty="0">
              <a:solidFill>
                <a:prstClr val="black"/>
              </a:solidFill>
              <a:latin typeface="Arial" panose="020B0604020202020204" pitchFamily="34" charset="0"/>
              <a:cs typeface="Arial" panose="020B0604020202020204" pitchFamily="34" charset="0"/>
            </a:endParaRPr>
          </a:p>
        </p:txBody>
      </p:sp>
      <p:cxnSp>
        <p:nvCxnSpPr>
          <p:cNvPr id="12" name="Straight Connector 11"/>
          <p:cNvCxnSpPr/>
          <p:nvPr/>
        </p:nvCxnSpPr>
        <p:spPr>
          <a:xfrm>
            <a:off x="314535" y="3533434"/>
            <a:ext cx="1144862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348434" y="3652589"/>
            <a:ext cx="5528733" cy="297454"/>
          </a:xfrm>
          <a:prstGeom prst="rect">
            <a:avLst/>
          </a:prstGeom>
          <a:noFill/>
        </p:spPr>
        <p:txBody>
          <a:bodyPr wrap="square" rtlCol="0">
            <a:spAutoFit/>
          </a:bodyPr>
          <a:lstStyle/>
          <a:p>
            <a:r>
              <a:rPr lang="en-IN" altLang="en-US" sz="1333" b="1" dirty="0">
                <a:latin typeface="Arial" pitchFamily="34" charset="0"/>
                <a:cs typeface="Arial" pitchFamily="34" charset="0"/>
              </a:rPr>
              <a:t>Roads account for ~76% of opportunity in the transport segment</a:t>
            </a:r>
          </a:p>
        </p:txBody>
      </p:sp>
      <p:sp>
        <p:nvSpPr>
          <p:cNvPr id="87" name="TextBox 86"/>
          <p:cNvSpPr txBox="1"/>
          <p:nvPr/>
        </p:nvSpPr>
        <p:spPr>
          <a:xfrm>
            <a:off x="6263006" y="3652589"/>
            <a:ext cx="5528733" cy="502573"/>
          </a:xfrm>
          <a:prstGeom prst="rect">
            <a:avLst/>
          </a:prstGeom>
          <a:noFill/>
        </p:spPr>
        <p:txBody>
          <a:bodyPr wrap="square" rtlCol="0">
            <a:spAutoFit/>
          </a:bodyPr>
          <a:lstStyle/>
          <a:p>
            <a:r>
              <a:rPr lang="en-IN" altLang="en-US" sz="1333" b="1" dirty="0">
                <a:latin typeface="Arial" pitchFamily="34" charset="0"/>
                <a:cs typeface="Arial" pitchFamily="34" charset="0"/>
              </a:rPr>
              <a:t>Around half of investments under transport segment are under Implementation</a:t>
            </a:r>
          </a:p>
        </p:txBody>
      </p:sp>
      <p:graphicFrame>
        <p:nvGraphicFramePr>
          <p:cNvPr id="40" name="Chart 39">
            <a:extLst>
              <a:ext uri="{FF2B5EF4-FFF2-40B4-BE49-F238E27FC236}">
                <a16:creationId xmlns:a16="http://schemas.microsoft.com/office/drawing/2014/main" id="{00000000-0008-0000-0000-000003000000}"/>
              </a:ext>
            </a:extLst>
          </p:cNvPr>
          <p:cNvGraphicFramePr>
            <a:graphicFrameLocks/>
          </p:cNvGraphicFramePr>
          <p:nvPr/>
        </p:nvGraphicFramePr>
        <p:xfrm>
          <a:off x="248933" y="3916218"/>
          <a:ext cx="5363121" cy="217260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9" name="Chart 48">
            <a:extLst>
              <a:ext uri="{FF2B5EF4-FFF2-40B4-BE49-F238E27FC236}">
                <a16:creationId xmlns:a16="http://schemas.microsoft.com/office/drawing/2014/main" id="{00000000-0008-0000-0000-000002000000}"/>
              </a:ext>
            </a:extLst>
          </p:cNvPr>
          <p:cNvGraphicFramePr>
            <a:graphicFrameLocks/>
          </p:cNvGraphicFramePr>
          <p:nvPr/>
        </p:nvGraphicFramePr>
        <p:xfrm>
          <a:off x="6579947" y="4080052"/>
          <a:ext cx="5363121" cy="2083147"/>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454115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4274"/>
                                        </p:tgtEl>
                                        <p:attrNameLst>
                                          <p:attrName>style.visibility</p:attrName>
                                        </p:attrNameLst>
                                      </p:cBhvr>
                                      <p:to>
                                        <p:strVal val="visible"/>
                                      </p:to>
                                    </p:set>
                                    <p:animEffect transition="in" filter="fade">
                                      <p:cBhvr>
                                        <p:cTn id="12" dur="1000"/>
                                        <p:tgtEl>
                                          <p:spTgt spid="54274"/>
                                        </p:tgtEl>
                                      </p:cBhvr>
                                    </p:animEffect>
                                    <p:anim calcmode="lin" valueType="num">
                                      <p:cBhvr>
                                        <p:cTn id="13" dur="1000" fill="hold"/>
                                        <p:tgtEl>
                                          <p:spTgt spid="54274"/>
                                        </p:tgtEl>
                                        <p:attrNameLst>
                                          <p:attrName>ppt_x</p:attrName>
                                        </p:attrNameLst>
                                      </p:cBhvr>
                                      <p:tavLst>
                                        <p:tav tm="0">
                                          <p:val>
                                            <p:strVal val="#ppt_x"/>
                                          </p:val>
                                        </p:tav>
                                        <p:tav tm="100000">
                                          <p:val>
                                            <p:strVal val="#ppt_x"/>
                                          </p:val>
                                        </p:tav>
                                      </p:tavLst>
                                    </p:anim>
                                    <p:anim calcmode="lin" valueType="num">
                                      <p:cBhvr>
                                        <p:cTn id="14" dur="1000" fill="hold"/>
                                        <p:tgtEl>
                                          <p:spTgt spid="5427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4276"/>
                                        </p:tgtEl>
                                        <p:attrNameLst>
                                          <p:attrName>style.visibility</p:attrName>
                                        </p:attrNameLst>
                                      </p:cBhvr>
                                      <p:to>
                                        <p:strVal val="visible"/>
                                      </p:to>
                                    </p:set>
                                    <p:animEffect transition="in" filter="fade">
                                      <p:cBhvr>
                                        <p:cTn id="17" dur="1000"/>
                                        <p:tgtEl>
                                          <p:spTgt spid="54276"/>
                                        </p:tgtEl>
                                      </p:cBhvr>
                                    </p:animEffect>
                                    <p:anim calcmode="lin" valueType="num">
                                      <p:cBhvr>
                                        <p:cTn id="18" dur="1000" fill="hold"/>
                                        <p:tgtEl>
                                          <p:spTgt spid="54276"/>
                                        </p:tgtEl>
                                        <p:attrNameLst>
                                          <p:attrName>ppt_x</p:attrName>
                                        </p:attrNameLst>
                                      </p:cBhvr>
                                      <p:tavLst>
                                        <p:tav tm="0">
                                          <p:val>
                                            <p:strVal val="#ppt_x"/>
                                          </p:val>
                                        </p:tav>
                                        <p:tav tm="100000">
                                          <p:val>
                                            <p:strVal val="#ppt_x"/>
                                          </p:val>
                                        </p:tav>
                                      </p:tavLst>
                                    </p:anim>
                                    <p:anim calcmode="lin" valueType="num">
                                      <p:cBhvr>
                                        <p:cTn id="19" dur="1000" fill="hold"/>
                                        <p:tgtEl>
                                          <p:spTgt spid="5427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4278"/>
                                        </p:tgtEl>
                                        <p:attrNameLst>
                                          <p:attrName>style.visibility</p:attrName>
                                        </p:attrNameLst>
                                      </p:cBhvr>
                                      <p:to>
                                        <p:strVal val="visible"/>
                                      </p:to>
                                    </p:set>
                                    <p:animEffect transition="in" filter="fade">
                                      <p:cBhvr>
                                        <p:cTn id="22" dur="1000"/>
                                        <p:tgtEl>
                                          <p:spTgt spid="54278"/>
                                        </p:tgtEl>
                                      </p:cBhvr>
                                    </p:animEffect>
                                    <p:anim calcmode="lin" valueType="num">
                                      <p:cBhvr>
                                        <p:cTn id="23" dur="1000" fill="hold"/>
                                        <p:tgtEl>
                                          <p:spTgt spid="54278"/>
                                        </p:tgtEl>
                                        <p:attrNameLst>
                                          <p:attrName>ppt_x</p:attrName>
                                        </p:attrNameLst>
                                      </p:cBhvr>
                                      <p:tavLst>
                                        <p:tav tm="0">
                                          <p:val>
                                            <p:strVal val="#ppt_x"/>
                                          </p:val>
                                        </p:tav>
                                        <p:tav tm="100000">
                                          <p:val>
                                            <p:strVal val="#ppt_x"/>
                                          </p:val>
                                        </p:tav>
                                      </p:tavLst>
                                    </p:anim>
                                    <p:anim calcmode="lin" valueType="num">
                                      <p:cBhvr>
                                        <p:cTn id="24" dur="1000" fill="hold"/>
                                        <p:tgtEl>
                                          <p:spTgt spid="5427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4280"/>
                                        </p:tgtEl>
                                        <p:attrNameLst>
                                          <p:attrName>style.visibility</p:attrName>
                                        </p:attrNameLst>
                                      </p:cBhvr>
                                      <p:to>
                                        <p:strVal val="visible"/>
                                      </p:to>
                                    </p:set>
                                    <p:animEffect transition="in" filter="fade">
                                      <p:cBhvr>
                                        <p:cTn id="27" dur="1000"/>
                                        <p:tgtEl>
                                          <p:spTgt spid="54280"/>
                                        </p:tgtEl>
                                      </p:cBhvr>
                                    </p:animEffect>
                                    <p:anim calcmode="lin" valueType="num">
                                      <p:cBhvr>
                                        <p:cTn id="28" dur="1000" fill="hold"/>
                                        <p:tgtEl>
                                          <p:spTgt spid="54280"/>
                                        </p:tgtEl>
                                        <p:attrNameLst>
                                          <p:attrName>ppt_x</p:attrName>
                                        </p:attrNameLst>
                                      </p:cBhvr>
                                      <p:tavLst>
                                        <p:tav tm="0">
                                          <p:val>
                                            <p:strVal val="#ppt_x"/>
                                          </p:val>
                                        </p:tav>
                                        <p:tav tm="100000">
                                          <p:val>
                                            <p:strVal val="#ppt_x"/>
                                          </p:val>
                                        </p:tav>
                                      </p:tavLst>
                                    </p:anim>
                                    <p:anim calcmode="lin" valueType="num">
                                      <p:cBhvr>
                                        <p:cTn id="29" dur="1000" fill="hold"/>
                                        <p:tgtEl>
                                          <p:spTgt spid="54280"/>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54282"/>
                                        </p:tgtEl>
                                        <p:attrNameLst>
                                          <p:attrName>style.visibility</p:attrName>
                                        </p:attrNameLst>
                                      </p:cBhvr>
                                      <p:to>
                                        <p:strVal val="visible"/>
                                      </p:to>
                                    </p:set>
                                    <p:animEffect transition="in" filter="fade">
                                      <p:cBhvr>
                                        <p:cTn id="32" dur="1000"/>
                                        <p:tgtEl>
                                          <p:spTgt spid="54282"/>
                                        </p:tgtEl>
                                      </p:cBhvr>
                                    </p:animEffect>
                                    <p:anim calcmode="lin" valueType="num">
                                      <p:cBhvr>
                                        <p:cTn id="33" dur="1000" fill="hold"/>
                                        <p:tgtEl>
                                          <p:spTgt spid="54282"/>
                                        </p:tgtEl>
                                        <p:attrNameLst>
                                          <p:attrName>ppt_x</p:attrName>
                                        </p:attrNameLst>
                                      </p:cBhvr>
                                      <p:tavLst>
                                        <p:tav tm="0">
                                          <p:val>
                                            <p:strVal val="#ppt_x"/>
                                          </p:val>
                                        </p:tav>
                                        <p:tav tm="100000">
                                          <p:val>
                                            <p:strVal val="#ppt_x"/>
                                          </p:val>
                                        </p:tav>
                                      </p:tavLst>
                                    </p:anim>
                                    <p:anim calcmode="lin" valueType="num">
                                      <p:cBhvr>
                                        <p:cTn id="34" dur="1000" fill="hold"/>
                                        <p:tgtEl>
                                          <p:spTgt spid="54282"/>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1000"/>
                                        <p:tgtEl>
                                          <p:spTgt spid="29"/>
                                        </p:tgtEl>
                                      </p:cBhvr>
                                    </p:animEffect>
                                    <p:anim calcmode="lin" valueType="num">
                                      <p:cBhvr>
                                        <p:cTn id="43" dur="1000" fill="hold"/>
                                        <p:tgtEl>
                                          <p:spTgt spid="29"/>
                                        </p:tgtEl>
                                        <p:attrNameLst>
                                          <p:attrName>ppt_x</p:attrName>
                                        </p:attrNameLst>
                                      </p:cBhvr>
                                      <p:tavLst>
                                        <p:tav tm="0">
                                          <p:val>
                                            <p:strVal val="#ppt_x"/>
                                          </p:val>
                                        </p:tav>
                                        <p:tav tm="100000">
                                          <p:val>
                                            <p:strVal val="#ppt_x"/>
                                          </p:val>
                                        </p:tav>
                                      </p:tavLst>
                                    </p:anim>
                                    <p:anim calcmode="lin" valueType="num">
                                      <p:cBhvr>
                                        <p:cTn id="44" dur="1000" fill="hold"/>
                                        <p:tgtEl>
                                          <p:spTgt spid="29"/>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1000"/>
                                        <p:tgtEl>
                                          <p:spTgt spid="30"/>
                                        </p:tgtEl>
                                      </p:cBhvr>
                                    </p:animEffect>
                                    <p:anim calcmode="lin" valueType="num">
                                      <p:cBhvr>
                                        <p:cTn id="48" dur="1000" fill="hold"/>
                                        <p:tgtEl>
                                          <p:spTgt spid="30"/>
                                        </p:tgtEl>
                                        <p:attrNameLst>
                                          <p:attrName>ppt_x</p:attrName>
                                        </p:attrNameLst>
                                      </p:cBhvr>
                                      <p:tavLst>
                                        <p:tav tm="0">
                                          <p:val>
                                            <p:strVal val="#ppt_x"/>
                                          </p:val>
                                        </p:tav>
                                        <p:tav tm="100000">
                                          <p:val>
                                            <p:strVal val="#ppt_x"/>
                                          </p:val>
                                        </p:tav>
                                      </p:tavLst>
                                    </p:anim>
                                    <p:anim calcmode="lin" valueType="num">
                                      <p:cBhvr>
                                        <p:cTn id="49" dur="1000" fill="hold"/>
                                        <p:tgtEl>
                                          <p:spTgt spid="30"/>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1000"/>
                                        <p:tgtEl>
                                          <p:spTgt spid="31"/>
                                        </p:tgtEl>
                                      </p:cBhvr>
                                    </p:animEffect>
                                    <p:anim calcmode="lin" valueType="num">
                                      <p:cBhvr>
                                        <p:cTn id="53" dur="1000" fill="hold"/>
                                        <p:tgtEl>
                                          <p:spTgt spid="31"/>
                                        </p:tgtEl>
                                        <p:attrNameLst>
                                          <p:attrName>ppt_x</p:attrName>
                                        </p:attrNameLst>
                                      </p:cBhvr>
                                      <p:tavLst>
                                        <p:tav tm="0">
                                          <p:val>
                                            <p:strVal val="#ppt_x"/>
                                          </p:val>
                                        </p:tav>
                                        <p:tav tm="100000">
                                          <p:val>
                                            <p:strVal val="#ppt_x"/>
                                          </p:val>
                                        </p:tav>
                                      </p:tavLst>
                                    </p:anim>
                                    <p:anim calcmode="lin" valueType="num">
                                      <p:cBhvr>
                                        <p:cTn id="54" dur="1000" fill="hold"/>
                                        <p:tgtEl>
                                          <p:spTgt spid="31"/>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fade">
                                      <p:cBhvr>
                                        <p:cTn id="57" dur="1000"/>
                                        <p:tgtEl>
                                          <p:spTgt spid="32"/>
                                        </p:tgtEl>
                                      </p:cBhvr>
                                    </p:animEffect>
                                    <p:anim calcmode="lin" valueType="num">
                                      <p:cBhvr>
                                        <p:cTn id="58" dur="1000" fill="hold"/>
                                        <p:tgtEl>
                                          <p:spTgt spid="32"/>
                                        </p:tgtEl>
                                        <p:attrNameLst>
                                          <p:attrName>ppt_x</p:attrName>
                                        </p:attrNameLst>
                                      </p:cBhvr>
                                      <p:tavLst>
                                        <p:tav tm="0">
                                          <p:val>
                                            <p:strVal val="#ppt_x"/>
                                          </p:val>
                                        </p:tav>
                                        <p:tav tm="100000">
                                          <p:val>
                                            <p:strVal val="#ppt_x"/>
                                          </p:val>
                                        </p:tav>
                                      </p:tavLst>
                                    </p:anim>
                                    <p:anim calcmode="lin" valueType="num">
                                      <p:cBhvr>
                                        <p:cTn id="59" dur="1000" fill="hold"/>
                                        <p:tgtEl>
                                          <p:spTgt spid="32"/>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1000"/>
                                        <p:tgtEl>
                                          <p:spTgt spid="33"/>
                                        </p:tgtEl>
                                      </p:cBhvr>
                                    </p:animEffect>
                                    <p:anim calcmode="lin" valueType="num">
                                      <p:cBhvr>
                                        <p:cTn id="63" dur="1000" fill="hold"/>
                                        <p:tgtEl>
                                          <p:spTgt spid="33"/>
                                        </p:tgtEl>
                                        <p:attrNameLst>
                                          <p:attrName>ppt_x</p:attrName>
                                        </p:attrNameLst>
                                      </p:cBhvr>
                                      <p:tavLst>
                                        <p:tav tm="0">
                                          <p:val>
                                            <p:strVal val="#ppt_x"/>
                                          </p:val>
                                        </p:tav>
                                        <p:tav tm="100000">
                                          <p:val>
                                            <p:strVal val="#ppt_x"/>
                                          </p:val>
                                        </p:tav>
                                      </p:tavLst>
                                    </p:anim>
                                    <p:anim calcmode="lin" valueType="num">
                                      <p:cBhvr>
                                        <p:cTn id="64" dur="1000" fill="hold"/>
                                        <p:tgtEl>
                                          <p:spTgt spid="33"/>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1000"/>
                                        <p:tgtEl>
                                          <p:spTgt spid="34"/>
                                        </p:tgtEl>
                                      </p:cBhvr>
                                    </p:animEffect>
                                    <p:anim calcmode="lin" valueType="num">
                                      <p:cBhvr>
                                        <p:cTn id="68" dur="1000" fill="hold"/>
                                        <p:tgtEl>
                                          <p:spTgt spid="34"/>
                                        </p:tgtEl>
                                        <p:attrNameLst>
                                          <p:attrName>ppt_x</p:attrName>
                                        </p:attrNameLst>
                                      </p:cBhvr>
                                      <p:tavLst>
                                        <p:tav tm="0">
                                          <p:val>
                                            <p:strVal val="#ppt_x"/>
                                          </p:val>
                                        </p:tav>
                                        <p:tav tm="100000">
                                          <p:val>
                                            <p:strVal val="#ppt_x"/>
                                          </p:val>
                                        </p:tav>
                                      </p:tavLst>
                                    </p:anim>
                                    <p:anim calcmode="lin" valueType="num">
                                      <p:cBhvr>
                                        <p:cTn id="69" dur="1000" fill="hold"/>
                                        <p:tgtEl>
                                          <p:spTgt spid="34"/>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5"/>
                                        </p:tgtEl>
                                        <p:attrNameLst>
                                          <p:attrName>style.visibility</p:attrName>
                                        </p:attrNameLst>
                                      </p:cBhvr>
                                      <p:to>
                                        <p:strVal val="visible"/>
                                      </p:to>
                                    </p:set>
                                    <p:animEffect transition="in" filter="fade">
                                      <p:cBhvr>
                                        <p:cTn id="72" dur="1000"/>
                                        <p:tgtEl>
                                          <p:spTgt spid="35"/>
                                        </p:tgtEl>
                                      </p:cBhvr>
                                    </p:animEffect>
                                    <p:anim calcmode="lin" valueType="num">
                                      <p:cBhvr>
                                        <p:cTn id="73" dur="1000" fill="hold"/>
                                        <p:tgtEl>
                                          <p:spTgt spid="35"/>
                                        </p:tgtEl>
                                        <p:attrNameLst>
                                          <p:attrName>ppt_x</p:attrName>
                                        </p:attrNameLst>
                                      </p:cBhvr>
                                      <p:tavLst>
                                        <p:tav tm="0">
                                          <p:val>
                                            <p:strVal val="#ppt_x"/>
                                          </p:val>
                                        </p:tav>
                                        <p:tav tm="100000">
                                          <p:val>
                                            <p:strVal val="#ppt_x"/>
                                          </p:val>
                                        </p:tav>
                                      </p:tavLst>
                                    </p:anim>
                                    <p:anim calcmode="lin" valueType="num">
                                      <p:cBhvr>
                                        <p:cTn id="74" dur="1000" fill="hold"/>
                                        <p:tgtEl>
                                          <p:spTgt spid="35"/>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36"/>
                                        </p:tgtEl>
                                        <p:attrNameLst>
                                          <p:attrName>style.visibility</p:attrName>
                                        </p:attrNameLst>
                                      </p:cBhvr>
                                      <p:to>
                                        <p:strVal val="visible"/>
                                      </p:to>
                                    </p:set>
                                    <p:animEffect transition="in" filter="fade">
                                      <p:cBhvr>
                                        <p:cTn id="77" dur="1000"/>
                                        <p:tgtEl>
                                          <p:spTgt spid="36"/>
                                        </p:tgtEl>
                                      </p:cBhvr>
                                    </p:animEffect>
                                    <p:anim calcmode="lin" valueType="num">
                                      <p:cBhvr>
                                        <p:cTn id="78" dur="1000" fill="hold"/>
                                        <p:tgtEl>
                                          <p:spTgt spid="36"/>
                                        </p:tgtEl>
                                        <p:attrNameLst>
                                          <p:attrName>ppt_x</p:attrName>
                                        </p:attrNameLst>
                                      </p:cBhvr>
                                      <p:tavLst>
                                        <p:tav tm="0">
                                          <p:val>
                                            <p:strVal val="#ppt_x"/>
                                          </p:val>
                                        </p:tav>
                                        <p:tav tm="100000">
                                          <p:val>
                                            <p:strVal val="#ppt_x"/>
                                          </p:val>
                                        </p:tav>
                                      </p:tavLst>
                                    </p:anim>
                                    <p:anim calcmode="lin" valueType="num">
                                      <p:cBhvr>
                                        <p:cTn id="79" dur="1000" fill="hold"/>
                                        <p:tgtEl>
                                          <p:spTgt spid="36"/>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fade">
                                      <p:cBhvr>
                                        <p:cTn id="82" dur="1000"/>
                                        <p:tgtEl>
                                          <p:spTgt spid="37"/>
                                        </p:tgtEl>
                                      </p:cBhvr>
                                    </p:animEffect>
                                    <p:anim calcmode="lin" valueType="num">
                                      <p:cBhvr>
                                        <p:cTn id="83" dur="1000" fill="hold"/>
                                        <p:tgtEl>
                                          <p:spTgt spid="37"/>
                                        </p:tgtEl>
                                        <p:attrNameLst>
                                          <p:attrName>ppt_x</p:attrName>
                                        </p:attrNameLst>
                                      </p:cBhvr>
                                      <p:tavLst>
                                        <p:tav tm="0">
                                          <p:val>
                                            <p:strVal val="#ppt_x"/>
                                          </p:val>
                                        </p:tav>
                                        <p:tav tm="100000">
                                          <p:val>
                                            <p:strVal val="#ppt_x"/>
                                          </p:val>
                                        </p:tav>
                                      </p:tavLst>
                                    </p:anim>
                                    <p:anim calcmode="lin" valueType="num">
                                      <p:cBhvr>
                                        <p:cTn id="84"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42" presetClass="entr" presetSubtype="0" fill="hold" grpId="0" nodeType="clickEffect">
                                  <p:stCondLst>
                                    <p:cond delay="0"/>
                                  </p:stCondLst>
                                  <p:childTnLst>
                                    <p:set>
                                      <p:cBhvr>
                                        <p:cTn id="88" dur="1" fill="hold">
                                          <p:stCondLst>
                                            <p:cond delay="0"/>
                                          </p:stCondLst>
                                        </p:cTn>
                                        <p:tgtEl>
                                          <p:spTgt spid="20"/>
                                        </p:tgtEl>
                                        <p:attrNameLst>
                                          <p:attrName>style.visibility</p:attrName>
                                        </p:attrNameLst>
                                      </p:cBhvr>
                                      <p:to>
                                        <p:strVal val="visible"/>
                                      </p:to>
                                    </p:set>
                                    <p:animEffect transition="in" filter="fade">
                                      <p:cBhvr>
                                        <p:cTn id="89" dur="1000"/>
                                        <p:tgtEl>
                                          <p:spTgt spid="20"/>
                                        </p:tgtEl>
                                      </p:cBhvr>
                                    </p:animEffect>
                                    <p:anim calcmode="lin" valueType="num">
                                      <p:cBhvr>
                                        <p:cTn id="90" dur="1000" fill="hold"/>
                                        <p:tgtEl>
                                          <p:spTgt spid="20"/>
                                        </p:tgtEl>
                                        <p:attrNameLst>
                                          <p:attrName>ppt_x</p:attrName>
                                        </p:attrNameLst>
                                      </p:cBhvr>
                                      <p:tavLst>
                                        <p:tav tm="0">
                                          <p:val>
                                            <p:strVal val="#ppt_x"/>
                                          </p:val>
                                        </p:tav>
                                        <p:tav tm="100000">
                                          <p:val>
                                            <p:strVal val="#ppt_x"/>
                                          </p:val>
                                        </p:tav>
                                      </p:tavLst>
                                    </p:anim>
                                    <p:anim calcmode="lin" valueType="num">
                                      <p:cBhvr>
                                        <p:cTn id="91" dur="1000" fill="hold"/>
                                        <p:tgtEl>
                                          <p:spTgt spid="20"/>
                                        </p:tgtEl>
                                        <p:attrNameLst>
                                          <p:attrName>ppt_y</p:attrName>
                                        </p:attrNameLst>
                                      </p:cBhvr>
                                      <p:tavLst>
                                        <p:tav tm="0">
                                          <p:val>
                                            <p:strVal val="#ppt_y+.1"/>
                                          </p:val>
                                        </p:tav>
                                        <p:tav tm="100000">
                                          <p:val>
                                            <p:strVal val="#ppt_y"/>
                                          </p:val>
                                        </p:tav>
                                      </p:tavLst>
                                    </p:anim>
                                  </p:childTnLst>
                                </p:cTn>
                              </p:par>
                              <p:par>
                                <p:cTn id="92" presetID="42" presetClass="entr" presetSubtype="0" fill="hold" nodeType="withEffect">
                                  <p:stCondLst>
                                    <p:cond delay="0"/>
                                  </p:stCondLst>
                                  <p:childTnLst>
                                    <p:set>
                                      <p:cBhvr>
                                        <p:cTn id="93" dur="1" fill="hold">
                                          <p:stCondLst>
                                            <p:cond delay="0"/>
                                          </p:stCondLst>
                                        </p:cTn>
                                        <p:tgtEl>
                                          <p:spTgt spid="54284"/>
                                        </p:tgtEl>
                                        <p:attrNameLst>
                                          <p:attrName>style.visibility</p:attrName>
                                        </p:attrNameLst>
                                      </p:cBhvr>
                                      <p:to>
                                        <p:strVal val="visible"/>
                                      </p:to>
                                    </p:set>
                                    <p:animEffect transition="in" filter="fade">
                                      <p:cBhvr>
                                        <p:cTn id="94" dur="1000"/>
                                        <p:tgtEl>
                                          <p:spTgt spid="54284"/>
                                        </p:tgtEl>
                                      </p:cBhvr>
                                    </p:animEffect>
                                    <p:anim calcmode="lin" valueType="num">
                                      <p:cBhvr>
                                        <p:cTn id="95" dur="1000" fill="hold"/>
                                        <p:tgtEl>
                                          <p:spTgt spid="54284"/>
                                        </p:tgtEl>
                                        <p:attrNameLst>
                                          <p:attrName>ppt_x</p:attrName>
                                        </p:attrNameLst>
                                      </p:cBhvr>
                                      <p:tavLst>
                                        <p:tav tm="0">
                                          <p:val>
                                            <p:strVal val="#ppt_x"/>
                                          </p:val>
                                        </p:tav>
                                        <p:tav tm="100000">
                                          <p:val>
                                            <p:strVal val="#ppt_x"/>
                                          </p:val>
                                        </p:tav>
                                      </p:tavLst>
                                    </p:anim>
                                    <p:anim calcmode="lin" valueType="num">
                                      <p:cBhvr>
                                        <p:cTn id="96" dur="1000" fill="hold"/>
                                        <p:tgtEl>
                                          <p:spTgt spid="54284"/>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54286"/>
                                        </p:tgtEl>
                                        <p:attrNameLst>
                                          <p:attrName>style.visibility</p:attrName>
                                        </p:attrNameLst>
                                      </p:cBhvr>
                                      <p:to>
                                        <p:strVal val="visible"/>
                                      </p:to>
                                    </p:set>
                                    <p:animEffect transition="in" filter="fade">
                                      <p:cBhvr>
                                        <p:cTn id="99" dur="1000"/>
                                        <p:tgtEl>
                                          <p:spTgt spid="54286"/>
                                        </p:tgtEl>
                                      </p:cBhvr>
                                    </p:animEffect>
                                    <p:anim calcmode="lin" valueType="num">
                                      <p:cBhvr>
                                        <p:cTn id="100" dur="1000" fill="hold"/>
                                        <p:tgtEl>
                                          <p:spTgt spid="54286"/>
                                        </p:tgtEl>
                                        <p:attrNameLst>
                                          <p:attrName>ppt_x</p:attrName>
                                        </p:attrNameLst>
                                      </p:cBhvr>
                                      <p:tavLst>
                                        <p:tav tm="0">
                                          <p:val>
                                            <p:strVal val="#ppt_x"/>
                                          </p:val>
                                        </p:tav>
                                        <p:tav tm="100000">
                                          <p:val>
                                            <p:strVal val="#ppt_x"/>
                                          </p:val>
                                        </p:tav>
                                      </p:tavLst>
                                    </p:anim>
                                    <p:anim calcmode="lin" valueType="num">
                                      <p:cBhvr>
                                        <p:cTn id="101" dur="1000" fill="hold"/>
                                        <p:tgtEl>
                                          <p:spTgt spid="54286"/>
                                        </p:tgtEl>
                                        <p:attrNameLst>
                                          <p:attrName>ppt_y</p:attrName>
                                        </p:attrNameLst>
                                      </p:cBhvr>
                                      <p:tavLst>
                                        <p:tav tm="0">
                                          <p:val>
                                            <p:strVal val="#ppt_y+.1"/>
                                          </p:val>
                                        </p:tav>
                                        <p:tav tm="100000">
                                          <p:val>
                                            <p:strVal val="#ppt_y"/>
                                          </p:val>
                                        </p:tav>
                                      </p:tavLst>
                                    </p:anim>
                                  </p:childTnLst>
                                </p:cTn>
                              </p:par>
                              <p:par>
                                <p:cTn id="102" presetID="42" presetClass="entr" presetSubtype="0" fill="hold" nodeType="withEffect">
                                  <p:stCondLst>
                                    <p:cond delay="0"/>
                                  </p:stCondLst>
                                  <p:childTnLst>
                                    <p:set>
                                      <p:cBhvr>
                                        <p:cTn id="103" dur="1" fill="hold">
                                          <p:stCondLst>
                                            <p:cond delay="0"/>
                                          </p:stCondLst>
                                        </p:cTn>
                                        <p:tgtEl>
                                          <p:spTgt spid="54288"/>
                                        </p:tgtEl>
                                        <p:attrNameLst>
                                          <p:attrName>style.visibility</p:attrName>
                                        </p:attrNameLst>
                                      </p:cBhvr>
                                      <p:to>
                                        <p:strVal val="visible"/>
                                      </p:to>
                                    </p:set>
                                    <p:animEffect transition="in" filter="fade">
                                      <p:cBhvr>
                                        <p:cTn id="104" dur="1000"/>
                                        <p:tgtEl>
                                          <p:spTgt spid="54288"/>
                                        </p:tgtEl>
                                      </p:cBhvr>
                                    </p:animEffect>
                                    <p:anim calcmode="lin" valueType="num">
                                      <p:cBhvr>
                                        <p:cTn id="105" dur="1000" fill="hold"/>
                                        <p:tgtEl>
                                          <p:spTgt spid="54288"/>
                                        </p:tgtEl>
                                        <p:attrNameLst>
                                          <p:attrName>ppt_x</p:attrName>
                                        </p:attrNameLst>
                                      </p:cBhvr>
                                      <p:tavLst>
                                        <p:tav tm="0">
                                          <p:val>
                                            <p:strVal val="#ppt_x"/>
                                          </p:val>
                                        </p:tav>
                                        <p:tav tm="100000">
                                          <p:val>
                                            <p:strVal val="#ppt_x"/>
                                          </p:val>
                                        </p:tav>
                                      </p:tavLst>
                                    </p:anim>
                                    <p:anim calcmode="lin" valueType="num">
                                      <p:cBhvr>
                                        <p:cTn id="106" dur="1000" fill="hold"/>
                                        <p:tgtEl>
                                          <p:spTgt spid="54288"/>
                                        </p:tgtEl>
                                        <p:attrNameLst>
                                          <p:attrName>ppt_y</p:attrName>
                                        </p:attrNameLst>
                                      </p:cBhvr>
                                      <p:tavLst>
                                        <p:tav tm="0">
                                          <p:val>
                                            <p:strVal val="#ppt_y+.1"/>
                                          </p:val>
                                        </p:tav>
                                        <p:tav tm="100000">
                                          <p:val>
                                            <p:strVal val="#ppt_y"/>
                                          </p:val>
                                        </p:tav>
                                      </p:tavLst>
                                    </p:anim>
                                  </p:childTnLst>
                                </p:cTn>
                              </p:par>
                              <p:par>
                                <p:cTn id="107" presetID="42" presetClass="entr" presetSubtype="0" fill="hold" nodeType="withEffect">
                                  <p:stCondLst>
                                    <p:cond delay="0"/>
                                  </p:stCondLst>
                                  <p:childTnLst>
                                    <p:set>
                                      <p:cBhvr>
                                        <p:cTn id="108" dur="1" fill="hold">
                                          <p:stCondLst>
                                            <p:cond delay="0"/>
                                          </p:stCondLst>
                                        </p:cTn>
                                        <p:tgtEl>
                                          <p:spTgt spid="54290"/>
                                        </p:tgtEl>
                                        <p:attrNameLst>
                                          <p:attrName>style.visibility</p:attrName>
                                        </p:attrNameLst>
                                      </p:cBhvr>
                                      <p:to>
                                        <p:strVal val="visible"/>
                                      </p:to>
                                    </p:set>
                                    <p:animEffect transition="in" filter="fade">
                                      <p:cBhvr>
                                        <p:cTn id="109" dur="1000"/>
                                        <p:tgtEl>
                                          <p:spTgt spid="54290"/>
                                        </p:tgtEl>
                                      </p:cBhvr>
                                    </p:animEffect>
                                    <p:anim calcmode="lin" valueType="num">
                                      <p:cBhvr>
                                        <p:cTn id="110" dur="1000" fill="hold"/>
                                        <p:tgtEl>
                                          <p:spTgt spid="54290"/>
                                        </p:tgtEl>
                                        <p:attrNameLst>
                                          <p:attrName>ppt_x</p:attrName>
                                        </p:attrNameLst>
                                      </p:cBhvr>
                                      <p:tavLst>
                                        <p:tav tm="0">
                                          <p:val>
                                            <p:strVal val="#ppt_x"/>
                                          </p:val>
                                        </p:tav>
                                        <p:tav tm="100000">
                                          <p:val>
                                            <p:strVal val="#ppt_x"/>
                                          </p:val>
                                        </p:tav>
                                      </p:tavLst>
                                    </p:anim>
                                    <p:anim calcmode="lin" valueType="num">
                                      <p:cBhvr>
                                        <p:cTn id="111" dur="1000" fill="hold"/>
                                        <p:tgtEl>
                                          <p:spTgt spid="54290"/>
                                        </p:tgtEl>
                                        <p:attrNameLst>
                                          <p:attrName>ppt_y</p:attrName>
                                        </p:attrNameLst>
                                      </p:cBhvr>
                                      <p:tavLst>
                                        <p:tav tm="0">
                                          <p:val>
                                            <p:strVal val="#ppt_y+.1"/>
                                          </p:val>
                                        </p:tav>
                                        <p:tav tm="100000">
                                          <p:val>
                                            <p:strVal val="#ppt_y"/>
                                          </p:val>
                                        </p:tav>
                                      </p:tavLst>
                                    </p:anim>
                                  </p:childTnLst>
                                </p:cTn>
                              </p:par>
                              <p:par>
                                <p:cTn id="112" presetID="42" presetClass="entr" presetSubtype="0" fill="hold" grpId="0" nodeType="withEffect">
                                  <p:stCondLst>
                                    <p:cond delay="0"/>
                                  </p:stCondLst>
                                  <p:childTnLst>
                                    <p:set>
                                      <p:cBhvr>
                                        <p:cTn id="113" dur="1" fill="hold">
                                          <p:stCondLst>
                                            <p:cond delay="0"/>
                                          </p:stCondLst>
                                        </p:cTn>
                                        <p:tgtEl>
                                          <p:spTgt spid="43"/>
                                        </p:tgtEl>
                                        <p:attrNameLst>
                                          <p:attrName>style.visibility</p:attrName>
                                        </p:attrNameLst>
                                      </p:cBhvr>
                                      <p:to>
                                        <p:strVal val="visible"/>
                                      </p:to>
                                    </p:set>
                                    <p:animEffect transition="in" filter="fade">
                                      <p:cBhvr>
                                        <p:cTn id="114" dur="1000"/>
                                        <p:tgtEl>
                                          <p:spTgt spid="43"/>
                                        </p:tgtEl>
                                      </p:cBhvr>
                                    </p:animEffect>
                                    <p:anim calcmode="lin" valueType="num">
                                      <p:cBhvr>
                                        <p:cTn id="115" dur="1000" fill="hold"/>
                                        <p:tgtEl>
                                          <p:spTgt spid="43"/>
                                        </p:tgtEl>
                                        <p:attrNameLst>
                                          <p:attrName>ppt_x</p:attrName>
                                        </p:attrNameLst>
                                      </p:cBhvr>
                                      <p:tavLst>
                                        <p:tav tm="0">
                                          <p:val>
                                            <p:strVal val="#ppt_x"/>
                                          </p:val>
                                        </p:tav>
                                        <p:tav tm="100000">
                                          <p:val>
                                            <p:strVal val="#ppt_x"/>
                                          </p:val>
                                        </p:tav>
                                      </p:tavLst>
                                    </p:anim>
                                    <p:anim calcmode="lin" valueType="num">
                                      <p:cBhvr>
                                        <p:cTn id="116" dur="1000" fill="hold"/>
                                        <p:tgtEl>
                                          <p:spTgt spid="43"/>
                                        </p:tgtEl>
                                        <p:attrNameLst>
                                          <p:attrName>ppt_y</p:attrName>
                                        </p:attrNameLst>
                                      </p:cBhvr>
                                      <p:tavLst>
                                        <p:tav tm="0">
                                          <p:val>
                                            <p:strVal val="#ppt_y+.1"/>
                                          </p:val>
                                        </p:tav>
                                        <p:tav tm="100000">
                                          <p:val>
                                            <p:strVal val="#ppt_y"/>
                                          </p:val>
                                        </p:tav>
                                      </p:tavLst>
                                    </p:anim>
                                  </p:childTnLst>
                                </p:cTn>
                              </p:par>
                              <p:par>
                                <p:cTn id="117" presetID="42" presetClass="entr" presetSubtype="0" fill="hold" grpId="0" nodeType="withEffect">
                                  <p:stCondLst>
                                    <p:cond delay="0"/>
                                  </p:stCondLst>
                                  <p:childTnLst>
                                    <p:set>
                                      <p:cBhvr>
                                        <p:cTn id="118" dur="1" fill="hold">
                                          <p:stCondLst>
                                            <p:cond delay="0"/>
                                          </p:stCondLst>
                                        </p:cTn>
                                        <p:tgtEl>
                                          <p:spTgt spid="44"/>
                                        </p:tgtEl>
                                        <p:attrNameLst>
                                          <p:attrName>style.visibility</p:attrName>
                                        </p:attrNameLst>
                                      </p:cBhvr>
                                      <p:to>
                                        <p:strVal val="visible"/>
                                      </p:to>
                                    </p:set>
                                    <p:animEffect transition="in" filter="fade">
                                      <p:cBhvr>
                                        <p:cTn id="119" dur="1000"/>
                                        <p:tgtEl>
                                          <p:spTgt spid="44"/>
                                        </p:tgtEl>
                                      </p:cBhvr>
                                    </p:animEffect>
                                    <p:anim calcmode="lin" valueType="num">
                                      <p:cBhvr>
                                        <p:cTn id="120" dur="1000" fill="hold"/>
                                        <p:tgtEl>
                                          <p:spTgt spid="44"/>
                                        </p:tgtEl>
                                        <p:attrNameLst>
                                          <p:attrName>ppt_x</p:attrName>
                                        </p:attrNameLst>
                                      </p:cBhvr>
                                      <p:tavLst>
                                        <p:tav tm="0">
                                          <p:val>
                                            <p:strVal val="#ppt_x"/>
                                          </p:val>
                                        </p:tav>
                                        <p:tav tm="100000">
                                          <p:val>
                                            <p:strVal val="#ppt_x"/>
                                          </p:val>
                                        </p:tav>
                                      </p:tavLst>
                                    </p:anim>
                                    <p:anim calcmode="lin" valueType="num">
                                      <p:cBhvr>
                                        <p:cTn id="121" dur="1000" fill="hold"/>
                                        <p:tgtEl>
                                          <p:spTgt spid="44"/>
                                        </p:tgtEl>
                                        <p:attrNameLst>
                                          <p:attrName>ppt_y</p:attrName>
                                        </p:attrNameLst>
                                      </p:cBhvr>
                                      <p:tavLst>
                                        <p:tav tm="0">
                                          <p:val>
                                            <p:strVal val="#ppt_y+.1"/>
                                          </p:val>
                                        </p:tav>
                                        <p:tav tm="100000">
                                          <p:val>
                                            <p:strVal val="#ppt_y"/>
                                          </p:val>
                                        </p:tav>
                                      </p:tavLst>
                                    </p:anim>
                                  </p:childTnLst>
                                </p:cTn>
                              </p:par>
                              <p:par>
                                <p:cTn id="122" presetID="42" presetClass="entr" presetSubtype="0" fill="hold" grpId="0" nodeType="withEffect">
                                  <p:stCondLst>
                                    <p:cond delay="0"/>
                                  </p:stCondLst>
                                  <p:childTnLst>
                                    <p:set>
                                      <p:cBhvr>
                                        <p:cTn id="123" dur="1" fill="hold">
                                          <p:stCondLst>
                                            <p:cond delay="0"/>
                                          </p:stCondLst>
                                        </p:cTn>
                                        <p:tgtEl>
                                          <p:spTgt spid="45"/>
                                        </p:tgtEl>
                                        <p:attrNameLst>
                                          <p:attrName>style.visibility</p:attrName>
                                        </p:attrNameLst>
                                      </p:cBhvr>
                                      <p:to>
                                        <p:strVal val="visible"/>
                                      </p:to>
                                    </p:set>
                                    <p:animEffect transition="in" filter="fade">
                                      <p:cBhvr>
                                        <p:cTn id="124" dur="1000"/>
                                        <p:tgtEl>
                                          <p:spTgt spid="45"/>
                                        </p:tgtEl>
                                      </p:cBhvr>
                                    </p:animEffect>
                                    <p:anim calcmode="lin" valueType="num">
                                      <p:cBhvr>
                                        <p:cTn id="125" dur="1000" fill="hold"/>
                                        <p:tgtEl>
                                          <p:spTgt spid="45"/>
                                        </p:tgtEl>
                                        <p:attrNameLst>
                                          <p:attrName>ppt_x</p:attrName>
                                        </p:attrNameLst>
                                      </p:cBhvr>
                                      <p:tavLst>
                                        <p:tav tm="0">
                                          <p:val>
                                            <p:strVal val="#ppt_x"/>
                                          </p:val>
                                        </p:tav>
                                        <p:tav tm="100000">
                                          <p:val>
                                            <p:strVal val="#ppt_x"/>
                                          </p:val>
                                        </p:tav>
                                      </p:tavLst>
                                    </p:anim>
                                    <p:anim calcmode="lin" valueType="num">
                                      <p:cBhvr>
                                        <p:cTn id="126" dur="1000" fill="hold"/>
                                        <p:tgtEl>
                                          <p:spTgt spid="45"/>
                                        </p:tgtEl>
                                        <p:attrNameLst>
                                          <p:attrName>ppt_y</p:attrName>
                                        </p:attrNameLst>
                                      </p:cBhvr>
                                      <p:tavLst>
                                        <p:tav tm="0">
                                          <p:val>
                                            <p:strVal val="#ppt_y+.1"/>
                                          </p:val>
                                        </p:tav>
                                        <p:tav tm="100000">
                                          <p:val>
                                            <p:strVal val="#ppt_y"/>
                                          </p:val>
                                        </p:tav>
                                      </p:tavLst>
                                    </p:anim>
                                  </p:childTnLst>
                                </p:cTn>
                              </p:par>
                              <p:par>
                                <p:cTn id="127" presetID="42" presetClass="entr" presetSubtype="0" fill="hold" grpId="0" nodeType="withEffect">
                                  <p:stCondLst>
                                    <p:cond delay="0"/>
                                  </p:stCondLst>
                                  <p:childTnLst>
                                    <p:set>
                                      <p:cBhvr>
                                        <p:cTn id="128" dur="1" fill="hold">
                                          <p:stCondLst>
                                            <p:cond delay="0"/>
                                          </p:stCondLst>
                                        </p:cTn>
                                        <p:tgtEl>
                                          <p:spTgt spid="46"/>
                                        </p:tgtEl>
                                        <p:attrNameLst>
                                          <p:attrName>style.visibility</p:attrName>
                                        </p:attrNameLst>
                                      </p:cBhvr>
                                      <p:to>
                                        <p:strVal val="visible"/>
                                      </p:to>
                                    </p:set>
                                    <p:animEffect transition="in" filter="fade">
                                      <p:cBhvr>
                                        <p:cTn id="129" dur="1000"/>
                                        <p:tgtEl>
                                          <p:spTgt spid="46"/>
                                        </p:tgtEl>
                                      </p:cBhvr>
                                    </p:animEffect>
                                    <p:anim calcmode="lin" valueType="num">
                                      <p:cBhvr>
                                        <p:cTn id="130" dur="1000" fill="hold"/>
                                        <p:tgtEl>
                                          <p:spTgt spid="46"/>
                                        </p:tgtEl>
                                        <p:attrNameLst>
                                          <p:attrName>ppt_x</p:attrName>
                                        </p:attrNameLst>
                                      </p:cBhvr>
                                      <p:tavLst>
                                        <p:tav tm="0">
                                          <p:val>
                                            <p:strVal val="#ppt_x"/>
                                          </p:val>
                                        </p:tav>
                                        <p:tav tm="100000">
                                          <p:val>
                                            <p:strVal val="#ppt_x"/>
                                          </p:val>
                                        </p:tav>
                                      </p:tavLst>
                                    </p:anim>
                                    <p:anim calcmode="lin" valueType="num">
                                      <p:cBhvr>
                                        <p:cTn id="131" dur="1000" fill="hold"/>
                                        <p:tgtEl>
                                          <p:spTgt spid="46"/>
                                        </p:tgtEl>
                                        <p:attrNameLst>
                                          <p:attrName>ppt_y</p:attrName>
                                        </p:attrNameLst>
                                      </p:cBhvr>
                                      <p:tavLst>
                                        <p:tav tm="0">
                                          <p:val>
                                            <p:strVal val="#ppt_y+.1"/>
                                          </p:val>
                                        </p:tav>
                                        <p:tav tm="100000">
                                          <p:val>
                                            <p:strVal val="#ppt_y"/>
                                          </p:val>
                                        </p:tav>
                                      </p:tavLst>
                                    </p:anim>
                                  </p:childTnLst>
                                </p:cTn>
                              </p:par>
                              <p:par>
                                <p:cTn id="132" presetID="42" presetClass="entr" presetSubtype="0" fill="hold" grpId="0" nodeType="withEffect">
                                  <p:stCondLst>
                                    <p:cond delay="0"/>
                                  </p:stCondLst>
                                  <p:childTnLst>
                                    <p:set>
                                      <p:cBhvr>
                                        <p:cTn id="133" dur="1" fill="hold">
                                          <p:stCondLst>
                                            <p:cond delay="0"/>
                                          </p:stCondLst>
                                        </p:cTn>
                                        <p:tgtEl>
                                          <p:spTgt spid="47"/>
                                        </p:tgtEl>
                                        <p:attrNameLst>
                                          <p:attrName>style.visibility</p:attrName>
                                        </p:attrNameLst>
                                      </p:cBhvr>
                                      <p:to>
                                        <p:strVal val="visible"/>
                                      </p:to>
                                    </p:set>
                                    <p:animEffect transition="in" filter="fade">
                                      <p:cBhvr>
                                        <p:cTn id="134" dur="1000"/>
                                        <p:tgtEl>
                                          <p:spTgt spid="47"/>
                                        </p:tgtEl>
                                      </p:cBhvr>
                                    </p:animEffect>
                                    <p:anim calcmode="lin" valueType="num">
                                      <p:cBhvr>
                                        <p:cTn id="135" dur="1000" fill="hold"/>
                                        <p:tgtEl>
                                          <p:spTgt spid="47"/>
                                        </p:tgtEl>
                                        <p:attrNameLst>
                                          <p:attrName>ppt_x</p:attrName>
                                        </p:attrNameLst>
                                      </p:cBhvr>
                                      <p:tavLst>
                                        <p:tav tm="0">
                                          <p:val>
                                            <p:strVal val="#ppt_x"/>
                                          </p:val>
                                        </p:tav>
                                        <p:tav tm="100000">
                                          <p:val>
                                            <p:strVal val="#ppt_x"/>
                                          </p:val>
                                        </p:tav>
                                      </p:tavLst>
                                    </p:anim>
                                    <p:anim calcmode="lin" valueType="num">
                                      <p:cBhvr>
                                        <p:cTn id="136" dur="1000" fill="hold"/>
                                        <p:tgtEl>
                                          <p:spTgt spid="47"/>
                                        </p:tgtEl>
                                        <p:attrNameLst>
                                          <p:attrName>ppt_y</p:attrName>
                                        </p:attrNameLst>
                                      </p:cBhvr>
                                      <p:tavLst>
                                        <p:tav tm="0">
                                          <p:val>
                                            <p:strVal val="#ppt_y+.1"/>
                                          </p:val>
                                        </p:tav>
                                        <p:tav tm="100000">
                                          <p:val>
                                            <p:strVal val="#ppt_y"/>
                                          </p:val>
                                        </p:tav>
                                      </p:tavLst>
                                    </p:anim>
                                  </p:childTnLst>
                                </p:cTn>
                              </p:par>
                              <p:par>
                                <p:cTn id="137" presetID="42" presetClass="entr" presetSubtype="0" fill="hold" grpId="0" nodeType="withEffect">
                                  <p:stCondLst>
                                    <p:cond delay="0"/>
                                  </p:stCondLst>
                                  <p:childTnLst>
                                    <p:set>
                                      <p:cBhvr>
                                        <p:cTn id="138" dur="1" fill="hold">
                                          <p:stCondLst>
                                            <p:cond delay="0"/>
                                          </p:stCondLst>
                                        </p:cTn>
                                        <p:tgtEl>
                                          <p:spTgt spid="48"/>
                                        </p:tgtEl>
                                        <p:attrNameLst>
                                          <p:attrName>style.visibility</p:attrName>
                                        </p:attrNameLst>
                                      </p:cBhvr>
                                      <p:to>
                                        <p:strVal val="visible"/>
                                      </p:to>
                                    </p:set>
                                    <p:animEffect transition="in" filter="fade">
                                      <p:cBhvr>
                                        <p:cTn id="139" dur="1000"/>
                                        <p:tgtEl>
                                          <p:spTgt spid="48"/>
                                        </p:tgtEl>
                                      </p:cBhvr>
                                    </p:animEffect>
                                    <p:anim calcmode="lin" valueType="num">
                                      <p:cBhvr>
                                        <p:cTn id="140" dur="1000" fill="hold"/>
                                        <p:tgtEl>
                                          <p:spTgt spid="48"/>
                                        </p:tgtEl>
                                        <p:attrNameLst>
                                          <p:attrName>ppt_x</p:attrName>
                                        </p:attrNameLst>
                                      </p:cBhvr>
                                      <p:tavLst>
                                        <p:tav tm="0">
                                          <p:val>
                                            <p:strVal val="#ppt_x"/>
                                          </p:val>
                                        </p:tav>
                                        <p:tav tm="100000">
                                          <p:val>
                                            <p:strVal val="#ppt_x"/>
                                          </p:val>
                                        </p:tav>
                                      </p:tavLst>
                                    </p:anim>
                                    <p:anim calcmode="lin" valueType="num">
                                      <p:cBhvr>
                                        <p:cTn id="141" dur="1000" fill="hold"/>
                                        <p:tgtEl>
                                          <p:spTgt spid="48"/>
                                        </p:tgtEl>
                                        <p:attrNameLst>
                                          <p:attrName>ppt_y</p:attrName>
                                        </p:attrNameLst>
                                      </p:cBhvr>
                                      <p:tavLst>
                                        <p:tav tm="0">
                                          <p:val>
                                            <p:strVal val="#ppt_y+.1"/>
                                          </p:val>
                                        </p:tav>
                                        <p:tav tm="100000">
                                          <p:val>
                                            <p:strVal val="#ppt_y"/>
                                          </p:val>
                                        </p:tav>
                                      </p:tavLst>
                                    </p:anim>
                                  </p:childTnLst>
                                </p:cTn>
                              </p:par>
                              <p:par>
                                <p:cTn id="142" presetID="42" presetClass="entr" presetSubtype="0" fill="hold" grpId="0" nodeType="withEffect">
                                  <p:stCondLst>
                                    <p:cond delay="0"/>
                                  </p:stCondLst>
                                  <p:childTnLst>
                                    <p:set>
                                      <p:cBhvr>
                                        <p:cTn id="143" dur="1" fill="hold">
                                          <p:stCondLst>
                                            <p:cond delay="0"/>
                                          </p:stCondLst>
                                        </p:cTn>
                                        <p:tgtEl>
                                          <p:spTgt spid="52"/>
                                        </p:tgtEl>
                                        <p:attrNameLst>
                                          <p:attrName>style.visibility</p:attrName>
                                        </p:attrNameLst>
                                      </p:cBhvr>
                                      <p:to>
                                        <p:strVal val="visible"/>
                                      </p:to>
                                    </p:set>
                                    <p:animEffect transition="in" filter="fade">
                                      <p:cBhvr>
                                        <p:cTn id="144" dur="1000"/>
                                        <p:tgtEl>
                                          <p:spTgt spid="52"/>
                                        </p:tgtEl>
                                      </p:cBhvr>
                                    </p:animEffect>
                                    <p:anim calcmode="lin" valueType="num">
                                      <p:cBhvr>
                                        <p:cTn id="145" dur="1000" fill="hold"/>
                                        <p:tgtEl>
                                          <p:spTgt spid="52"/>
                                        </p:tgtEl>
                                        <p:attrNameLst>
                                          <p:attrName>ppt_x</p:attrName>
                                        </p:attrNameLst>
                                      </p:cBhvr>
                                      <p:tavLst>
                                        <p:tav tm="0">
                                          <p:val>
                                            <p:strVal val="#ppt_x"/>
                                          </p:val>
                                        </p:tav>
                                        <p:tav tm="100000">
                                          <p:val>
                                            <p:strVal val="#ppt_x"/>
                                          </p:val>
                                        </p:tav>
                                      </p:tavLst>
                                    </p:anim>
                                    <p:anim calcmode="lin" valueType="num">
                                      <p:cBhvr>
                                        <p:cTn id="146" dur="1000" fill="hold"/>
                                        <p:tgtEl>
                                          <p:spTgt spid="52"/>
                                        </p:tgtEl>
                                        <p:attrNameLst>
                                          <p:attrName>ppt_y</p:attrName>
                                        </p:attrNameLst>
                                      </p:cBhvr>
                                      <p:tavLst>
                                        <p:tav tm="0">
                                          <p:val>
                                            <p:strVal val="#ppt_y+.1"/>
                                          </p:val>
                                        </p:tav>
                                        <p:tav tm="100000">
                                          <p:val>
                                            <p:strVal val="#ppt_y"/>
                                          </p:val>
                                        </p:tav>
                                      </p:tavLst>
                                    </p:anim>
                                  </p:childTnLst>
                                </p:cTn>
                              </p:par>
                              <p:par>
                                <p:cTn id="147" presetID="42" presetClass="entr" presetSubtype="0" fill="hold" grpId="0" nodeType="withEffect">
                                  <p:stCondLst>
                                    <p:cond delay="0"/>
                                  </p:stCondLst>
                                  <p:childTnLst>
                                    <p:set>
                                      <p:cBhvr>
                                        <p:cTn id="148" dur="1" fill="hold">
                                          <p:stCondLst>
                                            <p:cond delay="0"/>
                                          </p:stCondLst>
                                        </p:cTn>
                                        <p:tgtEl>
                                          <p:spTgt spid="53"/>
                                        </p:tgtEl>
                                        <p:attrNameLst>
                                          <p:attrName>style.visibility</p:attrName>
                                        </p:attrNameLst>
                                      </p:cBhvr>
                                      <p:to>
                                        <p:strVal val="visible"/>
                                      </p:to>
                                    </p:set>
                                    <p:animEffect transition="in" filter="fade">
                                      <p:cBhvr>
                                        <p:cTn id="149" dur="1000"/>
                                        <p:tgtEl>
                                          <p:spTgt spid="53"/>
                                        </p:tgtEl>
                                      </p:cBhvr>
                                    </p:animEffect>
                                    <p:anim calcmode="lin" valueType="num">
                                      <p:cBhvr>
                                        <p:cTn id="150" dur="1000" fill="hold"/>
                                        <p:tgtEl>
                                          <p:spTgt spid="53"/>
                                        </p:tgtEl>
                                        <p:attrNameLst>
                                          <p:attrName>ppt_x</p:attrName>
                                        </p:attrNameLst>
                                      </p:cBhvr>
                                      <p:tavLst>
                                        <p:tav tm="0">
                                          <p:val>
                                            <p:strVal val="#ppt_x"/>
                                          </p:val>
                                        </p:tav>
                                        <p:tav tm="100000">
                                          <p:val>
                                            <p:strVal val="#ppt_x"/>
                                          </p:val>
                                        </p:tav>
                                      </p:tavLst>
                                    </p:anim>
                                    <p:anim calcmode="lin" valueType="num">
                                      <p:cBhvr>
                                        <p:cTn id="151"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152" fill="hold">
                      <p:stCondLst>
                        <p:cond delay="indefinite"/>
                      </p:stCondLst>
                      <p:childTnLst>
                        <p:par>
                          <p:cTn id="153" fill="hold">
                            <p:stCondLst>
                              <p:cond delay="0"/>
                            </p:stCondLst>
                            <p:childTnLst>
                              <p:par>
                                <p:cTn id="154" presetID="42" presetClass="entr" presetSubtype="0" fill="hold" grpId="0" nodeType="clickEffect">
                                  <p:stCondLst>
                                    <p:cond delay="0"/>
                                  </p:stCondLst>
                                  <p:childTnLst>
                                    <p:set>
                                      <p:cBhvr>
                                        <p:cTn id="155" dur="1" fill="hold">
                                          <p:stCondLst>
                                            <p:cond delay="0"/>
                                          </p:stCondLst>
                                        </p:cTn>
                                        <p:tgtEl>
                                          <p:spTgt spid="85"/>
                                        </p:tgtEl>
                                        <p:attrNameLst>
                                          <p:attrName>style.visibility</p:attrName>
                                        </p:attrNameLst>
                                      </p:cBhvr>
                                      <p:to>
                                        <p:strVal val="visible"/>
                                      </p:to>
                                    </p:set>
                                    <p:animEffect transition="in" filter="fade">
                                      <p:cBhvr>
                                        <p:cTn id="156" dur="1000"/>
                                        <p:tgtEl>
                                          <p:spTgt spid="85"/>
                                        </p:tgtEl>
                                      </p:cBhvr>
                                    </p:animEffect>
                                    <p:anim calcmode="lin" valueType="num">
                                      <p:cBhvr>
                                        <p:cTn id="157" dur="1000" fill="hold"/>
                                        <p:tgtEl>
                                          <p:spTgt spid="85"/>
                                        </p:tgtEl>
                                        <p:attrNameLst>
                                          <p:attrName>ppt_x</p:attrName>
                                        </p:attrNameLst>
                                      </p:cBhvr>
                                      <p:tavLst>
                                        <p:tav tm="0">
                                          <p:val>
                                            <p:strVal val="#ppt_x"/>
                                          </p:val>
                                        </p:tav>
                                        <p:tav tm="100000">
                                          <p:val>
                                            <p:strVal val="#ppt_x"/>
                                          </p:val>
                                        </p:tav>
                                      </p:tavLst>
                                    </p:anim>
                                    <p:anim calcmode="lin" valueType="num">
                                      <p:cBhvr>
                                        <p:cTn id="158" dur="1000" fill="hold"/>
                                        <p:tgtEl>
                                          <p:spTgt spid="85"/>
                                        </p:tgtEl>
                                        <p:attrNameLst>
                                          <p:attrName>ppt_y</p:attrName>
                                        </p:attrNameLst>
                                      </p:cBhvr>
                                      <p:tavLst>
                                        <p:tav tm="0">
                                          <p:val>
                                            <p:strVal val="#ppt_y+.1"/>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42" presetClass="entr" presetSubtype="0" fill="hold" grpId="0" nodeType="clickEffect">
                                  <p:stCondLst>
                                    <p:cond delay="0"/>
                                  </p:stCondLst>
                                  <p:childTnLst>
                                    <p:set>
                                      <p:cBhvr>
                                        <p:cTn id="162" dur="1" fill="hold">
                                          <p:stCondLst>
                                            <p:cond delay="0"/>
                                          </p:stCondLst>
                                        </p:cTn>
                                        <p:tgtEl>
                                          <p:spTgt spid="87"/>
                                        </p:tgtEl>
                                        <p:attrNameLst>
                                          <p:attrName>style.visibility</p:attrName>
                                        </p:attrNameLst>
                                      </p:cBhvr>
                                      <p:to>
                                        <p:strVal val="visible"/>
                                      </p:to>
                                    </p:set>
                                    <p:animEffect transition="in" filter="fade">
                                      <p:cBhvr>
                                        <p:cTn id="163" dur="1000"/>
                                        <p:tgtEl>
                                          <p:spTgt spid="87"/>
                                        </p:tgtEl>
                                      </p:cBhvr>
                                    </p:animEffect>
                                    <p:anim calcmode="lin" valueType="num">
                                      <p:cBhvr>
                                        <p:cTn id="164" dur="1000" fill="hold"/>
                                        <p:tgtEl>
                                          <p:spTgt spid="87"/>
                                        </p:tgtEl>
                                        <p:attrNameLst>
                                          <p:attrName>ppt_x</p:attrName>
                                        </p:attrNameLst>
                                      </p:cBhvr>
                                      <p:tavLst>
                                        <p:tav tm="0">
                                          <p:val>
                                            <p:strVal val="#ppt_x"/>
                                          </p:val>
                                        </p:tav>
                                        <p:tav tm="100000">
                                          <p:val>
                                            <p:strVal val="#ppt_x"/>
                                          </p:val>
                                        </p:tav>
                                      </p:tavLst>
                                    </p:anim>
                                    <p:anim calcmode="lin" valueType="num">
                                      <p:cBhvr>
                                        <p:cTn id="165" dur="1000" fill="hold"/>
                                        <p:tgtEl>
                                          <p:spTgt spid="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0" grpId="0"/>
      <p:bldP spid="27" grpId="0"/>
      <p:bldP spid="29" grpId="0"/>
      <p:bldP spid="30" grpId="0"/>
      <p:bldP spid="31" grpId="0"/>
      <p:bldP spid="32" grpId="0"/>
      <p:bldP spid="33" grpId="0"/>
      <p:bldP spid="34" grpId="0"/>
      <p:bldP spid="35" grpId="0"/>
      <p:bldP spid="36" grpId="0"/>
      <p:bldP spid="37" grpId="0"/>
      <p:bldP spid="43" grpId="0"/>
      <p:bldP spid="44" grpId="0"/>
      <p:bldP spid="45" grpId="0"/>
      <p:bldP spid="46" grpId="0"/>
      <p:bldP spid="47" grpId="0"/>
      <p:bldP spid="48" grpId="0"/>
      <p:bldP spid="52" grpId="0"/>
      <p:bldP spid="53" grpId="0"/>
      <p:bldP spid="85" grpId="0"/>
      <p:bldP spid="8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Focus on Road Infrastructure</a:t>
            </a:r>
          </a:p>
        </p:txBody>
      </p:sp>
    </p:spTree>
    <p:extLst>
      <p:ext uri="{BB962C8B-B14F-4D97-AF65-F5344CB8AC3E}">
        <p14:creationId xmlns:p14="http://schemas.microsoft.com/office/powerpoint/2010/main" val="171685001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381000" y="762000"/>
            <a:ext cx="5638800" cy="342900"/>
          </a:xfrm>
          <a:solidFill>
            <a:schemeClr val="accent1"/>
          </a:solidFill>
        </p:spPr>
        <p:txBody>
          <a:bodyPr anchor="ctr" anchorCtr="1">
            <a:normAutofit/>
          </a:bodyPr>
          <a:lstStyle/>
          <a:p>
            <a:pPr marL="0" indent="0">
              <a:spcBef>
                <a:spcPct val="50000"/>
              </a:spcBef>
              <a:buNone/>
            </a:pPr>
            <a:r>
              <a:rPr lang="en-IN" sz="1400" b="1" dirty="0">
                <a:solidFill>
                  <a:schemeClr val="bg1"/>
                </a:solidFill>
              </a:rPr>
              <a:t>National highways (NHAI) – Awarded and executed </a:t>
            </a:r>
          </a:p>
        </p:txBody>
      </p:sp>
      <p:sp>
        <p:nvSpPr>
          <p:cNvPr id="11" name="Title 1"/>
          <p:cNvSpPr txBox="1">
            <a:spLocks/>
          </p:cNvSpPr>
          <p:nvPr/>
        </p:nvSpPr>
        <p:spPr>
          <a:xfrm>
            <a:off x="296375" y="128585"/>
            <a:ext cx="11650696" cy="514350"/>
          </a:xfrm>
          <a:prstGeom prst="rect">
            <a:avLst/>
          </a:prstGeom>
        </p:spPr>
        <p:txBody>
          <a:bodyPr vert="horz" lIns="0" tIns="0" rIns="0" bIns="0" rtlCol="0" anchor="t">
            <a:noAutofit/>
          </a:bodyPr>
          <a:lstStyle>
            <a:lvl1pPr algn="l" defTabSz="457200" rtl="0" eaLnBrk="1" latinLnBrk="0" hangingPunct="1">
              <a:lnSpc>
                <a:spcPct val="85000"/>
              </a:lnSpc>
              <a:spcBef>
                <a:spcPct val="0"/>
              </a:spcBef>
              <a:buNone/>
              <a:defRPr sz="2800" b="1" i="0" kern="1200" baseline="0">
                <a:solidFill>
                  <a:schemeClr val="tx1"/>
                </a:solidFill>
                <a:latin typeface="Arial" charset="0"/>
                <a:ea typeface="Arial" charset="0"/>
                <a:cs typeface="Arial" charset="0"/>
              </a:defRPr>
            </a:lvl1pPr>
          </a:lstStyle>
          <a:p>
            <a:r>
              <a:rPr lang="en-IN" sz="2400" dirty="0"/>
              <a:t>Strong pace of central government projects to keep tipper demand higher than previous year</a:t>
            </a:r>
          </a:p>
        </p:txBody>
      </p:sp>
      <p:sp>
        <p:nvSpPr>
          <p:cNvPr id="22" name="TextBox 21"/>
          <p:cNvSpPr txBox="1"/>
          <p:nvPr/>
        </p:nvSpPr>
        <p:spPr>
          <a:xfrm>
            <a:off x="381001" y="5952544"/>
            <a:ext cx="5467594" cy="30777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0" tIns="0" rIns="0" bIns="0" rtlCol="0">
            <a:spAutoFit/>
          </a:bodyPr>
          <a:lstStyle>
            <a:defPPr>
              <a:defRPr lang="en-US"/>
            </a:defPPr>
            <a:lvl1pPr fontAlgn="base">
              <a:spcBef>
                <a:spcPct val="0"/>
              </a:spcBef>
              <a:spcAft>
                <a:spcPct val="0"/>
              </a:spcAft>
              <a:defRPr sz="1200">
                <a:solidFill>
                  <a:srgbClr val="282828"/>
                </a:solidFill>
                <a:latin typeface="Arial" charset="0"/>
                <a:cs typeface="Arial" charset="0"/>
              </a:defRPr>
            </a:lvl1pPr>
            <a:lvl2pPr marL="742950" indent="-285750">
              <a:defRPr>
                <a:latin typeface="Calibri" panose="020F0502020204030204" pitchFamily="34" charset="0"/>
                <a:ea typeface="MS PGothic" panose="020B0600070205080204" pitchFamily="34" charset="-128"/>
              </a:defRPr>
            </a:lvl2pPr>
            <a:lvl3pPr marL="1143000" indent="-228600">
              <a:defRPr>
                <a:latin typeface="Calibri" panose="020F0502020204030204" pitchFamily="34" charset="0"/>
                <a:ea typeface="MS PGothic" panose="020B0600070205080204" pitchFamily="34" charset="-128"/>
              </a:defRPr>
            </a:lvl3pPr>
            <a:lvl4pPr marL="1600200" indent="-228600">
              <a:defRPr>
                <a:latin typeface="Calibri" panose="020F0502020204030204" pitchFamily="34" charset="0"/>
                <a:ea typeface="MS PGothic" panose="020B0600070205080204" pitchFamily="34" charset="-128"/>
              </a:defRPr>
            </a:lvl4pPr>
            <a:lvl5pPr marL="2057400" indent="-228600">
              <a:defRPr>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latin typeface="Calibri" panose="020F0502020204030204" pitchFamily="34" charset="0"/>
                <a:ea typeface="MS PGothic" panose="020B0600070205080204" pitchFamily="34" charset="-128"/>
              </a:defRPr>
            </a:lvl9pPr>
          </a:lstStyle>
          <a:p>
            <a:r>
              <a:rPr lang="en-US" sz="1000" dirty="0"/>
              <a:t>E: Estimated; P: Projected, National Highway Authority of India</a:t>
            </a:r>
          </a:p>
          <a:p>
            <a:r>
              <a:rPr lang="en-US" sz="1000" i="1" dirty="0"/>
              <a:t>Source: NHAI, MoRTH, CRISIL Research</a:t>
            </a:r>
            <a:endParaRPr lang="en-GB" sz="1000" i="1" dirty="0"/>
          </a:p>
        </p:txBody>
      </p:sp>
      <p:sp>
        <p:nvSpPr>
          <p:cNvPr id="9" name="Text Placeholder 4">
            <a:extLst>
              <a:ext uri="{FF2B5EF4-FFF2-40B4-BE49-F238E27FC236}">
                <a16:creationId xmlns:a16="http://schemas.microsoft.com/office/drawing/2014/main" id="{775E9B4C-8B54-458B-9C41-BA97C66775B1}"/>
              </a:ext>
            </a:extLst>
          </p:cNvPr>
          <p:cNvSpPr txBox="1">
            <a:spLocks/>
          </p:cNvSpPr>
          <p:nvPr/>
        </p:nvSpPr>
        <p:spPr>
          <a:xfrm>
            <a:off x="6210300" y="762000"/>
            <a:ext cx="5638800" cy="342900"/>
          </a:xfrm>
          <a:prstGeom prst="rect">
            <a:avLst/>
          </a:prstGeom>
          <a:solidFill>
            <a:schemeClr val="tx2"/>
          </a:solidFill>
        </p:spPr>
        <p:txBody>
          <a:bodyPr vert="horz" lIns="76200" tIns="38100" rIns="76200" bIns="38100" rtlCol="0" anchor="ctr" anchorCtr="1">
            <a:normAutofit/>
          </a:bodyPr>
          <a:lstStyle>
            <a:lvl1pPr marL="274320" indent="-274320" algn="ctr" defTabSz="1097280" rtl="0" eaLnBrk="1" latinLnBrk="0" hangingPunct="1">
              <a:lnSpc>
                <a:spcPct val="90000"/>
              </a:lnSpc>
              <a:spcBef>
                <a:spcPts val="1200"/>
              </a:spcBef>
              <a:buFont typeface="Arial" panose="020B0604020202020204" pitchFamily="34" charset="0"/>
              <a:buChar char="•"/>
              <a:defRPr sz="1200" kern="1200">
                <a:solidFill>
                  <a:srgbClr val="000000"/>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333" b="1" dirty="0">
                <a:solidFill>
                  <a:prstClr val="white"/>
                </a:solidFill>
                <a:latin typeface="Arial" panose="020B0604020202020204" pitchFamily="34" charset="0"/>
                <a:cs typeface="Arial" panose="020B0604020202020204" pitchFamily="34" charset="0"/>
              </a:rPr>
              <a:t>Trend in PMAY-U execution per quarter</a:t>
            </a:r>
          </a:p>
        </p:txBody>
      </p:sp>
      <p:sp>
        <p:nvSpPr>
          <p:cNvPr id="12" name="Rounded Rectangle 11"/>
          <p:cNvSpPr/>
          <p:nvPr/>
        </p:nvSpPr>
        <p:spPr>
          <a:xfrm>
            <a:off x="759878" y="5000931"/>
            <a:ext cx="10957060" cy="594028"/>
          </a:xfrm>
          <a:prstGeom prst="roundRect">
            <a:avLst/>
          </a:prstGeom>
          <a:solidFill>
            <a:schemeClr val="tx2">
              <a:lumMod val="20000"/>
              <a:lumOff val="80000"/>
            </a:schemeClr>
          </a:solidFill>
          <a:ln>
            <a:prstDash val="dash"/>
          </a:ln>
        </p:spPr>
        <p:style>
          <a:lnRef idx="2">
            <a:schemeClr val="dk1"/>
          </a:lnRef>
          <a:fillRef idx="1">
            <a:schemeClr val="lt1"/>
          </a:fillRef>
          <a:effectRef idx="0">
            <a:schemeClr val="dk1"/>
          </a:effectRef>
          <a:fontRef idx="minor">
            <a:schemeClr val="dk1"/>
          </a:fontRef>
        </p:style>
        <p:txBody>
          <a:bodyPr lIns="91440" rIns="91440" anchor="ctr"/>
          <a:lstStyle/>
          <a:p>
            <a:pPr>
              <a:spcBef>
                <a:spcPts val="250"/>
              </a:spcBef>
              <a:spcAft>
                <a:spcPts val="250"/>
              </a:spcAft>
              <a:buSzPct val="140000"/>
            </a:pPr>
            <a:r>
              <a:rPr lang="en-IN" sz="1000" dirty="0">
                <a:latin typeface="Arial" panose="020B0604020202020204" pitchFamily="34" charset="0"/>
                <a:cs typeface="Arial" panose="020B0604020202020204" pitchFamily="34" charset="0"/>
              </a:rPr>
              <a:t>FY22 has seen strong awarding of road projects after two slow years, this should keep the tipper segment buoyant as the government pushes infra outlay ahead of key state elections</a:t>
            </a:r>
          </a:p>
        </p:txBody>
      </p:sp>
      <p:pic>
        <p:nvPicPr>
          <p:cNvPr id="13" name="Picture 2" descr="brick, building, construction, industry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1318" y="4955558"/>
            <a:ext cx="461995" cy="461995"/>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4">
            <a:extLst>
              <a:ext uri="{FF2B5EF4-FFF2-40B4-BE49-F238E27FC236}">
                <a16:creationId xmlns:a16="http://schemas.microsoft.com/office/drawing/2014/main" id="{775E9B4C-8B54-458B-9C41-BA97C66775B1}"/>
              </a:ext>
            </a:extLst>
          </p:cNvPr>
          <p:cNvSpPr txBox="1">
            <a:spLocks/>
          </p:cNvSpPr>
          <p:nvPr/>
        </p:nvSpPr>
        <p:spPr>
          <a:xfrm>
            <a:off x="6210300" y="762000"/>
            <a:ext cx="5638800" cy="342900"/>
          </a:xfrm>
          <a:prstGeom prst="rect">
            <a:avLst/>
          </a:prstGeom>
          <a:solidFill>
            <a:schemeClr val="accent1"/>
          </a:solidFill>
        </p:spPr>
        <p:txBody>
          <a:bodyPr vert="horz" lIns="76200" tIns="38100" rIns="76200" bIns="38100" rtlCol="0" anchor="ctr" anchorCtr="1">
            <a:normAutofit/>
          </a:bodyPr>
          <a:lstStyle>
            <a:lvl1pPr marL="274320" indent="-274320" algn="ctr" defTabSz="1097280" rtl="0" eaLnBrk="1" latinLnBrk="0" hangingPunct="1">
              <a:lnSpc>
                <a:spcPct val="90000"/>
              </a:lnSpc>
              <a:spcBef>
                <a:spcPts val="1200"/>
              </a:spcBef>
              <a:buFont typeface="Arial" panose="020B0604020202020204" pitchFamily="34" charset="0"/>
              <a:buChar char="•"/>
              <a:defRPr sz="1200" kern="1200">
                <a:solidFill>
                  <a:srgbClr val="000000"/>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400" b="1" dirty="0">
                <a:solidFill>
                  <a:prstClr val="white"/>
                </a:solidFill>
                <a:latin typeface="Arial" panose="020B0604020202020204" pitchFamily="34" charset="0"/>
                <a:cs typeface="Arial" panose="020B0604020202020204" pitchFamily="34" charset="0"/>
              </a:rPr>
              <a:t>Trend in PMGSY target and execution</a:t>
            </a:r>
          </a:p>
        </p:txBody>
      </p:sp>
      <p:graphicFrame>
        <p:nvGraphicFramePr>
          <p:cNvPr id="14" name="Chart 13">
            <a:extLst>
              <a:ext uri="{FF2B5EF4-FFF2-40B4-BE49-F238E27FC236}">
                <a16:creationId xmlns:a16="http://schemas.microsoft.com/office/drawing/2014/main" id="{24CEAE93-6B4A-4F72-A0F4-3CBABA1A234C}"/>
              </a:ext>
            </a:extLst>
          </p:cNvPr>
          <p:cNvGraphicFramePr>
            <a:graphicFrameLocks/>
          </p:cNvGraphicFramePr>
          <p:nvPr>
            <p:extLst>
              <p:ext uri="{D42A27DB-BD31-4B8C-83A1-F6EECF244321}">
                <p14:modId xmlns:p14="http://schemas.microsoft.com/office/powerpoint/2010/main" val="2937809203"/>
              </p:ext>
            </p:extLst>
          </p:nvPr>
        </p:nvGraphicFramePr>
        <p:xfrm>
          <a:off x="6238408" y="1143000"/>
          <a:ext cx="5572592" cy="341651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B768C1F9-2119-4CB2-B15A-FC3F31655725}"/>
              </a:ext>
            </a:extLst>
          </p:cNvPr>
          <p:cNvGraphicFramePr>
            <a:graphicFrameLocks/>
          </p:cNvGraphicFramePr>
          <p:nvPr>
            <p:extLst>
              <p:ext uri="{D42A27DB-BD31-4B8C-83A1-F6EECF244321}">
                <p14:modId xmlns:p14="http://schemas.microsoft.com/office/powerpoint/2010/main" val="2629790506"/>
              </p:ext>
            </p:extLst>
          </p:nvPr>
        </p:nvGraphicFramePr>
        <p:xfrm>
          <a:off x="381001" y="1159810"/>
          <a:ext cx="5638799" cy="32607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016367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829535"/>
            <a:ext cx="10515600" cy="553998"/>
          </a:xfrm>
        </p:spPr>
        <p:txBody>
          <a:bodyPr/>
          <a:lstStyle/>
          <a:p>
            <a:pPr algn="ctr"/>
            <a:r>
              <a:rPr lang="en-US" sz="4000" dirty="0">
                <a:solidFill>
                  <a:schemeClr val="tx1"/>
                </a:solidFill>
              </a:rPr>
              <a:t>Economy overview</a:t>
            </a:r>
          </a:p>
        </p:txBody>
      </p:sp>
      <p:sp>
        <p:nvSpPr>
          <p:cNvPr id="4" name="Rounded Rectangle 3">
            <a:hlinkClick r:id="rId2" action="ppaction://hlinksldjump"/>
          </p:cNvPr>
          <p:cNvSpPr/>
          <p:nvPr/>
        </p:nvSpPr>
        <p:spPr>
          <a:xfrm>
            <a:off x="9926320" y="6273800"/>
            <a:ext cx="953589" cy="359229"/>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ction="ppaction://hlinksldjump"/>
              </a:rPr>
              <a:t>INDEX</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6491855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24A283C-AC77-43B1-B82B-56CDC86C954B}"/>
              </a:ext>
            </a:extLst>
          </p:cNvPr>
          <p:cNvSpPr>
            <a:spLocks noGrp="1"/>
          </p:cNvSpPr>
          <p:nvPr>
            <p:ph type="title"/>
          </p:nvPr>
        </p:nvSpPr>
        <p:spPr>
          <a:xfrm>
            <a:off x="168889" y="30902"/>
            <a:ext cx="11756912" cy="795089"/>
          </a:xfrm>
        </p:spPr>
        <p:txBody>
          <a:bodyPr vert="horz" wrap="square" lIns="0" tIns="0" rIns="0" bIns="0" rtlCol="0" anchor="ctr">
            <a:spAutoFit/>
          </a:bodyPr>
          <a:lstStyle/>
          <a:p>
            <a:pPr>
              <a:lnSpc>
                <a:spcPts val="3080"/>
              </a:lnSpc>
            </a:pPr>
            <a:r>
              <a:rPr lang="en-US" sz="2800" dirty="0">
                <a:solidFill>
                  <a:schemeClr val="tx1"/>
                </a:solidFill>
              </a:rPr>
              <a:t>NHAI tendering in FY22 catalyzing tipper demand, push may continue in FY23 as well</a:t>
            </a:r>
          </a:p>
        </p:txBody>
      </p:sp>
      <p:cxnSp>
        <p:nvCxnSpPr>
          <p:cNvPr id="88" name="Straight Connector 87">
            <a:extLst>
              <a:ext uri="{FF2B5EF4-FFF2-40B4-BE49-F238E27FC236}">
                <a16:creationId xmlns:a16="http://schemas.microsoft.com/office/drawing/2014/main" id="{00D87642-D4E9-4860-A319-E1CC64DFD697}"/>
              </a:ext>
            </a:extLst>
          </p:cNvPr>
          <p:cNvCxnSpPr>
            <a:cxnSpLocks/>
          </p:cNvCxnSpPr>
          <p:nvPr/>
        </p:nvCxnSpPr>
        <p:spPr>
          <a:xfrm>
            <a:off x="6246109" y="870673"/>
            <a:ext cx="0" cy="5106738"/>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91" name="Rectangle: Rounded Corners 90">
            <a:extLst>
              <a:ext uri="{FF2B5EF4-FFF2-40B4-BE49-F238E27FC236}">
                <a16:creationId xmlns:a16="http://schemas.microsoft.com/office/drawing/2014/main" id="{D1EBC928-4F32-4CF9-85A0-989A4B2DA9C8}"/>
              </a:ext>
            </a:extLst>
          </p:cNvPr>
          <p:cNvSpPr/>
          <p:nvPr/>
        </p:nvSpPr>
        <p:spPr>
          <a:xfrm>
            <a:off x="524146" y="886065"/>
            <a:ext cx="5545790" cy="38375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r>
              <a:rPr lang="en-US" sz="1200" b="1" dirty="0">
                <a:solidFill>
                  <a:prstClr val="white"/>
                </a:solidFill>
                <a:latin typeface="Arial" panose="020B0604020202020204" pitchFamily="34" charset="0"/>
                <a:cs typeface="Arial" panose="020B0604020202020204" pitchFamily="34" charset="0"/>
              </a:rPr>
              <a:t>Total NHAI project value by mode type in Apr-March</a:t>
            </a:r>
          </a:p>
        </p:txBody>
      </p:sp>
      <p:sp>
        <p:nvSpPr>
          <p:cNvPr id="92" name="Rectangle: Rounded Corners 91">
            <a:extLst>
              <a:ext uri="{FF2B5EF4-FFF2-40B4-BE49-F238E27FC236}">
                <a16:creationId xmlns:a16="http://schemas.microsoft.com/office/drawing/2014/main" id="{37E041EE-6199-4B94-A019-E6014820E111}"/>
              </a:ext>
            </a:extLst>
          </p:cNvPr>
          <p:cNvSpPr/>
          <p:nvPr/>
        </p:nvSpPr>
        <p:spPr>
          <a:xfrm>
            <a:off x="6422284" y="884956"/>
            <a:ext cx="5503553" cy="383752"/>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r>
              <a:rPr lang="en-US" sz="1200" b="1" dirty="0">
                <a:solidFill>
                  <a:prstClr val="white"/>
                </a:solidFill>
                <a:latin typeface="Arial" panose="020B0604020202020204" pitchFamily="34" charset="0"/>
                <a:cs typeface="Arial" panose="020B0604020202020204" pitchFamily="34" charset="0"/>
              </a:rPr>
              <a:t>Tender project value in major states</a:t>
            </a:r>
          </a:p>
        </p:txBody>
      </p:sp>
      <p:sp>
        <p:nvSpPr>
          <p:cNvPr id="3" name="TextBox 2">
            <a:extLst>
              <a:ext uri="{FF2B5EF4-FFF2-40B4-BE49-F238E27FC236}">
                <a16:creationId xmlns:a16="http://schemas.microsoft.com/office/drawing/2014/main" id="{B504CCA8-E593-43A1-BF59-0CC6806C63EB}"/>
              </a:ext>
            </a:extLst>
          </p:cNvPr>
          <p:cNvSpPr txBox="1"/>
          <p:nvPr/>
        </p:nvSpPr>
        <p:spPr>
          <a:xfrm>
            <a:off x="1103640" y="6391799"/>
            <a:ext cx="6197591" cy="369332"/>
          </a:xfrm>
          <a:prstGeom prst="rect">
            <a:avLst/>
          </a:prstGeom>
          <a:noFill/>
        </p:spPr>
        <p:txBody>
          <a:bodyPr wrap="square" rtlCol="0">
            <a:spAutoFit/>
          </a:bodyPr>
          <a:lstStyle/>
          <a:p>
            <a:r>
              <a:rPr lang="en-IN" sz="900" dirty="0"/>
              <a:t>Note: March data till 22</a:t>
            </a:r>
            <a:r>
              <a:rPr lang="en-IN" sz="900" baseline="30000" dirty="0"/>
              <a:t>nd</a:t>
            </a:r>
            <a:r>
              <a:rPr lang="en-IN" sz="900" dirty="0"/>
              <a:t> </a:t>
            </a:r>
          </a:p>
          <a:p>
            <a:r>
              <a:rPr lang="en-IN" sz="900" dirty="0"/>
              <a:t>*Total tender value consists of states mentioned herewith</a:t>
            </a:r>
          </a:p>
        </p:txBody>
      </p:sp>
      <p:sp>
        <p:nvSpPr>
          <p:cNvPr id="120" name="TextBox 119">
            <a:extLst>
              <a:ext uri="{FF2B5EF4-FFF2-40B4-BE49-F238E27FC236}">
                <a16:creationId xmlns:a16="http://schemas.microsoft.com/office/drawing/2014/main" id="{9DF7D6C2-06A9-4ACA-9CA9-F839A709BEAC}"/>
              </a:ext>
            </a:extLst>
          </p:cNvPr>
          <p:cNvSpPr txBox="1"/>
          <p:nvPr/>
        </p:nvSpPr>
        <p:spPr>
          <a:xfrm>
            <a:off x="1103640" y="6164203"/>
            <a:ext cx="3508692" cy="230832"/>
          </a:xfrm>
          <a:prstGeom prst="rect">
            <a:avLst/>
          </a:prstGeom>
          <a:noFill/>
        </p:spPr>
        <p:txBody>
          <a:bodyPr wrap="square" rtlCol="0">
            <a:spAutoFit/>
          </a:bodyPr>
          <a:lstStyle/>
          <a:p>
            <a:pPr defTabSz="914327">
              <a:defRPr/>
            </a:pPr>
            <a:r>
              <a:rPr lang="en-US" sz="900" i="1" dirty="0">
                <a:solidFill>
                  <a:prstClr val="black"/>
                </a:solidFill>
                <a:latin typeface="Arial" panose="020B0604020202020204" pitchFamily="34" charset="0"/>
                <a:cs typeface="Arial" panose="020B0604020202020204" pitchFamily="34" charset="0"/>
              </a:rPr>
              <a:t>Source: CRISIL Research</a:t>
            </a:r>
          </a:p>
        </p:txBody>
      </p:sp>
      <p:sp>
        <p:nvSpPr>
          <p:cNvPr id="133" name="TextBox 132">
            <a:extLst>
              <a:ext uri="{FF2B5EF4-FFF2-40B4-BE49-F238E27FC236}">
                <a16:creationId xmlns:a16="http://schemas.microsoft.com/office/drawing/2014/main" id="{DB5C8C5C-3B97-4DF9-AE0F-AAB819C27445}"/>
              </a:ext>
            </a:extLst>
          </p:cNvPr>
          <p:cNvSpPr txBox="1"/>
          <p:nvPr/>
        </p:nvSpPr>
        <p:spPr>
          <a:xfrm>
            <a:off x="1341929" y="1439794"/>
            <a:ext cx="1516057" cy="276999"/>
          </a:xfrm>
          <a:prstGeom prst="rect">
            <a:avLst/>
          </a:prstGeom>
          <a:noFill/>
        </p:spPr>
        <p:txBody>
          <a:bodyPr wrap="square" rtlCol="0">
            <a:spAutoFit/>
          </a:bodyPr>
          <a:lstStyle/>
          <a:p>
            <a:pPr>
              <a:defRPr/>
            </a:pPr>
            <a:r>
              <a:rPr lang="en-IN" sz="1200" b="1" dirty="0">
                <a:solidFill>
                  <a:prstClr val="black"/>
                </a:solidFill>
                <a:latin typeface="Calibri" panose="020F0502020204030204"/>
              </a:rPr>
              <a:t>Value in Rs. Billions</a:t>
            </a:r>
          </a:p>
        </p:txBody>
      </p:sp>
      <p:sp>
        <p:nvSpPr>
          <p:cNvPr id="134" name="Bevel 180">
            <a:extLst>
              <a:ext uri="{FF2B5EF4-FFF2-40B4-BE49-F238E27FC236}">
                <a16:creationId xmlns:a16="http://schemas.microsoft.com/office/drawing/2014/main" id="{A31072C4-95A4-4498-B28B-0EC85B3CEDF2}"/>
              </a:ext>
            </a:extLst>
          </p:cNvPr>
          <p:cNvSpPr/>
          <p:nvPr/>
        </p:nvSpPr>
        <p:spPr bwMode="auto">
          <a:xfrm>
            <a:off x="2857986" y="1396676"/>
            <a:ext cx="1570025" cy="320117"/>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US" sz="1400" b="1" dirty="0">
                <a:solidFill>
                  <a:prstClr val="black"/>
                </a:solidFill>
                <a:latin typeface="Arial" charset="0"/>
              </a:rPr>
              <a:t>~1603.47</a:t>
            </a:r>
          </a:p>
        </p:txBody>
      </p:sp>
      <p:sp>
        <p:nvSpPr>
          <p:cNvPr id="137" name="TextBox 136">
            <a:extLst>
              <a:ext uri="{FF2B5EF4-FFF2-40B4-BE49-F238E27FC236}">
                <a16:creationId xmlns:a16="http://schemas.microsoft.com/office/drawing/2014/main" id="{DB5C8C5C-3B97-4DF9-AE0F-AAB819C27445}"/>
              </a:ext>
            </a:extLst>
          </p:cNvPr>
          <p:cNvSpPr txBox="1"/>
          <p:nvPr/>
        </p:nvSpPr>
        <p:spPr>
          <a:xfrm>
            <a:off x="10585952" y="1329072"/>
            <a:ext cx="1516057" cy="276999"/>
          </a:xfrm>
          <a:prstGeom prst="rect">
            <a:avLst/>
          </a:prstGeom>
          <a:noFill/>
        </p:spPr>
        <p:txBody>
          <a:bodyPr wrap="square" rtlCol="0">
            <a:spAutoFit/>
          </a:bodyPr>
          <a:lstStyle/>
          <a:p>
            <a:pPr>
              <a:defRPr/>
            </a:pPr>
            <a:r>
              <a:rPr lang="en-IN" sz="1200" b="1" dirty="0">
                <a:solidFill>
                  <a:prstClr val="black"/>
                </a:solidFill>
                <a:latin typeface="Calibri" panose="020F0502020204030204"/>
              </a:rPr>
              <a:t>Value in Rs. Billions</a:t>
            </a:r>
          </a:p>
        </p:txBody>
      </p:sp>
      <p:graphicFrame>
        <p:nvGraphicFramePr>
          <p:cNvPr id="13" name="Chart 12">
            <a:extLst>
              <a:ext uri="{FF2B5EF4-FFF2-40B4-BE49-F238E27FC236}">
                <a16:creationId xmlns:a16="http://schemas.microsoft.com/office/drawing/2014/main" id="{FFA6F9DE-EFA3-47C6-8FCD-CD6B242E6E82}"/>
              </a:ext>
            </a:extLst>
          </p:cNvPr>
          <p:cNvGraphicFramePr>
            <a:graphicFrameLocks/>
          </p:cNvGraphicFramePr>
          <p:nvPr/>
        </p:nvGraphicFramePr>
        <p:xfrm>
          <a:off x="524146" y="1837569"/>
          <a:ext cx="5571849" cy="39974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a:extLst>
              <a:ext uri="{FF2B5EF4-FFF2-40B4-BE49-F238E27FC236}">
                <a16:creationId xmlns:a16="http://schemas.microsoft.com/office/drawing/2014/main" id="{7B2BFFC7-64A3-4E76-BA58-BB38B7782066}"/>
              </a:ext>
            </a:extLst>
          </p:cNvPr>
          <p:cNvGraphicFramePr>
            <a:graphicFrameLocks/>
          </p:cNvGraphicFramePr>
          <p:nvPr/>
        </p:nvGraphicFramePr>
        <p:xfrm>
          <a:off x="6422283" y="1380017"/>
          <a:ext cx="5503518" cy="47841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626370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0C2B20B-839F-4B01-B4EE-6A0BE46DF03B}"/>
              </a:ext>
            </a:extLst>
          </p:cNvPr>
          <p:cNvSpPr txBox="1">
            <a:spLocks/>
          </p:cNvSpPr>
          <p:nvPr/>
        </p:nvSpPr>
        <p:spPr>
          <a:xfrm>
            <a:off x="171350" y="79777"/>
            <a:ext cx="11612794" cy="795089"/>
          </a:xfrm>
          <a:prstGeom prst="rect">
            <a:avLst/>
          </a:prstGeom>
        </p:spPr>
        <p:txBody>
          <a:bodyPr vert="horz" wrap="square" lIns="0" tIns="0" rIns="0" bIns="0" rtlCol="0" anchor="ctr">
            <a:spAutoFit/>
          </a:bodyPr>
          <a:lstStyle>
            <a:lvl1pPr algn="l" defTabSz="914363" rtl="0" eaLnBrk="1" latinLnBrk="0" hangingPunct="1">
              <a:lnSpc>
                <a:spcPct val="90000"/>
              </a:lnSpc>
              <a:spcBef>
                <a:spcPct val="0"/>
              </a:spcBef>
              <a:buNone/>
              <a:defRPr lang="en-US" sz="2833" b="1" kern="1200" dirty="0">
                <a:solidFill>
                  <a:schemeClr val="tx1"/>
                </a:solidFill>
                <a:latin typeface="Arial" panose="020B0604020202020204" pitchFamily="34" charset="0"/>
                <a:ea typeface="+mj-ea"/>
                <a:cs typeface="Arial" panose="020B0604020202020204" pitchFamily="34" charset="0"/>
              </a:defRPr>
            </a:lvl1pPr>
          </a:lstStyle>
          <a:p>
            <a:pPr defTabSz="914327">
              <a:lnSpc>
                <a:spcPts val="3080"/>
              </a:lnSpc>
              <a:defRPr/>
            </a:pPr>
            <a:r>
              <a:rPr lang="en-IN" sz="2800" dirty="0">
                <a:solidFill>
                  <a:prstClr val="black"/>
                </a:solidFill>
              </a:rPr>
              <a:t>Order books swelling at EPC firms amid high govt spending and swift economic rebound</a:t>
            </a:r>
          </a:p>
        </p:txBody>
      </p:sp>
      <p:sp>
        <p:nvSpPr>
          <p:cNvPr id="28" name="Rectangle: Rounded Corners 27">
            <a:extLst>
              <a:ext uri="{FF2B5EF4-FFF2-40B4-BE49-F238E27FC236}">
                <a16:creationId xmlns:a16="http://schemas.microsoft.com/office/drawing/2014/main" id="{DDD9973A-4446-4D32-9BEE-69B0DDC71982}"/>
              </a:ext>
            </a:extLst>
          </p:cNvPr>
          <p:cNvSpPr/>
          <p:nvPr/>
        </p:nvSpPr>
        <p:spPr>
          <a:xfrm>
            <a:off x="610301" y="3654049"/>
            <a:ext cx="1113010" cy="49564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r>
              <a:rPr lang="en-IN" sz="1167" b="1" dirty="0">
                <a:solidFill>
                  <a:prstClr val="black"/>
                </a:solidFill>
                <a:latin typeface="Calibri" panose="020F0502020204030204"/>
              </a:rPr>
              <a:t>Hindustan construction </a:t>
            </a:r>
          </a:p>
        </p:txBody>
      </p:sp>
      <p:sp>
        <p:nvSpPr>
          <p:cNvPr id="29" name="Rectangle: Rounded Corners 28">
            <a:extLst>
              <a:ext uri="{FF2B5EF4-FFF2-40B4-BE49-F238E27FC236}">
                <a16:creationId xmlns:a16="http://schemas.microsoft.com/office/drawing/2014/main" id="{0E1176D5-9335-42BA-8CBC-6ACE847B5BA1}"/>
              </a:ext>
            </a:extLst>
          </p:cNvPr>
          <p:cNvSpPr/>
          <p:nvPr/>
        </p:nvSpPr>
        <p:spPr>
          <a:xfrm>
            <a:off x="610301" y="2755940"/>
            <a:ext cx="1113010" cy="495648"/>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r>
              <a:rPr lang="en-IN" sz="1167" b="1" dirty="0">
                <a:solidFill>
                  <a:prstClr val="black"/>
                </a:solidFill>
                <a:latin typeface="Calibri" panose="020F0502020204030204"/>
              </a:rPr>
              <a:t>Larsen &amp; Tourbo </a:t>
            </a:r>
          </a:p>
        </p:txBody>
      </p:sp>
      <p:sp>
        <p:nvSpPr>
          <p:cNvPr id="70" name="TextBox 69">
            <a:extLst>
              <a:ext uri="{FF2B5EF4-FFF2-40B4-BE49-F238E27FC236}">
                <a16:creationId xmlns:a16="http://schemas.microsoft.com/office/drawing/2014/main" id="{D3294A11-CBBF-4483-8B91-8D71E6BFE436}"/>
              </a:ext>
            </a:extLst>
          </p:cNvPr>
          <p:cNvSpPr txBox="1"/>
          <p:nvPr/>
        </p:nvSpPr>
        <p:spPr>
          <a:xfrm>
            <a:off x="518274" y="1877048"/>
            <a:ext cx="1284983" cy="307777"/>
          </a:xfrm>
          <a:prstGeom prst="rect">
            <a:avLst/>
          </a:prstGeom>
          <a:noFill/>
        </p:spPr>
        <p:txBody>
          <a:bodyPr wrap="square" rtlCol="0">
            <a:spAutoFit/>
          </a:bodyPr>
          <a:lstStyle/>
          <a:p>
            <a:pPr>
              <a:defRPr/>
            </a:pPr>
            <a:r>
              <a:rPr lang="en-IN" sz="1400" dirty="0">
                <a:solidFill>
                  <a:prstClr val="black"/>
                </a:solidFill>
                <a:latin typeface="Calibri" panose="020F0502020204030204"/>
              </a:rPr>
              <a:t>(Rs in billion)</a:t>
            </a:r>
          </a:p>
        </p:txBody>
      </p:sp>
      <p:sp>
        <p:nvSpPr>
          <p:cNvPr id="72" name="TextBox 71">
            <a:extLst>
              <a:ext uri="{FF2B5EF4-FFF2-40B4-BE49-F238E27FC236}">
                <a16:creationId xmlns:a16="http://schemas.microsoft.com/office/drawing/2014/main" id="{47C83665-0A48-474F-8476-567233D336F8}"/>
              </a:ext>
            </a:extLst>
          </p:cNvPr>
          <p:cNvSpPr txBox="1"/>
          <p:nvPr/>
        </p:nvSpPr>
        <p:spPr>
          <a:xfrm>
            <a:off x="1803258" y="1051051"/>
            <a:ext cx="9980886" cy="382092"/>
          </a:xfrm>
          <a:prstGeom prst="rect">
            <a:avLst/>
          </a:prstGeom>
          <a:solidFill>
            <a:schemeClr val="bg2">
              <a:lumMod val="50000"/>
            </a:schemeClr>
          </a:solidFill>
          <a:ln w="19050" algn="ctr">
            <a:noFill/>
            <a:round/>
            <a:headEnd/>
            <a:tailEnd/>
          </a:ln>
          <a:effectLst/>
        </p:spPr>
        <p:txBody>
          <a:bodyPr anchor="ctr" anchorCtr="1"/>
          <a:lstStyle>
            <a:defPPr>
              <a:defRPr lang="en-US"/>
            </a:defPPr>
            <a:lvl1pPr algn="ctr">
              <a:defRPr sz="1600" b="1" kern="0">
                <a:solidFill>
                  <a:schemeClr val="bg1"/>
                </a:solidFill>
                <a:latin typeface="Arial"/>
              </a:defRPr>
            </a:lvl1pPr>
          </a:lstStyle>
          <a:p>
            <a:pPr defTabSz="914327">
              <a:defRPr/>
            </a:pPr>
            <a:r>
              <a:rPr lang="en-US" sz="1333" i="1" dirty="0">
                <a:solidFill>
                  <a:prstClr val="white"/>
                </a:solidFill>
                <a:latin typeface="Arial" panose="020B0604020202020204" pitchFamily="34" charset="0"/>
                <a:cs typeface="Arial" panose="020B0604020202020204" pitchFamily="34" charset="0"/>
              </a:rPr>
              <a:t>Major players have bulging order book; Players with focus on roads, bridges and metro witnesses robust growth </a:t>
            </a:r>
          </a:p>
        </p:txBody>
      </p:sp>
      <p:sp>
        <p:nvSpPr>
          <p:cNvPr id="75" name="TextBox 74">
            <a:extLst>
              <a:ext uri="{FF2B5EF4-FFF2-40B4-BE49-F238E27FC236}">
                <a16:creationId xmlns:a16="http://schemas.microsoft.com/office/drawing/2014/main" id="{9DF7D6C2-06A9-4ACA-9CA9-F839A709BEAC}"/>
              </a:ext>
            </a:extLst>
          </p:cNvPr>
          <p:cNvSpPr txBox="1"/>
          <p:nvPr/>
        </p:nvSpPr>
        <p:spPr>
          <a:xfrm>
            <a:off x="1131862" y="6345078"/>
            <a:ext cx="3508692" cy="507831"/>
          </a:xfrm>
          <a:prstGeom prst="rect">
            <a:avLst/>
          </a:prstGeom>
          <a:noFill/>
        </p:spPr>
        <p:txBody>
          <a:bodyPr wrap="square" rtlCol="0">
            <a:spAutoFit/>
          </a:bodyPr>
          <a:lstStyle/>
          <a:p>
            <a:pPr defTabSz="914327">
              <a:defRPr/>
            </a:pPr>
            <a:r>
              <a:rPr lang="en-US" sz="900" i="1" dirty="0">
                <a:solidFill>
                  <a:prstClr val="black"/>
                </a:solidFill>
                <a:latin typeface="Arial" panose="020B0604020202020204" pitchFamily="34" charset="0"/>
                <a:cs typeface="Arial" panose="020B0604020202020204" pitchFamily="34" charset="0"/>
              </a:rPr>
              <a:t>Source: CRISIL Research; Company Reports</a:t>
            </a:r>
          </a:p>
          <a:p>
            <a:pPr defTabSz="914327">
              <a:defRPr/>
            </a:pPr>
            <a:r>
              <a:rPr lang="en-US" sz="900" i="1" dirty="0">
                <a:solidFill>
                  <a:prstClr val="black"/>
                </a:solidFill>
                <a:latin typeface="Arial" panose="020B0604020202020204" pitchFamily="34" charset="0"/>
                <a:cs typeface="Arial" panose="020B0604020202020204" pitchFamily="34" charset="0"/>
              </a:rPr>
              <a:t>Note: Order book is cumulative till that quarter</a:t>
            </a:r>
          </a:p>
          <a:p>
            <a:pPr defTabSz="914327">
              <a:defRPr/>
            </a:pPr>
            <a:r>
              <a:rPr lang="en-US" sz="900" i="1" dirty="0">
                <a:solidFill>
                  <a:prstClr val="black"/>
                </a:solidFill>
                <a:latin typeface="Arial" panose="020B0604020202020204" pitchFamily="34" charset="0"/>
                <a:cs typeface="Arial" panose="020B0604020202020204" pitchFamily="34" charset="0"/>
              </a:rPr>
              <a:t>NA- Not available</a:t>
            </a:r>
          </a:p>
        </p:txBody>
      </p:sp>
      <p:grpSp>
        <p:nvGrpSpPr>
          <p:cNvPr id="12" name="Group 11"/>
          <p:cNvGrpSpPr/>
          <p:nvPr/>
        </p:nvGrpSpPr>
        <p:grpSpPr>
          <a:xfrm>
            <a:off x="1677002" y="1921269"/>
            <a:ext cx="10543901" cy="708007"/>
            <a:chOff x="1648098" y="1563476"/>
            <a:chExt cx="10543901" cy="708007"/>
          </a:xfrm>
        </p:grpSpPr>
        <p:grpSp>
          <p:nvGrpSpPr>
            <p:cNvPr id="9" name="Group 8"/>
            <p:cNvGrpSpPr/>
            <p:nvPr/>
          </p:nvGrpSpPr>
          <p:grpSpPr>
            <a:xfrm>
              <a:off x="1648098" y="1566446"/>
              <a:ext cx="10543901" cy="705037"/>
              <a:chOff x="4962689" y="1569045"/>
              <a:chExt cx="10543901" cy="705037"/>
            </a:xfrm>
          </p:grpSpPr>
          <p:cxnSp>
            <p:nvCxnSpPr>
              <p:cNvPr id="83" name="Straight Arrow Connector 82">
                <a:extLst>
                  <a:ext uri="{FF2B5EF4-FFF2-40B4-BE49-F238E27FC236}">
                    <a16:creationId xmlns:a16="http://schemas.microsoft.com/office/drawing/2014/main" id="{5D7A21C3-B836-412E-A1B5-01A4F8205FA2}"/>
                  </a:ext>
                </a:extLst>
              </p:cNvPr>
              <p:cNvCxnSpPr>
                <a:cxnSpLocks/>
              </p:cNvCxnSpPr>
              <p:nvPr/>
            </p:nvCxnSpPr>
            <p:spPr>
              <a:xfrm>
                <a:off x="4962689" y="1717282"/>
                <a:ext cx="10543901" cy="29394"/>
              </a:xfrm>
              <a:prstGeom prst="straightConnector1">
                <a:avLst/>
              </a:prstGeom>
              <a:ln w="762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137293" y="1574996"/>
                <a:ext cx="1539695" cy="699086"/>
                <a:chOff x="6752361" y="1563686"/>
                <a:chExt cx="1539695" cy="699086"/>
              </a:xfrm>
            </p:grpSpPr>
            <p:sp>
              <p:nvSpPr>
                <p:cNvPr id="18" name="Rectangle 3">
                  <a:extLst>
                    <a:ext uri="{FF2B5EF4-FFF2-40B4-BE49-F238E27FC236}">
                      <a16:creationId xmlns:a16="http://schemas.microsoft.com/office/drawing/2014/main" id="{15FBE39A-7933-4598-838C-6D65175B20D5}"/>
                    </a:ext>
                  </a:extLst>
                </p:cNvPr>
                <p:cNvSpPr>
                  <a:spLocks noChangeArrowheads="1"/>
                </p:cNvSpPr>
                <p:nvPr/>
              </p:nvSpPr>
              <p:spPr bwMode="auto">
                <a:xfrm>
                  <a:off x="7091366" y="1611364"/>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3FY20</a:t>
                  </a:r>
                </a:p>
              </p:txBody>
            </p:sp>
            <p:sp>
              <p:nvSpPr>
                <p:cNvPr id="71" name="Down Arrow Callout 130">
                  <a:extLst>
                    <a:ext uri="{FF2B5EF4-FFF2-40B4-BE49-F238E27FC236}">
                      <a16:creationId xmlns:a16="http://schemas.microsoft.com/office/drawing/2014/main" id="{74F1707D-0896-4719-A62E-AC164531F19F}"/>
                    </a:ext>
                  </a:extLst>
                </p:cNvPr>
                <p:cNvSpPr/>
                <p:nvPr/>
              </p:nvSpPr>
              <p:spPr>
                <a:xfrm>
                  <a:off x="6752361" y="1563686"/>
                  <a:ext cx="1539695" cy="699086"/>
                </a:xfrm>
                <a:prstGeom prst="downArrowCallou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IN" sz="1100" dirty="0">
                    <a:solidFill>
                      <a:prstClr val="white"/>
                    </a:solidFill>
                    <a:latin typeface="Arial" panose="020B0604020202020204" pitchFamily="34" charset="0"/>
                    <a:cs typeface="Arial" panose="020B0604020202020204" pitchFamily="34" charset="0"/>
                  </a:endParaRPr>
                </a:p>
              </p:txBody>
            </p:sp>
            <p:sp>
              <p:nvSpPr>
                <p:cNvPr id="73" name="Rectangle 3">
                  <a:extLst>
                    <a:ext uri="{FF2B5EF4-FFF2-40B4-BE49-F238E27FC236}">
                      <a16:creationId xmlns:a16="http://schemas.microsoft.com/office/drawing/2014/main" id="{AB9B00F4-E5A0-4EF1-9F8D-2C5942EDD644}"/>
                    </a:ext>
                  </a:extLst>
                </p:cNvPr>
                <p:cNvSpPr>
                  <a:spLocks noChangeArrowheads="1"/>
                </p:cNvSpPr>
                <p:nvPr/>
              </p:nvSpPr>
              <p:spPr bwMode="auto">
                <a:xfrm>
                  <a:off x="7038348" y="1673119"/>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2FY21</a:t>
                  </a:r>
                </a:p>
              </p:txBody>
            </p:sp>
          </p:grpSp>
          <p:grpSp>
            <p:nvGrpSpPr>
              <p:cNvPr id="2" name="Group 1"/>
              <p:cNvGrpSpPr/>
              <p:nvPr/>
            </p:nvGrpSpPr>
            <p:grpSpPr>
              <a:xfrm>
                <a:off x="6775572" y="1569045"/>
                <a:ext cx="1539695" cy="699086"/>
                <a:chOff x="-1439039" y="1563685"/>
                <a:chExt cx="1539695" cy="699086"/>
              </a:xfrm>
            </p:grpSpPr>
            <p:sp>
              <p:nvSpPr>
                <p:cNvPr id="81" name="Down Arrow Callout 118">
                  <a:extLst>
                    <a:ext uri="{FF2B5EF4-FFF2-40B4-BE49-F238E27FC236}">
                      <a16:creationId xmlns:a16="http://schemas.microsoft.com/office/drawing/2014/main" id="{FAFC6F42-E276-4318-B4CA-6097616CF7E6}"/>
                    </a:ext>
                  </a:extLst>
                </p:cNvPr>
                <p:cNvSpPr/>
                <p:nvPr/>
              </p:nvSpPr>
              <p:spPr>
                <a:xfrm>
                  <a:off x="-1439039" y="1563685"/>
                  <a:ext cx="1539695" cy="699086"/>
                </a:xfrm>
                <a:prstGeom prst="downArrowCallou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IN" sz="1100" dirty="0">
                    <a:solidFill>
                      <a:prstClr val="white"/>
                    </a:solidFill>
                    <a:latin typeface="Arial" panose="020B0604020202020204" pitchFamily="34" charset="0"/>
                    <a:cs typeface="Arial" panose="020B0604020202020204" pitchFamily="34" charset="0"/>
                  </a:endParaRPr>
                </a:p>
              </p:txBody>
            </p:sp>
            <p:sp>
              <p:nvSpPr>
                <p:cNvPr id="82" name="Rectangle 3">
                  <a:extLst>
                    <a:ext uri="{FF2B5EF4-FFF2-40B4-BE49-F238E27FC236}">
                      <a16:creationId xmlns:a16="http://schemas.microsoft.com/office/drawing/2014/main" id="{3A890A05-1F41-410D-AA06-4860278D4B37}"/>
                    </a:ext>
                  </a:extLst>
                </p:cNvPr>
                <p:cNvSpPr>
                  <a:spLocks noChangeArrowheads="1"/>
                </p:cNvSpPr>
                <p:nvPr/>
              </p:nvSpPr>
              <p:spPr bwMode="auto">
                <a:xfrm>
                  <a:off x="-1132886" y="1660534"/>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3FY21</a:t>
                  </a:r>
                </a:p>
              </p:txBody>
            </p:sp>
          </p:grpSp>
        </p:grpSp>
        <p:sp>
          <p:nvSpPr>
            <p:cNvPr id="79" name="Down Arrow Callout 118">
              <a:extLst>
                <a:ext uri="{FF2B5EF4-FFF2-40B4-BE49-F238E27FC236}">
                  <a16:creationId xmlns:a16="http://schemas.microsoft.com/office/drawing/2014/main" id="{FAFC6F42-E276-4318-B4CA-6097616CF7E6}"/>
                </a:ext>
              </a:extLst>
            </p:cNvPr>
            <p:cNvSpPr/>
            <p:nvPr/>
          </p:nvSpPr>
          <p:spPr>
            <a:xfrm>
              <a:off x="5110923" y="1566446"/>
              <a:ext cx="1539695" cy="699086"/>
            </a:xfrm>
            <a:prstGeom prst="downArrowCallou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IN" sz="1100" dirty="0">
                <a:solidFill>
                  <a:prstClr val="white"/>
                </a:solidFill>
                <a:latin typeface="Arial" panose="020B0604020202020204" pitchFamily="34" charset="0"/>
                <a:cs typeface="Arial" panose="020B0604020202020204" pitchFamily="34" charset="0"/>
              </a:endParaRPr>
            </a:p>
          </p:txBody>
        </p:sp>
        <p:sp>
          <p:nvSpPr>
            <p:cNvPr id="80" name="Rectangle 3">
              <a:extLst>
                <a:ext uri="{FF2B5EF4-FFF2-40B4-BE49-F238E27FC236}">
                  <a16:creationId xmlns:a16="http://schemas.microsoft.com/office/drawing/2014/main" id="{3A890A05-1F41-410D-AA06-4860278D4B37}"/>
                </a:ext>
              </a:extLst>
            </p:cNvPr>
            <p:cNvSpPr>
              <a:spLocks noChangeArrowheads="1"/>
            </p:cNvSpPr>
            <p:nvPr/>
          </p:nvSpPr>
          <p:spPr bwMode="auto">
            <a:xfrm>
              <a:off x="5483832" y="1705835"/>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4FY21</a:t>
              </a:r>
            </a:p>
          </p:txBody>
        </p:sp>
        <p:sp>
          <p:nvSpPr>
            <p:cNvPr id="88" name="Down Arrow Callout 118">
              <a:extLst>
                <a:ext uri="{FF2B5EF4-FFF2-40B4-BE49-F238E27FC236}">
                  <a16:creationId xmlns:a16="http://schemas.microsoft.com/office/drawing/2014/main" id="{FAFC6F42-E276-4318-B4CA-6097616CF7E6}"/>
                </a:ext>
              </a:extLst>
            </p:cNvPr>
            <p:cNvSpPr/>
            <p:nvPr/>
          </p:nvSpPr>
          <p:spPr>
            <a:xfrm>
              <a:off x="6768841" y="1563476"/>
              <a:ext cx="1539695" cy="699086"/>
            </a:xfrm>
            <a:prstGeom prst="downArrowCallou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IN" sz="1100" dirty="0">
                <a:solidFill>
                  <a:prstClr val="white"/>
                </a:solidFill>
                <a:latin typeface="Arial" panose="020B0604020202020204" pitchFamily="34" charset="0"/>
                <a:cs typeface="Arial" panose="020B0604020202020204" pitchFamily="34" charset="0"/>
              </a:endParaRPr>
            </a:p>
          </p:txBody>
        </p:sp>
        <p:sp>
          <p:nvSpPr>
            <p:cNvPr id="89" name="Rectangle 3">
              <a:extLst>
                <a:ext uri="{FF2B5EF4-FFF2-40B4-BE49-F238E27FC236}">
                  <a16:creationId xmlns:a16="http://schemas.microsoft.com/office/drawing/2014/main" id="{3A890A05-1F41-410D-AA06-4860278D4B37}"/>
                </a:ext>
              </a:extLst>
            </p:cNvPr>
            <p:cNvSpPr>
              <a:spLocks noChangeArrowheads="1"/>
            </p:cNvSpPr>
            <p:nvPr/>
          </p:nvSpPr>
          <p:spPr bwMode="auto">
            <a:xfrm>
              <a:off x="7141751" y="1702866"/>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1FY22</a:t>
              </a:r>
            </a:p>
          </p:txBody>
        </p:sp>
      </p:grpSp>
      <p:sp>
        <p:nvSpPr>
          <p:cNvPr id="91" name="Bevel 180">
            <a:extLst>
              <a:ext uri="{FF2B5EF4-FFF2-40B4-BE49-F238E27FC236}">
                <a16:creationId xmlns:a16="http://schemas.microsoft.com/office/drawing/2014/main" id="{588679BB-6031-49B7-BA1D-CE05DC2F87E0}"/>
              </a:ext>
            </a:extLst>
          </p:cNvPr>
          <p:cNvSpPr/>
          <p:nvPr/>
        </p:nvSpPr>
        <p:spPr bwMode="auto">
          <a:xfrm>
            <a:off x="1957352" y="2817932"/>
            <a:ext cx="1316612" cy="396964"/>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2,989</a:t>
            </a:r>
            <a:endParaRPr lang="en-US" sz="1400" b="1" dirty="0">
              <a:solidFill>
                <a:prstClr val="black"/>
              </a:solidFill>
              <a:latin typeface="Arial" charset="0"/>
            </a:endParaRPr>
          </a:p>
        </p:txBody>
      </p:sp>
      <p:sp>
        <p:nvSpPr>
          <p:cNvPr id="93" name="Bevel 180">
            <a:extLst>
              <a:ext uri="{FF2B5EF4-FFF2-40B4-BE49-F238E27FC236}">
                <a16:creationId xmlns:a16="http://schemas.microsoft.com/office/drawing/2014/main" id="{588679BB-6031-49B7-BA1D-CE05DC2F87E0}"/>
              </a:ext>
            </a:extLst>
          </p:cNvPr>
          <p:cNvSpPr/>
          <p:nvPr/>
        </p:nvSpPr>
        <p:spPr bwMode="auto">
          <a:xfrm>
            <a:off x="1947327" y="3698998"/>
            <a:ext cx="1316612" cy="393953"/>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190</a:t>
            </a:r>
            <a:endParaRPr lang="en-US" sz="1400" b="1" dirty="0">
              <a:solidFill>
                <a:prstClr val="black"/>
              </a:solidFill>
              <a:latin typeface="Arial" charset="0"/>
            </a:endParaRPr>
          </a:p>
        </p:txBody>
      </p:sp>
      <p:sp>
        <p:nvSpPr>
          <p:cNvPr id="53" name="Down Arrow Callout 118">
            <a:extLst>
              <a:ext uri="{FF2B5EF4-FFF2-40B4-BE49-F238E27FC236}">
                <a16:creationId xmlns:a16="http://schemas.microsoft.com/office/drawing/2014/main" id="{FAFC6F42-E276-4318-B4CA-6097616CF7E6}"/>
              </a:ext>
            </a:extLst>
          </p:cNvPr>
          <p:cNvSpPr/>
          <p:nvPr/>
        </p:nvSpPr>
        <p:spPr>
          <a:xfrm>
            <a:off x="10122914" y="1930190"/>
            <a:ext cx="1539695" cy="699086"/>
          </a:xfrm>
          <a:prstGeom prst="downArrowCallou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IN" sz="1100" dirty="0">
              <a:solidFill>
                <a:prstClr val="white"/>
              </a:solidFill>
              <a:latin typeface="Arial" panose="020B0604020202020204" pitchFamily="34" charset="0"/>
              <a:cs typeface="Arial" panose="020B0604020202020204" pitchFamily="34" charset="0"/>
            </a:endParaRPr>
          </a:p>
        </p:txBody>
      </p:sp>
      <p:sp>
        <p:nvSpPr>
          <p:cNvPr id="54" name="Rectangle 3">
            <a:extLst>
              <a:ext uri="{FF2B5EF4-FFF2-40B4-BE49-F238E27FC236}">
                <a16:creationId xmlns:a16="http://schemas.microsoft.com/office/drawing/2014/main" id="{3A890A05-1F41-410D-AA06-4860278D4B37}"/>
              </a:ext>
            </a:extLst>
          </p:cNvPr>
          <p:cNvSpPr>
            <a:spLocks noChangeArrowheads="1"/>
          </p:cNvSpPr>
          <p:nvPr/>
        </p:nvSpPr>
        <p:spPr bwMode="auto">
          <a:xfrm>
            <a:off x="10495825" y="2069579"/>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3FY22</a:t>
            </a:r>
          </a:p>
        </p:txBody>
      </p:sp>
      <p:sp>
        <p:nvSpPr>
          <p:cNvPr id="56" name="Bevel 180">
            <a:extLst>
              <a:ext uri="{FF2B5EF4-FFF2-40B4-BE49-F238E27FC236}">
                <a16:creationId xmlns:a16="http://schemas.microsoft.com/office/drawing/2014/main" id="{588679BB-6031-49B7-BA1D-CE05DC2F87E0}"/>
              </a:ext>
            </a:extLst>
          </p:cNvPr>
          <p:cNvSpPr/>
          <p:nvPr/>
        </p:nvSpPr>
        <p:spPr bwMode="auto">
          <a:xfrm>
            <a:off x="3582131" y="2815784"/>
            <a:ext cx="1316612" cy="396964"/>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3311</a:t>
            </a:r>
            <a:endParaRPr lang="en-US" sz="1400" b="1" dirty="0">
              <a:solidFill>
                <a:prstClr val="black"/>
              </a:solidFill>
              <a:latin typeface="Arial" charset="0"/>
            </a:endParaRPr>
          </a:p>
        </p:txBody>
      </p:sp>
      <p:sp>
        <p:nvSpPr>
          <p:cNvPr id="59" name="Bevel 180">
            <a:extLst>
              <a:ext uri="{FF2B5EF4-FFF2-40B4-BE49-F238E27FC236}">
                <a16:creationId xmlns:a16="http://schemas.microsoft.com/office/drawing/2014/main" id="{588679BB-6031-49B7-BA1D-CE05DC2F87E0}"/>
              </a:ext>
            </a:extLst>
          </p:cNvPr>
          <p:cNvSpPr/>
          <p:nvPr/>
        </p:nvSpPr>
        <p:spPr bwMode="auto">
          <a:xfrm>
            <a:off x="3572106" y="3696850"/>
            <a:ext cx="1316612" cy="393953"/>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185</a:t>
            </a:r>
            <a:endParaRPr lang="en-US" sz="1400" b="1" dirty="0">
              <a:solidFill>
                <a:prstClr val="black"/>
              </a:solidFill>
              <a:latin typeface="Arial" charset="0"/>
            </a:endParaRPr>
          </a:p>
        </p:txBody>
      </p:sp>
      <p:sp>
        <p:nvSpPr>
          <p:cNvPr id="47" name="Bevel 180">
            <a:extLst>
              <a:ext uri="{FF2B5EF4-FFF2-40B4-BE49-F238E27FC236}">
                <a16:creationId xmlns:a16="http://schemas.microsoft.com/office/drawing/2014/main" id="{588679BB-6031-49B7-BA1D-CE05DC2F87E0}"/>
              </a:ext>
            </a:extLst>
          </p:cNvPr>
          <p:cNvSpPr/>
          <p:nvPr/>
        </p:nvSpPr>
        <p:spPr bwMode="auto">
          <a:xfrm>
            <a:off x="5322716" y="2831140"/>
            <a:ext cx="1316612" cy="396964"/>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3274</a:t>
            </a:r>
            <a:endParaRPr lang="en-US" sz="1400" b="1" dirty="0">
              <a:solidFill>
                <a:prstClr val="black"/>
              </a:solidFill>
              <a:latin typeface="Arial" charset="0"/>
            </a:endParaRPr>
          </a:p>
        </p:txBody>
      </p:sp>
      <p:sp>
        <p:nvSpPr>
          <p:cNvPr id="48" name="Bevel 180">
            <a:extLst>
              <a:ext uri="{FF2B5EF4-FFF2-40B4-BE49-F238E27FC236}">
                <a16:creationId xmlns:a16="http://schemas.microsoft.com/office/drawing/2014/main" id="{588679BB-6031-49B7-BA1D-CE05DC2F87E0}"/>
              </a:ext>
            </a:extLst>
          </p:cNvPr>
          <p:cNvSpPr/>
          <p:nvPr/>
        </p:nvSpPr>
        <p:spPr bwMode="auto">
          <a:xfrm>
            <a:off x="5312691" y="3712206"/>
            <a:ext cx="1316612" cy="393953"/>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US" sz="1400" b="1" dirty="0">
                <a:solidFill>
                  <a:prstClr val="black"/>
                </a:solidFill>
                <a:latin typeface="Arial" charset="0"/>
              </a:rPr>
              <a:t>179</a:t>
            </a:r>
          </a:p>
        </p:txBody>
      </p:sp>
      <p:sp>
        <p:nvSpPr>
          <p:cNvPr id="50" name="Bevel 180">
            <a:extLst>
              <a:ext uri="{FF2B5EF4-FFF2-40B4-BE49-F238E27FC236}">
                <a16:creationId xmlns:a16="http://schemas.microsoft.com/office/drawing/2014/main" id="{588679BB-6031-49B7-BA1D-CE05DC2F87E0}"/>
              </a:ext>
            </a:extLst>
          </p:cNvPr>
          <p:cNvSpPr/>
          <p:nvPr/>
        </p:nvSpPr>
        <p:spPr bwMode="auto">
          <a:xfrm>
            <a:off x="6947494" y="2815784"/>
            <a:ext cx="1316612" cy="396964"/>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3237</a:t>
            </a:r>
            <a:endParaRPr lang="en-US" sz="1400" b="1" dirty="0">
              <a:solidFill>
                <a:prstClr val="black"/>
              </a:solidFill>
              <a:latin typeface="Arial" charset="0"/>
            </a:endParaRPr>
          </a:p>
        </p:txBody>
      </p:sp>
      <p:sp>
        <p:nvSpPr>
          <p:cNvPr id="51" name="Bevel 180">
            <a:extLst>
              <a:ext uri="{FF2B5EF4-FFF2-40B4-BE49-F238E27FC236}">
                <a16:creationId xmlns:a16="http://schemas.microsoft.com/office/drawing/2014/main" id="{588679BB-6031-49B7-BA1D-CE05DC2F87E0}"/>
              </a:ext>
            </a:extLst>
          </p:cNvPr>
          <p:cNvSpPr/>
          <p:nvPr/>
        </p:nvSpPr>
        <p:spPr bwMode="auto">
          <a:xfrm>
            <a:off x="6937469" y="3696850"/>
            <a:ext cx="1316612" cy="393953"/>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US" sz="1400" b="1" dirty="0">
                <a:solidFill>
                  <a:prstClr val="black"/>
                </a:solidFill>
                <a:latin typeface="Arial" charset="0"/>
              </a:rPr>
              <a:t>176</a:t>
            </a:r>
          </a:p>
        </p:txBody>
      </p:sp>
      <p:sp>
        <p:nvSpPr>
          <p:cNvPr id="55" name="Down Arrow Callout 118">
            <a:extLst>
              <a:ext uri="{FF2B5EF4-FFF2-40B4-BE49-F238E27FC236}">
                <a16:creationId xmlns:a16="http://schemas.microsoft.com/office/drawing/2014/main" id="{FAFC6F42-E276-4318-B4CA-6097616CF7E6}"/>
              </a:ext>
            </a:extLst>
          </p:cNvPr>
          <p:cNvSpPr/>
          <p:nvPr/>
        </p:nvSpPr>
        <p:spPr>
          <a:xfrm>
            <a:off x="8464996" y="1925966"/>
            <a:ext cx="1539695" cy="699086"/>
          </a:xfrm>
          <a:prstGeom prst="downArrowCallou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defRPr/>
            </a:pPr>
            <a:endParaRPr lang="en-IN" sz="1100" dirty="0">
              <a:solidFill>
                <a:prstClr val="white"/>
              </a:solidFill>
              <a:latin typeface="Arial" panose="020B0604020202020204" pitchFamily="34" charset="0"/>
              <a:cs typeface="Arial" panose="020B0604020202020204" pitchFamily="34" charset="0"/>
            </a:endParaRPr>
          </a:p>
        </p:txBody>
      </p:sp>
      <p:sp>
        <p:nvSpPr>
          <p:cNvPr id="57" name="Rectangle 3">
            <a:extLst>
              <a:ext uri="{FF2B5EF4-FFF2-40B4-BE49-F238E27FC236}">
                <a16:creationId xmlns:a16="http://schemas.microsoft.com/office/drawing/2014/main" id="{3A890A05-1F41-410D-AA06-4860278D4B37}"/>
              </a:ext>
            </a:extLst>
          </p:cNvPr>
          <p:cNvSpPr>
            <a:spLocks noChangeArrowheads="1"/>
          </p:cNvSpPr>
          <p:nvPr/>
        </p:nvSpPr>
        <p:spPr bwMode="auto">
          <a:xfrm>
            <a:off x="8837906" y="2065354"/>
            <a:ext cx="954909" cy="179601"/>
          </a:xfrm>
          <a:prstGeom prst="rect">
            <a:avLst/>
          </a:prstGeom>
          <a:noFill/>
          <a:ln w="9525">
            <a:noFill/>
            <a:miter lim="800000"/>
            <a:headEnd/>
            <a:tailEnd/>
          </a:ln>
        </p:spPr>
        <p:txBody>
          <a:bodyPr wrap="square" lIns="0" tIns="0" rIns="0" bIns="0">
            <a:spAutoFit/>
          </a:bodyPr>
          <a:lstStyle/>
          <a:p>
            <a:pPr algn="ctr" defTabSz="914327">
              <a:defRPr/>
            </a:pPr>
            <a:r>
              <a:rPr lang="en-GB" altLang="ja-JP" sz="1167" dirty="0">
                <a:solidFill>
                  <a:prstClr val="white"/>
                </a:solidFill>
                <a:latin typeface="Arial" panose="020B0604020202020204" pitchFamily="34" charset="0"/>
                <a:ea typeface="ＭＳ Ｐゴシック" panose="020B0600070205080204" pitchFamily="34" charset="-128"/>
                <a:cs typeface="Arial" panose="020B0604020202020204" pitchFamily="34" charset="0"/>
              </a:rPr>
              <a:t>Q2FY22</a:t>
            </a:r>
          </a:p>
        </p:txBody>
      </p:sp>
      <p:sp>
        <p:nvSpPr>
          <p:cNvPr id="45" name="Bevel 180">
            <a:extLst>
              <a:ext uri="{FF2B5EF4-FFF2-40B4-BE49-F238E27FC236}">
                <a16:creationId xmlns:a16="http://schemas.microsoft.com/office/drawing/2014/main" id="{41E206E8-BBE0-4434-94BE-F2A984F9CF5C}"/>
              </a:ext>
            </a:extLst>
          </p:cNvPr>
          <p:cNvSpPr/>
          <p:nvPr/>
        </p:nvSpPr>
        <p:spPr bwMode="auto">
          <a:xfrm>
            <a:off x="8688079" y="2815784"/>
            <a:ext cx="1316612" cy="396964"/>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3305</a:t>
            </a:r>
            <a:endParaRPr lang="en-US" sz="1400" b="1" dirty="0">
              <a:solidFill>
                <a:prstClr val="black"/>
              </a:solidFill>
              <a:latin typeface="Arial" charset="0"/>
            </a:endParaRPr>
          </a:p>
        </p:txBody>
      </p:sp>
      <p:sp>
        <p:nvSpPr>
          <p:cNvPr id="46" name="Bevel 180">
            <a:extLst>
              <a:ext uri="{FF2B5EF4-FFF2-40B4-BE49-F238E27FC236}">
                <a16:creationId xmlns:a16="http://schemas.microsoft.com/office/drawing/2014/main" id="{AEA672EB-B8CD-455F-8945-C99AC2BB5247}"/>
              </a:ext>
            </a:extLst>
          </p:cNvPr>
          <p:cNvSpPr/>
          <p:nvPr/>
        </p:nvSpPr>
        <p:spPr bwMode="auto">
          <a:xfrm>
            <a:off x="8678054" y="3696850"/>
            <a:ext cx="1316612" cy="393953"/>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US" sz="1400" b="1" dirty="0">
                <a:solidFill>
                  <a:prstClr val="black"/>
                </a:solidFill>
                <a:latin typeface="Arial" charset="0"/>
              </a:rPr>
              <a:t>166</a:t>
            </a:r>
          </a:p>
        </p:txBody>
      </p:sp>
      <p:sp>
        <p:nvSpPr>
          <p:cNvPr id="61" name="Bevel 180">
            <a:extLst>
              <a:ext uri="{FF2B5EF4-FFF2-40B4-BE49-F238E27FC236}">
                <a16:creationId xmlns:a16="http://schemas.microsoft.com/office/drawing/2014/main" id="{DEB39597-9A1F-41CE-9980-6EFB2B34FD23}"/>
              </a:ext>
            </a:extLst>
          </p:cNvPr>
          <p:cNvSpPr/>
          <p:nvPr/>
        </p:nvSpPr>
        <p:spPr bwMode="auto">
          <a:xfrm>
            <a:off x="10289301" y="2831140"/>
            <a:ext cx="1316612" cy="396964"/>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IN" sz="1400" b="1" dirty="0">
                <a:solidFill>
                  <a:prstClr val="black"/>
                </a:solidFill>
                <a:latin typeface="Arial" charset="0"/>
              </a:rPr>
              <a:t>3404</a:t>
            </a:r>
            <a:endParaRPr lang="en-US" sz="1400" b="1" dirty="0">
              <a:solidFill>
                <a:prstClr val="black"/>
              </a:solidFill>
              <a:latin typeface="Arial" charset="0"/>
            </a:endParaRPr>
          </a:p>
        </p:txBody>
      </p:sp>
      <p:sp>
        <p:nvSpPr>
          <p:cNvPr id="62" name="Bevel 180">
            <a:extLst>
              <a:ext uri="{FF2B5EF4-FFF2-40B4-BE49-F238E27FC236}">
                <a16:creationId xmlns:a16="http://schemas.microsoft.com/office/drawing/2014/main" id="{CC400D1E-13F3-48FD-B5C6-03F53AA0D889}"/>
              </a:ext>
            </a:extLst>
          </p:cNvPr>
          <p:cNvSpPr/>
          <p:nvPr/>
        </p:nvSpPr>
        <p:spPr bwMode="auto">
          <a:xfrm>
            <a:off x="10279276" y="3712206"/>
            <a:ext cx="1316612" cy="393953"/>
          </a:xfrm>
          <a:prstGeom prst="bevel">
            <a:avLst/>
          </a:prstGeom>
          <a:solidFill>
            <a:schemeClr val="accent4"/>
          </a:solidFill>
          <a:ln w="19050" algn="ctr">
            <a:noFill/>
            <a:round/>
            <a:headEnd/>
            <a:tailEnd/>
          </a:ln>
          <a:effectLst/>
        </p:spPr>
        <p:txBody>
          <a:bodyPr wrap="square" tIns="0" anchor="ctr" anchorCtr="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eaLnBrk="0" hangingPunct="0">
              <a:defRPr/>
            </a:pPr>
            <a:r>
              <a:rPr lang="en-US" sz="1400" b="1" dirty="0">
                <a:solidFill>
                  <a:prstClr val="black"/>
                </a:solidFill>
                <a:latin typeface="Arial" charset="0"/>
              </a:rPr>
              <a:t>158</a:t>
            </a:r>
          </a:p>
        </p:txBody>
      </p:sp>
    </p:spTree>
    <p:extLst>
      <p:ext uri="{BB962C8B-B14F-4D97-AF65-F5344CB8AC3E}">
        <p14:creationId xmlns:p14="http://schemas.microsoft.com/office/powerpoint/2010/main" val="30574068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dirty="0"/>
              <a:t>Indian automobile industry</a:t>
            </a:r>
          </a:p>
        </p:txBody>
      </p:sp>
      <p:sp>
        <p:nvSpPr>
          <p:cNvPr id="4" name="Rounded Rectangle 3">
            <a:hlinkClick r:id="rId2" action="ppaction://hlinksldjump"/>
          </p:cNvPr>
          <p:cNvSpPr/>
          <p:nvPr/>
        </p:nvSpPr>
        <p:spPr>
          <a:xfrm>
            <a:off x="9926320" y="6273800"/>
            <a:ext cx="953589" cy="359229"/>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ction="ppaction://hlinksldjump"/>
              </a:rPr>
              <a:t>INDEX</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2295824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208" y="86990"/>
            <a:ext cx="11693646" cy="443198"/>
          </a:xfrm>
        </p:spPr>
        <p:txBody>
          <a:bodyPr vert="horz" lIns="0" tIns="0" rIns="0" bIns="0" rtlCol="0" anchor="ctr">
            <a:noAutofit/>
          </a:bodyPr>
          <a:lstStyle/>
          <a:p>
            <a:r>
              <a:rPr lang="en-US" sz="2800" dirty="0">
                <a:solidFill>
                  <a:schemeClr val="tx1"/>
                </a:solidFill>
              </a:rPr>
              <a:t>Assumptions</a:t>
            </a:r>
          </a:p>
        </p:txBody>
      </p:sp>
      <p:sp>
        <p:nvSpPr>
          <p:cNvPr id="4" name="Rectangle 3"/>
          <p:cNvSpPr/>
          <p:nvPr/>
        </p:nvSpPr>
        <p:spPr>
          <a:xfrm>
            <a:off x="397633" y="604027"/>
            <a:ext cx="11396735" cy="5802021"/>
          </a:xfrm>
          <a:prstGeom prst="rect">
            <a:avLst/>
          </a:prstGeom>
        </p:spPr>
        <p:txBody>
          <a:bodyPr wrap="square" lIns="76185" tIns="38092" rIns="76185" bIns="38092">
            <a:spAutoFit/>
          </a:bodyPr>
          <a:lstStyle/>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No major global turmoil especially in Asia </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Quick and peaceful resolution to the Russia Ukraine conflict</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High chances of continued disruption in semiconductor supply (Russia – Palladium &amp; Ukraine – Neon gas) ; extending waiting periods</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Domestic market remains the primary priority for the OEMs</a:t>
            </a:r>
          </a:p>
          <a:p>
            <a:pPr algn="just" defTabSz="914363">
              <a:lnSpc>
                <a:spcPct val="112000"/>
              </a:lnSpc>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OEMs to shift back focus towards the premium segments of UVs and premium hatchbacks</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No disruption in OEM vehicle launch plans</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Elevated inflation levels, impact on consumer disposable incomes in the short term</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Increase in vehicle prices from April </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Fuel prices to remain elevated (FY23 – average of 90$ per barrel)</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Financing scenario to remain accommodative</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Favourable monsoon</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Pending bookings to be served in Q1 &amp; Q2 of Fiscal 2023</a:t>
            </a:r>
          </a:p>
          <a:p>
            <a:pPr marL="285694" indent="-285694" algn="just" defTabSz="914363">
              <a:lnSpc>
                <a:spcPct val="112000"/>
              </a:lnSpc>
              <a:buFont typeface="Arial" panose="020B0604020202020204" pitchFamily="34" charset="0"/>
              <a:buChar char="•"/>
              <a:defRPr/>
            </a:pPr>
            <a:endParaRPr lang="en-US" sz="1333" b="1" dirty="0">
              <a:solidFill>
                <a:prstClr val="black"/>
              </a:solidFill>
              <a:latin typeface="Arial" panose="020B0604020202020204" pitchFamily="34" charset="0"/>
              <a:cs typeface="Arial" panose="020B0604020202020204" pitchFamily="34" charset="0"/>
            </a:endParaRPr>
          </a:p>
          <a:p>
            <a:pPr marL="285694" indent="-285694" algn="just" defTabSz="914363">
              <a:lnSpc>
                <a:spcPct val="112000"/>
              </a:lnSpc>
              <a:buFont typeface="Arial" panose="020B0604020202020204" pitchFamily="34" charset="0"/>
              <a:buChar char="•"/>
              <a:defRPr/>
            </a:pPr>
            <a:r>
              <a:rPr lang="en-US" sz="1333" b="1" dirty="0">
                <a:solidFill>
                  <a:prstClr val="black"/>
                </a:solidFill>
                <a:latin typeface="Arial" panose="020B0604020202020204" pitchFamily="34" charset="0"/>
                <a:cs typeface="Arial" panose="020B0604020202020204" pitchFamily="34" charset="0"/>
              </a:rPr>
              <a:t>Possibility of downside to our forecast if the Russia Ukraine conflict escalates</a:t>
            </a:r>
          </a:p>
        </p:txBody>
      </p:sp>
    </p:spTree>
    <p:extLst>
      <p:ext uri="{BB962C8B-B14F-4D97-AF65-F5344CB8AC3E}">
        <p14:creationId xmlns:p14="http://schemas.microsoft.com/office/powerpoint/2010/main" val="27253219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D6BA4FF-0711-4867-A3C2-EEE3A0C41A71}"/>
              </a:ext>
            </a:extLst>
          </p:cNvPr>
          <p:cNvSpPr>
            <a:spLocks noGrp="1"/>
          </p:cNvSpPr>
          <p:nvPr>
            <p:ph type="title"/>
          </p:nvPr>
        </p:nvSpPr>
        <p:spPr>
          <a:xfrm>
            <a:off x="373858" y="213654"/>
            <a:ext cx="10515600" cy="415498"/>
          </a:xfrm>
        </p:spPr>
        <p:txBody>
          <a:bodyPr>
            <a:noAutofit/>
          </a:bodyPr>
          <a:lstStyle/>
          <a:p>
            <a:r>
              <a:rPr lang="en-US" sz="2800" b="1" dirty="0">
                <a:solidFill>
                  <a:schemeClr val="tx1"/>
                </a:solidFill>
                <a:latin typeface="Arial" panose="020B0604020202020204" pitchFamily="34" charset="0"/>
                <a:cs typeface="Arial" panose="020B0604020202020204" pitchFamily="34" charset="0"/>
              </a:rPr>
              <a:t>Annual Forecast – Domestic (Base case) </a:t>
            </a:r>
          </a:p>
        </p:txBody>
      </p:sp>
      <p:sp>
        <p:nvSpPr>
          <p:cNvPr id="125" name="TextBox 124">
            <a:extLst>
              <a:ext uri="{FF2B5EF4-FFF2-40B4-BE49-F238E27FC236}">
                <a16:creationId xmlns:a16="http://schemas.microsoft.com/office/drawing/2014/main" id="{530E415A-4C9A-448D-8B31-5E693A134E91}"/>
              </a:ext>
            </a:extLst>
          </p:cNvPr>
          <p:cNvSpPr txBox="1"/>
          <p:nvPr/>
        </p:nvSpPr>
        <p:spPr>
          <a:xfrm>
            <a:off x="668257" y="5833157"/>
            <a:ext cx="9328076" cy="246201"/>
          </a:xfrm>
          <a:prstGeom prst="rect">
            <a:avLst/>
          </a:prstGeom>
          <a:noFill/>
        </p:spPr>
        <p:txBody>
          <a:bodyPr wrap="square" lIns="91417" tIns="45710" rIns="91417" bIns="45710" rtlCol="0">
            <a:spAutoFit/>
          </a:bodyPr>
          <a:lstStyle/>
          <a:p>
            <a:pPr marL="0" marR="0" lvl="0" indent="0" algn="l" defTabSz="914143"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SIAM, CRISIL Research</a:t>
            </a:r>
          </a:p>
        </p:txBody>
      </p:sp>
      <p:sp>
        <p:nvSpPr>
          <p:cNvPr id="5" name="Rectangle: Rounded Corners 4">
            <a:hlinkClick r:id="" action="ppaction://noaction"/>
            <a:extLst>
              <a:ext uri="{FF2B5EF4-FFF2-40B4-BE49-F238E27FC236}">
                <a16:creationId xmlns:a16="http://schemas.microsoft.com/office/drawing/2014/main" id="{F6520F39-D056-40CA-9E54-2456D6B2BECE}"/>
              </a:ext>
            </a:extLst>
          </p:cNvPr>
          <p:cNvSpPr/>
          <p:nvPr/>
        </p:nvSpPr>
        <p:spPr>
          <a:xfrm>
            <a:off x="668257" y="2012717"/>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3" action="ppaction://hlinksldjump"/>
              </a:rPr>
              <a:t>Passenger vehicles </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13" name="Arrow: Pentagon 12">
            <a:extLst>
              <a:ext uri="{FF2B5EF4-FFF2-40B4-BE49-F238E27FC236}">
                <a16:creationId xmlns:a16="http://schemas.microsoft.com/office/drawing/2014/main" id="{E1553D6C-296F-4B41-8428-A47EEE46C1F3}"/>
              </a:ext>
            </a:extLst>
          </p:cNvPr>
          <p:cNvSpPr/>
          <p:nvPr/>
        </p:nvSpPr>
        <p:spPr>
          <a:xfrm rot="5400000">
            <a:off x="2562710" y="1199753"/>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0</a:t>
            </a:r>
          </a:p>
        </p:txBody>
      </p:sp>
      <p:sp>
        <p:nvSpPr>
          <p:cNvPr id="14" name="Arrow: Pentagon 13">
            <a:extLst>
              <a:ext uri="{FF2B5EF4-FFF2-40B4-BE49-F238E27FC236}">
                <a16:creationId xmlns:a16="http://schemas.microsoft.com/office/drawing/2014/main" id="{5ADEDE9C-C164-4665-A28C-7938E622A38B}"/>
              </a:ext>
            </a:extLst>
          </p:cNvPr>
          <p:cNvSpPr/>
          <p:nvPr/>
        </p:nvSpPr>
        <p:spPr>
          <a:xfrm rot="5400000">
            <a:off x="3649462" y="1205982"/>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1</a:t>
            </a:r>
          </a:p>
        </p:txBody>
      </p:sp>
      <p:sp>
        <p:nvSpPr>
          <p:cNvPr id="25" name="Rectangle: Rounded Corners 24">
            <a:hlinkClick r:id="" action="ppaction://noaction"/>
            <a:extLst>
              <a:ext uri="{FF2B5EF4-FFF2-40B4-BE49-F238E27FC236}">
                <a16:creationId xmlns:a16="http://schemas.microsoft.com/office/drawing/2014/main" id="{1B89A5E7-713C-4CD7-99B5-9030781B1C97}"/>
              </a:ext>
            </a:extLst>
          </p:cNvPr>
          <p:cNvSpPr/>
          <p:nvPr/>
        </p:nvSpPr>
        <p:spPr>
          <a:xfrm>
            <a:off x="668257" y="2761740"/>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4" action="ppaction://hlinksldjump"/>
              </a:rPr>
              <a:t>Two-wheeler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n)</a:t>
            </a:r>
          </a:p>
        </p:txBody>
      </p:sp>
      <p:sp>
        <p:nvSpPr>
          <p:cNvPr id="70" name="Rectangle: Rounded Corners 69">
            <a:hlinkClick r:id="" action="ppaction://noaction"/>
            <a:extLst>
              <a:ext uri="{FF2B5EF4-FFF2-40B4-BE49-F238E27FC236}">
                <a16:creationId xmlns:a16="http://schemas.microsoft.com/office/drawing/2014/main" id="{F4DD775E-B948-4128-B746-C767CC6F03CB}"/>
              </a:ext>
            </a:extLst>
          </p:cNvPr>
          <p:cNvSpPr/>
          <p:nvPr/>
        </p:nvSpPr>
        <p:spPr>
          <a:xfrm>
            <a:off x="668257" y="4273175"/>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5" action="ppaction://hlinksldjump"/>
              </a:rPr>
              <a:t>Three-wheeler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58" name="Arrow: Pentagon 13">
            <a:extLst>
              <a:ext uri="{FF2B5EF4-FFF2-40B4-BE49-F238E27FC236}">
                <a16:creationId xmlns:a16="http://schemas.microsoft.com/office/drawing/2014/main" id="{5ADEDE9C-C164-4665-A28C-7938E622A38B}"/>
              </a:ext>
            </a:extLst>
          </p:cNvPr>
          <p:cNvSpPr/>
          <p:nvPr/>
        </p:nvSpPr>
        <p:spPr>
          <a:xfrm rot="5400000">
            <a:off x="4706995" y="1201518"/>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a:t>
            </a:r>
          </a:p>
        </p:txBody>
      </p:sp>
      <p:sp>
        <p:nvSpPr>
          <p:cNvPr id="126" name="Rectangle: Rounded Corners 125">
            <a:extLst>
              <a:ext uri="{FF2B5EF4-FFF2-40B4-BE49-F238E27FC236}">
                <a16:creationId xmlns:a16="http://schemas.microsoft.com/office/drawing/2014/main" id="{A1A1B83B-5601-43C6-9D19-2239332A37F5}"/>
              </a:ext>
            </a:extLst>
          </p:cNvPr>
          <p:cNvSpPr/>
          <p:nvPr/>
        </p:nvSpPr>
        <p:spPr>
          <a:xfrm>
            <a:off x="2172875" y="1173832"/>
            <a:ext cx="4272403" cy="31152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41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olume</a:t>
            </a:r>
          </a:p>
        </p:txBody>
      </p:sp>
      <p:cxnSp>
        <p:nvCxnSpPr>
          <p:cNvPr id="3" name="Straight Connector 2">
            <a:extLst>
              <a:ext uri="{FF2B5EF4-FFF2-40B4-BE49-F238E27FC236}">
                <a16:creationId xmlns:a16="http://schemas.microsoft.com/office/drawing/2014/main" id="{83DFC90A-15B7-427A-AE6D-E74E4D2B2EB6}"/>
              </a:ext>
            </a:extLst>
          </p:cNvPr>
          <p:cNvCxnSpPr/>
          <p:nvPr/>
        </p:nvCxnSpPr>
        <p:spPr>
          <a:xfrm>
            <a:off x="6781367" y="931305"/>
            <a:ext cx="0" cy="4876800"/>
          </a:xfrm>
          <a:prstGeom prst="line">
            <a:avLst/>
          </a:prstGeom>
          <a:ln w="9525">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sp>
        <p:nvSpPr>
          <p:cNvPr id="221" name="Rectangle: Rounded Corners 18">
            <a:extLst>
              <a:ext uri="{FF2B5EF4-FFF2-40B4-BE49-F238E27FC236}">
                <a16:creationId xmlns:a16="http://schemas.microsoft.com/office/drawing/2014/main" id="{5DDD70D2-8644-457A-9212-16769C5629B5}"/>
              </a:ext>
            </a:extLst>
          </p:cNvPr>
          <p:cNvSpPr/>
          <p:nvPr/>
        </p:nvSpPr>
        <p:spPr>
          <a:xfrm>
            <a:off x="2250539" y="2012717"/>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773</a:t>
            </a:r>
          </a:p>
        </p:txBody>
      </p:sp>
      <p:sp>
        <p:nvSpPr>
          <p:cNvPr id="222" name="Rectangle: Rounded Corners 19">
            <a:extLst>
              <a:ext uri="{FF2B5EF4-FFF2-40B4-BE49-F238E27FC236}">
                <a16:creationId xmlns:a16="http://schemas.microsoft.com/office/drawing/2014/main" id="{440013B7-4C0E-4448-B11F-8D79D31E1458}"/>
              </a:ext>
            </a:extLst>
          </p:cNvPr>
          <p:cNvSpPr/>
          <p:nvPr/>
        </p:nvSpPr>
        <p:spPr>
          <a:xfrm>
            <a:off x="3278516" y="2012717"/>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712</a:t>
            </a:r>
          </a:p>
        </p:txBody>
      </p:sp>
      <p:sp>
        <p:nvSpPr>
          <p:cNvPr id="226" name="Rectangle: Rounded Corners 19">
            <a:extLst>
              <a:ext uri="{FF2B5EF4-FFF2-40B4-BE49-F238E27FC236}">
                <a16:creationId xmlns:a16="http://schemas.microsoft.com/office/drawing/2014/main" id="{440013B7-4C0E-4448-B11F-8D79D31E1458}"/>
              </a:ext>
            </a:extLst>
          </p:cNvPr>
          <p:cNvSpPr/>
          <p:nvPr/>
        </p:nvSpPr>
        <p:spPr>
          <a:xfrm>
            <a:off x="4335677" y="2012717"/>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942</a:t>
            </a:r>
          </a:p>
        </p:txBody>
      </p:sp>
      <p:sp>
        <p:nvSpPr>
          <p:cNvPr id="180" name="Arrow: Pentagon 12">
            <a:extLst>
              <a:ext uri="{FF2B5EF4-FFF2-40B4-BE49-F238E27FC236}">
                <a16:creationId xmlns:a16="http://schemas.microsoft.com/office/drawing/2014/main" id="{E1553D6C-296F-4B41-8428-A47EEE46C1F3}"/>
              </a:ext>
            </a:extLst>
          </p:cNvPr>
          <p:cNvSpPr/>
          <p:nvPr/>
        </p:nvSpPr>
        <p:spPr>
          <a:xfrm rot="5400000">
            <a:off x="7467326" y="1172746"/>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0</a:t>
            </a:r>
          </a:p>
        </p:txBody>
      </p:sp>
      <p:sp>
        <p:nvSpPr>
          <p:cNvPr id="181" name="Arrow: Pentagon 13">
            <a:extLst>
              <a:ext uri="{FF2B5EF4-FFF2-40B4-BE49-F238E27FC236}">
                <a16:creationId xmlns:a16="http://schemas.microsoft.com/office/drawing/2014/main" id="{5ADEDE9C-C164-4665-A28C-7938E622A38B}"/>
              </a:ext>
            </a:extLst>
          </p:cNvPr>
          <p:cNvSpPr/>
          <p:nvPr/>
        </p:nvSpPr>
        <p:spPr>
          <a:xfrm rot="5400000">
            <a:off x="8517793" y="1178974"/>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1</a:t>
            </a:r>
          </a:p>
        </p:txBody>
      </p:sp>
      <p:sp>
        <p:nvSpPr>
          <p:cNvPr id="189" name="Arrow: Pentagon 13">
            <a:extLst>
              <a:ext uri="{FF2B5EF4-FFF2-40B4-BE49-F238E27FC236}">
                <a16:creationId xmlns:a16="http://schemas.microsoft.com/office/drawing/2014/main" id="{5ADEDE9C-C164-4665-A28C-7938E622A38B}"/>
              </a:ext>
            </a:extLst>
          </p:cNvPr>
          <p:cNvSpPr/>
          <p:nvPr/>
        </p:nvSpPr>
        <p:spPr>
          <a:xfrm rot="5400000">
            <a:off x="9563231" y="1174511"/>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2</a:t>
            </a:r>
          </a:p>
        </p:txBody>
      </p:sp>
      <p:sp>
        <p:nvSpPr>
          <p:cNvPr id="192" name="Rectangle: Rounded Corners 125">
            <a:extLst>
              <a:ext uri="{FF2B5EF4-FFF2-40B4-BE49-F238E27FC236}">
                <a16:creationId xmlns:a16="http://schemas.microsoft.com/office/drawing/2014/main" id="{A1A1B83B-5601-43C6-9D19-2239332A37F5}"/>
              </a:ext>
            </a:extLst>
          </p:cNvPr>
          <p:cNvSpPr/>
          <p:nvPr/>
        </p:nvSpPr>
        <p:spPr>
          <a:xfrm>
            <a:off x="7077486" y="1146825"/>
            <a:ext cx="4224023" cy="31152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41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rowth y-o-y (%)</a:t>
            </a:r>
          </a:p>
        </p:txBody>
      </p:sp>
      <p:sp>
        <p:nvSpPr>
          <p:cNvPr id="168" name="Rectangle: Rounded Corners 18">
            <a:extLst>
              <a:ext uri="{FF2B5EF4-FFF2-40B4-BE49-F238E27FC236}">
                <a16:creationId xmlns:a16="http://schemas.microsoft.com/office/drawing/2014/main" id="{5DDD70D2-8644-457A-9212-16769C5629B5}"/>
              </a:ext>
            </a:extLst>
          </p:cNvPr>
          <p:cNvSpPr/>
          <p:nvPr/>
        </p:nvSpPr>
        <p:spPr>
          <a:xfrm>
            <a:off x="2244494" y="2761740"/>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7.42</a:t>
            </a:r>
          </a:p>
        </p:txBody>
      </p:sp>
      <p:sp>
        <p:nvSpPr>
          <p:cNvPr id="169" name="Rectangle: Rounded Corners 19">
            <a:extLst>
              <a:ext uri="{FF2B5EF4-FFF2-40B4-BE49-F238E27FC236}">
                <a16:creationId xmlns:a16="http://schemas.microsoft.com/office/drawing/2014/main" id="{440013B7-4C0E-4448-B11F-8D79D31E1458}"/>
              </a:ext>
            </a:extLst>
          </p:cNvPr>
          <p:cNvSpPr/>
          <p:nvPr/>
        </p:nvSpPr>
        <p:spPr>
          <a:xfrm>
            <a:off x="3272471" y="2761740"/>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5.12</a:t>
            </a:r>
          </a:p>
        </p:txBody>
      </p:sp>
      <p:sp>
        <p:nvSpPr>
          <p:cNvPr id="174" name="Rectangle: Rounded Corners 19">
            <a:extLst>
              <a:ext uri="{FF2B5EF4-FFF2-40B4-BE49-F238E27FC236}">
                <a16:creationId xmlns:a16="http://schemas.microsoft.com/office/drawing/2014/main" id="{440013B7-4C0E-4448-B11F-8D79D31E1458}"/>
              </a:ext>
            </a:extLst>
          </p:cNvPr>
          <p:cNvSpPr/>
          <p:nvPr/>
        </p:nvSpPr>
        <p:spPr>
          <a:xfrm>
            <a:off x="4329632" y="2761740"/>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46</a:t>
            </a:r>
          </a:p>
        </p:txBody>
      </p:sp>
      <p:sp>
        <p:nvSpPr>
          <p:cNvPr id="208" name="Rectangle: Rounded Corners 18">
            <a:extLst>
              <a:ext uri="{FF2B5EF4-FFF2-40B4-BE49-F238E27FC236}">
                <a16:creationId xmlns:a16="http://schemas.microsoft.com/office/drawing/2014/main" id="{5DDD70D2-8644-457A-9212-16769C5629B5}"/>
              </a:ext>
            </a:extLst>
          </p:cNvPr>
          <p:cNvSpPr/>
          <p:nvPr/>
        </p:nvSpPr>
        <p:spPr>
          <a:xfrm>
            <a:off x="2238449" y="4280321"/>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36</a:t>
            </a:r>
          </a:p>
        </p:txBody>
      </p:sp>
      <p:sp>
        <p:nvSpPr>
          <p:cNvPr id="209" name="Rectangle: Rounded Corners 19">
            <a:extLst>
              <a:ext uri="{FF2B5EF4-FFF2-40B4-BE49-F238E27FC236}">
                <a16:creationId xmlns:a16="http://schemas.microsoft.com/office/drawing/2014/main" id="{440013B7-4C0E-4448-B11F-8D79D31E1458}"/>
              </a:ext>
            </a:extLst>
          </p:cNvPr>
          <p:cNvSpPr/>
          <p:nvPr/>
        </p:nvSpPr>
        <p:spPr>
          <a:xfrm>
            <a:off x="3266426" y="4280321"/>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16</a:t>
            </a:r>
          </a:p>
        </p:txBody>
      </p:sp>
      <p:sp>
        <p:nvSpPr>
          <p:cNvPr id="210" name="Rectangle: Rounded Corners 19">
            <a:extLst>
              <a:ext uri="{FF2B5EF4-FFF2-40B4-BE49-F238E27FC236}">
                <a16:creationId xmlns:a16="http://schemas.microsoft.com/office/drawing/2014/main" id="{440013B7-4C0E-4448-B11F-8D79D31E1458}"/>
              </a:ext>
            </a:extLst>
          </p:cNvPr>
          <p:cNvSpPr/>
          <p:nvPr/>
        </p:nvSpPr>
        <p:spPr>
          <a:xfrm>
            <a:off x="4323587" y="4280321"/>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0</a:t>
            </a:r>
          </a:p>
        </p:txBody>
      </p:sp>
      <p:sp>
        <p:nvSpPr>
          <p:cNvPr id="217" name="Rectangle: Rounded Corners 18">
            <a:extLst>
              <a:ext uri="{FF2B5EF4-FFF2-40B4-BE49-F238E27FC236}">
                <a16:creationId xmlns:a16="http://schemas.microsoft.com/office/drawing/2014/main" id="{5DDD70D2-8644-457A-9212-16769C5629B5}"/>
              </a:ext>
            </a:extLst>
          </p:cNvPr>
          <p:cNvSpPr/>
          <p:nvPr/>
        </p:nvSpPr>
        <p:spPr>
          <a:xfrm>
            <a:off x="7155069" y="200667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a:t>
            </a:r>
          </a:p>
        </p:txBody>
      </p:sp>
      <p:sp>
        <p:nvSpPr>
          <p:cNvPr id="218" name="Rectangle: Rounded Corners 19">
            <a:extLst>
              <a:ext uri="{FF2B5EF4-FFF2-40B4-BE49-F238E27FC236}">
                <a16:creationId xmlns:a16="http://schemas.microsoft.com/office/drawing/2014/main" id="{440013B7-4C0E-4448-B11F-8D79D31E1458}"/>
              </a:ext>
            </a:extLst>
          </p:cNvPr>
          <p:cNvSpPr/>
          <p:nvPr/>
        </p:nvSpPr>
        <p:spPr>
          <a:xfrm>
            <a:off x="8183046" y="200667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219" name="Rectangle: Rounded Corners 19">
            <a:extLst>
              <a:ext uri="{FF2B5EF4-FFF2-40B4-BE49-F238E27FC236}">
                <a16:creationId xmlns:a16="http://schemas.microsoft.com/office/drawing/2014/main" id="{440013B7-4C0E-4448-B11F-8D79D31E1458}"/>
              </a:ext>
            </a:extLst>
          </p:cNvPr>
          <p:cNvSpPr/>
          <p:nvPr/>
        </p:nvSpPr>
        <p:spPr>
          <a:xfrm>
            <a:off x="9240207" y="200667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9</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229" name="Rectangle: Rounded Corners 18">
            <a:extLst>
              <a:ext uri="{FF2B5EF4-FFF2-40B4-BE49-F238E27FC236}">
                <a16:creationId xmlns:a16="http://schemas.microsoft.com/office/drawing/2014/main" id="{5DDD70D2-8644-457A-9212-16769C5629B5}"/>
              </a:ext>
            </a:extLst>
          </p:cNvPr>
          <p:cNvSpPr/>
          <p:nvPr/>
        </p:nvSpPr>
        <p:spPr>
          <a:xfrm>
            <a:off x="7149024" y="2755695"/>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a:t>
            </a:r>
          </a:p>
        </p:txBody>
      </p:sp>
      <p:sp>
        <p:nvSpPr>
          <p:cNvPr id="230" name="Rectangle: Rounded Corners 19">
            <a:extLst>
              <a:ext uri="{FF2B5EF4-FFF2-40B4-BE49-F238E27FC236}">
                <a16:creationId xmlns:a16="http://schemas.microsoft.com/office/drawing/2014/main" id="{440013B7-4C0E-4448-B11F-8D79D31E1458}"/>
              </a:ext>
            </a:extLst>
          </p:cNvPr>
          <p:cNvSpPr/>
          <p:nvPr/>
        </p:nvSpPr>
        <p:spPr>
          <a:xfrm>
            <a:off x="8177001" y="2755695"/>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a:t>
            </a:r>
          </a:p>
        </p:txBody>
      </p:sp>
      <p:sp>
        <p:nvSpPr>
          <p:cNvPr id="231" name="Rectangle: Rounded Corners 19">
            <a:extLst>
              <a:ext uri="{FF2B5EF4-FFF2-40B4-BE49-F238E27FC236}">
                <a16:creationId xmlns:a16="http://schemas.microsoft.com/office/drawing/2014/main" id="{440013B7-4C0E-4448-B11F-8D79D31E1458}"/>
              </a:ext>
            </a:extLst>
          </p:cNvPr>
          <p:cNvSpPr/>
          <p:nvPr/>
        </p:nvSpPr>
        <p:spPr>
          <a:xfrm>
            <a:off x="9234162" y="2755695"/>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11)</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301" name="Rectangle: Rounded Corners 18">
            <a:extLst>
              <a:ext uri="{FF2B5EF4-FFF2-40B4-BE49-F238E27FC236}">
                <a16:creationId xmlns:a16="http://schemas.microsoft.com/office/drawing/2014/main" id="{5DDD70D2-8644-457A-9212-16769C5629B5}"/>
              </a:ext>
            </a:extLst>
          </p:cNvPr>
          <p:cNvSpPr/>
          <p:nvPr/>
        </p:nvSpPr>
        <p:spPr>
          <a:xfrm>
            <a:off x="7142979" y="427427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a:t>
            </a:r>
          </a:p>
        </p:txBody>
      </p:sp>
      <p:sp>
        <p:nvSpPr>
          <p:cNvPr id="302" name="Rectangle: Rounded Corners 19">
            <a:extLst>
              <a:ext uri="{FF2B5EF4-FFF2-40B4-BE49-F238E27FC236}">
                <a16:creationId xmlns:a16="http://schemas.microsoft.com/office/drawing/2014/main" id="{440013B7-4C0E-4448-B11F-8D79D31E1458}"/>
              </a:ext>
            </a:extLst>
          </p:cNvPr>
          <p:cNvSpPr/>
          <p:nvPr/>
        </p:nvSpPr>
        <p:spPr>
          <a:xfrm>
            <a:off x="8170956" y="427427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6)%</a:t>
            </a:r>
          </a:p>
        </p:txBody>
      </p:sp>
      <p:sp>
        <p:nvSpPr>
          <p:cNvPr id="303" name="Rectangle: Rounded Corners 19">
            <a:extLst>
              <a:ext uri="{FF2B5EF4-FFF2-40B4-BE49-F238E27FC236}">
                <a16:creationId xmlns:a16="http://schemas.microsoft.com/office/drawing/2014/main" id="{440013B7-4C0E-4448-B11F-8D79D31E1458}"/>
              </a:ext>
            </a:extLst>
          </p:cNvPr>
          <p:cNvSpPr/>
          <p:nvPr/>
        </p:nvSpPr>
        <p:spPr>
          <a:xfrm>
            <a:off x="9228117" y="427427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20</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60" name="Rectangle: Rounded Corners 67">
            <a:hlinkClick r:id="" action="ppaction://noaction"/>
            <a:extLst>
              <a:ext uri="{FF2B5EF4-FFF2-40B4-BE49-F238E27FC236}">
                <a16:creationId xmlns:a16="http://schemas.microsoft.com/office/drawing/2014/main" id="{FC027591-217D-4E2A-95AC-4CA17C43348A}"/>
              </a:ext>
            </a:extLst>
          </p:cNvPr>
          <p:cNvSpPr/>
          <p:nvPr/>
        </p:nvSpPr>
        <p:spPr>
          <a:xfrm>
            <a:off x="668257" y="3499275"/>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6" action="ppaction://hlinksldjump"/>
              </a:rPr>
              <a:t>Commercial vehicle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62" name="Rectangle: Rounded Corners 18">
            <a:extLst>
              <a:ext uri="{FF2B5EF4-FFF2-40B4-BE49-F238E27FC236}">
                <a16:creationId xmlns:a16="http://schemas.microsoft.com/office/drawing/2014/main" id="{5DDD70D2-8644-457A-9212-16769C5629B5}"/>
              </a:ext>
            </a:extLst>
          </p:cNvPr>
          <p:cNvSpPr/>
          <p:nvPr/>
        </p:nvSpPr>
        <p:spPr>
          <a:xfrm>
            <a:off x="2244494" y="3499275"/>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18</a:t>
            </a:r>
          </a:p>
        </p:txBody>
      </p:sp>
      <p:sp>
        <p:nvSpPr>
          <p:cNvPr id="63" name="Rectangle: Rounded Corners 19">
            <a:extLst>
              <a:ext uri="{FF2B5EF4-FFF2-40B4-BE49-F238E27FC236}">
                <a16:creationId xmlns:a16="http://schemas.microsoft.com/office/drawing/2014/main" id="{440013B7-4C0E-4448-B11F-8D79D31E1458}"/>
              </a:ext>
            </a:extLst>
          </p:cNvPr>
          <p:cNvSpPr/>
          <p:nvPr/>
        </p:nvSpPr>
        <p:spPr>
          <a:xfrm>
            <a:off x="3272471" y="3499275"/>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66</a:t>
            </a:r>
          </a:p>
        </p:txBody>
      </p:sp>
      <p:sp>
        <p:nvSpPr>
          <p:cNvPr id="64" name="Rectangle: Rounded Corners 19">
            <a:extLst>
              <a:ext uri="{FF2B5EF4-FFF2-40B4-BE49-F238E27FC236}">
                <a16:creationId xmlns:a16="http://schemas.microsoft.com/office/drawing/2014/main" id="{440013B7-4C0E-4448-B11F-8D79D31E1458}"/>
              </a:ext>
            </a:extLst>
          </p:cNvPr>
          <p:cNvSpPr/>
          <p:nvPr/>
        </p:nvSpPr>
        <p:spPr>
          <a:xfrm>
            <a:off x="4329632" y="3499275"/>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721</a:t>
            </a:r>
            <a:endPar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6" name="Rectangle: Rounded Corners 18">
            <a:extLst>
              <a:ext uri="{FF2B5EF4-FFF2-40B4-BE49-F238E27FC236}">
                <a16:creationId xmlns:a16="http://schemas.microsoft.com/office/drawing/2014/main" id="{5DDD70D2-8644-457A-9212-16769C5629B5}"/>
              </a:ext>
            </a:extLst>
          </p:cNvPr>
          <p:cNvSpPr/>
          <p:nvPr/>
        </p:nvSpPr>
        <p:spPr>
          <a:xfrm>
            <a:off x="7149024" y="3493230"/>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9)%</a:t>
            </a:r>
          </a:p>
        </p:txBody>
      </p:sp>
      <p:sp>
        <p:nvSpPr>
          <p:cNvPr id="67" name="Rectangle: Rounded Corners 19">
            <a:extLst>
              <a:ext uri="{FF2B5EF4-FFF2-40B4-BE49-F238E27FC236}">
                <a16:creationId xmlns:a16="http://schemas.microsoft.com/office/drawing/2014/main" id="{440013B7-4C0E-4448-B11F-8D79D31E1458}"/>
              </a:ext>
            </a:extLst>
          </p:cNvPr>
          <p:cNvSpPr/>
          <p:nvPr/>
        </p:nvSpPr>
        <p:spPr>
          <a:xfrm>
            <a:off x="8177001" y="3493230"/>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1)%</a:t>
            </a:r>
          </a:p>
        </p:txBody>
      </p:sp>
      <p:sp>
        <p:nvSpPr>
          <p:cNvPr id="71" name="Rectangle: Rounded Corners 19">
            <a:extLst>
              <a:ext uri="{FF2B5EF4-FFF2-40B4-BE49-F238E27FC236}">
                <a16:creationId xmlns:a16="http://schemas.microsoft.com/office/drawing/2014/main" id="{440013B7-4C0E-4448-B11F-8D79D31E1458}"/>
              </a:ext>
            </a:extLst>
          </p:cNvPr>
          <p:cNvSpPr/>
          <p:nvPr/>
        </p:nvSpPr>
        <p:spPr>
          <a:xfrm>
            <a:off x="9234162" y="3493230"/>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a:t>
            </a:r>
          </a:p>
        </p:txBody>
      </p:sp>
      <p:sp>
        <p:nvSpPr>
          <p:cNvPr id="72" name="Rectangle: Rounded Corners 68">
            <a:hlinkClick r:id="" action="ppaction://noaction"/>
            <a:extLst>
              <a:ext uri="{FF2B5EF4-FFF2-40B4-BE49-F238E27FC236}">
                <a16:creationId xmlns:a16="http://schemas.microsoft.com/office/drawing/2014/main" id="{9299A8B6-3C22-4B71-815B-8A015F69D4CA}"/>
              </a:ext>
            </a:extLst>
          </p:cNvPr>
          <p:cNvSpPr/>
          <p:nvPr/>
        </p:nvSpPr>
        <p:spPr>
          <a:xfrm>
            <a:off x="668257" y="5044063"/>
            <a:ext cx="1463040" cy="6096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hlinkClick r:id="rId7" action="ppaction://hlinksldjump"/>
              </a:rPr>
              <a:t>Tractors</a:t>
            </a:r>
            <a:endPar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167"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000)</a:t>
            </a:r>
          </a:p>
        </p:txBody>
      </p:sp>
      <p:sp>
        <p:nvSpPr>
          <p:cNvPr id="74" name="Rectangle: Rounded Corners 18">
            <a:extLst>
              <a:ext uri="{FF2B5EF4-FFF2-40B4-BE49-F238E27FC236}">
                <a16:creationId xmlns:a16="http://schemas.microsoft.com/office/drawing/2014/main" id="{5DDD70D2-8644-457A-9212-16769C5629B5}"/>
              </a:ext>
            </a:extLst>
          </p:cNvPr>
          <p:cNvSpPr/>
          <p:nvPr/>
        </p:nvSpPr>
        <p:spPr>
          <a:xfrm>
            <a:off x="2238449" y="5058432"/>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09</a:t>
            </a:r>
          </a:p>
        </p:txBody>
      </p:sp>
      <p:sp>
        <p:nvSpPr>
          <p:cNvPr id="75" name="Rectangle: Rounded Corners 19">
            <a:extLst>
              <a:ext uri="{FF2B5EF4-FFF2-40B4-BE49-F238E27FC236}">
                <a16:creationId xmlns:a16="http://schemas.microsoft.com/office/drawing/2014/main" id="{440013B7-4C0E-4448-B11F-8D79D31E1458}"/>
              </a:ext>
            </a:extLst>
          </p:cNvPr>
          <p:cNvSpPr/>
          <p:nvPr/>
        </p:nvSpPr>
        <p:spPr>
          <a:xfrm>
            <a:off x="3266426" y="5058432"/>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98</a:t>
            </a:r>
          </a:p>
        </p:txBody>
      </p:sp>
      <p:sp>
        <p:nvSpPr>
          <p:cNvPr id="76" name="Rectangle: Rounded Corners 19">
            <a:extLst>
              <a:ext uri="{FF2B5EF4-FFF2-40B4-BE49-F238E27FC236}">
                <a16:creationId xmlns:a16="http://schemas.microsoft.com/office/drawing/2014/main" id="{440013B7-4C0E-4448-B11F-8D79D31E1458}"/>
              </a:ext>
            </a:extLst>
          </p:cNvPr>
          <p:cNvSpPr/>
          <p:nvPr/>
        </p:nvSpPr>
        <p:spPr>
          <a:xfrm>
            <a:off x="4323587" y="5058432"/>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42</a:t>
            </a:r>
          </a:p>
        </p:txBody>
      </p:sp>
      <p:sp>
        <p:nvSpPr>
          <p:cNvPr id="78" name="Rectangle: Rounded Corners 18">
            <a:extLst>
              <a:ext uri="{FF2B5EF4-FFF2-40B4-BE49-F238E27FC236}">
                <a16:creationId xmlns:a16="http://schemas.microsoft.com/office/drawing/2014/main" id="{5DDD70D2-8644-457A-9212-16769C5629B5}"/>
              </a:ext>
            </a:extLst>
          </p:cNvPr>
          <p:cNvSpPr/>
          <p:nvPr/>
        </p:nvSpPr>
        <p:spPr>
          <a:xfrm>
            <a:off x="7142979" y="5052387"/>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0)%</a:t>
            </a:r>
          </a:p>
        </p:txBody>
      </p:sp>
      <p:sp>
        <p:nvSpPr>
          <p:cNvPr id="79" name="Rectangle: Rounded Corners 19">
            <a:extLst>
              <a:ext uri="{FF2B5EF4-FFF2-40B4-BE49-F238E27FC236}">
                <a16:creationId xmlns:a16="http://schemas.microsoft.com/office/drawing/2014/main" id="{440013B7-4C0E-4448-B11F-8D79D31E1458}"/>
              </a:ext>
            </a:extLst>
          </p:cNvPr>
          <p:cNvSpPr/>
          <p:nvPr/>
        </p:nvSpPr>
        <p:spPr>
          <a:xfrm>
            <a:off x="8170956" y="5052387"/>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6.6%</a:t>
            </a:r>
          </a:p>
        </p:txBody>
      </p:sp>
      <p:sp>
        <p:nvSpPr>
          <p:cNvPr id="80" name="Rectangle: Rounded Corners 19">
            <a:extLst>
              <a:ext uri="{FF2B5EF4-FFF2-40B4-BE49-F238E27FC236}">
                <a16:creationId xmlns:a16="http://schemas.microsoft.com/office/drawing/2014/main" id="{440013B7-4C0E-4448-B11F-8D79D31E1458}"/>
              </a:ext>
            </a:extLst>
          </p:cNvPr>
          <p:cNvSpPr/>
          <p:nvPr/>
        </p:nvSpPr>
        <p:spPr>
          <a:xfrm>
            <a:off x="9228117" y="5052387"/>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a:t>
            </a:r>
            <a:r>
              <a:rPr lang="en-US" sz="1083" b="1" dirty="0">
                <a:solidFill>
                  <a:prstClr val="white"/>
                </a:solidFill>
                <a:latin typeface="Arial" panose="020B0604020202020204" pitchFamily="34" charset="0"/>
                <a:cs typeface="Arial" panose="020B0604020202020204" pitchFamily="34" charset="0"/>
              </a:rPr>
              <a:t>)</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68" name="Rounded Rectangle 67"/>
          <p:cNvSpPr/>
          <p:nvPr/>
        </p:nvSpPr>
        <p:spPr>
          <a:xfrm>
            <a:off x="8133702" y="6281010"/>
            <a:ext cx="2805455" cy="365760"/>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6182" tIns="38090" rIns="76182" bIns="3809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ck on the text to go to the section</a:t>
            </a:r>
          </a:p>
        </p:txBody>
      </p:sp>
      <p:sp>
        <p:nvSpPr>
          <p:cNvPr id="69" name="Arrow: Pentagon 13">
            <a:extLst>
              <a:ext uri="{FF2B5EF4-FFF2-40B4-BE49-F238E27FC236}">
                <a16:creationId xmlns:a16="http://schemas.microsoft.com/office/drawing/2014/main" id="{561A6E6E-B133-49C9-8730-FC77C9AD6517}"/>
              </a:ext>
            </a:extLst>
          </p:cNvPr>
          <p:cNvSpPr/>
          <p:nvPr/>
        </p:nvSpPr>
        <p:spPr>
          <a:xfrm rot="5400000">
            <a:off x="5773792" y="1189534"/>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3P</a:t>
            </a:r>
          </a:p>
        </p:txBody>
      </p:sp>
      <p:sp>
        <p:nvSpPr>
          <p:cNvPr id="81" name="Rectangle: Rounded Corners 19">
            <a:extLst>
              <a:ext uri="{FF2B5EF4-FFF2-40B4-BE49-F238E27FC236}">
                <a16:creationId xmlns:a16="http://schemas.microsoft.com/office/drawing/2014/main" id="{3D6F4104-2DD6-40B2-BF4D-DB299B47EF17}"/>
              </a:ext>
            </a:extLst>
          </p:cNvPr>
          <p:cNvSpPr/>
          <p:nvPr/>
        </p:nvSpPr>
        <p:spPr>
          <a:xfrm>
            <a:off x="5402474" y="2000733"/>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3440-3460</a:t>
            </a:r>
            <a:endPar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Rectangle: Rounded Corners 19">
            <a:extLst>
              <a:ext uri="{FF2B5EF4-FFF2-40B4-BE49-F238E27FC236}">
                <a16:creationId xmlns:a16="http://schemas.microsoft.com/office/drawing/2014/main" id="{64D9D18A-B8A1-4FF9-9E20-4C3385FEA2E7}"/>
              </a:ext>
            </a:extLst>
          </p:cNvPr>
          <p:cNvSpPr/>
          <p:nvPr/>
        </p:nvSpPr>
        <p:spPr>
          <a:xfrm>
            <a:off x="5396429" y="2749756"/>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3.2-13.7</a:t>
            </a:r>
          </a:p>
        </p:txBody>
      </p:sp>
      <p:sp>
        <p:nvSpPr>
          <p:cNvPr id="83" name="Rectangle: Rounded Corners 19">
            <a:extLst>
              <a:ext uri="{FF2B5EF4-FFF2-40B4-BE49-F238E27FC236}">
                <a16:creationId xmlns:a16="http://schemas.microsoft.com/office/drawing/2014/main" id="{15EEBC6B-BDA2-4E63-A3C4-F59135F79634}"/>
              </a:ext>
            </a:extLst>
          </p:cNvPr>
          <p:cNvSpPr/>
          <p:nvPr/>
        </p:nvSpPr>
        <p:spPr>
          <a:xfrm>
            <a:off x="5390384" y="4268337"/>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357-362</a:t>
            </a:r>
            <a:endPar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4" name="Rectangle: Rounded Corners 19">
            <a:extLst>
              <a:ext uri="{FF2B5EF4-FFF2-40B4-BE49-F238E27FC236}">
                <a16:creationId xmlns:a16="http://schemas.microsoft.com/office/drawing/2014/main" id="{D4ADA2D5-A96B-4ADA-8D47-D4BE71A7E06B}"/>
              </a:ext>
            </a:extLst>
          </p:cNvPr>
          <p:cNvSpPr/>
          <p:nvPr/>
        </p:nvSpPr>
        <p:spPr>
          <a:xfrm>
            <a:off x="5396429" y="3487291"/>
            <a:ext cx="9906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27-844</a:t>
            </a:r>
          </a:p>
        </p:txBody>
      </p:sp>
      <p:sp>
        <p:nvSpPr>
          <p:cNvPr id="85" name="Rectangle: Rounded Corners 19">
            <a:extLst>
              <a:ext uri="{FF2B5EF4-FFF2-40B4-BE49-F238E27FC236}">
                <a16:creationId xmlns:a16="http://schemas.microsoft.com/office/drawing/2014/main" id="{CBF0D79B-18C8-47DF-8004-5FBAF1130715}"/>
              </a:ext>
            </a:extLst>
          </p:cNvPr>
          <p:cNvSpPr/>
          <p:nvPr/>
        </p:nvSpPr>
        <p:spPr>
          <a:xfrm>
            <a:off x="5390384" y="5046448"/>
            <a:ext cx="9906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40-850</a:t>
            </a:r>
          </a:p>
        </p:txBody>
      </p:sp>
      <p:sp>
        <p:nvSpPr>
          <p:cNvPr id="86" name="Arrow: Pentagon 13">
            <a:extLst>
              <a:ext uri="{FF2B5EF4-FFF2-40B4-BE49-F238E27FC236}">
                <a16:creationId xmlns:a16="http://schemas.microsoft.com/office/drawing/2014/main" id="{13C6F3FA-647A-487E-BBAF-65731D60A1BE}"/>
              </a:ext>
            </a:extLst>
          </p:cNvPr>
          <p:cNvSpPr/>
          <p:nvPr/>
        </p:nvSpPr>
        <p:spPr>
          <a:xfrm rot="5400000">
            <a:off x="10619754" y="1162527"/>
            <a:ext cx="292608" cy="1005840"/>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Y23P</a:t>
            </a:r>
          </a:p>
        </p:txBody>
      </p:sp>
      <p:sp>
        <p:nvSpPr>
          <p:cNvPr id="87" name="Rectangle: Rounded Corners 19">
            <a:extLst>
              <a:ext uri="{FF2B5EF4-FFF2-40B4-BE49-F238E27FC236}">
                <a16:creationId xmlns:a16="http://schemas.microsoft.com/office/drawing/2014/main" id="{0E8940A2-841D-4BA9-BCD0-670C3E79FF3D}"/>
              </a:ext>
            </a:extLst>
          </p:cNvPr>
          <p:cNvSpPr/>
          <p:nvPr/>
        </p:nvSpPr>
        <p:spPr>
          <a:xfrm>
            <a:off x="10296730" y="1994688"/>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16-18</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88" name="Rectangle: Rounded Corners 19">
            <a:extLst>
              <a:ext uri="{FF2B5EF4-FFF2-40B4-BE49-F238E27FC236}">
                <a16:creationId xmlns:a16="http://schemas.microsoft.com/office/drawing/2014/main" id="{D79A2A0F-F0D9-4346-876C-5511944C608A}"/>
              </a:ext>
            </a:extLst>
          </p:cNvPr>
          <p:cNvSpPr/>
          <p:nvPr/>
        </p:nvSpPr>
        <p:spPr>
          <a:xfrm>
            <a:off x="10290685" y="2743711"/>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1%</a:t>
            </a:r>
          </a:p>
        </p:txBody>
      </p:sp>
      <p:sp>
        <p:nvSpPr>
          <p:cNvPr id="89" name="Rectangle: Rounded Corners 19">
            <a:extLst>
              <a:ext uri="{FF2B5EF4-FFF2-40B4-BE49-F238E27FC236}">
                <a16:creationId xmlns:a16="http://schemas.microsoft.com/office/drawing/2014/main" id="{E813D4BC-3664-406A-A933-13EE8340C985}"/>
              </a:ext>
            </a:extLst>
          </p:cNvPr>
          <p:cNvSpPr/>
          <p:nvPr/>
        </p:nvSpPr>
        <p:spPr>
          <a:xfrm>
            <a:off x="10284640" y="4262292"/>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7-39%</a:t>
            </a:r>
          </a:p>
        </p:txBody>
      </p:sp>
      <p:sp>
        <p:nvSpPr>
          <p:cNvPr id="90" name="Rectangle: Rounded Corners 19">
            <a:extLst>
              <a:ext uri="{FF2B5EF4-FFF2-40B4-BE49-F238E27FC236}">
                <a16:creationId xmlns:a16="http://schemas.microsoft.com/office/drawing/2014/main" id="{5EB6B57A-89C6-45E6-8C71-6D8FE34D17F6}"/>
              </a:ext>
            </a:extLst>
          </p:cNvPr>
          <p:cNvSpPr/>
          <p:nvPr/>
        </p:nvSpPr>
        <p:spPr>
          <a:xfrm>
            <a:off x="10290685" y="3481246"/>
            <a:ext cx="914400" cy="609600"/>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15-17</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91" name="Rectangle: Rounded Corners 19">
            <a:extLst>
              <a:ext uri="{FF2B5EF4-FFF2-40B4-BE49-F238E27FC236}">
                <a16:creationId xmlns:a16="http://schemas.microsoft.com/office/drawing/2014/main" id="{7D3C9004-C89D-4F10-A98C-BFEEFA89E163}"/>
              </a:ext>
            </a:extLst>
          </p:cNvPr>
          <p:cNvSpPr/>
          <p:nvPr/>
        </p:nvSpPr>
        <p:spPr>
          <a:xfrm>
            <a:off x="10284640" y="5040403"/>
            <a:ext cx="914400" cy="609600"/>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7" tIns="45710" rIns="91417" bIns="45710" rtlCol="0" anchor="ctr"/>
          <a:lstStyle/>
          <a:p>
            <a:pPr marL="0" marR="0" lvl="0" indent="0" algn="ctr" defTabSz="914143" rtl="0" eaLnBrk="1" fontAlgn="auto" latinLnBrk="0" hangingPunct="1">
              <a:lnSpc>
                <a:spcPct val="100000"/>
              </a:lnSpc>
              <a:spcBef>
                <a:spcPts val="0"/>
              </a:spcBef>
              <a:spcAft>
                <a:spcPts val="0"/>
              </a:spcAft>
              <a:buClrTx/>
              <a:buSzTx/>
              <a:buFontTx/>
              <a:buNone/>
              <a:tabLst/>
              <a:defRPr/>
            </a:pPr>
            <a:r>
              <a:rPr lang="en-US" sz="1083" b="1" dirty="0">
                <a:solidFill>
                  <a:prstClr val="white"/>
                </a:solidFill>
                <a:latin typeface="Arial" panose="020B0604020202020204" pitchFamily="34" charset="0"/>
                <a:cs typeface="Arial" panose="020B0604020202020204" pitchFamily="34" charset="0"/>
              </a:rPr>
              <a:t>0-2</a:t>
            </a:r>
            <a:r>
              <a:rPr kumimoji="0" lang="en-US" sz="1083"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70877478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D6BA4FF-0711-4867-A3C2-EEE3A0C41A71}"/>
              </a:ext>
            </a:extLst>
          </p:cNvPr>
          <p:cNvSpPr>
            <a:spLocks noGrp="1"/>
          </p:cNvSpPr>
          <p:nvPr>
            <p:ph type="title"/>
          </p:nvPr>
        </p:nvSpPr>
        <p:spPr>
          <a:xfrm>
            <a:off x="411480" y="161925"/>
            <a:ext cx="10515600" cy="528955"/>
          </a:xfrm>
        </p:spPr>
        <p:txBody>
          <a:bodyPr vert="horz" lIns="0" tIns="0" rIns="0" bIns="0" rtlCol="0" anchor="ctr">
            <a:noAutofit/>
          </a:bodyPr>
          <a:lstStyle/>
          <a:p>
            <a:r>
              <a:rPr lang="en-US" sz="2800" b="1" dirty="0">
                <a:solidFill>
                  <a:schemeClr val="tx1"/>
                </a:solidFill>
                <a:latin typeface="Arial" panose="020B0604020202020204" pitchFamily="34" charset="0"/>
                <a:cs typeface="Arial" panose="020B0604020202020204" pitchFamily="34" charset="0"/>
              </a:rPr>
              <a:t>Quarterly forecasts – Domestic</a:t>
            </a:r>
          </a:p>
        </p:txBody>
      </p:sp>
      <p:sp>
        <p:nvSpPr>
          <p:cNvPr id="170" name="Rectangle: Rounded Corners 169">
            <a:extLst>
              <a:ext uri="{FF2B5EF4-FFF2-40B4-BE49-F238E27FC236}">
                <a16:creationId xmlns:a16="http://schemas.microsoft.com/office/drawing/2014/main" id="{BFD3DB29-252E-4C1E-A58C-A3676AC3D8CD}"/>
              </a:ext>
            </a:extLst>
          </p:cNvPr>
          <p:cNvSpPr/>
          <p:nvPr/>
        </p:nvSpPr>
        <p:spPr>
          <a:xfrm>
            <a:off x="233779" y="1503619"/>
            <a:ext cx="1371600" cy="685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ssenger vehicles</a:t>
            </a:r>
          </a:p>
        </p:txBody>
      </p:sp>
      <p:sp>
        <p:nvSpPr>
          <p:cNvPr id="194" name="Rectangle: Rounded Corners 193">
            <a:extLst>
              <a:ext uri="{FF2B5EF4-FFF2-40B4-BE49-F238E27FC236}">
                <a16:creationId xmlns:a16="http://schemas.microsoft.com/office/drawing/2014/main" id="{ECAF922C-CE8F-49B4-B60E-1EF4EED9557F}"/>
              </a:ext>
            </a:extLst>
          </p:cNvPr>
          <p:cNvSpPr/>
          <p:nvPr/>
        </p:nvSpPr>
        <p:spPr>
          <a:xfrm>
            <a:off x="1667317" y="1508631"/>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rs (‘000)</a:t>
            </a:r>
          </a:p>
        </p:txBody>
      </p:sp>
      <p:sp>
        <p:nvSpPr>
          <p:cNvPr id="203" name="Rectangle: Rounded Corners 202">
            <a:extLst>
              <a:ext uri="{FF2B5EF4-FFF2-40B4-BE49-F238E27FC236}">
                <a16:creationId xmlns:a16="http://schemas.microsoft.com/office/drawing/2014/main" id="{230D2B56-775E-4A33-A2E5-A8C2A8FB302B}"/>
              </a:ext>
            </a:extLst>
          </p:cNvPr>
          <p:cNvSpPr/>
          <p:nvPr/>
        </p:nvSpPr>
        <p:spPr>
          <a:xfrm>
            <a:off x="1667317" y="1752778"/>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Vs &amp; vans (‘000)</a:t>
            </a:r>
          </a:p>
        </p:txBody>
      </p:sp>
      <p:sp>
        <p:nvSpPr>
          <p:cNvPr id="212" name="Rectangle: Rounded Corners 211">
            <a:extLst>
              <a:ext uri="{FF2B5EF4-FFF2-40B4-BE49-F238E27FC236}">
                <a16:creationId xmlns:a16="http://schemas.microsoft.com/office/drawing/2014/main" id="{1FBE584E-9578-440E-8569-9FDB6AA551D4}"/>
              </a:ext>
            </a:extLst>
          </p:cNvPr>
          <p:cNvSpPr/>
          <p:nvPr/>
        </p:nvSpPr>
        <p:spPr>
          <a:xfrm>
            <a:off x="233779" y="2316870"/>
            <a:ext cx="1371600" cy="93748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wo-wheel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0" name="Rectangle: Rounded Corners 219">
            <a:extLst>
              <a:ext uri="{FF2B5EF4-FFF2-40B4-BE49-F238E27FC236}">
                <a16:creationId xmlns:a16="http://schemas.microsoft.com/office/drawing/2014/main" id="{D46F65C3-CD7D-42E1-B82A-E0E0E39DFDBD}"/>
              </a:ext>
            </a:extLst>
          </p:cNvPr>
          <p:cNvSpPr/>
          <p:nvPr/>
        </p:nvSpPr>
        <p:spPr>
          <a:xfrm>
            <a:off x="1667317" y="2316870"/>
            <a:ext cx="1554480" cy="219926"/>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torcycles (mn)</a:t>
            </a:r>
          </a:p>
        </p:txBody>
      </p:sp>
      <p:sp>
        <p:nvSpPr>
          <p:cNvPr id="223" name="Rectangle: Rounded Corners 222">
            <a:extLst>
              <a:ext uri="{FF2B5EF4-FFF2-40B4-BE49-F238E27FC236}">
                <a16:creationId xmlns:a16="http://schemas.microsoft.com/office/drawing/2014/main" id="{A12F11AE-D220-4AFC-8D94-86F80A926F95}"/>
              </a:ext>
            </a:extLst>
          </p:cNvPr>
          <p:cNvSpPr/>
          <p:nvPr/>
        </p:nvSpPr>
        <p:spPr>
          <a:xfrm>
            <a:off x="1667317" y="2564014"/>
            <a:ext cx="1554480" cy="219926"/>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ooters (mn)</a:t>
            </a:r>
          </a:p>
        </p:txBody>
      </p:sp>
      <p:sp>
        <p:nvSpPr>
          <p:cNvPr id="248" name="Rectangle: Rounded Corners 247">
            <a:extLst>
              <a:ext uri="{FF2B5EF4-FFF2-40B4-BE49-F238E27FC236}">
                <a16:creationId xmlns:a16="http://schemas.microsoft.com/office/drawing/2014/main" id="{6B2152E4-1BC4-46E5-A39B-1B22C86D1481}"/>
              </a:ext>
            </a:extLst>
          </p:cNvPr>
          <p:cNvSpPr/>
          <p:nvPr/>
        </p:nvSpPr>
        <p:spPr>
          <a:xfrm>
            <a:off x="1679349" y="374034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HCV (‘000)</a:t>
            </a:r>
          </a:p>
        </p:txBody>
      </p:sp>
      <p:sp>
        <p:nvSpPr>
          <p:cNvPr id="249" name="Rectangle: Rounded Corners 248">
            <a:extLst>
              <a:ext uri="{FF2B5EF4-FFF2-40B4-BE49-F238E27FC236}">
                <a16:creationId xmlns:a16="http://schemas.microsoft.com/office/drawing/2014/main" id="{BBB8EE86-F51C-4F70-B741-C1AA0475A8AF}"/>
              </a:ext>
            </a:extLst>
          </p:cNvPr>
          <p:cNvSpPr/>
          <p:nvPr/>
        </p:nvSpPr>
        <p:spPr>
          <a:xfrm>
            <a:off x="1679349" y="3991549"/>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ses (‘000)</a:t>
            </a:r>
          </a:p>
        </p:txBody>
      </p:sp>
      <p:sp>
        <p:nvSpPr>
          <p:cNvPr id="250" name="Rectangle: Rounded Corners 249">
            <a:extLst>
              <a:ext uri="{FF2B5EF4-FFF2-40B4-BE49-F238E27FC236}">
                <a16:creationId xmlns:a16="http://schemas.microsoft.com/office/drawing/2014/main" id="{25D0CAEF-2CDB-4127-AA18-66F99BC68AFC}"/>
              </a:ext>
            </a:extLst>
          </p:cNvPr>
          <p:cNvSpPr/>
          <p:nvPr/>
        </p:nvSpPr>
        <p:spPr>
          <a:xfrm>
            <a:off x="233779" y="3375751"/>
            <a:ext cx="1371600" cy="127390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ercial vehicles</a:t>
            </a:r>
          </a:p>
        </p:txBody>
      </p:sp>
      <p:sp>
        <p:nvSpPr>
          <p:cNvPr id="251" name="Rectangle: Rounded Corners 250">
            <a:extLst>
              <a:ext uri="{FF2B5EF4-FFF2-40B4-BE49-F238E27FC236}">
                <a16:creationId xmlns:a16="http://schemas.microsoft.com/office/drawing/2014/main" id="{080EA40A-AAE0-4B51-8B01-25B3013979E3}"/>
              </a:ext>
            </a:extLst>
          </p:cNvPr>
          <p:cNvSpPr/>
          <p:nvPr/>
        </p:nvSpPr>
        <p:spPr>
          <a:xfrm>
            <a:off x="233779" y="4767796"/>
            <a:ext cx="2973742" cy="4114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actors (‘000)</a:t>
            </a:r>
          </a:p>
        </p:txBody>
      </p:sp>
      <p:sp>
        <p:nvSpPr>
          <p:cNvPr id="252" name="Rectangle: Rounded Corners 251">
            <a:extLst>
              <a:ext uri="{FF2B5EF4-FFF2-40B4-BE49-F238E27FC236}">
                <a16:creationId xmlns:a16="http://schemas.microsoft.com/office/drawing/2014/main" id="{672E7A6C-03DF-409E-A1E7-B60C26963873}"/>
              </a:ext>
            </a:extLst>
          </p:cNvPr>
          <p:cNvSpPr/>
          <p:nvPr/>
        </p:nvSpPr>
        <p:spPr>
          <a:xfrm>
            <a:off x="233779" y="5272177"/>
            <a:ext cx="1371600" cy="7447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ree-wheelers</a:t>
            </a:r>
          </a:p>
        </p:txBody>
      </p:sp>
      <p:sp>
        <p:nvSpPr>
          <p:cNvPr id="253" name="Rectangle: Rounded Corners 252">
            <a:extLst>
              <a:ext uri="{FF2B5EF4-FFF2-40B4-BE49-F238E27FC236}">
                <a16:creationId xmlns:a16="http://schemas.microsoft.com/office/drawing/2014/main" id="{53A6650F-C124-472A-8D3A-62309D32DC84}"/>
              </a:ext>
            </a:extLst>
          </p:cNvPr>
          <p:cNvSpPr/>
          <p:nvPr/>
        </p:nvSpPr>
        <p:spPr>
          <a:xfrm>
            <a:off x="1667317" y="527002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ods (‘000)</a:t>
            </a:r>
          </a:p>
        </p:txBody>
      </p:sp>
      <p:sp>
        <p:nvSpPr>
          <p:cNvPr id="254" name="Rectangle: Rounded Corners 253">
            <a:extLst>
              <a:ext uri="{FF2B5EF4-FFF2-40B4-BE49-F238E27FC236}">
                <a16:creationId xmlns:a16="http://schemas.microsoft.com/office/drawing/2014/main" id="{1E1741C2-63F6-46F1-9697-4FC15E9AD327}"/>
              </a:ext>
            </a:extLst>
          </p:cNvPr>
          <p:cNvSpPr/>
          <p:nvPr/>
        </p:nvSpPr>
        <p:spPr>
          <a:xfrm>
            <a:off x="1667317" y="5524343"/>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ssenger (‘000)</a:t>
            </a:r>
          </a:p>
        </p:txBody>
      </p:sp>
      <p:sp>
        <p:nvSpPr>
          <p:cNvPr id="266" name="Rectangle: Rounded Corners 265">
            <a:extLst>
              <a:ext uri="{FF2B5EF4-FFF2-40B4-BE49-F238E27FC236}">
                <a16:creationId xmlns:a16="http://schemas.microsoft.com/office/drawing/2014/main" id="{4D795AD2-454D-4AB8-B5C0-480FEED4834A}"/>
              </a:ext>
            </a:extLst>
          </p:cNvPr>
          <p:cNvSpPr/>
          <p:nvPr/>
        </p:nvSpPr>
        <p:spPr>
          <a:xfrm>
            <a:off x="1667317" y="2812988"/>
            <a:ext cx="1554480" cy="219926"/>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peds (‘000)</a:t>
            </a:r>
          </a:p>
        </p:txBody>
      </p:sp>
      <p:sp>
        <p:nvSpPr>
          <p:cNvPr id="279" name="Rectangle: Rounded Corners 8">
            <a:extLst>
              <a:ext uri="{FF2B5EF4-FFF2-40B4-BE49-F238E27FC236}">
                <a16:creationId xmlns:a16="http://schemas.microsoft.com/office/drawing/2014/main" id="{881E905D-D57D-4610-ACCA-F505C4EFA84E}"/>
              </a:ext>
            </a:extLst>
          </p:cNvPr>
          <p:cNvSpPr/>
          <p:nvPr/>
        </p:nvSpPr>
        <p:spPr>
          <a:xfrm>
            <a:off x="1679349" y="2002162"/>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Vs (‘000)</a:t>
            </a:r>
          </a:p>
        </p:txBody>
      </p:sp>
      <p:sp>
        <p:nvSpPr>
          <p:cNvPr id="280" name="Rectangle: Rounded Corners 96">
            <a:extLst>
              <a:ext uri="{FF2B5EF4-FFF2-40B4-BE49-F238E27FC236}">
                <a16:creationId xmlns:a16="http://schemas.microsoft.com/office/drawing/2014/main" id="{736F3AEE-7241-4593-8EBB-6EF5491C8DE6}"/>
              </a:ext>
            </a:extLst>
          </p:cNvPr>
          <p:cNvSpPr/>
          <p:nvPr/>
        </p:nvSpPr>
        <p:spPr>
          <a:xfrm>
            <a:off x="1667317" y="3062425"/>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W (mn)</a:t>
            </a:r>
          </a:p>
        </p:txBody>
      </p:sp>
      <p:sp>
        <p:nvSpPr>
          <p:cNvPr id="283" name="Rectangle: Rounded Corners 61">
            <a:extLst>
              <a:ext uri="{FF2B5EF4-FFF2-40B4-BE49-F238E27FC236}">
                <a16:creationId xmlns:a16="http://schemas.microsoft.com/office/drawing/2014/main" id="{3F4F610A-37B3-456B-BC08-3ABD3267C83B}"/>
              </a:ext>
            </a:extLst>
          </p:cNvPr>
          <p:cNvSpPr/>
          <p:nvPr/>
        </p:nvSpPr>
        <p:spPr>
          <a:xfrm>
            <a:off x="1679349" y="4254614"/>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Vs (‘000)</a:t>
            </a:r>
          </a:p>
        </p:txBody>
      </p:sp>
      <p:sp>
        <p:nvSpPr>
          <p:cNvPr id="286" name="Rectangle: Rounded Corners 71">
            <a:extLst>
              <a:ext uri="{FF2B5EF4-FFF2-40B4-BE49-F238E27FC236}">
                <a16:creationId xmlns:a16="http://schemas.microsoft.com/office/drawing/2014/main" id="{751DA899-E3EA-4743-8581-569AF2B9E296}"/>
              </a:ext>
            </a:extLst>
          </p:cNvPr>
          <p:cNvSpPr/>
          <p:nvPr/>
        </p:nvSpPr>
        <p:spPr>
          <a:xfrm>
            <a:off x="1667317" y="5793650"/>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W (‘000)</a:t>
            </a:r>
          </a:p>
        </p:txBody>
      </p:sp>
      <p:sp>
        <p:nvSpPr>
          <p:cNvPr id="312" name="Arrow: Pentagon 13">
            <a:extLst>
              <a:ext uri="{FF2B5EF4-FFF2-40B4-BE49-F238E27FC236}">
                <a16:creationId xmlns:a16="http://schemas.microsoft.com/office/drawing/2014/main" id="{D2939415-CC48-4C72-8D1F-76A46F13FB2C}"/>
              </a:ext>
            </a:extLst>
          </p:cNvPr>
          <p:cNvSpPr/>
          <p:nvPr/>
        </p:nvSpPr>
        <p:spPr>
          <a:xfrm rot="5400000">
            <a:off x="3705198" y="807499"/>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3 FY 22 </a:t>
            </a:r>
          </a:p>
        </p:txBody>
      </p:sp>
      <p:sp>
        <p:nvSpPr>
          <p:cNvPr id="313" name="Rectangle: Rounded Corners 19">
            <a:extLst>
              <a:ext uri="{FF2B5EF4-FFF2-40B4-BE49-F238E27FC236}">
                <a16:creationId xmlns:a16="http://schemas.microsoft.com/office/drawing/2014/main" id="{79CB1364-E518-4E97-B841-1E7189311CE8}"/>
              </a:ext>
            </a:extLst>
          </p:cNvPr>
          <p:cNvSpPr/>
          <p:nvPr/>
        </p:nvSpPr>
        <p:spPr>
          <a:xfrm>
            <a:off x="3340881" y="2326830"/>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4" name="Rectangle: Rounded Corners 36">
            <a:extLst>
              <a:ext uri="{FF2B5EF4-FFF2-40B4-BE49-F238E27FC236}">
                <a16:creationId xmlns:a16="http://schemas.microsoft.com/office/drawing/2014/main" id="{BE5D4BEE-37DD-4192-A00D-B08E5764B9DF}"/>
              </a:ext>
            </a:extLst>
          </p:cNvPr>
          <p:cNvSpPr/>
          <p:nvPr/>
        </p:nvSpPr>
        <p:spPr>
          <a:xfrm>
            <a:off x="3340881" y="2555413"/>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322" name="Rectangle: Rounded Corners 36">
            <a:extLst>
              <a:ext uri="{FF2B5EF4-FFF2-40B4-BE49-F238E27FC236}">
                <a16:creationId xmlns:a16="http://schemas.microsoft.com/office/drawing/2014/main" id="{E292994A-987F-4183-9B1B-2A4EF8DB25F2}"/>
              </a:ext>
            </a:extLst>
          </p:cNvPr>
          <p:cNvSpPr/>
          <p:nvPr/>
        </p:nvSpPr>
        <p:spPr>
          <a:xfrm>
            <a:off x="3340881" y="2841537"/>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6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3" name="Rectangle: Rounded Corners 36">
            <a:extLst>
              <a:ext uri="{FF2B5EF4-FFF2-40B4-BE49-F238E27FC236}">
                <a16:creationId xmlns:a16="http://schemas.microsoft.com/office/drawing/2014/main" id="{342A3EF9-BC00-4E39-AB56-EC11BA007956}"/>
              </a:ext>
            </a:extLst>
          </p:cNvPr>
          <p:cNvSpPr/>
          <p:nvPr/>
        </p:nvSpPr>
        <p:spPr>
          <a:xfrm>
            <a:off x="3340881" y="309097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208" name="Rectangle: Rounded Corners 207">
            <a:extLst>
              <a:ext uri="{FF2B5EF4-FFF2-40B4-BE49-F238E27FC236}">
                <a16:creationId xmlns:a16="http://schemas.microsoft.com/office/drawing/2014/main" id="{02B1A8CF-53D8-46C2-96CA-0610E2A5689E}"/>
              </a:ext>
            </a:extLst>
          </p:cNvPr>
          <p:cNvSpPr/>
          <p:nvPr/>
        </p:nvSpPr>
        <p:spPr>
          <a:xfrm>
            <a:off x="3274685" y="803871"/>
            <a:ext cx="4245796" cy="30100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a:t>
            </a:r>
          </a:p>
        </p:txBody>
      </p:sp>
      <p:sp>
        <p:nvSpPr>
          <p:cNvPr id="205" name="Arrow: Pentagon 13">
            <a:extLst>
              <a:ext uri="{FF2B5EF4-FFF2-40B4-BE49-F238E27FC236}">
                <a16:creationId xmlns:a16="http://schemas.microsoft.com/office/drawing/2014/main" id="{5B092BD5-AF05-4E55-B833-94D2FCF0C3A8}"/>
              </a:ext>
            </a:extLst>
          </p:cNvPr>
          <p:cNvSpPr/>
          <p:nvPr/>
        </p:nvSpPr>
        <p:spPr>
          <a:xfrm rot="5400000">
            <a:off x="9099258" y="798983"/>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4 FY 22 </a:t>
            </a:r>
          </a:p>
        </p:txBody>
      </p:sp>
      <p:sp>
        <p:nvSpPr>
          <p:cNvPr id="206" name="Rectangle: Rounded Corners 19">
            <a:extLst>
              <a:ext uri="{FF2B5EF4-FFF2-40B4-BE49-F238E27FC236}">
                <a16:creationId xmlns:a16="http://schemas.microsoft.com/office/drawing/2014/main" id="{914FE065-BC2C-4C50-9917-723C9D6E6587}"/>
              </a:ext>
            </a:extLst>
          </p:cNvPr>
          <p:cNvSpPr/>
          <p:nvPr/>
        </p:nvSpPr>
        <p:spPr>
          <a:xfrm>
            <a:off x="8734941" y="230818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07" name="Rectangle: Rounded Corners 36">
            <a:extLst>
              <a:ext uri="{FF2B5EF4-FFF2-40B4-BE49-F238E27FC236}">
                <a16:creationId xmlns:a16="http://schemas.microsoft.com/office/drawing/2014/main" id="{FB4A15FE-C10F-406D-BD69-57A6FC9BEE62}"/>
              </a:ext>
            </a:extLst>
          </p:cNvPr>
          <p:cNvSpPr/>
          <p:nvPr/>
        </p:nvSpPr>
        <p:spPr>
          <a:xfrm>
            <a:off x="8734941" y="254804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 name="Rectangle: Rounded Corners 36">
            <a:extLst>
              <a:ext uri="{FF2B5EF4-FFF2-40B4-BE49-F238E27FC236}">
                <a16:creationId xmlns:a16="http://schemas.microsoft.com/office/drawing/2014/main" id="{F61ADF99-CC50-4C7C-A89C-C459390254C9}"/>
              </a:ext>
            </a:extLst>
          </p:cNvPr>
          <p:cNvSpPr/>
          <p:nvPr/>
        </p:nvSpPr>
        <p:spPr>
          <a:xfrm>
            <a:off x="8734941" y="282289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100" dirty="0">
                <a:solidFill>
                  <a:srgbClr val="000000"/>
                </a:solidFill>
                <a:latin typeface="Arial" panose="020B0604020202020204" pitchFamily="34" charset="0"/>
                <a:cs typeface="Arial" panose="020B0604020202020204" pitchFamily="34" charset="0"/>
              </a:rPr>
              <a:t>30</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231" name="Rectangle: Rounded Corners 36">
            <a:extLst>
              <a:ext uri="{FF2B5EF4-FFF2-40B4-BE49-F238E27FC236}">
                <a16:creationId xmlns:a16="http://schemas.microsoft.com/office/drawing/2014/main" id="{1E01E46D-AE0D-45F5-82A8-33E85C96C5BA}"/>
              </a:ext>
            </a:extLst>
          </p:cNvPr>
          <p:cNvSpPr/>
          <p:nvPr/>
        </p:nvSpPr>
        <p:spPr>
          <a:xfrm>
            <a:off x="8734941" y="307233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 name="Arrow: Pentagon 13">
            <a:extLst>
              <a:ext uri="{FF2B5EF4-FFF2-40B4-BE49-F238E27FC236}">
                <a16:creationId xmlns:a16="http://schemas.microsoft.com/office/drawing/2014/main" id="{08CBAF3D-08E2-4FEB-A2FD-2077EBBC3449}"/>
              </a:ext>
            </a:extLst>
          </p:cNvPr>
          <p:cNvSpPr/>
          <p:nvPr/>
        </p:nvSpPr>
        <p:spPr>
          <a:xfrm rot="5400000">
            <a:off x="8032013" y="798982"/>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3 FY 22</a:t>
            </a:r>
          </a:p>
        </p:txBody>
      </p:sp>
      <p:sp>
        <p:nvSpPr>
          <p:cNvPr id="344" name="Rectangle: Rounded Corners 19">
            <a:extLst>
              <a:ext uri="{FF2B5EF4-FFF2-40B4-BE49-F238E27FC236}">
                <a16:creationId xmlns:a16="http://schemas.microsoft.com/office/drawing/2014/main" id="{4CE9ED90-E0CC-48F5-889C-567DBDF9A08E}"/>
              </a:ext>
            </a:extLst>
          </p:cNvPr>
          <p:cNvSpPr/>
          <p:nvPr/>
        </p:nvSpPr>
        <p:spPr>
          <a:xfrm>
            <a:off x="7667696" y="2327675"/>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 name="Rectangle: Rounded Corners 36">
            <a:extLst>
              <a:ext uri="{FF2B5EF4-FFF2-40B4-BE49-F238E27FC236}">
                <a16:creationId xmlns:a16="http://schemas.microsoft.com/office/drawing/2014/main" id="{4E6C2353-104B-4035-B833-BF16C6ED6F54}"/>
              </a:ext>
            </a:extLst>
          </p:cNvPr>
          <p:cNvSpPr/>
          <p:nvPr/>
        </p:nvSpPr>
        <p:spPr>
          <a:xfrm>
            <a:off x="7667696" y="2556257"/>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r>
              <a:rPr lang="en-US" sz="1100" dirty="0">
                <a:solidFill>
                  <a:srgbClr val="000000"/>
                </a:solidFill>
                <a:latin typeface="Arial" panose="020B0604020202020204" pitchFamily="34" charset="0"/>
                <a:cs typeface="Arial" panose="020B0604020202020204" pitchFamily="34" charset="0"/>
              </a:rPr>
              <a:t>)</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3" name="Rectangle: Rounded Corners 36">
            <a:extLst>
              <a:ext uri="{FF2B5EF4-FFF2-40B4-BE49-F238E27FC236}">
                <a16:creationId xmlns:a16="http://schemas.microsoft.com/office/drawing/2014/main" id="{98CE01D9-CE21-4517-BE1C-8B15A05C3764}"/>
              </a:ext>
            </a:extLst>
          </p:cNvPr>
          <p:cNvSpPr/>
          <p:nvPr/>
        </p:nvSpPr>
        <p:spPr>
          <a:xfrm>
            <a:off x="7667696" y="2842382"/>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4" name="Rectangle: Rounded Corners 36">
            <a:extLst>
              <a:ext uri="{FF2B5EF4-FFF2-40B4-BE49-F238E27FC236}">
                <a16:creationId xmlns:a16="http://schemas.microsoft.com/office/drawing/2014/main" id="{7D3AFE29-F7BC-4D23-BDCA-C73A7925435A}"/>
              </a:ext>
            </a:extLst>
          </p:cNvPr>
          <p:cNvSpPr/>
          <p:nvPr/>
        </p:nvSpPr>
        <p:spPr>
          <a:xfrm>
            <a:off x="7667696" y="309181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2)</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 name="Rectangle: Rounded Corners 359">
            <a:extLst>
              <a:ext uri="{FF2B5EF4-FFF2-40B4-BE49-F238E27FC236}">
                <a16:creationId xmlns:a16="http://schemas.microsoft.com/office/drawing/2014/main" id="{D47B7949-A859-4C39-BBCC-98634A7F2EEB}"/>
              </a:ext>
            </a:extLst>
          </p:cNvPr>
          <p:cNvSpPr/>
          <p:nvPr/>
        </p:nvSpPr>
        <p:spPr>
          <a:xfrm>
            <a:off x="7575568" y="789049"/>
            <a:ext cx="4282837" cy="30100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 (%)</a:t>
            </a:r>
          </a:p>
        </p:txBody>
      </p:sp>
      <p:sp>
        <p:nvSpPr>
          <p:cNvPr id="361" name="Rectangle: Rounded Corners 360">
            <a:extLst>
              <a:ext uri="{FF2B5EF4-FFF2-40B4-BE49-F238E27FC236}">
                <a16:creationId xmlns:a16="http://schemas.microsoft.com/office/drawing/2014/main" id="{5548E95E-3668-4AA7-B760-180F9DC07910}"/>
              </a:ext>
            </a:extLst>
          </p:cNvPr>
          <p:cNvSpPr/>
          <p:nvPr/>
        </p:nvSpPr>
        <p:spPr>
          <a:xfrm>
            <a:off x="233779" y="798970"/>
            <a:ext cx="1371600" cy="63236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ehicle segment</a:t>
            </a:r>
          </a:p>
        </p:txBody>
      </p:sp>
      <p:sp>
        <p:nvSpPr>
          <p:cNvPr id="362" name="Rectangle: Rounded Corners 361">
            <a:extLst>
              <a:ext uri="{FF2B5EF4-FFF2-40B4-BE49-F238E27FC236}">
                <a16:creationId xmlns:a16="http://schemas.microsoft.com/office/drawing/2014/main" id="{E880EC39-A88B-485A-BC4B-8EB94927F9B0}"/>
              </a:ext>
            </a:extLst>
          </p:cNvPr>
          <p:cNvSpPr/>
          <p:nvPr/>
        </p:nvSpPr>
        <p:spPr>
          <a:xfrm>
            <a:off x="1653041" y="803870"/>
            <a:ext cx="1554480" cy="63236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bsegment</a:t>
            </a:r>
          </a:p>
        </p:txBody>
      </p:sp>
      <p:sp>
        <p:nvSpPr>
          <p:cNvPr id="363" name="TextBox 362">
            <a:extLst>
              <a:ext uri="{FF2B5EF4-FFF2-40B4-BE49-F238E27FC236}">
                <a16:creationId xmlns:a16="http://schemas.microsoft.com/office/drawing/2014/main" id="{FC5BC8E7-322E-4F00-BDA4-A8DDC0FB0A61}"/>
              </a:ext>
            </a:extLst>
          </p:cNvPr>
          <p:cNvSpPr txBox="1"/>
          <p:nvPr/>
        </p:nvSpPr>
        <p:spPr>
          <a:xfrm>
            <a:off x="266335" y="6105436"/>
            <a:ext cx="9328076" cy="246205"/>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IAM, CRISIL Research</a:t>
            </a:r>
          </a:p>
        </p:txBody>
      </p:sp>
      <p:sp>
        <p:nvSpPr>
          <p:cNvPr id="164" name="Rectangle: Rounded Corners 19">
            <a:extLst>
              <a:ext uri="{FF2B5EF4-FFF2-40B4-BE49-F238E27FC236}">
                <a16:creationId xmlns:a16="http://schemas.microsoft.com/office/drawing/2014/main" id="{B83358C3-ECD7-4CC3-81F5-28C031A0CB68}"/>
              </a:ext>
            </a:extLst>
          </p:cNvPr>
          <p:cNvSpPr/>
          <p:nvPr/>
        </p:nvSpPr>
        <p:spPr>
          <a:xfrm>
            <a:off x="3340881" y="151379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4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Rectangle: Rounded Corners 36">
            <a:extLst>
              <a:ext uri="{FF2B5EF4-FFF2-40B4-BE49-F238E27FC236}">
                <a16:creationId xmlns:a16="http://schemas.microsoft.com/office/drawing/2014/main" id="{577FC18E-1135-4077-9719-2717D0293EE6}"/>
              </a:ext>
            </a:extLst>
          </p:cNvPr>
          <p:cNvSpPr/>
          <p:nvPr/>
        </p:nvSpPr>
        <p:spPr>
          <a:xfrm>
            <a:off x="3340881" y="174237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1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6" name="Rectangle: Rounded Corners 36">
            <a:extLst>
              <a:ext uri="{FF2B5EF4-FFF2-40B4-BE49-F238E27FC236}">
                <a16:creationId xmlns:a16="http://schemas.microsoft.com/office/drawing/2014/main" id="{72753220-8DC6-486B-A24E-4C4B0C398582}"/>
              </a:ext>
            </a:extLst>
          </p:cNvPr>
          <p:cNvSpPr/>
          <p:nvPr/>
        </p:nvSpPr>
        <p:spPr>
          <a:xfrm>
            <a:off x="3340881" y="2028503"/>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60</a:t>
            </a:r>
          </a:p>
        </p:txBody>
      </p:sp>
      <p:sp>
        <p:nvSpPr>
          <p:cNvPr id="167" name="Rectangle: Rounded Corners 19">
            <a:extLst>
              <a:ext uri="{FF2B5EF4-FFF2-40B4-BE49-F238E27FC236}">
                <a16:creationId xmlns:a16="http://schemas.microsoft.com/office/drawing/2014/main" id="{A009C231-B241-4919-B853-015AFB0E8565}"/>
              </a:ext>
            </a:extLst>
          </p:cNvPr>
          <p:cNvSpPr/>
          <p:nvPr/>
        </p:nvSpPr>
        <p:spPr>
          <a:xfrm>
            <a:off x="8734941" y="230818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8" name="Rectangle: Rounded Corners 19">
            <a:extLst>
              <a:ext uri="{FF2B5EF4-FFF2-40B4-BE49-F238E27FC236}">
                <a16:creationId xmlns:a16="http://schemas.microsoft.com/office/drawing/2014/main" id="{512559F0-E7D5-477F-88D3-979A54BB5813}"/>
              </a:ext>
            </a:extLst>
          </p:cNvPr>
          <p:cNvSpPr/>
          <p:nvPr/>
        </p:nvSpPr>
        <p:spPr>
          <a:xfrm>
            <a:off x="8734941" y="149515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100" dirty="0">
                <a:solidFill>
                  <a:srgbClr val="000000"/>
                </a:solidFill>
                <a:latin typeface="Arial" panose="020B0604020202020204" pitchFamily="34" charset="0"/>
                <a:cs typeface="Arial" panose="020B0604020202020204" pitchFamily="34" charset="0"/>
              </a:rPr>
              <a:t>2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9" name="Rectangle: Rounded Corners 36">
            <a:extLst>
              <a:ext uri="{FF2B5EF4-FFF2-40B4-BE49-F238E27FC236}">
                <a16:creationId xmlns:a16="http://schemas.microsoft.com/office/drawing/2014/main" id="{3D4B3BF5-281C-4BDE-9E31-D013D2011A51}"/>
              </a:ext>
            </a:extLst>
          </p:cNvPr>
          <p:cNvSpPr/>
          <p:nvPr/>
        </p:nvSpPr>
        <p:spPr>
          <a:xfrm>
            <a:off x="8734941" y="173501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171" name="Rectangle: Rounded Corners 36">
            <a:extLst>
              <a:ext uri="{FF2B5EF4-FFF2-40B4-BE49-F238E27FC236}">
                <a16:creationId xmlns:a16="http://schemas.microsoft.com/office/drawing/2014/main" id="{2732306C-C055-4589-8741-4D020D1FF667}"/>
              </a:ext>
            </a:extLst>
          </p:cNvPr>
          <p:cNvSpPr/>
          <p:nvPr/>
        </p:nvSpPr>
        <p:spPr>
          <a:xfrm>
            <a:off x="8734941" y="200986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179" name="Rectangle: Rounded Corners 19">
            <a:extLst>
              <a:ext uri="{FF2B5EF4-FFF2-40B4-BE49-F238E27FC236}">
                <a16:creationId xmlns:a16="http://schemas.microsoft.com/office/drawing/2014/main" id="{F4CDC170-0211-4559-914E-6DE9D762BD6D}"/>
              </a:ext>
            </a:extLst>
          </p:cNvPr>
          <p:cNvSpPr/>
          <p:nvPr/>
        </p:nvSpPr>
        <p:spPr>
          <a:xfrm>
            <a:off x="7667696" y="149049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a:t>
            </a:r>
          </a:p>
        </p:txBody>
      </p:sp>
      <p:sp>
        <p:nvSpPr>
          <p:cNvPr id="180" name="Rectangle: Rounded Corners 36">
            <a:extLst>
              <a:ext uri="{FF2B5EF4-FFF2-40B4-BE49-F238E27FC236}">
                <a16:creationId xmlns:a16="http://schemas.microsoft.com/office/drawing/2014/main" id="{3EA7A85C-B9A2-4003-B2B4-00DF5E914EB6}"/>
              </a:ext>
            </a:extLst>
          </p:cNvPr>
          <p:cNvSpPr/>
          <p:nvPr/>
        </p:nvSpPr>
        <p:spPr>
          <a:xfrm>
            <a:off x="7667696" y="174322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1" name="Rectangle: Rounded Corners 36">
            <a:extLst>
              <a:ext uri="{FF2B5EF4-FFF2-40B4-BE49-F238E27FC236}">
                <a16:creationId xmlns:a16="http://schemas.microsoft.com/office/drawing/2014/main" id="{0A26D33B-CC3E-48A3-B5E9-363B679E15F8}"/>
              </a:ext>
            </a:extLst>
          </p:cNvPr>
          <p:cNvSpPr/>
          <p:nvPr/>
        </p:nvSpPr>
        <p:spPr>
          <a:xfrm>
            <a:off x="7667696" y="201731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15)</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1" name="Rectangle: Rounded Corners 42">
            <a:extLst>
              <a:ext uri="{FF2B5EF4-FFF2-40B4-BE49-F238E27FC236}">
                <a16:creationId xmlns:a16="http://schemas.microsoft.com/office/drawing/2014/main" id="{5ED95C5B-45C5-45E2-8A99-EC6D7F643013}"/>
              </a:ext>
            </a:extLst>
          </p:cNvPr>
          <p:cNvSpPr/>
          <p:nvPr/>
        </p:nvSpPr>
        <p:spPr>
          <a:xfrm>
            <a:off x="3340881" y="52765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lvl="0" algn="ctr">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3</a:t>
            </a:r>
          </a:p>
        </p:txBody>
      </p:sp>
      <p:sp>
        <p:nvSpPr>
          <p:cNvPr id="192" name="Rectangle: Rounded Corners 42">
            <a:extLst>
              <a:ext uri="{FF2B5EF4-FFF2-40B4-BE49-F238E27FC236}">
                <a16:creationId xmlns:a16="http://schemas.microsoft.com/office/drawing/2014/main" id="{7EB29F29-76EC-4C10-80C0-7E06F4549D8D}"/>
              </a:ext>
            </a:extLst>
          </p:cNvPr>
          <p:cNvSpPr/>
          <p:nvPr/>
        </p:nvSpPr>
        <p:spPr>
          <a:xfrm>
            <a:off x="3340881" y="550214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0.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3" name="Rectangle: Rounded Corners 42">
            <a:extLst>
              <a:ext uri="{FF2B5EF4-FFF2-40B4-BE49-F238E27FC236}">
                <a16:creationId xmlns:a16="http://schemas.microsoft.com/office/drawing/2014/main" id="{88BAB389-15A4-45EF-80B2-97167BAAF4D2}"/>
              </a:ext>
            </a:extLst>
          </p:cNvPr>
          <p:cNvSpPr/>
          <p:nvPr/>
        </p:nvSpPr>
        <p:spPr>
          <a:xfrm>
            <a:off x="3340881" y="580020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82.4</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5" name="Rectangle: Rounded Corners 42">
            <a:extLst>
              <a:ext uri="{FF2B5EF4-FFF2-40B4-BE49-F238E27FC236}">
                <a16:creationId xmlns:a16="http://schemas.microsoft.com/office/drawing/2014/main" id="{C60DB2BD-ABD6-48FE-8935-CAD6686FDFB6}"/>
              </a:ext>
            </a:extLst>
          </p:cNvPr>
          <p:cNvSpPr/>
          <p:nvPr/>
        </p:nvSpPr>
        <p:spPr>
          <a:xfrm>
            <a:off x="8734941" y="525794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6" name="Rectangle: Rounded Corners 42">
            <a:extLst>
              <a:ext uri="{FF2B5EF4-FFF2-40B4-BE49-F238E27FC236}">
                <a16:creationId xmlns:a16="http://schemas.microsoft.com/office/drawing/2014/main" id="{57189495-96E8-4539-BA02-C4280CBAA85D}"/>
              </a:ext>
            </a:extLst>
          </p:cNvPr>
          <p:cNvSpPr/>
          <p:nvPr/>
        </p:nvSpPr>
        <p:spPr>
          <a:xfrm>
            <a:off x="8734941" y="548350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 name="Rectangle: Rounded Corners 42">
            <a:extLst>
              <a:ext uri="{FF2B5EF4-FFF2-40B4-BE49-F238E27FC236}">
                <a16:creationId xmlns:a16="http://schemas.microsoft.com/office/drawing/2014/main" id="{B95D90FE-376B-4E5F-AE8B-2C73CA37B5FC}"/>
              </a:ext>
            </a:extLst>
          </p:cNvPr>
          <p:cNvSpPr/>
          <p:nvPr/>
        </p:nvSpPr>
        <p:spPr>
          <a:xfrm>
            <a:off x="8734941" y="578156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225" name="Rectangle: Rounded Corners 42">
            <a:extLst>
              <a:ext uri="{FF2B5EF4-FFF2-40B4-BE49-F238E27FC236}">
                <a16:creationId xmlns:a16="http://schemas.microsoft.com/office/drawing/2014/main" id="{6A7272A2-CA42-4F1D-8537-03224E2BD049}"/>
              </a:ext>
            </a:extLst>
          </p:cNvPr>
          <p:cNvSpPr/>
          <p:nvPr/>
        </p:nvSpPr>
        <p:spPr>
          <a:xfrm>
            <a:off x="7667696" y="527742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226" name="Rectangle: Rounded Corners 42">
            <a:extLst>
              <a:ext uri="{FF2B5EF4-FFF2-40B4-BE49-F238E27FC236}">
                <a16:creationId xmlns:a16="http://schemas.microsoft.com/office/drawing/2014/main" id="{C3CA7D12-85C7-4894-8BEC-FE7E41728396}"/>
              </a:ext>
            </a:extLst>
          </p:cNvPr>
          <p:cNvSpPr/>
          <p:nvPr/>
        </p:nvSpPr>
        <p:spPr>
          <a:xfrm>
            <a:off x="7667696" y="550299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7</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2" name="Rectangle: Rounded Corners 42">
            <a:extLst>
              <a:ext uri="{FF2B5EF4-FFF2-40B4-BE49-F238E27FC236}">
                <a16:creationId xmlns:a16="http://schemas.microsoft.com/office/drawing/2014/main" id="{91A5F33C-2B61-4731-BD81-5FA74720D417}"/>
              </a:ext>
            </a:extLst>
          </p:cNvPr>
          <p:cNvSpPr/>
          <p:nvPr/>
        </p:nvSpPr>
        <p:spPr>
          <a:xfrm>
            <a:off x="7667696" y="580104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3" name="Rectangle 2"/>
          <p:cNvSpPr/>
          <p:nvPr/>
        </p:nvSpPr>
        <p:spPr>
          <a:xfrm>
            <a:off x="7554500" y="690880"/>
            <a:ext cx="4403037" cy="5326028"/>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Rectangle 214"/>
          <p:cNvSpPr/>
          <p:nvPr/>
        </p:nvSpPr>
        <p:spPr>
          <a:xfrm>
            <a:off x="3267848" y="690880"/>
            <a:ext cx="4272376" cy="5326028"/>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6" name="Straight Connector 5"/>
          <p:cNvCxnSpPr/>
          <p:nvPr/>
        </p:nvCxnSpPr>
        <p:spPr>
          <a:xfrm>
            <a:off x="195997" y="2270224"/>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41594" y="4720762"/>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01" name="Rectangle: Rounded Corners 42">
            <a:extLst>
              <a:ext uri="{FF2B5EF4-FFF2-40B4-BE49-F238E27FC236}">
                <a16:creationId xmlns:a16="http://schemas.microsoft.com/office/drawing/2014/main" id="{AA9990FA-1FD4-48CD-83B9-A6CCE5E0EE35}"/>
              </a:ext>
            </a:extLst>
          </p:cNvPr>
          <p:cNvSpPr/>
          <p:nvPr/>
        </p:nvSpPr>
        <p:spPr>
          <a:xfrm>
            <a:off x="3340881" y="4868647"/>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3</a:t>
            </a:r>
          </a:p>
        </p:txBody>
      </p:sp>
      <p:sp>
        <p:nvSpPr>
          <p:cNvPr id="303" name="Rectangle: Rounded Corners 42">
            <a:extLst>
              <a:ext uri="{FF2B5EF4-FFF2-40B4-BE49-F238E27FC236}">
                <a16:creationId xmlns:a16="http://schemas.microsoft.com/office/drawing/2014/main" id="{D8A115EB-8137-4B09-B663-210EE001D081}"/>
              </a:ext>
            </a:extLst>
          </p:cNvPr>
          <p:cNvSpPr/>
          <p:nvPr/>
        </p:nvSpPr>
        <p:spPr>
          <a:xfrm>
            <a:off x="8734941" y="4860132"/>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100" b="1" dirty="0">
                <a:solidFill>
                  <a:srgbClr val="000000"/>
                </a:solidFill>
                <a:latin typeface="Arial" panose="020B0604020202020204" pitchFamily="34" charset="0"/>
                <a:cs typeface="Arial" panose="020B0604020202020204" pitchFamily="34" charset="0"/>
              </a:rPr>
              <a:t>26</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308" name="Rectangle: Rounded Corners 42">
            <a:extLst>
              <a:ext uri="{FF2B5EF4-FFF2-40B4-BE49-F238E27FC236}">
                <a16:creationId xmlns:a16="http://schemas.microsoft.com/office/drawing/2014/main" id="{F267ACC7-CD68-4A95-8787-7B12887975BB}"/>
              </a:ext>
            </a:extLst>
          </p:cNvPr>
          <p:cNvSpPr/>
          <p:nvPr/>
        </p:nvSpPr>
        <p:spPr>
          <a:xfrm>
            <a:off x="7667696" y="486013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8" name="Rectangle: Rounded Corners 246">
            <a:extLst>
              <a:ext uri="{FF2B5EF4-FFF2-40B4-BE49-F238E27FC236}">
                <a16:creationId xmlns:a16="http://schemas.microsoft.com/office/drawing/2014/main" id="{7AE8AC5C-AFA8-44BA-81AB-D8744CEDE76E}"/>
              </a:ext>
            </a:extLst>
          </p:cNvPr>
          <p:cNvSpPr/>
          <p:nvPr/>
        </p:nvSpPr>
        <p:spPr>
          <a:xfrm>
            <a:off x="1668911" y="347590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CV (‘000) </a:t>
            </a:r>
          </a:p>
        </p:txBody>
      </p:sp>
      <p:sp>
        <p:nvSpPr>
          <p:cNvPr id="316" name="Arrow: Pentagon 13">
            <a:extLst>
              <a:ext uri="{FF2B5EF4-FFF2-40B4-BE49-F238E27FC236}">
                <a16:creationId xmlns:a16="http://schemas.microsoft.com/office/drawing/2014/main" id="{C0C86DFE-FDE7-4AC0-89B8-A052F57FE542}"/>
              </a:ext>
            </a:extLst>
          </p:cNvPr>
          <p:cNvSpPr/>
          <p:nvPr/>
        </p:nvSpPr>
        <p:spPr>
          <a:xfrm rot="5400000">
            <a:off x="4744026" y="811802"/>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4 FY 22 </a:t>
            </a:r>
          </a:p>
        </p:txBody>
      </p:sp>
      <p:sp>
        <p:nvSpPr>
          <p:cNvPr id="317" name="Rectangle: Rounded Corners 19">
            <a:extLst>
              <a:ext uri="{FF2B5EF4-FFF2-40B4-BE49-F238E27FC236}">
                <a16:creationId xmlns:a16="http://schemas.microsoft.com/office/drawing/2014/main" id="{6C396DC0-6525-4195-A5C3-50EAFCB53A90}"/>
              </a:ext>
            </a:extLst>
          </p:cNvPr>
          <p:cNvSpPr/>
          <p:nvPr/>
        </p:nvSpPr>
        <p:spPr>
          <a:xfrm>
            <a:off x="4391408" y="232250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318" name="Rectangle: Rounded Corners 36">
            <a:extLst>
              <a:ext uri="{FF2B5EF4-FFF2-40B4-BE49-F238E27FC236}">
                <a16:creationId xmlns:a16="http://schemas.microsoft.com/office/drawing/2014/main" id="{14CCCA8C-39B0-45B6-A2E8-7A1EAA048E9F}"/>
              </a:ext>
            </a:extLst>
          </p:cNvPr>
          <p:cNvSpPr/>
          <p:nvPr/>
        </p:nvSpPr>
        <p:spPr>
          <a:xfrm>
            <a:off x="4391408" y="256236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a:t>
            </a:r>
          </a:p>
        </p:txBody>
      </p:sp>
      <p:sp>
        <p:nvSpPr>
          <p:cNvPr id="319" name="Rectangle: Rounded Corners 36">
            <a:extLst>
              <a:ext uri="{FF2B5EF4-FFF2-40B4-BE49-F238E27FC236}">
                <a16:creationId xmlns:a16="http://schemas.microsoft.com/office/drawing/2014/main" id="{0577E4D3-F2CC-4A3E-8E83-F0B8CFEB17DD}"/>
              </a:ext>
            </a:extLst>
          </p:cNvPr>
          <p:cNvSpPr/>
          <p:nvPr/>
        </p:nvSpPr>
        <p:spPr>
          <a:xfrm>
            <a:off x="4391408" y="2837215"/>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0" name="Rectangle: Rounded Corners 36">
            <a:extLst>
              <a:ext uri="{FF2B5EF4-FFF2-40B4-BE49-F238E27FC236}">
                <a16:creationId xmlns:a16="http://schemas.microsoft.com/office/drawing/2014/main" id="{EF53AD84-2FB5-4947-B616-3F8FC4A9F46D}"/>
              </a:ext>
            </a:extLst>
          </p:cNvPr>
          <p:cNvSpPr/>
          <p:nvPr/>
        </p:nvSpPr>
        <p:spPr>
          <a:xfrm>
            <a:off x="4391408" y="308665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3.4</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1" name="Rectangle: Rounded Corners 19">
            <a:extLst>
              <a:ext uri="{FF2B5EF4-FFF2-40B4-BE49-F238E27FC236}">
                <a16:creationId xmlns:a16="http://schemas.microsoft.com/office/drawing/2014/main" id="{784FA179-4AB9-455C-BBD3-D032289BEA94}"/>
              </a:ext>
            </a:extLst>
          </p:cNvPr>
          <p:cNvSpPr/>
          <p:nvPr/>
        </p:nvSpPr>
        <p:spPr>
          <a:xfrm>
            <a:off x="4391408" y="150947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9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4" name="Rectangle: Rounded Corners 36">
            <a:extLst>
              <a:ext uri="{FF2B5EF4-FFF2-40B4-BE49-F238E27FC236}">
                <a16:creationId xmlns:a16="http://schemas.microsoft.com/office/drawing/2014/main" id="{220E0D17-29EC-4869-92B3-780EC67FCA0D}"/>
              </a:ext>
            </a:extLst>
          </p:cNvPr>
          <p:cNvSpPr/>
          <p:nvPr/>
        </p:nvSpPr>
        <p:spPr>
          <a:xfrm>
            <a:off x="4391408" y="174933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9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5" name="Rectangle: Rounded Corners 36">
            <a:extLst>
              <a:ext uri="{FF2B5EF4-FFF2-40B4-BE49-F238E27FC236}">
                <a16:creationId xmlns:a16="http://schemas.microsoft.com/office/drawing/2014/main" id="{59B7AFCA-C8F5-4B84-8B56-CE267AA00B8A}"/>
              </a:ext>
            </a:extLst>
          </p:cNvPr>
          <p:cNvSpPr/>
          <p:nvPr/>
        </p:nvSpPr>
        <p:spPr>
          <a:xfrm>
            <a:off x="4391408" y="2024181"/>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797</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6" name="Rectangle: Rounded Corners 42">
            <a:extLst>
              <a:ext uri="{FF2B5EF4-FFF2-40B4-BE49-F238E27FC236}">
                <a16:creationId xmlns:a16="http://schemas.microsoft.com/office/drawing/2014/main" id="{1588365A-C6B8-459F-8F08-6234BA63A0D0}"/>
              </a:ext>
            </a:extLst>
          </p:cNvPr>
          <p:cNvSpPr/>
          <p:nvPr/>
        </p:nvSpPr>
        <p:spPr>
          <a:xfrm>
            <a:off x="4391408" y="527225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lvl="0" algn="ctr">
              <a:defRPr/>
            </a:pPr>
            <a:r>
              <a:rPr lang="en-US" sz="1100" dirty="0">
                <a:solidFill>
                  <a:srgbClr val="000000"/>
                </a:solidFill>
                <a:latin typeface="Arial" panose="020B0604020202020204" pitchFamily="34" charset="0"/>
                <a:cs typeface="Arial" panose="020B0604020202020204" pitchFamily="34" charset="0"/>
              </a:rPr>
              <a:t>22.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7" name="Rectangle: Rounded Corners 42">
            <a:extLst>
              <a:ext uri="{FF2B5EF4-FFF2-40B4-BE49-F238E27FC236}">
                <a16:creationId xmlns:a16="http://schemas.microsoft.com/office/drawing/2014/main" id="{06ACCB4F-C6B8-425A-97A3-67C507837B92}"/>
              </a:ext>
            </a:extLst>
          </p:cNvPr>
          <p:cNvSpPr/>
          <p:nvPr/>
        </p:nvSpPr>
        <p:spPr>
          <a:xfrm>
            <a:off x="4391408" y="549782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0.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8" name="Rectangle: Rounded Corners 42">
            <a:extLst>
              <a:ext uri="{FF2B5EF4-FFF2-40B4-BE49-F238E27FC236}">
                <a16:creationId xmlns:a16="http://schemas.microsoft.com/office/drawing/2014/main" id="{AD6054ED-6A40-47C8-A1C1-52181A0A066F}"/>
              </a:ext>
            </a:extLst>
          </p:cNvPr>
          <p:cNvSpPr/>
          <p:nvPr/>
        </p:nvSpPr>
        <p:spPr>
          <a:xfrm>
            <a:off x="4391408" y="579588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3.2</a:t>
            </a:r>
          </a:p>
        </p:txBody>
      </p:sp>
      <p:sp>
        <p:nvSpPr>
          <p:cNvPr id="332" name="Rectangle: Rounded Corners 42">
            <a:extLst>
              <a:ext uri="{FF2B5EF4-FFF2-40B4-BE49-F238E27FC236}">
                <a16:creationId xmlns:a16="http://schemas.microsoft.com/office/drawing/2014/main" id="{BC558489-1D70-4E8E-A066-75A26DFE4983}"/>
              </a:ext>
            </a:extLst>
          </p:cNvPr>
          <p:cNvSpPr/>
          <p:nvPr/>
        </p:nvSpPr>
        <p:spPr>
          <a:xfrm>
            <a:off x="4391408" y="487295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77</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6" name="Rectangle: Rounded Corners 42">
            <a:extLst>
              <a:ext uri="{FF2B5EF4-FFF2-40B4-BE49-F238E27FC236}">
                <a16:creationId xmlns:a16="http://schemas.microsoft.com/office/drawing/2014/main" id="{B6FA4CE4-FB28-4C33-8D9E-C906F617EEF0}"/>
              </a:ext>
            </a:extLst>
          </p:cNvPr>
          <p:cNvSpPr/>
          <p:nvPr/>
        </p:nvSpPr>
        <p:spPr>
          <a:xfrm>
            <a:off x="3351318" y="37441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0.4</a:t>
            </a:r>
          </a:p>
        </p:txBody>
      </p:sp>
      <p:sp>
        <p:nvSpPr>
          <p:cNvPr id="237" name="Rectangle: Rounded Corners 42">
            <a:extLst>
              <a:ext uri="{FF2B5EF4-FFF2-40B4-BE49-F238E27FC236}">
                <a16:creationId xmlns:a16="http://schemas.microsoft.com/office/drawing/2014/main" id="{AB8CD95F-1E45-4FBA-B0D2-2BCD329126F9}"/>
              </a:ext>
            </a:extLst>
          </p:cNvPr>
          <p:cNvSpPr/>
          <p:nvPr/>
        </p:nvSpPr>
        <p:spPr>
          <a:xfrm>
            <a:off x="3351318" y="398055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9</a:t>
            </a:r>
          </a:p>
        </p:txBody>
      </p:sp>
      <p:sp>
        <p:nvSpPr>
          <p:cNvPr id="238" name="Rectangle: Rounded Corners 42">
            <a:extLst>
              <a:ext uri="{FF2B5EF4-FFF2-40B4-BE49-F238E27FC236}">
                <a16:creationId xmlns:a16="http://schemas.microsoft.com/office/drawing/2014/main" id="{79061A2F-8B2B-49A2-9DE9-99D6C238FF71}"/>
              </a:ext>
            </a:extLst>
          </p:cNvPr>
          <p:cNvSpPr/>
          <p:nvPr/>
        </p:nvSpPr>
        <p:spPr>
          <a:xfrm>
            <a:off x="3351318" y="424361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196</a:t>
            </a:r>
          </a:p>
        </p:txBody>
      </p:sp>
      <p:sp>
        <p:nvSpPr>
          <p:cNvPr id="255" name="Rectangle: Rounded Corners 36">
            <a:extLst>
              <a:ext uri="{FF2B5EF4-FFF2-40B4-BE49-F238E27FC236}">
                <a16:creationId xmlns:a16="http://schemas.microsoft.com/office/drawing/2014/main" id="{970710F9-9F1A-46AD-B9ED-B08CD3D6B60D}"/>
              </a:ext>
            </a:extLst>
          </p:cNvPr>
          <p:cNvSpPr/>
          <p:nvPr/>
        </p:nvSpPr>
        <p:spPr>
          <a:xfrm>
            <a:off x="3340880" y="347304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27.6</a:t>
            </a:r>
          </a:p>
        </p:txBody>
      </p:sp>
      <p:sp>
        <p:nvSpPr>
          <p:cNvPr id="256" name="Rectangle: Rounded Corners 42">
            <a:extLst>
              <a:ext uri="{FF2B5EF4-FFF2-40B4-BE49-F238E27FC236}">
                <a16:creationId xmlns:a16="http://schemas.microsoft.com/office/drawing/2014/main" id="{4F31B732-8EC6-4B7B-943F-F5463B168202}"/>
              </a:ext>
            </a:extLst>
          </p:cNvPr>
          <p:cNvSpPr/>
          <p:nvPr/>
        </p:nvSpPr>
        <p:spPr>
          <a:xfrm>
            <a:off x="4401845" y="375113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88.1</a:t>
            </a:r>
          </a:p>
        </p:txBody>
      </p:sp>
      <p:sp>
        <p:nvSpPr>
          <p:cNvPr id="257" name="Rectangle: Rounded Corners 42">
            <a:extLst>
              <a:ext uri="{FF2B5EF4-FFF2-40B4-BE49-F238E27FC236}">
                <a16:creationId xmlns:a16="http://schemas.microsoft.com/office/drawing/2014/main" id="{9A9376F2-738F-4C6E-A59C-B5BACDC9B2A9}"/>
              </a:ext>
            </a:extLst>
          </p:cNvPr>
          <p:cNvSpPr/>
          <p:nvPr/>
        </p:nvSpPr>
        <p:spPr>
          <a:xfrm>
            <a:off x="4401845" y="398750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2.1</a:t>
            </a:r>
          </a:p>
        </p:txBody>
      </p:sp>
      <p:sp>
        <p:nvSpPr>
          <p:cNvPr id="261" name="Rectangle: Rounded Corners 42">
            <a:extLst>
              <a:ext uri="{FF2B5EF4-FFF2-40B4-BE49-F238E27FC236}">
                <a16:creationId xmlns:a16="http://schemas.microsoft.com/office/drawing/2014/main" id="{EAC0D68E-ECC0-4668-AD01-4F1F227698FD}"/>
              </a:ext>
            </a:extLst>
          </p:cNvPr>
          <p:cNvSpPr/>
          <p:nvPr/>
        </p:nvSpPr>
        <p:spPr>
          <a:xfrm>
            <a:off x="4401845" y="425057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250</a:t>
            </a:r>
          </a:p>
        </p:txBody>
      </p:sp>
      <p:sp>
        <p:nvSpPr>
          <p:cNvPr id="263" name="Rectangle: Rounded Corners 36">
            <a:extLst>
              <a:ext uri="{FF2B5EF4-FFF2-40B4-BE49-F238E27FC236}">
                <a16:creationId xmlns:a16="http://schemas.microsoft.com/office/drawing/2014/main" id="{33DAB66C-0FA6-41B7-A9ED-3472C96B7913}"/>
              </a:ext>
            </a:extLst>
          </p:cNvPr>
          <p:cNvSpPr/>
          <p:nvPr/>
        </p:nvSpPr>
        <p:spPr>
          <a:xfrm>
            <a:off x="4391407" y="348000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48.9</a:t>
            </a:r>
          </a:p>
        </p:txBody>
      </p:sp>
      <p:sp>
        <p:nvSpPr>
          <p:cNvPr id="267" name="Rectangle: Rounded Corners 42">
            <a:extLst>
              <a:ext uri="{FF2B5EF4-FFF2-40B4-BE49-F238E27FC236}">
                <a16:creationId xmlns:a16="http://schemas.microsoft.com/office/drawing/2014/main" id="{C04BBFD3-EDF4-459D-BE88-57E2A7EA4F34}"/>
              </a:ext>
            </a:extLst>
          </p:cNvPr>
          <p:cNvSpPr/>
          <p:nvPr/>
        </p:nvSpPr>
        <p:spPr>
          <a:xfrm>
            <a:off x="8744343" y="373677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6</a:t>
            </a:r>
          </a:p>
        </p:txBody>
      </p:sp>
      <p:sp>
        <p:nvSpPr>
          <p:cNvPr id="271" name="Rectangle: Rounded Corners 42">
            <a:extLst>
              <a:ext uri="{FF2B5EF4-FFF2-40B4-BE49-F238E27FC236}">
                <a16:creationId xmlns:a16="http://schemas.microsoft.com/office/drawing/2014/main" id="{572FCF5E-C119-4E03-A3A4-7719D767BEE0}"/>
              </a:ext>
            </a:extLst>
          </p:cNvPr>
          <p:cNvSpPr/>
          <p:nvPr/>
        </p:nvSpPr>
        <p:spPr>
          <a:xfrm>
            <a:off x="8744343" y="397314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53</a:t>
            </a:r>
          </a:p>
        </p:txBody>
      </p:sp>
      <p:sp>
        <p:nvSpPr>
          <p:cNvPr id="275" name="Rectangle: Rounded Corners 42">
            <a:extLst>
              <a:ext uri="{FF2B5EF4-FFF2-40B4-BE49-F238E27FC236}">
                <a16:creationId xmlns:a16="http://schemas.microsoft.com/office/drawing/2014/main" id="{D02F30F2-050A-48DE-A0FE-772DAEF5CD9E}"/>
              </a:ext>
            </a:extLst>
          </p:cNvPr>
          <p:cNvSpPr/>
          <p:nvPr/>
        </p:nvSpPr>
        <p:spPr>
          <a:xfrm>
            <a:off x="8744343" y="423621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19</a:t>
            </a:r>
          </a:p>
        </p:txBody>
      </p:sp>
      <p:sp>
        <p:nvSpPr>
          <p:cNvPr id="309" name="Rectangle: Rounded Corners 42">
            <a:extLst>
              <a:ext uri="{FF2B5EF4-FFF2-40B4-BE49-F238E27FC236}">
                <a16:creationId xmlns:a16="http://schemas.microsoft.com/office/drawing/2014/main" id="{78197195-7629-426E-B408-5E712D7421AA}"/>
              </a:ext>
            </a:extLst>
          </p:cNvPr>
          <p:cNvSpPr/>
          <p:nvPr/>
        </p:nvSpPr>
        <p:spPr>
          <a:xfrm>
            <a:off x="7677098" y="374498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21</a:t>
            </a:r>
          </a:p>
        </p:txBody>
      </p:sp>
      <p:sp>
        <p:nvSpPr>
          <p:cNvPr id="310" name="Rectangle: Rounded Corners 42">
            <a:extLst>
              <a:ext uri="{FF2B5EF4-FFF2-40B4-BE49-F238E27FC236}">
                <a16:creationId xmlns:a16="http://schemas.microsoft.com/office/drawing/2014/main" id="{03B1AAB1-E7C3-49BF-B177-897187802DF3}"/>
              </a:ext>
            </a:extLst>
          </p:cNvPr>
          <p:cNvSpPr/>
          <p:nvPr/>
        </p:nvSpPr>
        <p:spPr>
          <a:xfrm>
            <a:off x="7677098" y="398135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7</a:t>
            </a:r>
          </a:p>
        </p:txBody>
      </p:sp>
      <p:sp>
        <p:nvSpPr>
          <p:cNvPr id="311" name="Rectangle: Rounded Corners 42">
            <a:extLst>
              <a:ext uri="{FF2B5EF4-FFF2-40B4-BE49-F238E27FC236}">
                <a16:creationId xmlns:a16="http://schemas.microsoft.com/office/drawing/2014/main" id="{605458EA-44CB-4A08-81F2-D15A6DC86E55}"/>
              </a:ext>
            </a:extLst>
          </p:cNvPr>
          <p:cNvSpPr/>
          <p:nvPr/>
        </p:nvSpPr>
        <p:spPr>
          <a:xfrm>
            <a:off x="7677098" y="424441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1</a:t>
            </a:r>
          </a:p>
        </p:txBody>
      </p:sp>
      <p:sp>
        <p:nvSpPr>
          <p:cNvPr id="315" name="Rectangle: Rounded Corners 36">
            <a:extLst>
              <a:ext uri="{FF2B5EF4-FFF2-40B4-BE49-F238E27FC236}">
                <a16:creationId xmlns:a16="http://schemas.microsoft.com/office/drawing/2014/main" id="{2F9089D9-F011-43FD-91CD-33CDE6EA0CE8}"/>
              </a:ext>
            </a:extLst>
          </p:cNvPr>
          <p:cNvSpPr/>
          <p:nvPr/>
        </p:nvSpPr>
        <p:spPr>
          <a:xfrm>
            <a:off x="8733905" y="346563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9</a:t>
            </a:r>
          </a:p>
        </p:txBody>
      </p:sp>
      <p:sp>
        <p:nvSpPr>
          <p:cNvPr id="338" name="Rectangle: Rounded Corners 36">
            <a:extLst>
              <a:ext uri="{FF2B5EF4-FFF2-40B4-BE49-F238E27FC236}">
                <a16:creationId xmlns:a16="http://schemas.microsoft.com/office/drawing/2014/main" id="{DB2453F3-6A1D-4237-AA8A-DD39A4D7953D}"/>
              </a:ext>
            </a:extLst>
          </p:cNvPr>
          <p:cNvSpPr/>
          <p:nvPr/>
        </p:nvSpPr>
        <p:spPr>
          <a:xfrm>
            <a:off x="7666660" y="347384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8)</a:t>
            </a:r>
          </a:p>
        </p:txBody>
      </p:sp>
      <p:sp>
        <p:nvSpPr>
          <p:cNvPr id="200" name="Arrow: Pentagon 13">
            <a:extLst>
              <a:ext uri="{FF2B5EF4-FFF2-40B4-BE49-F238E27FC236}">
                <a16:creationId xmlns:a16="http://schemas.microsoft.com/office/drawing/2014/main" id="{4A353884-E667-42B3-BEA8-7DA64D65D605}"/>
              </a:ext>
            </a:extLst>
          </p:cNvPr>
          <p:cNvSpPr/>
          <p:nvPr/>
        </p:nvSpPr>
        <p:spPr>
          <a:xfrm rot="5400000">
            <a:off x="5778916" y="815340"/>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1 FY 23 P</a:t>
            </a:r>
          </a:p>
        </p:txBody>
      </p:sp>
      <p:sp>
        <p:nvSpPr>
          <p:cNvPr id="201" name="Rectangle: Rounded Corners 19">
            <a:extLst>
              <a:ext uri="{FF2B5EF4-FFF2-40B4-BE49-F238E27FC236}">
                <a16:creationId xmlns:a16="http://schemas.microsoft.com/office/drawing/2014/main" id="{6AA23937-3ABE-45B0-8F35-C740FB22F0BE}"/>
              </a:ext>
            </a:extLst>
          </p:cNvPr>
          <p:cNvSpPr/>
          <p:nvPr/>
        </p:nvSpPr>
        <p:spPr>
          <a:xfrm>
            <a:off x="5426298" y="232604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9-2.5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2" name="Rectangle: Rounded Corners 36">
            <a:extLst>
              <a:ext uri="{FF2B5EF4-FFF2-40B4-BE49-F238E27FC236}">
                <a16:creationId xmlns:a16="http://schemas.microsoft.com/office/drawing/2014/main" id="{5ADB28FD-D18C-45CC-B8C4-1ABDE7926242}"/>
              </a:ext>
            </a:extLst>
          </p:cNvPr>
          <p:cNvSpPr/>
          <p:nvPr/>
        </p:nvSpPr>
        <p:spPr>
          <a:xfrm>
            <a:off x="5426298" y="256590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0.95-1.0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 name="Rectangle: Rounded Corners 36">
            <a:extLst>
              <a:ext uri="{FF2B5EF4-FFF2-40B4-BE49-F238E27FC236}">
                <a16:creationId xmlns:a16="http://schemas.microsoft.com/office/drawing/2014/main" id="{1CE22877-46BA-4655-A108-E487F090DFBA}"/>
              </a:ext>
            </a:extLst>
          </p:cNvPr>
          <p:cNvSpPr/>
          <p:nvPr/>
        </p:nvSpPr>
        <p:spPr>
          <a:xfrm>
            <a:off x="5426298" y="2840753"/>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100</a:t>
            </a:r>
          </a:p>
        </p:txBody>
      </p:sp>
      <p:sp>
        <p:nvSpPr>
          <p:cNvPr id="214" name="Rectangle: Rounded Corners 36">
            <a:extLst>
              <a:ext uri="{FF2B5EF4-FFF2-40B4-BE49-F238E27FC236}">
                <a16:creationId xmlns:a16="http://schemas.microsoft.com/office/drawing/2014/main" id="{6AB333BE-F94C-4A7D-9BC2-96229CCFB571}"/>
              </a:ext>
            </a:extLst>
          </p:cNvPr>
          <p:cNvSpPr/>
          <p:nvPr/>
        </p:nvSpPr>
        <p:spPr>
          <a:xfrm>
            <a:off x="5426298" y="309019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3.58-3.6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7" name="Rectangle: Rounded Corners 19">
            <a:extLst>
              <a:ext uri="{FF2B5EF4-FFF2-40B4-BE49-F238E27FC236}">
                <a16:creationId xmlns:a16="http://schemas.microsoft.com/office/drawing/2014/main" id="{87938481-ADCE-4E1E-85B1-CA3A9268F8B5}"/>
              </a:ext>
            </a:extLst>
          </p:cNvPr>
          <p:cNvSpPr/>
          <p:nvPr/>
        </p:nvSpPr>
        <p:spPr>
          <a:xfrm>
            <a:off x="5426298" y="151301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82-39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9" name="Rectangle: Rounded Corners 36">
            <a:extLst>
              <a:ext uri="{FF2B5EF4-FFF2-40B4-BE49-F238E27FC236}">
                <a16:creationId xmlns:a16="http://schemas.microsoft.com/office/drawing/2014/main" id="{EBE834D9-FC9E-4E81-B099-38BF6156232F}"/>
              </a:ext>
            </a:extLst>
          </p:cNvPr>
          <p:cNvSpPr/>
          <p:nvPr/>
        </p:nvSpPr>
        <p:spPr>
          <a:xfrm>
            <a:off x="5426298" y="1767155"/>
            <a:ext cx="992546" cy="1616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5-465</a:t>
            </a:r>
          </a:p>
        </p:txBody>
      </p:sp>
      <p:sp>
        <p:nvSpPr>
          <p:cNvPr id="240" name="Rectangle: Rounded Corners 36">
            <a:extLst>
              <a:ext uri="{FF2B5EF4-FFF2-40B4-BE49-F238E27FC236}">
                <a16:creationId xmlns:a16="http://schemas.microsoft.com/office/drawing/2014/main" id="{EFD5F74A-4428-40D9-B212-4C7D97E6926F}"/>
              </a:ext>
            </a:extLst>
          </p:cNvPr>
          <p:cNvSpPr/>
          <p:nvPr/>
        </p:nvSpPr>
        <p:spPr>
          <a:xfrm>
            <a:off x="5426298" y="202771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45-855</a:t>
            </a:r>
          </a:p>
        </p:txBody>
      </p:sp>
      <p:sp>
        <p:nvSpPr>
          <p:cNvPr id="241" name="Rectangle: Rounded Corners 42">
            <a:extLst>
              <a:ext uri="{FF2B5EF4-FFF2-40B4-BE49-F238E27FC236}">
                <a16:creationId xmlns:a16="http://schemas.microsoft.com/office/drawing/2014/main" id="{ED4F2BF3-F159-4098-B68F-58D6B7113908}"/>
              </a:ext>
            </a:extLst>
          </p:cNvPr>
          <p:cNvSpPr/>
          <p:nvPr/>
        </p:nvSpPr>
        <p:spPr>
          <a:xfrm>
            <a:off x="5426298" y="527579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lvl="0" algn="ctr">
              <a:defRPr/>
            </a:pPr>
            <a:r>
              <a:rPr lang="en-US" sz="1100" dirty="0">
                <a:solidFill>
                  <a:srgbClr val="000000"/>
                </a:solidFill>
                <a:latin typeface="Arial" panose="020B0604020202020204" pitchFamily="34" charset="0"/>
                <a:cs typeface="Arial" panose="020B0604020202020204" pitchFamily="34" charset="0"/>
              </a:rPr>
              <a:t>26.3-26.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3" name="Rectangle: Rounded Corners 42">
            <a:extLst>
              <a:ext uri="{FF2B5EF4-FFF2-40B4-BE49-F238E27FC236}">
                <a16:creationId xmlns:a16="http://schemas.microsoft.com/office/drawing/2014/main" id="{01F19041-684A-481D-BB8D-1F34EFAA9AE7}"/>
              </a:ext>
            </a:extLst>
          </p:cNvPr>
          <p:cNvSpPr/>
          <p:nvPr/>
        </p:nvSpPr>
        <p:spPr>
          <a:xfrm>
            <a:off x="5426298" y="55013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3.5-54.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 name="Rectangle: Rounded Corners 42">
            <a:extLst>
              <a:ext uri="{FF2B5EF4-FFF2-40B4-BE49-F238E27FC236}">
                <a16:creationId xmlns:a16="http://schemas.microsoft.com/office/drawing/2014/main" id="{8ED37A60-3EFA-4934-8D3B-67AD909BCAA6}"/>
              </a:ext>
            </a:extLst>
          </p:cNvPr>
          <p:cNvSpPr/>
          <p:nvPr/>
        </p:nvSpPr>
        <p:spPr>
          <a:xfrm>
            <a:off x="5426298" y="579942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2-80.7</a:t>
            </a:r>
          </a:p>
        </p:txBody>
      </p:sp>
      <p:sp>
        <p:nvSpPr>
          <p:cNvPr id="259" name="Rectangle: Rounded Corners 42">
            <a:extLst>
              <a:ext uri="{FF2B5EF4-FFF2-40B4-BE49-F238E27FC236}">
                <a16:creationId xmlns:a16="http://schemas.microsoft.com/office/drawing/2014/main" id="{CA6A12D6-5D00-4E03-B2EF-B5554D955672}"/>
              </a:ext>
            </a:extLst>
          </p:cNvPr>
          <p:cNvSpPr/>
          <p:nvPr/>
        </p:nvSpPr>
        <p:spPr>
          <a:xfrm>
            <a:off x="5426298" y="4876489"/>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23-228</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 name="Rectangle: Rounded Corners 42">
            <a:extLst>
              <a:ext uri="{FF2B5EF4-FFF2-40B4-BE49-F238E27FC236}">
                <a16:creationId xmlns:a16="http://schemas.microsoft.com/office/drawing/2014/main" id="{8B970F7A-B88D-4BBD-B96C-8DEF131209AA}"/>
              </a:ext>
            </a:extLst>
          </p:cNvPr>
          <p:cNvSpPr/>
          <p:nvPr/>
        </p:nvSpPr>
        <p:spPr>
          <a:xfrm>
            <a:off x="5436735" y="375467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68.0-68.5</a:t>
            </a:r>
          </a:p>
        </p:txBody>
      </p:sp>
      <p:sp>
        <p:nvSpPr>
          <p:cNvPr id="262" name="Rectangle: Rounded Corners 42">
            <a:extLst>
              <a:ext uri="{FF2B5EF4-FFF2-40B4-BE49-F238E27FC236}">
                <a16:creationId xmlns:a16="http://schemas.microsoft.com/office/drawing/2014/main" id="{03E71A35-88D9-4274-832F-2113D74A2B0F}"/>
              </a:ext>
            </a:extLst>
          </p:cNvPr>
          <p:cNvSpPr/>
          <p:nvPr/>
        </p:nvSpPr>
        <p:spPr>
          <a:xfrm>
            <a:off x="5436735" y="399104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0.6-10.8</a:t>
            </a:r>
          </a:p>
        </p:txBody>
      </p:sp>
      <p:sp>
        <p:nvSpPr>
          <p:cNvPr id="264" name="Rectangle: Rounded Corners 42">
            <a:extLst>
              <a:ext uri="{FF2B5EF4-FFF2-40B4-BE49-F238E27FC236}">
                <a16:creationId xmlns:a16="http://schemas.microsoft.com/office/drawing/2014/main" id="{6E166AA5-337B-4572-9CBE-090A6FF0E7B2}"/>
              </a:ext>
            </a:extLst>
          </p:cNvPr>
          <p:cNvSpPr/>
          <p:nvPr/>
        </p:nvSpPr>
        <p:spPr>
          <a:xfrm>
            <a:off x="5436735" y="425410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204-208</a:t>
            </a:r>
          </a:p>
        </p:txBody>
      </p:sp>
      <p:sp>
        <p:nvSpPr>
          <p:cNvPr id="265" name="Rectangle: Rounded Corners 36">
            <a:extLst>
              <a:ext uri="{FF2B5EF4-FFF2-40B4-BE49-F238E27FC236}">
                <a16:creationId xmlns:a16="http://schemas.microsoft.com/office/drawing/2014/main" id="{58F2940A-44CB-4F4E-8C8A-FC5347367B93}"/>
              </a:ext>
            </a:extLst>
          </p:cNvPr>
          <p:cNvSpPr/>
          <p:nvPr/>
        </p:nvSpPr>
        <p:spPr>
          <a:xfrm>
            <a:off x="5426297" y="348353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25-127</a:t>
            </a:r>
          </a:p>
        </p:txBody>
      </p:sp>
      <p:sp>
        <p:nvSpPr>
          <p:cNvPr id="272" name="Arrow: Pentagon 13">
            <a:extLst>
              <a:ext uri="{FF2B5EF4-FFF2-40B4-BE49-F238E27FC236}">
                <a16:creationId xmlns:a16="http://schemas.microsoft.com/office/drawing/2014/main" id="{EE47DE1E-37F0-40F4-B149-19CDD1E852E7}"/>
              </a:ext>
            </a:extLst>
          </p:cNvPr>
          <p:cNvSpPr/>
          <p:nvPr/>
        </p:nvSpPr>
        <p:spPr>
          <a:xfrm rot="5400000">
            <a:off x="10144794" y="802525"/>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1 FY 23 P</a:t>
            </a:r>
          </a:p>
        </p:txBody>
      </p:sp>
      <p:sp>
        <p:nvSpPr>
          <p:cNvPr id="273" name="Rectangle: Rounded Corners 19">
            <a:extLst>
              <a:ext uri="{FF2B5EF4-FFF2-40B4-BE49-F238E27FC236}">
                <a16:creationId xmlns:a16="http://schemas.microsoft.com/office/drawing/2014/main" id="{5F91F504-699D-4AD1-871A-ED38588630CB}"/>
              </a:ext>
            </a:extLst>
          </p:cNvPr>
          <p:cNvSpPr/>
          <p:nvPr/>
        </p:nvSpPr>
        <p:spPr>
          <a:xfrm>
            <a:off x="9780477" y="2311731"/>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74" name="Rectangle: Rounded Corners 36">
            <a:extLst>
              <a:ext uri="{FF2B5EF4-FFF2-40B4-BE49-F238E27FC236}">
                <a16:creationId xmlns:a16="http://schemas.microsoft.com/office/drawing/2014/main" id="{64D6D708-5451-4BC8-9A31-F9A706348204}"/>
              </a:ext>
            </a:extLst>
          </p:cNvPr>
          <p:cNvSpPr/>
          <p:nvPr/>
        </p:nvSpPr>
        <p:spPr>
          <a:xfrm>
            <a:off x="9780477" y="2551591"/>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6-6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7" name="Rectangle: Rounded Corners 36">
            <a:extLst>
              <a:ext uri="{FF2B5EF4-FFF2-40B4-BE49-F238E27FC236}">
                <a16:creationId xmlns:a16="http://schemas.microsoft.com/office/drawing/2014/main" id="{C676C9EA-DD1B-4EFF-B89C-0330A07687F5}"/>
              </a:ext>
            </a:extLst>
          </p:cNvPr>
          <p:cNvSpPr/>
          <p:nvPr/>
        </p:nvSpPr>
        <p:spPr>
          <a:xfrm>
            <a:off x="9780477" y="282643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2-4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4" name="Rectangle: Rounded Corners 36">
            <a:extLst>
              <a:ext uri="{FF2B5EF4-FFF2-40B4-BE49-F238E27FC236}">
                <a16:creationId xmlns:a16="http://schemas.microsoft.com/office/drawing/2014/main" id="{BAB15084-A62A-42E2-BE21-29BCD274E5F6}"/>
              </a:ext>
            </a:extLst>
          </p:cNvPr>
          <p:cNvSpPr/>
          <p:nvPr/>
        </p:nvSpPr>
        <p:spPr>
          <a:xfrm>
            <a:off x="9780477" y="3075876"/>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9-51</a:t>
            </a:r>
          </a:p>
        </p:txBody>
      </p:sp>
      <p:sp>
        <p:nvSpPr>
          <p:cNvPr id="285" name="Rectangle: Rounded Corners 19">
            <a:extLst>
              <a:ext uri="{FF2B5EF4-FFF2-40B4-BE49-F238E27FC236}">
                <a16:creationId xmlns:a16="http://schemas.microsoft.com/office/drawing/2014/main" id="{BC8EE668-0E30-4DF2-B3A0-0918C22C8F11}"/>
              </a:ext>
            </a:extLst>
          </p:cNvPr>
          <p:cNvSpPr/>
          <p:nvPr/>
        </p:nvSpPr>
        <p:spPr>
          <a:xfrm>
            <a:off x="9780477" y="2311731"/>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4-46</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8" name="Rectangle: Rounded Corners 19">
            <a:extLst>
              <a:ext uri="{FF2B5EF4-FFF2-40B4-BE49-F238E27FC236}">
                <a16:creationId xmlns:a16="http://schemas.microsoft.com/office/drawing/2014/main" id="{DB474A9D-F4C1-41EA-B1B7-2FED9F0CC1CE}"/>
              </a:ext>
            </a:extLst>
          </p:cNvPr>
          <p:cNvSpPr/>
          <p:nvPr/>
        </p:nvSpPr>
        <p:spPr>
          <a:xfrm>
            <a:off x="9780477" y="149869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4-16</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9" name="Rectangle: Rounded Corners 36">
            <a:extLst>
              <a:ext uri="{FF2B5EF4-FFF2-40B4-BE49-F238E27FC236}">
                <a16:creationId xmlns:a16="http://schemas.microsoft.com/office/drawing/2014/main" id="{31813F30-ECC0-4746-BE56-EDCFEBE43ACD}"/>
              </a:ext>
            </a:extLst>
          </p:cNvPr>
          <p:cNvSpPr/>
          <p:nvPr/>
        </p:nvSpPr>
        <p:spPr>
          <a:xfrm>
            <a:off x="9780477" y="173855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50</a:t>
            </a:r>
          </a:p>
        </p:txBody>
      </p:sp>
      <p:sp>
        <p:nvSpPr>
          <p:cNvPr id="290" name="Rectangle: Rounded Corners 36">
            <a:extLst>
              <a:ext uri="{FF2B5EF4-FFF2-40B4-BE49-F238E27FC236}">
                <a16:creationId xmlns:a16="http://schemas.microsoft.com/office/drawing/2014/main" id="{9375564D-2E61-4A79-8E16-FD230C9B93F5}"/>
              </a:ext>
            </a:extLst>
          </p:cNvPr>
          <p:cNvSpPr/>
          <p:nvPr/>
        </p:nvSpPr>
        <p:spPr>
          <a:xfrm>
            <a:off x="9780477" y="201340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33</a:t>
            </a:r>
          </a:p>
        </p:txBody>
      </p:sp>
      <p:sp>
        <p:nvSpPr>
          <p:cNvPr id="292" name="Rectangle: Rounded Corners 42">
            <a:extLst>
              <a:ext uri="{FF2B5EF4-FFF2-40B4-BE49-F238E27FC236}">
                <a16:creationId xmlns:a16="http://schemas.microsoft.com/office/drawing/2014/main" id="{61E3B6AC-E96D-4357-A887-CEBF7B2BC4F4}"/>
              </a:ext>
            </a:extLst>
          </p:cNvPr>
          <p:cNvSpPr/>
          <p:nvPr/>
        </p:nvSpPr>
        <p:spPr>
          <a:xfrm>
            <a:off x="9780477" y="526148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07-20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3" name="Rectangle: Rounded Corners 42">
            <a:extLst>
              <a:ext uri="{FF2B5EF4-FFF2-40B4-BE49-F238E27FC236}">
                <a16:creationId xmlns:a16="http://schemas.microsoft.com/office/drawing/2014/main" id="{DA2478A5-D6D5-4F64-8616-68040154B9F8}"/>
              </a:ext>
            </a:extLst>
          </p:cNvPr>
          <p:cNvSpPr/>
          <p:nvPr/>
        </p:nvSpPr>
        <p:spPr>
          <a:xfrm>
            <a:off x="9780477" y="548704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1-24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4" name="Rectangle: Rounded Corners 42">
            <a:extLst>
              <a:ext uri="{FF2B5EF4-FFF2-40B4-BE49-F238E27FC236}">
                <a16:creationId xmlns:a16="http://schemas.microsoft.com/office/drawing/2014/main" id="{25B7CB9B-6484-4171-9BD6-4D2317D308D4}"/>
              </a:ext>
            </a:extLst>
          </p:cNvPr>
          <p:cNvSpPr/>
          <p:nvPr/>
        </p:nvSpPr>
        <p:spPr>
          <a:xfrm>
            <a:off x="9780477" y="5785106"/>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229-231</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9" name="Rectangle: Rounded Corners 42">
            <a:extLst>
              <a:ext uri="{FF2B5EF4-FFF2-40B4-BE49-F238E27FC236}">
                <a16:creationId xmlns:a16="http://schemas.microsoft.com/office/drawing/2014/main" id="{3AC90446-C5F8-49AF-BFCD-4368F12F0850}"/>
              </a:ext>
            </a:extLst>
          </p:cNvPr>
          <p:cNvSpPr/>
          <p:nvPr/>
        </p:nvSpPr>
        <p:spPr>
          <a:xfrm>
            <a:off x="9780477" y="4863674"/>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1</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0" name="Rectangle: Rounded Corners 42">
            <a:extLst>
              <a:ext uri="{FF2B5EF4-FFF2-40B4-BE49-F238E27FC236}">
                <a16:creationId xmlns:a16="http://schemas.microsoft.com/office/drawing/2014/main" id="{E733959A-7050-451D-BF97-E769AFB6E5CD}"/>
              </a:ext>
            </a:extLst>
          </p:cNvPr>
          <p:cNvSpPr/>
          <p:nvPr/>
        </p:nvSpPr>
        <p:spPr>
          <a:xfrm>
            <a:off x="9789879" y="374031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49-151</a:t>
            </a:r>
          </a:p>
        </p:txBody>
      </p:sp>
      <p:sp>
        <p:nvSpPr>
          <p:cNvPr id="331" name="Rectangle: Rounded Corners 42">
            <a:extLst>
              <a:ext uri="{FF2B5EF4-FFF2-40B4-BE49-F238E27FC236}">
                <a16:creationId xmlns:a16="http://schemas.microsoft.com/office/drawing/2014/main" id="{51B8B4FB-5DF6-4854-9363-2E786D12EFBB}"/>
              </a:ext>
            </a:extLst>
          </p:cNvPr>
          <p:cNvSpPr/>
          <p:nvPr/>
        </p:nvSpPr>
        <p:spPr>
          <a:xfrm>
            <a:off x="9789879" y="397668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99-101</a:t>
            </a:r>
          </a:p>
        </p:txBody>
      </p:sp>
      <p:sp>
        <p:nvSpPr>
          <p:cNvPr id="333" name="Rectangle: Rounded Corners 42">
            <a:extLst>
              <a:ext uri="{FF2B5EF4-FFF2-40B4-BE49-F238E27FC236}">
                <a16:creationId xmlns:a16="http://schemas.microsoft.com/office/drawing/2014/main" id="{C9844791-C429-4951-9607-BFB798CD69DC}"/>
              </a:ext>
            </a:extLst>
          </p:cNvPr>
          <p:cNvSpPr/>
          <p:nvPr/>
        </p:nvSpPr>
        <p:spPr>
          <a:xfrm>
            <a:off x="9789879" y="423975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91-93</a:t>
            </a:r>
          </a:p>
        </p:txBody>
      </p:sp>
      <p:sp>
        <p:nvSpPr>
          <p:cNvPr id="339" name="Rectangle: Rounded Corners 36">
            <a:extLst>
              <a:ext uri="{FF2B5EF4-FFF2-40B4-BE49-F238E27FC236}">
                <a16:creationId xmlns:a16="http://schemas.microsoft.com/office/drawing/2014/main" id="{2CB238E4-D04B-4E09-83C3-64C12994FC7A}"/>
              </a:ext>
            </a:extLst>
          </p:cNvPr>
          <p:cNvSpPr/>
          <p:nvPr/>
        </p:nvSpPr>
        <p:spPr>
          <a:xfrm>
            <a:off x="9779441" y="34691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70-72</a:t>
            </a:r>
          </a:p>
        </p:txBody>
      </p:sp>
      <p:sp>
        <p:nvSpPr>
          <p:cNvPr id="173" name="Rectangle: Rounded Corners 19">
            <a:extLst>
              <a:ext uri="{FF2B5EF4-FFF2-40B4-BE49-F238E27FC236}">
                <a16:creationId xmlns:a16="http://schemas.microsoft.com/office/drawing/2014/main" id="{C9533428-A1DF-44D4-BD6A-959C401748F3}"/>
              </a:ext>
            </a:extLst>
          </p:cNvPr>
          <p:cNvSpPr/>
          <p:nvPr/>
        </p:nvSpPr>
        <p:spPr>
          <a:xfrm>
            <a:off x="6454955" y="2333378"/>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35-2.4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 name="Rectangle: Rounded Corners 36">
            <a:extLst>
              <a:ext uri="{FF2B5EF4-FFF2-40B4-BE49-F238E27FC236}">
                <a16:creationId xmlns:a16="http://schemas.microsoft.com/office/drawing/2014/main" id="{30033931-3DC6-4416-A45C-2071F6EA712B}"/>
              </a:ext>
            </a:extLst>
          </p:cNvPr>
          <p:cNvSpPr/>
          <p:nvPr/>
        </p:nvSpPr>
        <p:spPr>
          <a:xfrm>
            <a:off x="6454955" y="2561960"/>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23-1.2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 name="Rectangle: Rounded Corners 36">
            <a:extLst>
              <a:ext uri="{FF2B5EF4-FFF2-40B4-BE49-F238E27FC236}">
                <a16:creationId xmlns:a16="http://schemas.microsoft.com/office/drawing/2014/main" id="{06BFE1C2-6CE7-486F-80CF-8EDB968B129E}"/>
              </a:ext>
            </a:extLst>
          </p:cNvPr>
          <p:cNvSpPr/>
          <p:nvPr/>
        </p:nvSpPr>
        <p:spPr>
          <a:xfrm>
            <a:off x="6454955" y="2848085"/>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43-148</a:t>
            </a:r>
            <a:endParaRPr kumimoji="0" lang="en-US" sz="110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Rectangle: Rounded Corners 36">
            <a:extLst>
              <a:ext uri="{FF2B5EF4-FFF2-40B4-BE49-F238E27FC236}">
                <a16:creationId xmlns:a16="http://schemas.microsoft.com/office/drawing/2014/main" id="{63C69212-0E95-4DAA-867E-38667057DB47}"/>
              </a:ext>
            </a:extLst>
          </p:cNvPr>
          <p:cNvSpPr/>
          <p:nvPr/>
        </p:nvSpPr>
        <p:spPr>
          <a:xfrm>
            <a:off x="6454955" y="309752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3.75-3.8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Rectangle: Rounded Corners 19">
            <a:extLst>
              <a:ext uri="{FF2B5EF4-FFF2-40B4-BE49-F238E27FC236}">
                <a16:creationId xmlns:a16="http://schemas.microsoft.com/office/drawing/2014/main" id="{4DCC0502-6AC8-44BF-9F31-E438287A3EA4}"/>
              </a:ext>
            </a:extLst>
          </p:cNvPr>
          <p:cNvSpPr/>
          <p:nvPr/>
        </p:nvSpPr>
        <p:spPr>
          <a:xfrm>
            <a:off x="6454955" y="152034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88-398</a:t>
            </a:r>
          </a:p>
        </p:txBody>
      </p:sp>
      <p:sp>
        <p:nvSpPr>
          <p:cNvPr id="184" name="Rectangle: Rounded Corners 36">
            <a:extLst>
              <a:ext uri="{FF2B5EF4-FFF2-40B4-BE49-F238E27FC236}">
                <a16:creationId xmlns:a16="http://schemas.microsoft.com/office/drawing/2014/main" id="{9E19AA7B-A371-4AEC-A4A8-2FCEBB2D18BA}"/>
              </a:ext>
            </a:extLst>
          </p:cNvPr>
          <p:cNvSpPr/>
          <p:nvPr/>
        </p:nvSpPr>
        <p:spPr>
          <a:xfrm>
            <a:off x="6454955" y="174892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65-475</a:t>
            </a:r>
          </a:p>
        </p:txBody>
      </p:sp>
      <p:sp>
        <p:nvSpPr>
          <p:cNvPr id="185" name="Rectangle: Rounded Corners 36">
            <a:extLst>
              <a:ext uri="{FF2B5EF4-FFF2-40B4-BE49-F238E27FC236}">
                <a16:creationId xmlns:a16="http://schemas.microsoft.com/office/drawing/2014/main" id="{FC844FA0-25BF-4D6F-AD2D-0D27CDB9ECBA}"/>
              </a:ext>
            </a:extLst>
          </p:cNvPr>
          <p:cNvSpPr/>
          <p:nvPr/>
        </p:nvSpPr>
        <p:spPr>
          <a:xfrm>
            <a:off x="6454955" y="203505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860-870</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6" name="Rectangle: Rounded Corners 42">
            <a:extLst>
              <a:ext uri="{FF2B5EF4-FFF2-40B4-BE49-F238E27FC236}">
                <a16:creationId xmlns:a16="http://schemas.microsoft.com/office/drawing/2014/main" id="{F2863552-64F4-40EF-A916-85A679A9E4EE}"/>
              </a:ext>
            </a:extLst>
          </p:cNvPr>
          <p:cNvSpPr/>
          <p:nvPr/>
        </p:nvSpPr>
        <p:spPr>
          <a:xfrm>
            <a:off x="6454955" y="52831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3.0-33.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7" name="Rectangle: Rounded Corners 42">
            <a:extLst>
              <a:ext uri="{FF2B5EF4-FFF2-40B4-BE49-F238E27FC236}">
                <a16:creationId xmlns:a16="http://schemas.microsoft.com/office/drawing/2014/main" id="{1A920BBC-F8DB-4E76-879F-B477F512A9C4}"/>
              </a:ext>
            </a:extLst>
          </p:cNvPr>
          <p:cNvSpPr/>
          <p:nvPr/>
        </p:nvSpPr>
        <p:spPr>
          <a:xfrm>
            <a:off x="6454955" y="550869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61.2-61.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 name="Rectangle: Rounded Corners 42">
            <a:extLst>
              <a:ext uri="{FF2B5EF4-FFF2-40B4-BE49-F238E27FC236}">
                <a16:creationId xmlns:a16="http://schemas.microsoft.com/office/drawing/2014/main" id="{517C487C-35C8-4119-8710-0B67D42F05FA}"/>
              </a:ext>
            </a:extLst>
          </p:cNvPr>
          <p:cNvSpPr/>
          <p:nvPr/>
        </p:nvSpPr>
        <p:spPr>
          <a:xfrm>
            <a:off x="6439838" y="578601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4.5-95.0</a:t>
            </a:r>
          </a:p>
        </p:txBody>
      </p:sp>
      <p:cxnSp>
        <p:nvCxnSpPr>
          <p:cNvPr id="210" name="Straight Connector 209">
            <a:extLst>
              <a:ext uri="{FF2B5EF4-FFF2-40B4-BE49-F238E27FC236}">
                <a16:creationId xmlns:a16="http://schemas.microsoft.com/office/drawing/2014/main" id="{0EA968FD-7002-476B-AC30-EF4E45513050}"/>
              </a:ext>
            </a:extLst>
          </p:cNvPr>
          <p:cNvCxnSpPr/>
          <p:nvPr/>
        </p:nvCxnSpPr>
        <p:spPr>
          <a:xfrm>
            <a:off x="141593" y="5240124"/>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1" name="Rectangle: Rounded Corners 42">
            <a:extLst>
              <a:ext uri="{FF2B5EF4-FFF2-40B4-BE49-F238E27FC236}">
                <a16:creationId xmlns:a16="http://schemas.microsoft.com/office/drawing/2014/main" id="{8FE85DBC-BE08-484E-BEC8-A1DE82479879}"/>
              </a:ext>
            </a:extLst>
          </p:cNvPr>
          <p:cNvSpPr/>
          <p:nvPr/>
        </p:nvSpPr>
        <p:spPr>
          <a:xfrm>
            <a:off x="6454955" y="4868647"/>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7-211</a:t>
            </a:r>
          </a:p>
        </p:txBody>
      </p:sp>
      <p:sp>
        <p:nvSpPr>
          <p:cNvPr id="218" name="Rectangle: Rounded Corners 42">
            <a:extLst>
              <a:ext uri="{FF2B5EF4-FFF2-40B4-BE49-F238E27FC236}">
                <a16:creationId xmlns:a16="http://schemas.microsoft.com/office/drawing/2014/main" id="{627D154D-D2AE-4150-95C3-40B6549CD8E9}"/>
              </a:ext>
            </a:extLst>
          </p:cNvPr>
          <p:cNvSpPr/>
          <p:nvPr/>
        </p:nvSpPr>
        <p:spPr>
          <a:xfrm>
            <a:off x="6465392" y="37507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70-71</a:t>
            </a:r>
          </a:p>
        </p:txBody>
      </p:sp>
      <p:sp>
        <p:nvSpPr>
          <p:cNvPr id="219" name="Rectangle: Rounded Corners 42">
            <a:extLst>
              <a:ext uri="{FF2B5EF4-FFF2-40B4-BE49-F238E27FC236}">
                <a16:creationId xmlns:a16="http://schemas.microsoft.com/office/drawing/2014/main" id="{6D00406F-B638-4EDD-B83F-0358CCD0C9E0}"/>
              </a:ext>
            </a:extLst>
          </p:cNvPr>
          <p:cNvSpPr/>
          <p:nvPr/>
        </p:nvSpPr>
        <p:spPr>
          <a:xfrm>
            <a:off x="6465392" y="398709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9.5-9.6</a:t>
            </a:r>
          </a:p>
        </p:txBody>
      </p:sp>
      <p:sp>
        <p:nvSpPr>
          <p:cNvPr id="221" name="Rectangle: Rounded Corners 42">
            <a:extLst>
              <a:ext uri="{FF2B5EF4-FFF2-40B4-BE49-F238E27FC236}">
                <a16:creationId xmlns:a16="http://schemas.microsoft.com/office/drawing/2014/main" id="{CA164233-6E4B-4B66-A00A-5FD68251DDE0}"/>
              </a:ext>
            </a:extLst>
          </p:cNvPr>
          <p:cNvSpPr/>
          <p:nvPr/>
        </p:nvSpPr>
        <p:spPr>
          <a:xfrm>
            <a:off x="6465392" y="42501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217-221</a:t>
            </a:r>
          </a:p>
        </p:txBody>
      </p:sp>
      <p:sp>
        <p:nvSpPr>
          <p:cNvPr id="230" name="Rectangle: Rounded Corners 36">
            <a:extLst>
              <a:ext uri="{FF2B5EF4-FFF2-40B4-BE49-F238E27FC236}">
                <a16:creationId xmlns:a16="http://schemas.microsoft.com/office/drawing/2014/main" id="{03A6E9AF-B999-44F4-882A-E2363F143548}"/>
              </a:ext>
            </a:extLst>
          </p:cNvPr>
          <p:cNvSpPr/>
          <p:nvPr/>
        </p:nvSpPr>
        <p:spPr>
          <a:xfrm>
            <a:off x="6454954" y="347959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136-139</a:t>
            </a:r>
          </a:p>
        </p:txBody>
      </p:sp>
      <p:sp>
        <p:nvSpPr>
          <p:cNvPr id="233" name="Arrow: Pentagon 13">
            <a:extLst>
              <a:ext uri="{FF2B5EF4-FFF2-40B4-BE49-F238E27FC236}">
                <a16:creationId xmlns:a16="http://schemas.microsoft.com/office/drawing/2014/main" id="{8565AF6B-D42C-4586-9D3D-615095155D24}"/>
              </a:ext>
            </a:extLst>
          </p:cNvPr>
          <p:cNvSpPr/>
          <p:nvPr/>
        </p:nvSpPr>
        <p:spPr>
          <a:xfrm rot="5400000">
            <a:off x="6819273" y="807499"/>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2 FY 23 P </a:t>
            </a:r>
          </a:p>
        </p:txBody>
      </p:sp>
      <p:cxnSp>
        <p:nvCxnSpPr>
          <p:cNvPr id="270" name="Straight Connector 269">
            <a:extLst>
              <a:ext uri="{FF2B5EF4-FFF2-40B4-BE49-F238E27FC236}">
                <a16:creationId xmlns:a16="http://schemas.microsoft.com/office/drawing/2014/main" id="{1D55CE6A-7F5C-43C1-AD48-474245D51EC4}"/>
              </a:ext>
            </a:extLst>
          </p:cNvPr>
          <p:cNvCxnSpPr/>
          <p:nvPr/>
        </p:nvCxnSpPr>
        <p:spPr>
          <a:xfrm>
            <a:off x="195997" y="3337866"/>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8" name="Arrow: Pentagon 13">
            <a:extLst>
              <a:ext uri="{FF2B5EF4-FFF2-40B4-BE49-F238E27FC236}">
                <a16:creationId xmlns:a16="http://schemas.microsoft.com/office/drawing/2014/main" id="{A20F9F30-4631-4F77-8779-17D552CB2D5E}"/>
              </a:ext>
            </a:extLst>
          </p:cNvPr>
          <p:cNvSpPr/>
          <p:nvPr/>
        </p:nvSpPr>
        <p:spPr>
          <a:xfrm rot="5400000">
            <a:off x="11180770" y="821363"/>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2 FY 23 P</a:t>
            </a:r>
          </a:p>
        </p:txBody>
      </p:sp>
      <p:sp>
        <p:nvSpPr>
          <p:cNvPr id="281" name="Rectangle: Rounded Corners 19">
            <a:extLst>
              <a:ext uri="{FF2B5EF4-FFF2-40B4-BE49-F238E27FC236}">
                <a16:creationId xmlns:a16="http://schemas.microsoft.com/office/drawing/2014/main" id="{7595607B-A25C-4BD7-8C49-C5E9DDDAB883}"/>
              </a:ext>
            </a:extLst>
          </p:cNvPr>
          <p:cNvSpPr/>
          <p:nvPr/>
        </p:nvSpPr>
        <p:spPr>
          <a:xfrm>
            <a:off x="10816453" y="233056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a:t>
            </a:r>
          </a:p>
        </p:txBody>
      </p:sp>
      <p:sp>
        <p:nvSpPr>
          <p:cNvPr id="282" name="Rectangle: Rounded Corners 36">
            <a:extLst>
              <a:ext uri="{FF2B5EF4-FFF2-40B4-BE49-F238E27FC236}">
                <a16:creationId xmlns:a16="http://schemas.microsoft.com/office/drawing/2014/main" id="{E5714B7C-9130-4F3E-BF2F-A0473E1F127C}"/>
              </a:ext>
            </a:extLst>
          </p:cNvPr>
          <p:cNvSpPr/>
          <p:nvPr/>
        </p:nvSpPr>
        <p:spPr>
          <a:xfrm>
            <a:off x="10816453" y="257042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7)-(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7" name="Rectangle: Rounded Corners 36">
            <a:extLst>
              <a:ext uri="{FF2B5EF4-FFF2-40B4-BE49-F238E27FC236}">
                <a16:creationId xmlns:a16="http://schemas.microsoft.com/office/drawing/2014/main" id="{610ADEBB-E302-4868-8A92-598B935F7C0F}"/>
              </a:ext>
            </a:extLst>
          </p:cNvPr>
          <p:cNvSpPr/>
          <p:nvPr/>
        </p:nvSpPr>
        <p:spPr>
          <a:xfrm>
            <a:off x="10816453" y="2845276"/>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3)-(1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9" name="Rectangle: Rounded Corners 36">
            <a:extLst>
              <a:ext uri="{FF2B5EF4-FFF2-40B4-BE49-F238E27FC236}">
                <a16:creationId xmlns:a16="http://schemas.microsoft.com/office/drawing/2014/main" id="{002CD4C3-4C60-4D41-9E60-DCA69C42F394}"/>
              </a:ext>
            </a:extLst>
          </p:cNvPr>
          <p:cNvSpPr/>
          <p:nvPr/>
        </p:nvSpPr>
        <p:spPr>
          <a:xfrm>
            <a:off x="10816453" y="309471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7)</a:t>
            </a:r>
          </a:p>
        </p:txBody>
      </p:sp>
      <p:sp>
        <p:nvSpPr>
          <p:cNvPr id="304" name="Rectangle: Rounded Corners 19">
            <a:extLst>
              <a:ext uri="{FF2B5EF4-FFF2-40B4-BE49-F238E27FC236}">
                <a16:creationId xmlns:a16="http://schemas.microsoft.com/office/drawing/2014/main" id="{C1AD6E1C-D4C0-49EB-80E2-536A169990EE}"/>
              </a:ext>
            </a:extLst>
          </p:cNvPr>
          <p:cNvSpPr/>
          <p:nvPr/>
        </p:nvSpPr>
        <p:spPr>
          <a:xfrm>
            <a:off x="10816453" y="2330569"/>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4" name="Rectangle: Rounded Corners 19">
            <a:extLst>
              <a:ext uri="{FF2B5EF4-FFF2-40B4-BE49-F238E27FC236}">
                <a16:creationId xmlns:a16="http://schemas.microsoft.com/office/drawing/2014/main" id="{51C30ED3-1132-4C8B-9FB2-AF75B96C09A1}"/>
              </a:ext>
            </a:extLst>
          </p:cNvPr>
          <p:cNvSpPr/>
          <p:nvPr/>
        </p:nvSpPr>
        <p:spPr>
          <a:xfrm>
            <a:off x="10816453" y="151753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3-1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0" name="Rectangle: Rounded Corners 36">
            <a:extLst>
              <a:ext uri="{FF2B5EF4-FFF2-40B4-BE49-F238E27FC236}">
                <a16:creationId xmlns:a16="http://schemas.microsoft.com/office/drawing/2014/main" id="{6ACE1DAE-E55A-4F37-A09F-C0D6F0A7F68B}"/>
              </a:ext>
            </a:extLst>
          </p:cNvPr>
          <p:cNvSpPr/>
          <p:nvPr/>
        </p:nvSpPr>
        <p:spPr>
          <a:xfrm>
            <a:off x="10816453" y="175739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lang="en-US" sz="1100" dirty="0">
                <a:solidFill>
                  <a:srgbClr val="000000"/>
                </a:solidFill>
                <a:latin typeface="Arial" panose="020B0604020202020204" pitchFamily="34" charset="0"/>
                <a:cs typeface="Arial" panose="020B0604020202020204" pitchFamily="34" charset="0"/>
              </a:rPr>
              <a:t>8-2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1" name="Rectangle: Rounded Corners 36">
            <a:extLst>
              <a:ext uri="{FF2B5EF4-FFF2-40B4-BE49-F238E27FC236}">
                <a16:creationId xmlns:a16="http://schemas.microsoft.com/office/drawing/2014/main" id="{56D82E46-A969-4041-AA46-83EE6E7E064E}"/>
              </a:ext>
            </a:extLst>
          </p:cNvPr>
          <p:cNvSpPr/>
          <p:nvPr/>
        </p:nvSpPr>
        <p:spPr>
          <a:xfrm>
            <a:off x="10816453" y="203224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16-18</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 name="Rectangle: Rounded Corners 42">
            <a:extLst>
              <a:ext uri="{FF2B5EF4-FFF2-40B4-BE49-F238E27FC236}">
                <a16:creationId xmlns:a16="http://schemas.microsoft.com/office/drawing/2014/main" id="{BCB0711A-995E-4665-A302-7DB1598A674C}"/>
              </a:ext>
            </a:extLst>
          </p:cNvPr>
          <p:cNvSpPr/>
          <p:nvPr/>
        </p:nvSpPr>
        <p:spPr>
          <a:xfrm>
            <a:off x="10816453" y="528032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3-4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 name="Rectangle: Rounded Corners 42">
            <a:extLst>
              <a:ext uri="{FF2B5EF4-FFF2-40B4-BE49-F238E27FC236}">
                <a16:creationId xmlns:a16="http://schemas.microsoft.com/office/drawing/2014/main" id="{08DC79B0-01A3-4887-B711-829A98156880}"/>
              </a:ext>
            </a:extLst>
          </p:cNvPr>
          <p:cNvSpPr/>
          <p:nvPr/>
        </p:nvSpPr>
        <p:spPr>
          <a:xfrm>
            <a:off x="10816453" y="550588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0-3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 name="Rectangle: Rounded Corners 42">
            <a:extLst>
              <a:ext uri="{FF2B5EF4-FFF2-40B4-BE49-F238E27FC236}">
                <a16:creationId xmlns:a16="http://schemas.microsoft.com/office/drawing/2014/main" id="{E05BC8C4-68F4-4BDA-AC80-ADE0DF795839}"/>
              </a:ext>
            </a:extLst>
          </p:cNvPr>
          <p:cNvSpPr/>
          <p:nvPr/>
        </p:nvSpPr>
        <p:spPr>
          <a:xfrm>
            <a:off x="10816453" y="580394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4-36</a:t>
            </a:r>
          </a:p>
        </p:txBody>
      </p:sp>
      <p:sp>
        <p:nvSpPr>
          <p:cNvPr id="348" name="Rectangle: Rounded Corners 42">
            <a:extLst>
              <a:ext uri="{FF2B5EF4-FFF2-40B4-BE49-F238E27FC236}">
                <a16:creationId xmlns:a16="http://schemas.microsoft.com/office/drawing/2014/main" id="{0467A998-87E9-4B1B-890E-45EDD44F375E}"/>
              </a:ext>
            </a:extLst>
          </p:cNvPr>
          <p:cNvSpPr/>
          <p:nvPr/>
        </p:nvSpPr>
        <p:spPr>
          <a:xfrm>
            <a:off x="10816453" y="4882512"/>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 name="Rectangle: Rounded Corners 42">
            <a:extLst>
              <a:ext uri="{FF2B5EF4-FFF2-40B4-BE49-F238E27FC236}">
                <a16:creationId xmlns:a16="http://schemas.microsoft.com/office/drawing/2014/main" id="{D67A9070-BEDE-4F5E-87D3-F938CE629FD2}"/>
              </a:ext>
            </a:extLst>
          </p:cNvPr>
          <p:cNvSpPr/>
          <p:nvPr/>
        </p:nvSpPr>
        <p:spPr>
          <a:xfrm>
            <a:off x="10825855" y="375915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36-38</a:t>
            </a:r>
          </a:p>
        </p:txBody>
      </p:sp>
      <p:sp>
        <p:nvSpPr>
          <p:cNvPr id="350" name="Rectangle: Rounded Corners 42">
            <a:extLst>
              <a:ext uri="{FF2B5EF4-FFF2-40B4-BE49-F238E27FC236}">
                <a16:creationId xmlns:a16="http://schemas.microsoft.com/office/drawing/2014/main" id="{A400B572-1149-4C1E-9E53-AB12522D02FF}"/>
              </a:ext>
            </a:extLst>
          </p:cNvPr>
          <p:cNvSpPr/>
          <p:nvPr/>
        </p:nvSpPr>
        <p:spPr>
          <a:xfrm>
            <a:off x="10825855" y="399552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51-53</a:t>
            </a:r>
          </a:p>
        </p:txBody>
      </p:sp>
      <p:sp>
        <p:nvSpPr>
          <p:cNvPr id="351" name="Rectangle: Rounded Corners 42">
            <a:extLst>
              <a:ext uri="{FF2B5EF4-FFF2-40B4-BE49-F238E27FC236}">
                <a16:creationId xmlns:a16="http://schemas.microsoft.com/office/drawing/2014/main" id="{93B0C6D3-0345-4056-9B08-3AF9793C4583}"/>
              </a:ext>
            </a:extLst>
          </p:cNvPr>
          <p:cNvSpPr/>
          <p:nvPr/>
        </p:nvSpPr>
        <p:spPr>
          <a:xfrm>
            <a:off x="10825855" y="425859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b="1" dirty="0">
                <a:solidFill>
                  <a:srgbClr val="000000"/>
                </a:solidFill>
                <a:latin typeface="Arial" panose="020B0604020202020204" pitchFamily="34" charset="0"/>
                <a:cs typeface="Arial" panose="020B0604020202020204" pitchFamily="34" charset="0"/>
              </a:rPr>
              <a:t>30-32</a:t>
            </a:r>
          </a:p>
        </p:txBody>
      </p:sp>
      <p:sp>
        <p:nvSpPr>
          <p:cNvPr id="352" name="Rectangle: Rounded Corners 36">
            <a:extLst>
              <a:ext uri="{FF2B5EF4-FFF2-40B4-BE49-F238E27FC236}">
                <a16:creationId xmlns:a16="http://schemas.microsoft.com/office/drawing/2014/main" id="{DC8B6683-16E3-4F59-BA56-75B547A40E0D}"/>
              </a:ext>
            </a:extLst>
          </p:cNvPr>
          <p:cNvSpPr/>
          <p:nvPr/>
        </p:nvSpPr>
        <p:spPr>
          <a:xfrm>
            <a:off x="10815417" y="348801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algn="ctr"/>
            <a:r>
              <a:rPr lang="en-US" sz="1100" dirty="0">
                <a:solidFill>
                  <a:srgbClr val="000000"/>
                </a:solidFill>
                <a:latin typeface="Arial" panose="020B0604020202020204" pitchFamily="34" charset="0"/>
                <a:cs typeface="Arial" panose="020B0604020202020204" pitchFamily="34" charset="0"/>
              </a:rPr>
              <a:t>26-28</a:t>
            </a:r>
          </a:p>
        </p:txBody>
      </p:sp>
    </p:spTree>
    <p:extLst>
      <p:ext uri="{BB962C8B-B14F-4D97-AF65-F5344CB8AC3E}">
        <p14:creationId xmlns:p14="http://schemas.microsoft.com/office/powerpoint/2010/main" val="181142196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D6BA4FF-0711-4867-A3C2-EEE3A0C41A71}"/>
              </a:ext>
            </a:extLst>
          </p:cNvPr>
          <p:cNvSpPr>
            <a:spLocks noGrp="1"/>
          </p:cNvSpPr>
          <p:nvPr>
            <p:ph type="title"/>
          </p:nvPr>
        </p:nvSpPr>
        <p:spPr>
          <a:xfrm>
            <a:off x="411480" y="161925"/>
            <a:ext cx="10515600" cy="528955"/>
          </a:xfrm>
        </p:spPr>
        <p:txBody>
          <a:bodyPr vert="horz" lIns="0" tIns="0" rIns="0" bIns="0" rtlCol="0" anchor="ctr">
            <a:noAutofit/>
          </a:bodyPr>
          <a:lstStyle/>
          <a:p>
            <a:r>
              <a:rPr lang="en-US" sz="2800" b="1" dirty="0">
                <a:solidFill>
                  <a:schemeClr val="tx1"/>
                </a:solidFill>
                <a:latin typeface="Arial" panose="020B0604020202020204" pitchFamily="34" charset="0"/>
                <a:cs typeface="Arial" panose="020B0604020202020204" pitchFamily="34" charset="0"/>
              </a:rPr>
              <a:t>Annual forecasts – Exports</a:t>
            </a:r>
          </a:p>
        </p:txBody>
      </p:sp>
      <p:sp>
        <p:nvSpPr>
          <p:cNvPr id="170" name="Rectangle: Rounded Corners 169">
            <a:extLst>
              <a:ext uri="{FF2B5EF4-FFF2-40B4-BE49-F238E27FC236}">
                <a16:creationId xmlns:a16="http://schemas.microsoft.com/office/drawing/2014/main" id="{BFD3DB29-252E-4C1E-A58C-A3676AC3D8CD}"/>
              </a:ext>
            </a:extLst>
          </p:cNvPr>
          <p:cNvSpPr/>
          <p:nvPr/>
        </p:nvSpPr>
        <p:spPr>
          <a:xfrm>
            <a:off x="233779" y="1641405"/>
            <a:ext cx="1371600" cy="6853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ssenger vehicles</a:t>
            </a:r>
          </a:p>
        </p:txBody>
      </p:sp>
      <p:sp>
        <p:nvSpPr>
          <p:cNvPr id="194" name="Rectangle: Rounded Corners 193">
            <a:extLst>
              <a:ext uri="{FF2B5EF4-FFF2-40B4-BE49-F238E27FC236}">
                <a16:creationId xmlns:a16="http://schemas.microsoft.com/office/drawing/2014/main" id="{ECAF922C-CE8F-49B4-B60E-1EF4EED9557F}"/>
              </a:ext>
            </a:extLst>
          </p:cNvPr>
          <p:cNvSpPr/>
          <p:nvPr/>
        </p:nvSpPr>
        <p:spPr>
          <a:xfrm>
            <a:off x="1667317" y="1646417"/>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rs (‘000)</a:t>
            </a:r>
          </a:p>
        </p:txBody>
      </p:sp>
      <p:sp>
        <p:nvSpPr>
          <p:cNvPr id="203" name="Rectangle: Rounded Corners 202">
            <a:extLst>
              <a:ext uri="{FF2B5EF4-FFF2-40B4-BE49-F238E27FC236}">
                <a16:creationId xmlns:a16="http://schemas.microsoft.com/office/drawing/2014/main" id="{230D2B56-775E-4A33-A2E5-A8C2A8FB302B}"/>
              </a:ext>
            </a:extLst>
          </p:cNvPr>
          <p:cNvSpPr/>
          <p:nvPr/>
        </p:nvSpPr>
        <p:spPr>
          <a:xfrm>
            <a:off x="1667317" y="1890564"/>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Vs &amp; vans (‘000)</a:t>
            </a:r>
          </a:p>
        </p:txBody>
      </p:sp>
      <p:sp>
        <p:nvSpPr>
          <p:cNvPr id="212" name="Rectangle: Rounded Corners 211">
            <a:extLst>
              <a:ext uri="{FF2B5EF4-FFF2-40B4-BE49-F238E27FC236}">
                <a16:creationId xmlns:a16="http://schemas.microsoft.com/office/drawing/2014/main" id="{1FBE584E-9578-440E-8569-9FDB6AA551D4}"/>
              </a:ext>
            </a:extLst>
          </p:cNvPr>
          <p:cNvSpPr/>
          <p:nvPr/>
        </p:nvSpPr>
        <p:spPr>
          <a:xfrm>
            <a:off x="233779" y="2454656"/>
            <a:ext cx="1371600" cy="93748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wo-wheel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0" name="Rectangle: Rounded Corners 219">
            <a:extLst>
              <a:ext uri="{FF2B5EF4-FFF2-40B4-BE49-F238E27FC236}">
                <a16:creationId xmlns:a16="http://schemas.microsoft.com/office/drawing/2014/main" id="{D46F65C3-CD7D-42E1-B82A-E0E0E39DFDBD}"/>
              </a:ext>
            </a:extLst>
          </p:cNvPr>
          <p:cNvSpPr/>
          <p:nvPr/>
        </p:nvSpPr>
        <p:spPr>
          <a:xfrm>
            <a:off x="1667317" y="245465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torcycles (mn)</a:t>
            </a:r>
          </a:p>
        </p:txBody>
      </p:sp>
      <p:sp>
        <p:nvSpPr>
          <p:cNvPr id="223" name="Rectangle: Rounded Corners 222">
            <a:extLst>
              <a:ext uri="{FF2B5EF4-FFF2-40B4-BE49-F238E27FC236}">
                <a16:creationId xmlns:a16="http://schemas.microsoft.com/office/drawing/2014/main" id="{A12F11AE-D220-4AFC-8D94-86F80A926F95}"/>
              </a:ext>
            </a:extLst>
          </p:cNvPr>
          <p:cNvSpPr/>
          <p:nvPr/>
        </p:nvSpPr>
        <p:spPr>
          <a:xfrm>
            <a:off x="1667317" y="2701800"/>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ooters (mn)</a:t>
            </a:r>
          </a:p>
        </p:txBody>
      </p:sp>
      <p:sp>
        <p:nvSpPr>
          <p:cNvPr id="247" name="Rectangle: Rounded Corners 246">
            <a:extLst>
              <a:ext uri="{FF2B5EF4-FFF2-40B4-BE49-F238E27FC236}">
                <a16:creationId xmlns:a16="http://schemas.microsoft.com/office/drawing/2014/main" id="{7AE8AC5C-AFA8-44BA-81AB-D8744CEDE76E}"/>
              </a:ext>
            </a:extLst>
          </p:cNvPr>
          <p:cNvSpPr/>
          <p:nvPr/>
        </p:nvSpPr>
        <p:spPr>
          <a:xfrm>
            <a:off x="1679349" y="3511151"/>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CV (‘000) </a:t>
            </a:r>
          </a:p>
        </p:txBody>
      </p:sp>
      <p:sp>
        <p:nvSpPr>
          <p:cNvPr id="248" name="Rectangle: Rounded Corners 247">
            <a:extLst>
              <a:ext uri="{FF2B5EF4-FFF2-40B4-BE49-F238E27FC236}">
                <a16:creationId xmlns:a16="http://schemas.microsoft.com/office/drawing/2014/main" id="{6B2152E4-1BC4-46E5-A39B-1B22C86D1481}"/>
              </a:ext>
            </a:extLst>
          </p:cNvPr>
          <p:cNvSpPr/>
          <p:nvPr/>
        </p:nvSpPr>
        <p:spPr>
          <a:xfrm>
            <a:off x="1679349" y="3765153"/>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HCV (‘000)</a:t>
            </a:r>
          </a:p>
        </p:txBody>
      </p:sp>
      <p:sp>
        <p:nvSpPr>
          <p:cNvPr id="249" name="Rectangle: Rounded Corners 248">
            <a:extLst>
              <a:ext uri="{FF2B5EF4-FFF2-40B4-BE49-F238E27FC236}">
                <a16:creationId xmlns:a16="http://schemas.microsoft.com/office/drawing/2014/main" id="{BBB8EE86-F51C-4F70-B741-C1AA0475A8AF}"/>
              </a:ext>
            </a:extLst>
          </p:cNvPr>
          <p:cNvSpPr/>
          <p:nvPr/>
        </p:nvSpPr>
        <p:spPr>
          <a:xfrm>
            <a:off x="1679349" y="4016356"/>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ses (‘000)</a:t>
            </a:r>
          </a:p>
        </p:txBody>
      </p:sp>
      <p:sp>
        <p:nvSpPr>
          <p:cNvPr id="250" name="Rectangle: Rounded Corners 249">
            <a:extLst>
              <a:ext uri="{FF2B5EF4-FFF2-40B4-BE49-F238E27FC236}">
                <a16:creationId xmlns:a16="http://schemas.microsoft.com/office/drawing/2014/main" id="{25D0CAEF-2CDB-4127-AA18-66F99BC68AFC}"/>
              </a:ext>
            </a:extLst>
          </p:cNvPr>
          <p:cNvSpPr/>
          <p:nvPr/>
        </p:nvSpPr>
        <p:spPr>
          <a:xfrm>
            <a:off x="233779" y="3513537"/>
            <a:ext cx="1371600" cy="9044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ercial vehicles</a:t>
            </a:r>
          </a:p>
        </p:txBody>
      </p:sp>
      <p:sp>
        <p:nvSpPr>
          <p:cNvPr id="251" name="Rectangle: Rounded Corners 250">
            <a:extLst>
              <a:ext uri="{FF2B5EF4-FFF2-40B4-BE49-F238E27FC236}">
                <a16:creationId xmlns:a16="http://schemas.microsoft.com/office/drawing/2014/main" id="{080EA40A-AAE0-4B51-8B01-25B3013979E3}"/>
              </a:ext>
            </a:extLst>
          </p:cNvPr>
          <p:cNvSpPr/>
          <p:nvPr/>
        </p:nvSpPr>
        <p:spPr>
          <a:xfrm>
            <a:off x="233779" y="4529802"/>
            <a:ext cx="2973742" cy="4114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ractors (‘000)</a:t>
            </a:r>
          </a:p>
        </p:txBody>
      </p:sp>
      <p:sp>
        <p:nvSpPr>
          <p:cNvPr id="252" name="Rectangle: Rounded Corners 251">
            <a:extLst>
              <a:ext uri="{FF2B5EF4-FFF2-40B4-BE49-F238E27FC236}">
                <a16:creationId xmlns:a16="http://schemas.microsoft.com/office/drawing/2014/main" id="{672E7A6C-03DF-409E-A1E7-B60C26963873}"/>
              </a:ext>
            </a:extLst>
          </p:cNvPr>
          <p:cNvSpPr/>
          <p:nvPr/>
        </p:nvSpPr>
        <p:spPr>
          <a:xfrm>
            <a:off x="233779" y="5084287"/>
            <a:ext cx="1371600" cy="7447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ree-wheelers</a:t>
            </a:r>
          </a:p>
        </p:txBody>
      </p:sp>
      <p:sp>
        <p:nvSpPr>
          <p:cNvPr id="253" name="Rectangle: Rounded Corners 252">
            <a:extLst>
              <a:ext uri="{FF2B5EF4-FFF2-40B4-BE49-F238E27FC236}">
                <a16:creationId xmlns:a16="http://schemas.microsoft.com/office/drawing/2014/main" id="{53A6650F-C124-472A-8D3A-62309D32DC84}"/>
              </a:ext>
            </a:extLst>
          </p:cNvPr>
          <p:cNvSpPr/>
          <p:nvPr/>
        </p:nvSpPr>
        <p:spPr>
          <a:xfrm>
            <a:off x="1667317" y="5094662"/>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ods (‘000)</a:t>
            </a:r>
          </a:p>
        </p:txBody>
      </p:sp>
      <p:sp>
        <p:nvSpPr>
          <p:cNvPr id="254" name="Rectangle: Rounded Corners 253">
            <a:extLst>
              <a:ext uri="{FF2B5EF4-FFF2-40B4-BE49-F238E27FC236}">
                <a16:creationId xmlns:a16="http://schemas.microsoft.com/office/drawing/2014/main" id="{1E1741C2-63F6-46F1-9697-4FC15E9AD327}"/>
              </a:ext>
            </a:extLst>
          </p:cNvPr>
          <p:cNvSpPr/>
          <p:nvPr/>
        </p:nvSpPr>
        <p:spPr>
          <a:xfrm>
            <a:off x="1667317" y="5348979"/>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ssenger (‘000)</a:t>
            </a:r>
          </a:p>
        </p:txBody>
      </p:sp>
      <p:sp>
        <p:nvSpPr>
          <p:cNvPr id="266" name="Rectangle: Rounded Corners 265">
            <a:extLst>
              <a:ext uri="{FF2B5EF4-FFF2-40B4-BE49-F238E27FC236}">
                <a16:creationId xmlns:a16="http://schemas.microsoft.com/office/drawing/2014/main" id="{4D795AD2-454D-4AB8-B5C0-480FEED4834A}"/>
              </a:ext>
            </a:extLst>
          </p:cNvPr>
          <p:cNvSpPr/>
          <p:nvPr/>
        </p:nvSpPr>
        <p:spPr>
          <a:xfrm>
            <a:off x="1667317" y="2950774"/>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peds (‘000)</a:t>
            </a:r>
          </a:p>
        </p:txBody>
      </p:sp>
      <p:sp>
        <p:nvSpPr>
          <p:cNvPr id="279" name="Rectangle: Rounded Corners 8">
            <a:extLst>
              <a:ext uri="{FF2B5EF4-FFF2-40B4-BE49-F238E27FC236}">
                <a16:creationId xmlns:a16="http://schemas.microsoft.com/office/drawing/2014/main" id="{881E905D-D57D-4610-ACCA-F505C4EFA84E}"/>
              </a:ext>
            </a:extLst>
          </p:cNvPr>
          <p:cNvSpPr/>
          <p:nvPr/>
        </p:nvSpPr>
        <p:spPr>
          <a:xfrm>
            <a:off x="1679349" y="2139948"/>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Vs (‘000)</a:t>
            </a:r>
          </a:p>
        </p:txBody>
      </p:sp>
      <p:sp>
        <p:nvSpPr>
          <p:cNvPr id="280" name="Rectangle: Rounded Corners 96">
            <a:extLst>
              <a:ext uri="{FF2B5EF4-FFF2-40B4-BE49-F238E27FC236}">
                <a16:creationId xmlns:a16="http://schemas.microsoft.com/office/drawing/2014/main" id="{736F3AEE-7241-4593-8EBB-6EF5491C8DE6}"/>
              </a:ext>
            </a:extLst>
          </p:cNvPr>
          <p:cNvSpPr/>
          <p:nvPr/>
        </p:nvSpPr>
        <p:spPr>
          <a:xfrm>
            <a:off x="1667317" y="3200211"/>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W (mn)</a:t>
            </a:r>
          </a:p>
        </p:txBody>
      </p:sp>
      <p:sp>
        <p:nvSpPr>
          <p:cNvPr id="283" name="Rectangle: Rounded Corners 61">
            <a:extLst>
              <a:ext uri="{FF2B5EF4-FFF2-40B4-BE49-F238E27FC236}">
                <a16:creationId xmlns:a16="http://schemas.microsoft.com/office/drawing/2014/main" id="{3F4F610A-37B3-456B-BC08-3ABD3267C83B}"/>
              </a:ext>
            </a:extLst>
          </p:cNvPr>
          <p:cNvSpPr/>
          <p:nvPr/>
        </p:nvSpPr>
        <p:spPr>
          <a:xfrm>
            <a:off x="1679349" y="4254369"/>
            <a:ext cx="1554480" cy="2199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Vs (‘000)</a:t>
            </a:r>
          </a:p>
        </p:txBody>
      </p:sp>
      <p:sp>
        <p:nvSpPr>
          <p:cNvPr id="286" name="Rectangle: Rounded Corners 71">
            <a:extLst>
              <a:ext uri="{FF2B5EF4-FFF2-40B4-BE49-F238E27FC236}">
                <a16:creationId xmlns:a16="http://schemas.microsoft.com/office/drawing/2014/main" id="{751DA899-E3EA-4743-8581-569AF2B9E296}"/>
              </a:ext>
            </a:extLst>
          </p:cNvPr>
          <p:cNvSpPr/>
          <p:nvPr/>
        </p:nvSpPr>
        <p:spPr>
          <a:xfrm>
            <a:off x="1667317" y="5618286"/>
            <a:ext cx="1554480" cy="21992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W (‘000)</a:t>
            </a:r>
          </a:p>
        </p:txBody>
      </p:sp>
      <p:sp>
        <p:nvSpPr>
          <p:cNvPr id="268" name="Arrow: Pentagon 13">
            <a:extLst>
              <a:ext uri="{FF2B5EF4-FFF2-40B4-BE49-F238E27FC236}">
                <a16:creationId xmlns:a16="http://schemas.microsoft.com/office/drawing/2014/main" id="{F15A0CE4-1AC0-415A-9628-E45F6314EDD4}"/>
              </a:ext>
            </a:extLst>
          </p:cNvPr>
          <p:cNvSpPr/>
          <p:nvPr/>
        </p:nvSpPr>
        <p:spPr>
          <a:xfrm rot="5400000">
            <a:off x="3687076" y="969348"/>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 20</a:t>
            </a:r>
          </a:p>
        </p:txBody>
      </p:sp>
      <p:sp>
        <p:nvSpPr>
          <p:cNvPr id="269" name="Rectangle: Rounded Corners 19">
            <a:extLst>
              <a:ext uri="{FF2B5EF4-FFF2-40B4-BE49-F238E27FC236}">
                <a16:creationId xmlns:a16="http://schemas.microsoft.com/office/drawing/2014/main" id="{FD2F605B-1BD7-48E4-9B68-2D81DCF07D22}"/>
              </a:ext>
            </a:extLst>
          </p:cNvPr>
          <p:cNvSpPr/>
          <p:nvPr/>
        </p:nvSpPr>
        <p:spPr>
          <a:xfrm>
            <a:off x="3322759" y="248005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4</a:t>
            </a:r>
          </a:p>
        </p:txBody>
      </p:sp>
      <p:sp>
        <p:nvSpPr>
          <p:cNvPr id="270" name="Rectangle: Rounded Corners 36">
            <a:extLst>
              <a:ext uri="{FF2B5EF4-FFF2-40B4-BE49-F238E27FC236}">
                <a16:creationId xmlns:a16="http://schemas.microsoft.com/office/drawing/2014/main" id="{28C8E137-121A-44FC-9FC0-2F621746BE89}"/>
              </a:ext>
            </a:extLst>
          </p:cNvPr>
          <p:cNvSpPr/>
          <p:nvPr/>
        </p:nvSpPr>
        <p:spPr>
          <a:xfrm>
            <a:off x="3322759" y="270863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37</a:t>
            </a:r>
          </a:p>
        </p:txBody>
      </p:sp>
      <p:sp>
        <p:nvSpPr>
          <p:cNvPr id="278" name="Rectangle: Rounded Corners 36">
            <a:extLst>
              <a:ext uri="{FF2B5EF4-FFF2-40B4-BE49-F238E27FC236}">
                <a16:creationId xmlns:a16="http://schemas.microsoft.com/office/drawing/2014/main" id="{236FED28-8C10-4EEB-BEBE-D4B94B044133}"/>
              </a:ext>
            </a:extLst>
          </p:cNvPr>
          <p:cNvSpPr/>
          <p:nvPr/>
        </p:nvSpPr>
        <p:spPr>
          <a:xfrm>
            <a:off x="3322759" y="299476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282" name="Rectangle: Rounded Corners 36">
            <a:extLst>
              <a:ext uri="{FF2B5EF4-FFF2-40B4-BE49-F238E27FC236}">
                <a16:creationId xmlns:a16="http://schemas.microsoft.com/office/drawing/2014/main" id="{B1263E8C-FA20-4D37-B79D-AD3038C6FCCF}"/>
              </a:ext>
            </a:extLst>
          </p:cNvPr>
          <p:cNvSpPr/>
          <p:nvPr/>
        </p:nvSpPr>
        <p:spPr>
          <a:xfrm>
            <a:off x="3322759" y="3244198"/>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2</a:t>
            </a:r>
          </a:p>
        </p:txBody>
      </p:sp>
      <p:sp>
        <p:nvSpPr>
          <p:cNvPr id="295" name="Arrow: Pentagon 13">
            <a:extLst>
              <a:ext uri="{FF2B5EF4-FFF2-40B4-BE49-F238E27FC236}">
                <a16:creationId xmlns:a16="http://schemas.microsoft.com/office/drawing/2014/main" id="{FCED1406-3426-426F-953D-01D57CB634AB}"/>
              </a:ext>
            </a:extLst>
          </p:cNvPr>
          <p:cNvSpPr/>
          <p:nvPr/>
        </p:nvSpPr>
        <p:spPr>
          <a:xfrm rot="5400000">
            <a:off x="4762561" y="969348"/>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 21</a:t>
            </a:r>
          </a:p>
        </p:txBody>
      </p:sp>
      <p:sp>
        <p:nvSpPr>
          <p:cNvPr id="296" name="Rectangle: Rounded Corners 19">
            <a:extLst>
              <a:ext uri="{FF2B5EF4-FFF2-40B4-BE49-F238E27FC236}">
                <a16:creationId xmlns:a16="http://schemas.microsoft.com/office/drawing/2014/main" id="{F7C835E7-7E48-498D-AB7F-38B1F3885835}"/>
              </a:ext>
            </a:extLst>
          </p:cNvPr>
          <p:cNvSpPr/>
          <p:nvPr/>
        </p:nvSpPr>
        <p:spPr>
          <a:xfrm>
            <a:off x="4398243" y="24952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3</a:t>
            </a:r>
          </a:p>
        </p:txBody>
      </p:sp>
      <p:sp>
        <p:nvSpPr>
          <p:cNvPr id="297" name="Rectangle: Rounded Corners 36">
            <a:extLst>
              <a:ext uri="{FF2B5EF4-FFF2-40B4-BE49-F238E27FC236}">
                <a16:creationId xmlns:a16="http://schemas.microsoft.com/office/drawing/2014/main" id="{453BD235-CA43-4F03-B5F0-C73686F9AF64}"/>
              </a:ext>
            </a:extLst>
          </p:cNvPr>
          <p:cNvSpPr/>
          <p:nvPr/>
        </p:nvSpPr>
        <p:spPr>
          <a:xfrm>
            <a:off x="4398243" y="272381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3</a:t>
            </a:r>
          </a:p>
        </p:txBody>
      </p:sp>
      <p:sp>
        <p:nvSpPr>
          <p:cNvPr id="305" name="Rectangle: Rounded Corners 36">
            <a:extLst>
              <a:ext uri="{FF2B5EF4-FFF2-40B4-BE49-F238E27FC236}">
                <a16:creationId xmlns:a16="http://schemas.microsoft.com/office/drawing/2014/main" id="{612CFEB5-1206-4553-A107-B66B02F17509}"/>
              </a:ext>
            </a:extLst>
          </p:cNvPr>
          <p:cNvSpPr/>
          <p:nvPr/>
        </p:nvSpPr>
        <p:spPr>
          <a:xfrm>
            <a:off x="4398243" y="300993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3</a:t>
            </a:r>
          </a:p>
        </p:txBody>
      </p:sp>
      <p:sp>
        <p:nvSpPr>
          <p:cNvPr id="306" name="Rectangle: Rounded Corners 36">
            <a:extLst>
              <a:ext uri="{FF2B5EF4-FFF2-40B4-BE49-F238E27FC236}">
                <a16:creationId xmlns:a16="http://schemas.microsoft.com/office/drawing/2014/main" id="{BBE169E8-9CB9-4715-A889-B945A0EC60AD}"/>
              </a:ext>
            </a:extLst>
          </p:cNvPr>
          <p:cNvSpPr/>
          <p:nvPr/>
        </p:nvSpPr>
        <p:spPr>
          <a:xfrm>
            <a:off x="4398243" y="325937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8</a:t>
            </a:r>
          </a:p>
        </p:txBody>
      </p:sp>
      <p:sp>
        <p:nvSpPr>
          <p:cNvPr id="312" name="Arrow: Pentagon 13">
            <a:extLst>
              <a:ext uri="{FF2B5EF4-FFF2-40B4-BE49-F238E27FC236}">
                <a16:creationId xmlns:a16="http://schemas.microsoft.com/office/drawing/2014/main" id="{D2939415-CC48-4C72-8D1F-76A46F13FB2C}"/>
              </a:ext>
            </a:extLst>
          </p:cNvPr>
          <p:cNvSpPr/>
          <p:nvPr/>
        </p:nvSpPr>
        <p:spPr>
          <a:xfrm rot="5400000">
            <a:off x="5860877" y="969348"/>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22</a:t>
            </a:r>
          </a:p>
        </p:txBody>
      </p:sp>
      <p:sp>
        <p:nvSpPr>
          <p:cNvPr id="313" name="Rectangle: Rounded Corners 19">
            <a:extLst>
              <a:ext uri="{FF2B5EF4-FFF2-40B4-BE49-F238E27FC236}">
                <a16:creationId xmlns:a16="http://schemas.microsoft.com/office/drawing/2014/main" id="{79CB1364-E518-4E97-B841-1E7189311CE8}"/>
              </a:ext>
            </a:extLst>
          </p:cNvPr>
          <p:cNvSpPr/>
          <p:nvPr/>
        </p:nvSpPr>
        <p:spPr>
          <a:xfrm>
            <a:off x="5496560" y="248868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0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4" name="Rectangle: Rounded Corners 36">
            <a:extLst>
              <a:ext uri="{FF2B5EF4-FFF2-40B4-BE49-F238E27FC236}">
                <a16:creationId xmlns:a16="http://schemas.microsoft.com/office/drawing/2014/main" id="{BE5D4BEE-37DD-4192-A00D-B08E5764B9DF}"/>
              </a:ext>
            </a:extLst>
          </p:cNvPr>
          <p:cNvSpPr/>
          <p:nvPr/>
        </p:nvSpPr>
        <p:spPr>
          <a:xfrm>
            <a:off x="5496560" y="27172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35</a:t>
            </a:r>
          </a:p>
        </p:txBody>
      </p:sp>
      <p:sp>
        <p:nvSpPr>
          <p:cNvPr id="322" name="Rectangle: Rounded Corners 36">
            <a:extLst>
              <a:ext uri="{FF2B5EF4-FFF2-40B4-BE49-F238E27FC236}">
                <a16:creationId xmlns:a16="http://schemas.microsoft.com/office/drawing/2014/main" id="{E292994A-987F-4183-9B1B-2A4EF8DB25F2}"/>
              </a:ext>
            </a:extLst>
          </p:cNvPr>
          <p:cNvSpPr/>
          <p:nvPr/>
        </p:nvSpPr>
        <p:spPr>
          <a:xfrm>
            <a:off x="5496560" y="300338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3" name="Rectangle: Rounded Corners 36">
            <a:extLst>
              <a:ext uri="{FF2B5EF4-FFF2-40B4-BE49-F238E27FC236}">
                <a16:creationId xmlns:a16="http://schemas.microsoft.com/office/drawing/2014/main" id="{342A3EF9-BC00-4E39-AB56-EC11BA007956}"/>
              </a:ext>
            </a:extLst>
          </p:cNvPr>
          <p:cNvSpPr/>
          <p:nvPr/>
        </p:nvSpPr>
        <p:spPr>
          <a:xfrm>
            <a:off x="5496560" y="325282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4.4</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 name="Rectangle: Rounded Corners 207">
            <a:extLst>
              <a:ext uri="{FF2B5EF4-FFF2-40B4-BE49-F238E27FC236}">
                <a16:creationId xmlns:a16="http://schemas.microsoft.com/office/drawing/2014/main" id="{02B1A8CF-53D8-46C2-96CA-0610E2A5689E}"/>
              </a:ext>
            </a:extLst>
          </p:cNvPr>
          <p:cNvSpPr/>
          <p:nvPr/>
        </p:nvSpPr>
        <p:spPr>
          <a:xfrm>
            <a:off x="3274685" y="941657"/>
            <a:ext cx="4245796" cy="30100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a:t>
            </a:r>
          </a:p>
        </p:txBody>
      </p:sp>
      <p:sp>
        <p:nvSpPr>
          <p:cNvPr id="218" name="Arrow: Pentagon 13">
            <a:extLst>
              <a:ext uri="{FF2B5EF4-FFF2-40B4-BE49-F238E27FC236}">
                <a16:creationId xmlns:a16="http://schemas.microsoft.com/office/drawing/2014/main" id="{C9CDA426-8A28-48E6-BEA2-C06DA8021D32}"/>
              </a:ext>
            </a:extLst>
          </p:cNvPr>
          <p:cNvSpPr/>
          <p:nvPr/>
        </p:nvSpPr>
        <p:spPr>
          <a:xfrm rot="5400000">
            <a:off x="8008336" y="969348"/>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 20</a:t>
            </a:r>
          </a:p>
        </p:txBody>
      </p:sp>
      <p:sp>
        <p:nvSpPr>
          <p:cNvPr id="219" name="Rectangle: Rounded Corners 19">
            <a:extLst>
              <a:ext uri="{FF2B5EF4-FFF2-40B4-BE49-F238E27FC236}">
                <a16:creationId xmlns:a16="http://schemas.microsoft.com/office/drawing/2014/main" id="{696380BC-52F0-4BD7-83E8-F836A6B24AAC}"/>
              </a:ext>
            </a:extLst>
          </p:cNvPr>
          <p:cNvSpPr/>
          <p:nvPr/>
        </p:nvSpPr>
        <p:spPr>
          <a:xfrm>
            <a:off x="7644019" y="2478554"/>
            <a:ext cx="992546" cy="17594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221" name="Rectangle: Rounded Corners 36">
            <a:extLst>
              <a:ext uri="{FF2B5EF4-FFF2-40B4-BE49-F238E27FC236}">
                <a16:creationId xmlns:a16="http://schemas.microsoft.com/office/drawing/2014/main" id="{BFB91B5F-0444-468B-99DF-5E0693F880F1}"/>
              </a:ext>
            </a:extLst>
          </p:cNvPr>
          <p:cNvSpPr/>
          <p:nvPr/>
        </p:nvSpPr>
        <p:spPr>
          <a:xfrm>
            <a:off x="7644019" y="270713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p>
        </p:txBody>
      </p:sp>
      <p:sp>
        <p:nvSpPr>
          <p:cNvPr id="230" name="Rectangle: Rounded Corners 36">
            <a:extLst>
              <a:ext uri="{FF2B5EF4-FFF2-40B4-BE49-F238E27FC236}">
                <a16:creationId xmlns:a16="http://schemas.microsoft.com/office/drawing/2014/main" id="{2F40BA29-8EBC-47F0-BF93-EDDBAE0C92B6}"/>
              </a:ext>
            </a:extLst>
          </p:cNvPr>
          <p:cNvSpPr/>
          <p:nvPr/>
        </p:nvSpPr>
        <p:spPr>
          <a:xfrm>
            <a:off x="7644019" y="299384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 </a:t>
            </a:r>
          </a:p>
        </p:txBody>
      </p:sp>
      <p:sp>
        <p:nvSpPr>
          <p:cNvPr id="233" name="Rectangle: Rounded Corners 36">
            <a:extLst>
              <a:ext uri="{FF2B5EF4-FFF2-40B4-BE49-F238E27FC236}">
                <a16:creationId xmlns:a16="http://schemas.microsoft.com/office/drawing/2014/main" id="{487B4168-BF1B-4317-AC36-0D01E1B042CB}"/>
              </a:ext>
            </a:extLst>
          </p:cNvPr>
          <p:cNvSpPr/>
          <p:nvPr/>
        </p:nvSpPr>
        <p:spPr>
          <a:xfrm>
            <a:off x="7644019" y="324269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p>
        </p:txBody>
      </p:sp>
      <p:sp>
        <p:nvSpPr>
          <p:cNvPr id="244" name="Arrow: Pentagon 13">
            <a:extLst>
              <a:ext uri="{FF2B5EF4-FFF2-40B4-BE49-F238E27FC236}">
                <a16:creationId xmlns:a16="http://schemas.microsoft.com/office/drawing/2014/main" id="{2AAFE9A9-E3A9-47FF-A446-3DEBE00CBDD6}"/>
              </a:ext>
            </a:extLst>
          </p:cNvPr>
          <p:cNvSpPr/>
          <p:nvPr/>
        </p:nvSpPr>
        <p:spPr>
          <a:xfrm rot="5400000">
            <a:off x="9102198" y="969348"/>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 21</a:t>
            </a:r>
          </a:p>
        </p:txBody>
      </p:sp>
      <p:sp>
        <p:nvSpPr>
          <p:cNvPr id="245" name="Rectangle: Rounded Corners 19">
            <a:extLst>
              <a:ext uri="{FF2B5EF4-FFF2-40B4-BE49-F238E27FC236}">
                <a16:creationId xmlns:a16="http://schemas.microsoft.com/office/drawing/2014/main" id="{ECC2DBF2-8663-4164-8E5D-DE7389D48B40}"/>
              </a:ext>
            </a:extLst>
          </p:cNvPr>
          <p:cNvSpPr/>
          <p:nvPr/>
        </p:nvSpPr>
        <p:spPr>
          <a:xfrm>
            <a:off x="8737881" y="24937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a:t>
            </a:r>
          </a:p>
        </p:txBody>
      </p:sp>
      <p:sp>
        <p:nvSpPr>
          <p:cNvPr id="246" name="Rectangle: Rounded Corners 36">
            <a:extLst>
              <a:ext uri="{FF2B5EF4-FFF2-40B4-BE49-F238E27FC236}">
                <a16:creationId xmlns:a16="http://schemas.microsoft.com/office/drawing/2014/main" id="{A636C1CA-546C-40EB-9877-F07D408493BC}"/>
              </a:ext>
            </a:extLst>
          </p:cNvPr>
          <p:cNvSpPr/>
          <p:nvPr/>
        </p:nvSpPr>
        <p:spPr>
          <a:xfrm>
            <a:off x="8737881" y="272231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7) </a:t>
            </a:r>
          </a:p>
        </p:txBody>
      </p:sp>
      <p:sp>
        <p:nvSpPr>
          <p:cNvPr id="336" name="Rectangle: Rounded Corners 36">
            <a:extLst>
              <a:ext uri="{FF2B5EF4-FFF2-40B4-BE49-F238E27FC236}">
                <a16:creationId xmlns:a16="http://schemas.microsoft.com/office/drawing/2014/main" id="{53B741A8-978F-4C4D-8EB1-76E7B8F783BE}"/>
              </a:ext>
            </a:extLst>
          </p:cNvPr>
          <p:cNvSpPr/>
          <p:nvPr/>
        </p:nvSpPr>
        <p:spPr>
          <a:xfrm>
            <a:off x="8737881" y="300843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 </a:t>
            </a:r>
          </a:p>
        </p:txBody>
      </p:sp>
      <p:sp>
        <p:nvSpPr>
          <p:cNvPr id="337" name="Rectangle: Rounded Corners 36">
            <a:extLst>
              <a:ext uri="{FF2B5EF4-FFF2-40B4-BE49-F238E27FC236}">
                <a16:creationId xmlns:a16="http://schemas.microsoft.com/office/drawing/2014/main" id="{B902E33B-4081-4C09-9206-6B5880359397}"/>
              </a:ext>
            </a:extLst>
          </p:cNvPr>
          <p:cNvSpPr/>
          <p:nvPr/>
        </p:nvSpPr>
        <p:spPr>
          <a:xfrm>
            <a:off x="8737881" y="324726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p>
        </p:txBody>
      </p:sp>
      <p:sp>
        <p:nvSpPr>
          <p:cNvPr id="343" name="Arrow: Pentagon 13">
            <a:extLst>
              <a:ext uri="{FF2B5EF4-FFF2-40B4-BE49-F238E27FC236}">
                <a16:creationId xmlns:a16="http://schemas.microsoft.com/office/drawing/2014/main" id="{08CBAF3D-08E2-4FEB-A2FD-2077EBBC3449}"/>
              </a:ext>
            </a:extLst>
          </p:cNvPr>
          <p:cNvSpPr/>
          <p:nvPr/>
        </p:nvSpPr>
        <p:spPr>
          <a:xfrm rot="5400000">
            <a:off x="10194392" y="969348"/>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Y22</a:t>
            </a:r>
            <a:endPar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4" name="Rectangle: Rounded Corners 19">
            <a:extLst>
              <a:ext uri="{FF2B5EF4-FFF2-40B4-BE49-F238E27FC236}">
                <a16:creationId xmlns:a16="http://schemas.microsoft.com/office/drawing/2014/main" id="{4CE9ED90-E0CC-48F5-889C-567DBDF9A08E}"/>
              </a:ext>
            </a:extLst>
          </p:cNvPr>
          <p:cNvSpPr/>
          <p:nvPr/>
        </p:nvSpPr>
        <p:spPr>
          <a:xfrm>
            <a:off x="9830075" y="249804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 name="Rectangle: Rounded Corners 36">
            <a:extLst>
              <a:ext uri="{FF2B5EF4-FFF2-40B4-BE49-F238E27FC236}">
                <a16:creationId xmlns:a16="http://schemas.microsoft.com/office/drawing/2014/main" id="{4E6C2353-104B-4035-B833-BF16C6ED6F54}"/>
              </a:ext>
            </a:extLst>
          </p:cNvPr>
          <p:cNvSpPr/>
          <p:nvPr/>
        </p:nvSpPr>
        <p:spPr>
          <a:xfrm>
            <a:off x="9830075" y="272662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1</a:t>
            </a:r>
          </a:p>
        </p:txBody>
      </p:sp>
      <p:sp>
        <p:nvSpPr>
          <p:cNvPr id="353" name="Rectangle: Rounded Corners 36">
            <a:extLst>
              <a:ext uri="{FF2B5EF4-FFF2-40B4-BE49-F238E27FC236}">
                <a16:creationId xmlns:a16="http://schemas.microsoft.com/office/drawing/2014/main" id="{98CE01D9-CE21-4517-BE1C-8B15A05C3764}"/>
              </a:ext>
            </a:extLst>
          </p:cNvPr>
          <p:cNvSpPr/>
          <p:nvPr/>
        </p:nvSpPr>
        <p:spPr>
          <a:xfrm>
            <a:off x="9830075" y="301274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3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4" name="Rectangle: Rounded Corners 36">
            <a:extLst>
              <a:ext uri="{FF2B5EF4-FFF2-40B4-BE49-F238E27FC236}">
                <a16:creationId xmlns:a16="http://schemas.microsoft.com/office/drawing/2014/main" id="{7D3AFE29-F7BC-4D23-BDCA-C73A7925435A}"/>
              </a:ext>
            </a:extLst>
          </p:cNvPr>
          <p:cNvSpPr/>
          <p:nvPr/>
        </p:nvSpPr>
        <p:spPr>
          <a:xfrm>
            <a:off x="9842116" y="3250867"/>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6</a:t>
            </a:r>
          </a:p>
        </p:txBody>
      </p:sp>
      <p:sp>
        <p:nvSpPr>
          <p:cNvPr id="360" name="Rectangle: Rounded Corners 359">
            <a:extLst>
              <a:ext uri="{FF2B5EF4-FFF2-40B4-BE49-F238E27FC236}">
                <a16:creationId xmlns:a16="http://schemas.microsoft.com/office/drawing/2014/main" id="{D47B7949-A859-4C39-BBCC-98634A7F2EEB}"/>
              </a:ext>
            </a:extLst>
          </p:cNvPr>
          <p:cNvSpPr/>
          <p:nvPr/>
        </p:nvSpPr>
        <p:spPr>
          <a:xfrm>
            <a:off x="7581784" y="925423"/>
            <a:ext cx="4282837" cy="30100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 (%)</a:t>
            </a:r>
          </a:p>
        </p:txBody>
      </p:sp>
      <p:sp>
        <p:nvSpPr>
          <p:cNvPr id="361" name="Rectangle: Rounded Corners 360">
            <a:extLst>
              <a:ext uri="{FF2B5EF4-FFF2-40B4-BE49-F238E27FC236}">
                <a16:creationId xmlns:a16="http://schemas.microsoft.com/office/drawing/2014/main" id="{5548E95E-3668-4AA7-B760-180F9DC07910}"/>
              </a:ext>
            </a:extLst>
          </p:cNvPr>
          <p:cNvSpPr/>
          <p:nvPr/>
        </p:nvSpPr>
        <p:spPr>
          <a:xfrm>
            <a:off x="233779" y="936756"/>
            <a:ext cx="1371600" cy="63236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ehicle segment</a:t>
            </a:r>
          </a:p>
        </p:txBody>
      </p:sp>
      <p:sp>
        <p:nvSpPr>
          <p:cNvPr id="362" name="Rectangle: Rounded Corners 361">
            <a:extLst>
              <a:ext uri="{FF2B5EF4-FFF2-40B4-BE49-F238E27FC236}">
                <a16:creationId xmlns:a16="http://schemas.microsoft.com/office/drawing/2014/main" id="{E880EC39-A88B-485A-BC4B-8EB94927F9B0}"/>
              </a:ext>
            </a:extLst>
          </p:cNvPr>
          <p:cNvSpPr/>
          <p:nvPr/>
        </p:nvSpPr>
        <p:spPr>
          <a:xfrm>
            <a:off x="1653041" y="941656"/>
            <a:ext cx="1554480" cy="63236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bsegment</a:t>
            </a:r>
          </a:p>
        </p:txBody>
      </p:sp>
      <p:sp>
        <p:nvSpPr>
          <p:cNvPr id="363" name="TextBox 362">
            <a:extLst>
              <a:ext uri="{FF2B5EF4-FFF2-40B4-BE49-F238E27FC236}">
                <a16:creationId xmlns:a16="http://schemas.microsoft.com/office/drawing/2014/main" id="{FC5BC8E7-322E-4F00-BDA4-A8DDC0FB0A61}"/>
              </a:ext>
            </a:extLst>
          </p:cNvPr>
          <p:cNvSpPr txBox="1"/>
          <p:nvPr/>
        </p:nvSpPr>
        <p:spPr>
          <a:xfrm>
            <a:off x="1075038" y="6424031"/>
            <a:ext cx="9328076" cy="400093"/>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We have assumed </a:t>
            </a:r>
            <a:r>
              <a:rPr lang="en-US" sz="1000" i="1" dirty="0">
                <a:solidFill>
                  <a:srgbClr val="000000"/>
                </a:solidFill>
                <a:latin typeface="Arial" panose="020B0604020202020204" pitchFamily="34" charset="0"/>
                <a:cs typeface="Arial" panose="020B0604020202020204" pitchFamily="34" charset="0"/>
              </a:rPr>
              <a:t>the </a:t>
            </a:r>
            <a:r>
              <a:rPr lang="en-US" sz="1000" i="1" dirty="0" err="1">
                <a:solidFill>
                  <a:srgbClr val="000000"/>
                </a:solidFill>
                <a:latin typeface="Arial" panose="020B0604020202020204" pitchFamily="34" charset="0"/>
                <a:cs typeface="Arial" panose="020B0604020202020204" pitchFamily="34" charset="0"/>
              </a:rPr>
              <a:t>Covid</a:t>
            </a:r>
            <a:r>
              <a:rPr lang="en-US" sz="1000" i="1" dirty="0">
                <a:solidFill>
                  <a:srgbClr val="000000"/>
                </a:solidFill>
                <a:latin typeface="Arial" panose="020B0604020202020204" pitchFamily="34" charset="0"/>
                <a:cs typeface="Arial" panose="020B0604020202020204" pitchFamily="34" charset="0"/>
              </a:rPr>
              <a:t> situation to gradually normalize going ahead, and we expect no further sizeable global  resurgence of </a:t>
            </a:r>
            <a:r>
              <a:rPr lang="en-US" sz="1000" i="1" dirty="0" err="1">
                <a:solidFill>
                  <a:srgbClr val="000000"/>
                </a:solidFill>
                <a:latin typeface="Arial" panose="020B0604020202020204" pitchFamily="34" charset="0"/>
                <a:cs typeface="Arial" panose="020B0604020202020204" pitchFamily="34" charset="0"/>
              </a:rPr>
              <a:t>Covid</a:t>
            </a:r>
            <a:r>
              <a:rPr lang="en-US" sz="1000" i="1" dirty="0">
                <a:solidFill>
                  <a:srgbClr val="000000"/>
                </a:solidFill>
                <a:latin typeface="Arial" panose="020B0604020202020204" pitchFamily="34" charset="0"/>
                <a:cs typeface="Arial" panose="020B0604020202020204" pitchFamily="34" charset="0"/>
              </a:rPr>
              <a:t> ca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IAM, CRISIL Research</a:t>
            </a:r>
          </a:p>
        </p:txBody>
      </p:sp>
      <p:sp>
        <p:nvSpPr>
          <p:cNvPr id="158" name="Rectangle: Rounded Corners 19">
            <a:extLst>
              <a:ext uri="{FF2B5EF4-FFF2-40B4-BE49-F238E27FC236}">
                <a16:creationId xmlns:a16="http://schemas.microsoft.com/office/drawing/2014/main" id="{65F281C2-6651-4E7E-AA30-DA1AF16FF309}"/>
              </a:ext>
            </a:extLst>
          </p:cNvPr>
          <p:cNvSpPr/>
          <p:nvPr/>
        </p:nvSpPr>
        <p:spPr>
          <a:xfrm>
            <a:off x="3322759" y="166702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75</a:t>
            </a:r>
          </a:p>
        </p:txBody>
      </p:sp>
      <p:sp>
        <p:nvSpPr>
          <p:cNvPr id="159" name="Rectangle: Rounded Corners 36">
            <a:extLst>
              <a:ext uri="{FF2B5EF4-FFF2-40B4-BE49-F238E27FC236}">
                <a16:creationId xmlns:a16="http://schemas.microsoft.com/office/drawing/2014/main" id="{03591E9E-BB23-4486-8722-95811EE1B149}"/>
              </a:ext>
            </a:extLst>
          </p:cNvPr>
          <p:cNvSpPr/>
          <p:nvPr/>
        </p:nvSpPr>
        <p:spPr>
          <a:xfrm>
            <a:off x="3322759" y="189560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6</a:t>
            </a:r>
          </a:p>
        </p:txBody>
      </p:sp>
      <p:sp>
        <p:nvSpPr>
          <p:cNvPr id="160" name="Rectangle: Rounded Corners 36">
            <a:extLst>
              <a:ext uri="{FF2B5EF4-FFF2-40B4-BE49-F238E27FC236}">
                <a16:creationId xmlns:a16="http://schemas.microsoft.com/office/drawing/2014/main" id="{F267BE04-0C10-44FA-A786-FF03B4851AE6}"/>
              </a:ext>
            </a:extLst>
          </p:cNvPr>
          <p:cNvSpPr/>
          <p:nvPr/>
        </p:nvSpPr>
        <p:spPr>
          <a:xfrm>
            <a:off x="3322759" y="2181727"/>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62</a:t>
            </a:r>
          </a:p>
        </p:txBody>
      </p:sp>
      <p:sp>
        <p:nvSpPr>
          <p:cNvPr id="161" name="Rectangle: Rounded Corners 19">
            <a:extLst>
              <a:ext uri="{FF2B5EF4-FFF2-40B4-BE49-F238E27FC236}">
                <a16:creationId xmlns:a16="http://schemas.microsoft.com/office/drawing/2014/main" id="{5E23565D-9AE8-4629-9167-57474F0420CA}"/>
              </a:ext>
            </a:extLst>
          </p:cNvPr>
          <p:cNvSpPr/>
          <p:nvPr/>
        </p:nvSpPr>
        <p:spPr>
          <a:xfrm>
            <a:off x="4398243" y="168219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2</a:t>
            </a:r>
          </a:p>
        </p:txBody>
      </p:sp>
      <p:sp>
        <p:nvSpPr>
          <p:cNvPr id="162" name="Rectangle: Rounded Corners 36">
            <a:extLst>
              <a:ext uri="{FF2B5EF4-FFF2-40B4-BE49-F238E27FC236}">
                <a16:creationId xmlns:a16="http://schemas.microsoft.com/office/drawing/2014/main" id="{1923D797-9595-4FB8-897A-95697331A1C8}"/>
              </a:ext>
            </a:extLst>
          </p:cNvPr>
          <p:cNvSpPr/>
          <p:nvPr/>
        </p:nvSpPr>
        <p:spPr>
          <a:xfrm>
            <a:off x="4398243" y="191077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8</a:t>
            </a:r>
          </a:p>
        </p:txBody>
      </p:sp>
      <p:sp>
        <p:nvSpPr>
          <p:cNvPr id="163" name="Rectangle: Rounded Corners 36">
            <a:extLst>
              <a:ext uri="{FF2B5EF4-FFF2-40B4-BE49-F238E27FC236}">
                <a16:creationId xmlns:a16="http://schemas.microsoft.com/office/drawing/2014/main" id="{5F23DC61-8F1C-4791-BC0A-4EDCD3B4CE83}"/>
              </a:ext>
            </a:extLst>
          </p:cNvPr>
          <p:cNvSpPr/>
          <p:nvPr/>
        </p:nvSpPr>
        <p:spPr>
          <a:xfrm>
            <a:off x="4398243" y="219690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0</a:t>
            </a:r>
          </a:p>
        </p:txBody>
      </p:sp>
      <p:sp>
        <p:nvSpPr>
          <p:cNvPr id="164" name="Rectangle: Rounded Corners 19">
            <a:extLst>
              <a:ext uri="{FF2B5EF4-FFF2-40B4-BE49-F238E27FC236}">
                <a16:creationId xmlns:a16="http://schemas.microsoft.com/office/drawing/2014/main" id="{B83358C3-ECD7-4CC3-81F5-28C031A0CB68}"/>
              </a:ext>
            </a:extLst>
          </p:cNvPr>
          <p:cNvSpPr/>
          <p:nvPr/>
        </p:nvSpPr>
        <p:spPr>
          <a:xfrm>
            <a:off x="5496560" y="167564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7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Rectangle: Rounded Corners 36">
            <a:extLst>
              <a:ext uri="{FF2B5EF4-FFF2-40B4-BE49-F238E27FC236}">
                <a16:creationId xmlns:a16="http://schemas.microsoft.com/office/drawing/2014/main" id="{577FC18E-1135-4077-9719-2717D0293EE6}"/>
              </a:ext>
            </a:extLst>
          </p:cNvPr>
          <p:cNvSpPr/>
          <p:nvPr/>
        </p:nvSpPr>
        <p:spPr>
          <a:xfrm>
            <a:off x="5496560" y="19042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0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6" name="Rectangle: Rounded Corners 36">
            <a:extLst>
              <a:ext uri="{FF2B5EF4-FFF2-40B4-BE49-F238E27FC236}">
                <a16:creationId xmlns:a16="http://schemas.microsoft.com/office/drawing/2014/main" id="{72753220-8DC6-486B-A24E-4C4B0C398582}"/>
              </a:ext>
            </a:extLst>
          </p:cNvPr>
          <p:cNvSpPr/>
          <p:nvPr/>
        </p:nvSpPr>
        <p:spPr>
          <a:xfrm>
            <a:off x="5496560" y="2190353"/>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8</a:t>
            </a:r>
          </a:p>
        </p:txBody>
      </p:sp>
      <p:sp>
        <p:nvSpPr>
          <p:cNvPr id="172" name="Rectangle: Rounded Corners 19">
            <a:extLst>
              <a:ext uri="{FF2B5EF4-FFF2-40B4-BE49-F238E27FC236}">
                <a16:creationId xmlns:a16="http://schemas.microsoft.com/office/drawing/2014/main" id="{107F12BD-5CC6-4ECA-81C1-4631CB199930}"/>
              </a:ext>
            </a:extLst>
          </p:cNvPr>
          <p:cNvSpPr/>
          <p:nvPr/>
        </p:nvSpPr>
        <p:spPr>
          <a:xfrm>
            <a:off x="7644019" y="247855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 </a:t>
            </a:r>
          </a:p>
        </p:txBody>
      </p:sp>
      <p:sp>
        <p:nvSpPr>
          <p:cNvPr id="173" name="Rectangle: Rounded Corners 19">
            <a:extLst>
              <a:ext uri="{FF2B5EF4-FFF2-40B4-BE49-F238E27FC236}">
                <a16:creationId xmlns:a16="http://schemas.microsoft.com/office/drawing/2014/main" id="{F17B6C63-4734-44D5-9C84-96EADD30F289}"/>
              </a:ext>
            </a:extLst>
          </p:cNvPr>
          <p:cNvSpPr/>
          <p:nvPr/>
        </p:nvSpPr>
        <p:spPr>
          <a:xfrm>
            <a:off x="7644019" y="166552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 </a:t>
            </a:r>
          </a:p>
        </p:txBody>
      </p:sp>
      <p:sp>
        <p:nvSpPr>
          <p:cNvPr id="174" name="Rectangle: Rounded Corners 36">
            <a:extLst>
              <a:ext uri="{FF2B5EF4-FFF2-40B4-BE49-F238E27FC236}">
                <a16:creationId xmlns:a16="http://schemas.microsoft.com/office/drawing/2014/main" id="{17F6BFA2-34B0-4DB1-8851-7AF8AFBE7C37}"/>
              </a:ext>
            </a:extLst>
          </p:cNvPr>
          <p:cNvSpPr/>
          <p:nvPr/>
        </p:nvSpPr>
        <p:spPr>
          <a:xfrm>
            <a:off x="7644019" y="189410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 </a:t>
            </a:r>
          </a:p>
        </p:txBody>
      </p:sp>
      <p:sp>
        <p:nvSpPr>
          <p:cNvPr id="175" name="Rectangle: Rounded Corners 36">
            <a:extLst>
              <a:ext uri="{FF2B5EF4-FFF2-40B4-BE49-F238E27FC236}">
                <a16:creationId xmlns:a16="http://schemas.microsoft.com/office/drawing/2014/main" id="{9D9ED75C-5B40-4086-B0AC-14E8D32BCFBA}"/>
              </a:ext>
            </a:extLst>
          </p:cNvPr>
          <p:cNvSpPr/>
          <p:nvPr/>
        </p:nvSpPr>
        <p:spPr>
          <a:xfrm>
            <a:off x="7644019" y="2180227"/>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a:t>
            </a:r>
          </a:p>
        </p:txBody>
      </p:sp>
      <p:sp>
        <p:nvSpPr>
          <p:cNvPr id="176" name="Rectangle: Rounded Corners 19">
            <a:extLst>
              <a:ext uri="{FF2B5EF4-FFF2-40B4-BE49-F238E27FC236}">
                <a16:creationId xmlns:a16="http://schemas.microsoft.com/office/drawing/2014/main" id="{EF1715DC-E47C-4FF9-B020-1A47BE0C8D63}"/>
              </a:ext>
            </a:extLst>
          </p:cNvPr>
          <p:cNvSpPr/>
          <p:nvPr/>
        </p:nvSpPr>
        <p:spPr>
          <a:xfrm>
            <a:off x="8737881" y="166552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 </a:t>
            </a:r>
          </a:p>
        </p:txBody>
      </p:sp>
      <p:sp>
        <p:nvSpPr>
          <p:cNvPr id="177" name="Rectangle: Rounded Corners 36">
            <a:extLst>
              <a:ext uri="{FF2B5EF4-FFF2-40B4-BE49-F238E27FC236}">
                <a16:creationId xmlns:a16="http://schemas.microsoft.com/office/drawing/2014/main" id="{9A7DEA68-EE13-4744-B284-D3F4FA56FD36}"/>
              </a:ext>
            </a:extLst>
          </p:cNvPr>
          <p:cNvSpPr/>
          <p:nvPr/>
        </p:nvSpPr>
        <p:spPr>
          <a:xfrm>
            <a:off x="8737881" y="190927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 </a:t>
            </a:r>
          </a:p>
        </p:txBody>
      </p:sp>
      <p:sp>
        <p:nvSpPr>
          <p:cNvPr id="178" name="Rectangle: Rounded Corners 36">
            <a:extLst>
              <a:ext uri="{FF2B5EF4-FFF2-40B4-BE49-F238E27FC236}">
                <a16:creationId xmlns:a16="http://schemas.microsoft.com/office/drawing/2014/main" id="{CA3A1914-0C88-4808-BF72-117E01714368}"/>
              </a:ext>
            </a:extLst>
          </p:cNvPr>
          <p:cNvSpPr/>
          <p:nvPr/>
        </p:nvSpPr>
        <p:spPr>
          <a:xfrm>
            <a:off x="8737881" y="2195401"/>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 </a:t>
            </a:r>
          </a:p>
        </p:txBody>
      </p:sp>
      <p:sp>
        <p:nvSpPr>
          <p:cNvPr id="179" name="Rectangle: Rounded Corners 19">
            <a:extLst>
              <a:ext uri="{FF2B5EF4-FFF2-40B4-BE49-F238E27FC236}">
                <a16:creationId xmlns:a16="http://schemas.microsoft.com/office/drawing/2014/main" id="{F4CDC170-0211-4559-914E-6DE9D762BD6D}"/>
              </a:ext>
            </a:extLst>
          </p:cNvPr>
          <p:cNvSpPr/>
          <p:nvPr/>
        </p:nvSpPr>
        <p:spPr>
          <a:xfrm>
            <a:off x="9830075" y="166085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 name="Rectangle: Rounded Corners 36">
            <a:extLst>
              <a:ext uri="{FF2B5EF4-FFF2-40B4-BE49-F238E27FC236}">
                <a16:creationId xmlns:a16="http://schemas.microsoft.com/office/drawing/2014/main" id="{3EA7A85C-B9A2-4003-B2B4-00DF5E914EB6}"/>
              </a:ext>
            </a:extLst>
          </p:cNvPr>
          <p:cNvSpPr/>
          <p:nvPr/>
        </p:nvSpPr>
        <p:spPr>
          <a:xfrm>
            <a:off x="9830075" y="191358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1" name="Rectangle: Rounded Corners 36">
            <a:extLst>
              <a:ext uri="{FF2B5EF4-FFF2-40B4-BE49-F238E27FC236}">
                <a16:creationId xmlns:a16="http://schemas.microsoft.com/office/drawing/2014/main" id="{0A26D33B-CC3E-48A3-B5E9-363B679E15F8}"/>
              </a:ext>
            </a:extLst>
          </p:cNvPr>
          <p:cNvSpPr/>
          <p:nvPr/>
        </p:nvSpPr>
        <p:spPr>
          <a:xfrm>
            <a:off x="9830075" y="2199713"/>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43</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 name="Rectangle: Rounded Corners 42">
            <a:extLst>
              <a:ext uri="{FF2B5EF4-FFF2-40B4-BE49-F238E27FC236}">
                <a16:creationId xmlns:a16="http://schemas.microsoft.com/office/drawing/2014/main" id="{2FB768E8-2221-43E1-8A4B-91BA872A9C0B}"/>
              </a:ext>
            </a:extLst>
          </p:cNvPr>
          <p:cNvSpPr/>
          <p:nvPr/>
        </p:nvSpPr>
        <p:spPr>
          <a:xfrm>
            <a:off x="3322759" y="511665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3</a:t>
            </a:r>
          </a:p>
        </p:txBody>
      </p:sp>
      <p:sp>
        <p:nvSpPr>
          <p:cNvPr id="186" name="Rectangle: Rounded Corners 42">
            <a:extLst>
              <a:ext uri="{FF2B5EF4-FFF2-40B4-BE49-F238E27FC236}">
                <a16:creationId xmlns:a16="http://schemas.microsoft.com/office/drawing/2014/main" id="{EB490CA0-80A5-4AC3-A3E0-A80F994A069C}"/>
              </a:ext>
            </a:extLst>
          </p:cNvPr>
          <p:cNvSpPr/>
          <p:nvPr/>
        </p:nvSpPr>
        <p:spPr>
          <a:xfrm>
            <a:off x="3322759" y="534222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95.9</a:t>
            </a:r>
          </a:p>
        </p:txBody>
      </p:sp>
      <p:sp>
        <p:nvSpPr>
          <p:cNvPr id="187" name="Rectangle: Rounded Corners 42">
            <a:extLst>
              <a:ext uri="{FF2B5EF4-FFF2-40B4-BE49-F238E27FC236}">
                <a16:creationId xmlns:a16="http://schemas.microsoft.com/office/drawing/2014/main" id="{0BAF66C5-8F7F-4BD5-8AF3-B71ABD6B9982}"/>
              </a:ext>
            </a:extLst>
          </p:cNvPr>
          <p:cNvSpPr/>
          <p:nvPr/>
        </p:nvSpPr>
        <p:spPr>
          <a:xfrm>
            <a:off x="3322759" y="5640278"/>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2.2</a:t>
            </a:r>
          </a:p>
        </p:txBody>
      </p:sp>
      <p:sp>
        <p:nvSpPr>
          <p:cNvPr id="188" name="Rectangle: Rounded Corners 42">
            <a:extLst>
              <a:ext uri="{FF2B5EF4-FFF2-40B4-BE49-F238E27FC236}">
                <a16:creationId xmlns:a16="http://schemas.microsoft.com/office/drawing/2014/main" id="{9B89A818-EFEF-4AAE-AD6B-29E8AE878BC1}"/>
              </a:ext>
            </a:extLst>
          </p:cNvPr>
          <p:cNvSpPr/>
          <p:nvPr/>
        </p:nvSpPr>
        <p:spPr>
          <a:xfrm>
            <a:off x="4398243" y="51318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6</a:t>
            </a:r>
          </a:p>
        </p:txBody>
      </p:sp>
      <p:sp>
        <p:nvSpPr>
          <p:cNvPr id="189" name="Rectangle: Rounded Corners 42">
            <a:extLst>
              <a:ext uri="{FF2B5EF4-FFF2-40B4-BE49-F238E27FC236}">
                <a16:creationId xmlns:a16="http://schemas.microsoft.com/office/drawing/2014/main" id="{9392D95B-F5EC-416E-8498-7057D9021D6F}"/>
              </a:ext>
            </a:extLst>
          </p:cNvPr>
          <p:cNvSpPr/>
          <p:nvPr/>
        </p:nvSpPr>
        <p:spPr>
          <a:xfrm>
            <a:off x="4398243" y="535739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87.4</a:t>
            </a:r>
          </a:p>
        </p:txBody>
      </p:sp>
      <p:sp>
        <p:nvSpPr>
          <p:cNvPr id="190" name="Rectangle: Rounded Corners 42">
            <a:extLst>
              <a:ext uri="{FF2B5EF4-FFF2-40B4-BE49-F238E27FC236}">
                <a16:creationId xmlns:a16="http://schemas.microsoft.com/office/drawing/2014/main" id="{4FD19A2C-9329-4024-80B5-EFC4A2314471}"/>
              </a:ext>
            </a:extLst>
          </p:cNvPr>
          <p:cNvSpPr/>
          <p:nvPr/>
        </p:nvSpPr>
        <p:spPr>
          <a:xfrm>
            <a:off x="4383126" y="563471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2.9</a:t>
            </a:r>
          </a:p>
        </p:txBody>
      </p:sp>
      <p:sp>
        <p:nvSpPr>
          <p:cNvPr id="191" name="Rectangle: Rounded Corners 42">
            <a:extLst>
              <a:ext uri="{FF2B5EF4-FFF2-40B4-BE49-F238E27FC236}">
                <a16:creationId xmlns:a16="http://schemas.microsoft.com/office/drawing/2014/main" id="{5ED95C5B-45C5-45E2-8A99-EC6D7F643013}"/>
              </a:ext>
            </a:extLst>
          </p:cNvPr>
          <p:cNvSpPr/>
          <p:nvPr/>
        </p:nvSpPr>
        <p:spPr>
          <a:xfrm>
            <a:off x="5496560" y="512528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2" name="Rectangle: Rounded Corners 42">
            <a:extLst>
              <a:ext uri="{FF2B5EF4-FFF2-40B4-BE49-F238E27FC236}">
                <a16:creationId xmlns:a16="http://schemas.microsoft.com/office/drawing/2014/main" id="{7EB29F29-76EC-4C10-80C0-7E06F4549D8D}"/>
              </a:ext>
            </a:extLst>
          </p:cNvPr>
          <p:cNvSpPr/>
          <p:nvPr/>
        </p:nvSpPr>
        <p:spPr>
          <a:xfrm>
            <a:off x="5496560" y="535084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9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3" name="Rectangle: Rounded Corners 42">
            <a:extLst>
              <a:ext uri="{FF2B5EF4-FFF2-40B4-BE49-F238E27FC236}">
                <a16:creationId xmlns:a16="http://schemas.microsoft.com/office/drawing/2014/main" id="{88BAB389-15A4-45EF-80B2-97167BAAF4D2}"/>
              </a:ext>
            </a:extLst>
          </p:cNvPr>
          <p:cNvSpPr/>
          <p:nvPr/>
        </p:nvSpPr>
        <p:spPr>
          <a:xfrm>
            <a:off x="5496560" y="564890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500</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 name="Rectangle: Rounded Corners 42">
            <a:extLst>
              <a:ext uri="{FF2B5EF4-FFF2-40B4-BE49-F238E27FC236}">
                <a16:creationId xmlns:a16="http://schemas.microsoft.com/office/drawing/2014/main" id="{D979CB91-24A2-4101-9DD5-BB2813A30328}"/>
              </a:ext>
            </a:extLst>
          </p:cNvPr>
          <p:cNvSpPr/>
          <p:nvPr/>
        </p:nvSpPr>
        <p:spPr>
          <a:xfrm>
            <a:off x="7644019" y="511515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a:t>
            </a:r>
          </a:p>
        </p:txBody>
      </p:sp>
      <p:sp>
        <p:nvSpPr>
          <p:cNvPr id="210" name="Rectangle: Rounded Corners 42">
            <a:extLst>
              <a:ext uri="{FF2B5EF4-FFF2-40B4-BE49-F238E27FC236}">
                <a16:creationId xmlns:a16="http://schemas.microsoft.com/office/drawing/2014/main" id="{8EE4E711-3A52-48ED-9195-D39F5CE4440B}"/>
              </a:ext>
            </a:extLst>
          </p:cNvPr>
          <p:cNvSpPr/>
          <p:nvPr/>
        </p:nvSpPr>
        <p:spPr>
          <a:xfrm>
            <a:off x="7644019" y="534072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 </a:t>
            </a:r>
          </a:p>
        </p:txBody>
      </p:sp>
      <p:sp>
        <p:nvSpPr>
          <p:cNvPr id="211" name="Rectangle: Rounded Corners 42">
            <a:extLst>
              <a:ext uri="{FF2B5EF4-FFF2-40B4-BE49-F238E27FC236}">
                <a16:creationId xmlns:a16="http://schemas.microsoft.com/office/drawing/2014/main" id="{810AE57E-9576-477A-A2BF-6E3A873B6858}"/>
              </a:ext>
            </a:extLst>
          </p:cNvPr>
          <p:cNvSpPr/>
          <p:nvPr/>
        </p:nvSpPr>
        <p:spPr>
          <a:xfrm>
            <a:off x="7644019" y="5638779"/>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 </a:t>
            </a:r>
          </a:p>
        </p:txBody>
      </p:sp>
      <p:sp>
        <p:nvSpPr>
          <p:cNvPr id="213" name="Rectangle: Rounded Corners 42">
            <a:extLst>
              <a:ext uri="{FF2B5EF4-FFF2-40B4-BE49-F238E27FC236}">
                <a16:creationId xmlns:a16="http://schemas.microsoft.com/office/drawing/2014/main" id="{36A9165B-859E-40D5-862F-8668F6ED4092}"/>
              </a:ext>
            </a:extLst>
          </p:cNvPr>
          <p:cNvSpPr/>
          <p:nvPr/>
        </p:nvSpPr>
        <p:spPr>
          <a:xfrm>
            <a:off x="8737881" y="513032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222" name="Rectangle: Rounded Corners 42">
            <a:extLst>
              <a:ext uri="{FF2B5EF4-FFF2-40B4-BE49-F238E27FC236}">
                <a16:creationId xmlns:a16="http://schemas.microsoft.com/office/drawing/2014/main" id="{B5B705BC-99C1-4AEB-AD03-4F2896DF63B8}"/>
              </a:ext>
            </a:extLst>
          </p:cNvPr>
          <p:cNvSpPr/>
          <p:nvPr/>
        </p:nvSpPr>
        <p:spPr>
          <a:xfrm>
            <a:off x="8737881" y="535589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 </a:t>
            </a:r>
          </a:p>
        </p:txBody>
      </p:sp>
      <p:sp>
        <p:nvSpPr>
          <p:cNvPr id="224" name="Rectangle: Rounded Corners 42">
            <a:extLst>
              <a:ext uri="{FF2B5EF4-FFF2-40B4-BE49-F238E27FC236}">
                <a16:creationId xmlns:a16="http://schemas.microsoft.com/office/drawing/2014/main" id="{ADB64520-37B9-4F0A-B761-B770ABDE87C9}"/>
              </a:ext>
            </a:extLst>
          </p:cNvPr>
          <p:cNvSpPr/>
          <p:nvPr/>
        </p:nvSpPr>
        <p:spPr>
          <a:xfrm>
            <a:off x="8737881" y="565395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 </a:t>
            </a:r>
          </a:p>
        </p:txBody>
      </p:sp>
      <p:sp>
        <p:nvSpPr>
          <p:cNvPr id="225" name="Rectangle: Rounded Corners 42">
            <a:extLst>
              <a:ext uri="{FF2B5EF4-FFF2-40B4-BE49-F238E27FC236}">
                <a16:creationId xmlns:a16="http://schemas.microsoft.com/office/drawing/2014/main" id="{6A7272A2-CA42-4F1D-8537-03224E2BD049}"/>
              </a:ext>
            </a:extLst>
          </p:cNvPr>
          <p:cNvSpPr/>
          <p:nvPr/>
        </p:nvSpPr>
        <p:spPr>
          <a:xfrm>
            <a:off x="9830075" y="513464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8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6" name="Rectangle: Rounded Corners 42">
            <a:extLst>
              <a:ext uri="{FF2B5EF4-FFF2-40B4-BE49-F238E27FC236}">
                <a16:creationId xmlns:a16="http://schemas.microsoft.com/office/drawing/2014/main" id="{C3CA7D12-85C7-4894-8BEC-FE7E41728396}"/>
              </a:ext>
            </a:extLst>
          </p:cNvPr>
          <p:cNvSpPr/>
          <p:nvPr/>
        </p:nvSpPr>
        <p:spPr>
          <a:xfrm>
            <a:off x="9830075" y="536020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6</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2" name="Rectangle: Rounded Corners 42">
            <a:extLst>
              <a:ext uri="{FF2B5EF4-FFF2-40B4-BE49-F238E27FC236}">
                <a16:creationId xmlns:a16="http://schemas.microsoft.com/office/drawing/2014/main" id="{91A5F33C-2B61-4731-BD81-5FA74720D417}"/>
              </a:ext>
            </a:extLst>
          </p:cNvPr>
          <p:cNvSpPr/>
          <p:nvPr/>
        </p:nvSpPr>
        <p:spPr>
          <a:xfrm>
            <a:off x="9830075" y="565826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3" name="Rectangle 2"/>
          <p:cNvSpPr/>
          <p:nvPr/>
        </p:nvSpPr>
        <p:spPr>
          <a:xfrm>
            <a:off x="7555184" y="828665"/>
            <a:ext cx="4403037" cy="5123766"/>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215" name="Rectangle 214"/>
          <p:cNvSpPr/>
          <p:nvPr/>
        </p:nvSpPr>
        <p:spPr>
          <a:xfrm>
            <a:off x="3267848" y="828665"/>
            <a:ext cx="4272376" cy="5123763"/>
          </a:xfrm>
          <a:prstGeom prst="rect">
            <a:avLst/>
          </a:prstGeom>
          <a:noFill/>
          <a:ln w="28575">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6" name="Straight Connector 5"/>
          <p:cNvCxnSpPr/>
          <p:nvPr/>
        </p:nvCxnSpPr>
        <p:spPr>
          <a:xfrm>
            <a:off x="195997" y="2408010"/>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141594" y="3457613"/>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41594" y="4470242"/>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195996" y="4995853"/>
            <a:ext cx="11925665" cy="0"/>
          </a:xfrm>
          <a:prstGeom prst="line">
            <a:avLst/>
          </a:prstGeom>
          <a:ln w="1270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8" name="Rectangle: Rounded Corners 36">
            <a:extLst>
              <a:ext uri="{FF2B5EF4-FFF2-40B4-BE49-F238E27FC236}">
                <a16:creationId xmlns:a16="http://schemas.microsoft.com/office/drawing/2014/main" id="{AF94509C-AC5B-422A-9522-404E3AA46D4C}"/>
              </a:ext>
            </a:extLst>
          </p:cNvPr>
          <p:cNvSpPr/>
          <p:nvPr/>
        </p:nvSpPr>
        <p:spPr>
          <a:xfrm>
            <a:off x="3322759" y="34983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9</a:t>
            </a:r>
          </a:p>
        </p:txBody>
      </p:sp>
      <p:sp>
        <p:nvSpPr>
          <p:cNvPr id="239" name="Rectangle: Rounded Corners 42">
            <a:extLst>
              <a:ext uri="{FF2B5EF4-FFF2-40B4-BE49-F238E27FC236}">
                <a16:creationId xmlns:a16="http://schemas.microsoft.com/office/drawing/2014/main" id="{027CD17C-55AD-476A-8286-8BABB01390B1}"/>
              </a:ext>
            </a:extLst>
          </p:cNvPr>
          <p:cNvSpPr/>
          <p:nvPr/>
        </p:nvSpPr>
        <p:spPr>
          <a:xfrm>
            <a:off x="3322759" y="375906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9</a:t>
            </a:r>
          </a:p>
        </p:txBody>
      </p:sp>
      <p:sp>
        <p:nvSpPr>
          <p:cNvPr id="240" name="Rectangle: Rounded Corners 42">
            <a:extLst>
              <a:ext uri="{FF2B5EF4-FFF2-40B4-BE49-F238E27FC236}">
                <a16:creationId xmlns:a16="http://schemas.microsoft.com/office/drawing/2014/main" id="{B8ED106F-574A-44E1-A656-3C24695A69B5}"/>
              </a:ext>
            </a:extLst>
          </p:cNvPr>
          <p:cNvSpPr/>
          <p:nvPr/>
        </p:nvSpPr>
        <p:spPr>
          <a:xfrm>
            <a:off x="3322759" y="399543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9</a:t>
            </a:r>
          </a:p>
        </p:txBody>
      </p:sp>
      <p:sp>
        <p:nvSpPr>
          <p:cNvPr id="241" name="Rectangle: Rounded Corners 42">
            <a:extLst>
              <a:ext uri="{FF2B5EF4-FFF2-40B4-BE49-F238E27FC236}">
                <a16:creationId xmlns:a16="http://schemas.microsoft.com/office/drawing/2014/main" id="{799CFC63-BACA-44C8-A0EA-3F19359AD731}"/>
              </a:ext>
            </a:extLst>
          </p:cNvPr>
          <p:cNvSpPr/>
          <p:nvPr/>
        </p:nvSpPr>
        <p:spPr>
          <a:xfrm>
            <a:off x="3322759" y="423344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0.7</a:t>
            </a:r>
          </a:p>
        </p:txBody>
      </p:sp>
      <p:sp>
        <p:nvSpPr>
          <p:cNvPr id="242" name="Rectangle: Rounded Corners 36">
            <a:extLst>
              <a:ext uri="{FF2B5EF4-FFF2-40B4-BE49-F238E27FC236}">
                <a16:creationId xmlns:a16="http://schemas.microsoft.com/office/drawing/2014/main" id="{60A9A051-BAA7-4E0E-B6BB-B86A1DD78ED3}"/>
              </a:ext>
            </a:extLst>
          </p:cNvPr>
          <p:cNvSpPr/>
          <p:nvPr/>
        </p:nvSpPr>
        <p:spPr>
          <a:xfrm>
            <a:off x="4398243" y="351353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1</a:t>
            </a:r>
          </a:p>
        </p:txBody>
      </p:sp>
      <p:sp>
        <p:nvSpPr>
          <p:cNvPr id="243" name="Rectangle: Rounded Corners 42">
            <a:extLst>
              <a:ext uri="{FF2B5EF4-FFF2-40B4-BE49-F238E27FC236}">
                <a16:creationId xmlns:a16="http://schemas.microsoft.com/office/drawing/2014/main" id="{ED3D2DB4-B71E-4C15-A858-8C037E72E0F4}"/>
              </a:ext>
            </a:extLst>
          </p:cNvPr>
          <p:cNvSpPr/>
          <p:nvPr/>
        </p:nvSpPr>
        <p:spPr>
          <a:xfrm>
            <a:off x="4398243" y="377423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5</a:t>
            </a:r>
          </a:p>
        </p:txBody>
      </p:sp>
      <p:sp>
        <p:nvSpPr>
          <p:cNvPr id="259" name="Rectangle: Rounded Corners 42">
            <a:extLst>
              <a:ext uri="{FF2B5EF4-FFF2-40B4-BE49-F238E27FC236}">
                <a16:creationId xmlns:a16="http://schemas.microsoft.com/office/drawing/2014/main" id="{F4270438-CBF6-4D0A-A2CB-BC4DD4C2E02B}"/>
              </a:ext>
            </a:extLst>
          </p:cNvPr>
          <p:cNvSpPr/>
          <p:nvPr/>
        </p:nvSpPr>
        <p:spPr>
          <a:xfrm>
            <a:off x="4398243" y="401060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a:t>
            </a:r>
          </a:p>
        </p:txBody>
      </p:sp>
      <p:sp>
        <p:nvSpPr>
          <p:cNvPr id="260" name="Rectangle: Rounded Corners 42">
            <a:extLst>
              <a:ext uri="{FF2B5EF4-FFF2-40B4-BE49-F238E27FC236}">
                <a16:creationId xmlns:a16="http://schemas.microsoft.com/office/drawing/2014/main" id="{B34AE133-1210-42F6-9602-D93D2BD2D02E}"/>
              </a:ext>
            </a:extLst>
          </p:cNvPr>
          <p:cNvSpPr/>
          <p:nvPr/>
        </p:nvSpPr>
        <p:spPr>
          <a:xfrm>
            <a:off x="4398243" y="424861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3</a:t>
            </a:r>
          </a:p>
        </p:txBody>
      </p:sp>
      <p:sp>
        <p:nvSpPr>
          <p:cNvPr id="261" name="Rectangle: Rounded Corners 36">
            <a:extLst>
              <a:ext uri="{FF2B5EF4-FFF2-40B4-BE49-F238E27FC236}">
                <a16:creationId xmlns:a16="http://schemas.microsoft.com/office/drawing/2014/main" id="{970710F9-9F1A-46AD-B9ED-B08CD3D6B60D}"/>
              </a:ext>
            </a:extLst>
          </p:cNvPr>
          <p:cNvSpPr/>
          <p:nvPr/>
        </p:nvSpPr>
        <p:spPr>
          <a:xfrm>
            <a:off x="5496560" y="350698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8.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2" name="Rectangle: Rounded Corners 42">
            <a:extLst>
              <a:ext uri="{FF2B5EF4-FFF2-40B4-BE49-F238E27FC236}">
                <a16:creationId xmlns:a16="http://schemas.microsoft.com/office/drawing/2014/main" id="{B6FA4CE4-FB28-4C33-8D9E-C906F617EEF0}"/>
              </a:ext>
            </a:extLst>
          </p:cNvPr>
          <p:cNvSpPr/>
          <p:nvPr/>
        </p:nvSpPr>
        <p:spPr>
          <a:xfrm>
            <a:off x="5496560" y="376768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5.7</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4" name="Rectangle: Rounded Corners 42">
            <a:extLst>
              <a:ext uri="{FF2B5EF4-FFF2-40B4-BE49-F238E27FC236}">
                <a16:creationId xmlns:a16="http://schemas.microsoft.com/office/drawing/2014/main" id="{AB8CD95F-1E45-4FBA-B0D2-2BCD329126F9}"/>
              </a:ext>
            </a:extLst>
          </p:cNvPr>
          <p:cNvSpPr/>
          <p:nvPr/>
        </p:nvSpPr>
        <p:spPr>
          <a:xfrm>
            <a:off x="5496560" y="400405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8.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5" name="Rectangle: Rounded Corners 42">
            <a:extLst>
              <a:ext uri="{FF2B5EF4-FFF2-40B4-BE49-F238E27FC236}">
                <a16:creationId xmlns:a16="http://schemas.microsoft.com/office/drawing/2014/main" id="{79061A2F-8B2B-49A2-9DE9-99D6C238FF71}"/>
              </a:ext>
            </a:extLst>
          </p:cNvPr>
          <p:cNvSpPr/>
          <p:nvPr/>
        </p:nvSpPr>
        <p:spPr>
          <a:xfrm>
            <a:off x="5496560" y="424206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92.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6" name="Rectangle: Rounded Corners 36">
            <a:extLst>
              <a:ext uri="{FF2B5EF4-FFF2-40B4-BE49-F238E27FC236}">
                <a16:creationId xmlns:a16="http://schemas.microsoft.com/office/drawing/2014/main" id="{1B4FE14E-89FA-4BA0-8DD6-69B9464E466F}"/>
              </a:ext>
            </a:extLst>
          </p:cNvPr>
          <p:cNvSpPr/>
          <p:nvPr/>
        </p:nvSpPr>
        <p:spPr>
          <a:xfrm>
            <a:off x="7644019" y="34968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 </a:t>
            </a:r>
          </a:p>
        </p:txBody>
      </p:sp>
      <p:sp>
        <p:nvSpPr>
          <p:cNvPr id="277" name="Rectangle: Rounded Corners 42">
            <a:extLst>
              <a:ext uri="{FF2B5EF4-FFF2-40B4-BE49-F238E27FC236}">
                <a16:creationId xmlns:a16="http://schemas.microsoft.com/office/drawing/2014/main" id="{6A959DD7-696A-4BD3-A9C1-9BDDA3AD9F93}"/>
              </a:ext>
            </a:extLst>
          </p:cNvPr>
          <p:cNvSpPr/>
          <p:nvPr/>
        </p:nvSpPr>
        <p:spPr>
          <a:xfrm>
            <a:off x="7644019" y="375756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3) </a:t>
            </a:r>
          </a:p>
        </p:txBody>
      </p:sp>
      <p:sp>
        <p:nvSpPr>
          <p:cNvPr id="284" name="Rectangle: Rounded Corners 42">
            <a:extLst>
              <a:ext uri="{FF2B5EF4-FFF2-40B4-BE49-F238E27FC236}">
                <a16:creationId xmlns:a16="http://schemas.microsoft.com/office/drawing/2014/main" id="{C6DEC522-E025-4945-B03A-F577F808DB8D}"/>
              </a:ext>
            </a:extLst>
          </p:cNvPr>
          <p:cNvSpPr/>
          <p:nvPr/>
        </p:nvSpPr>
        <p:spPr>
          <a:xfrm>
            <a:off x="7644019" y="399393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a:t>
            </a:r>
          </a:p>
        </p:txBody>
      </p:sp>
      <p:sp>
        <p:nvSpPr>
          <p:cNvPr id="285" name="Rectangle: Rounded Corners 42">
            <a:extLst>
              <a:ext uri="{FF2B5EF4-FFF2-40B4-BE49-F238E27FC236}">
                <a16:creationId xmlns:a16="http://schemas.microsoft.com/office/drawing/2014/main" id="{7B5DF88E-D05D-417F-96A4-EE7D3810F0B5}"/>
              </a:ext>
            </a:extLst>
          </p:cNvPr>
          <p:cNvSpPr/>
          <p:nvPr/>
        </p:nvSpPr>
        <p:spPr>
          <a:xfrm>
            <a:off x="7644019" y="423194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 </a:t>
            </a:r>
          </a:p>
        </p:txBody>
      </p:sp>
      <p:sp>
        <p:nvSpPr>
          <p:cNvPr id="287" name="Rectangle: Rounded Corners 36">
            <a:extLst>
              <a:ext uri="{FF2B5EF4-FFF2-40B4-BE49-F238E27FC236}">
                <a16:creationId xmlns:a16="http://schemas.microsoft.com/office/drawing/2014/main" id="{96E36144-1B36-4F9C-AA9B-0733F0ED0CCA}"/>
              </a:ext>
            </a:extLst>
          </p:cNvPr>
          <p:cNvSpPr/>
          <p:nvPr/>
        </p:nvSpPr>
        <p:spPr>
          <a:xfrm>
            <a:off x="8737881" y="351203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 </a:t>
            </a:r>
          </a:p>
        </p:txBody>
      </p:sp>
      <p:sp>
        <p:nvSpPr>
          <p:cNvPr id="288" name="Rectangle: Rounded Corners 42">
            <a:extLst>
              <a:ext uri="{FF2B5EF4-FFF2-40B4-BE49-F238E27FC236}">
                <a16:creationId xmlns:a16="http://schemas.microsoft.com/office/drawing/2014/main" id="{6D59D04E-FA48-4D95-86D8-FC49A94A7390}"/>
              </a:ext>
            </a:extLst>
          </p:cNvPr>
          <p:cNvSpPr/>
          <p:nvPr/>
        </p:nvSpPr>
        <p:spPr>
          <a:xfrm>
            <a:off x="8737881" y="377273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 </a:t>
            </a:r>
          </a:p>
        </p:txBody>
      </p:sp>
      <p:sp>
        <p:nvSpPr>
          <p:cNvPr id="289" name="Rectangle: Rounded Corners 42">
            <a:extLst>
              <a:ext uri="{FF2B5EF4-FFF2-40B4-BE49-F238E27FC236}">
                <a16:creationId xmlns:a16="http://schemas.microsoft.com/office/drawing/2014/main" id="{59D36523-84BB-46EE-B2CE-C6BDF9B6100A}"/>
              </a:ext>
            </a:extLst>
          </p:cNvPr>
          <p:cNvSpPr/>
          <p:nvPr/>
        </p:nvSpPr>
        <p:spPr>
          <a:xfrm>
            <a:off x="8737881" y="400910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2) </a:t>
            </a:r>
          </a:p>
        </p:txBody>
      </p:sp>
      <p:sp>
        <p:nvSpPr>
          <p:cNvPr id="290" name="Rectangle: Rounded Corners 42">
            <a:extLst>
              <a:ext uri="{FF2B5EF4-FFF2-40B4-BE49-F238E27FC236}">
                <a16:creationId xmlns:a16="http://schemas.microsoft.com/office/drawing/2014/main" id="{F8ADC52F-7BC1-4F34-91B3-0E6284C67BAE}"/>
              </a:ext>
            </a:extLst>
          </p:cNvPr>
          <p:cNvSpPr/>
          <p:nvPr/>
        </p:nvSpPr>
        <p:spPr>
          <a:xfrm>
            <a:off x="8737881" y="424711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 </a:t>
            </a:r>
          </a:p>
        </p:txBody>
      </p:sp>
      <p:sp>
        <p:nvSpPr>
          <p:cNvPr id="291" name="Rectangle: Rounded Corners 36">
            <a:extLst>
              <a:ext uri="{FF2B5EF4-FFF2-40B4-BE49-F238E27FC236}">
                <a16:creationId xmlns:a16="http://schemas.microsoft.com/office/drawing/2014/main" id="{DB2453F3-6A1D-4237-AA8A-DD39A4D7953D}"/>
              </a:ext>
            </a:extLst>
          </p:cNvPr>
          <p:cNvSpPr/>
          <p:nvPr/>
        </p:nvSpPr>
        <p:spPr>
          <a:xfrm>
            <a:off x="9830075" y="351634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87</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2" name="Rectangle: Rounded Corners 42">
            <a:extLst>
              <a:ext uri="{FF2B5EF4-FFF2-40B4-BE49-F238E27FC236}">
                <a16:creationId xmlns:a16="http://schemas.microsoft.com/office/drawing/2014/main" id="{78197195-7629-426E-B408-5E712D7421AA}"/>
              </a:ext>
            </a:extLst>
          </p:cNvPr>
          <p:cNvSpPr/>
          <p:nvPr/>
        </p:nvSpPr>
        <p:spPr>
          <a:xfrm>
            <a:off x="9830075" y="377704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0</a:t>
            </a:r>
          </a:p>
        </p:txBody>
      </p:sp>
      <p:sp>
        <p:nvSpPr>
          <p:cNvPr id="293" name="Rectangle: Rounded Corners 42">
            <a:extLst>
              <a:ext uri="{FF2B5EF4-FFF2-40B4-BE49-F238E27FC236}">
                <a16:creationId xmlns:a16="http://schemas.microsoft.com/office/drawing/2014/main" id="{03B1AAB1-E7C3-49BF-B177-897187802DF3}"/>
              </a:ext>
            </a:extLst>
          </p:cNvPr>
          <p:cNvSpPr/>
          <p:nvPr/>
        </p:nvSpPr>
        <p:spPr>
          <a:xfrm>
            <a:off x="9830075" y="401341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6</a:t>
            </a:r>
          </a:p>
        </p:txBody>
      </p:sp>
      <p:sp>
        <p:nvSpPr>
          <p:cNvPr id="294" name="Rectangle: Rounded Corners 42">
            <a:extLst>
              <a:ext uri="{FF2B5EF4-FFF2-40B4-BE49-F238E27FC236}">
                <a16:creationId xmlns:a16="http://schemas.microsoft.com/office/drawing/2014/main" id="{605458EA-44CB-4A08-81F2-D15A6DC86E55}"/>
              </a:ext>
            </a:extLst>
          </p:cNvPr>
          <p:cNvSpPr/>
          <p:nvPr/>
        </p:nvSpPr>
        <p:spPr>
          <a:xfrm>
            <a:off x="9830075" y="425143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83</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9" name="Rectangle: Rounded Corners 42">
            <a:extLst>
              <a:ext uri="{FF2B5EF4-FFF2-40B4-BE49-F238E27FC236}">
                <a16:creationId xmlns:a16="http://schemas.microsoft.com/office/drawing/2014/main" id="{D8B77FC0-485C-4410-8588-243BC7A81F37}"/>
              </a:ext>
            </a:extLst>
          </p:cNvPr>
          <p:cNvSpPr/>
          <p:nvPr/>
        </p:nvSpPr>
        <p:spPr>
          <a:xfrm>
            <a:off x="3322759" y="464219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6</a:t>
            </a:r>
          </a:p>
        </p:txBody>
      </p:sp>
      <p:sp>
        <p:nvSpPr>
          <p:cNvPr id="300" name="Rectangle: Rounded Corners 42">
            <a:extLst>
              <a:ext uri="{FF2B5EF4-FFF2-40B4-BE49-F238E27FC236}">
                <a16:creationId xmlns:a16="http://schemas.microsoft.com/office/drawing/2014/main" id="{C979F674-A28C-4E3C-8755-D6304C8D2AC6}"/>
              </a:ext>
            </a:extLst>
          </p:cNvPr>
          <p:cNvSpPr/>
          <p:nvPr/>
        </p:nvSpPr>
        <p:spPr>
          <a:xfrm>
            <a:off x="4398243" y="464219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8.6</a:t>
            </a:r>
          </a:p>
        </p:txBody>
      </p:sp>
      <p:sp>
        <p:nvSpPr>
          <p:cNvPr id="301" name="Rectangle: Rounded Corners 42">
            <a:extLst>
              <a:ext uri="{FF2B5EF4-FFF2-40B4-BE49-F238E27FC236}">
                <a16:creationId xmlns:a16="http://schemas.microsoft.com/office/drawing/2014/main" id="{AA9990FA-1FD4-48CD-83B9-A6CCE5E0EE35}"/>
              </a:ext>
            </a:extLst>
          </p:cNvPr>
          <p:cNvSpPr/>
          <p:nvPr/>
        </p:nvSpPr>
        <p:spPr>
          <a:xfrm>
            <a:off x="5496560" y="464219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29</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4" name="Rectangle: Rounded Corners 42">
            <a:extLst>
              <a:ext uri="{FF2B5EF4-FFF2-40B4-BE49-F238E27FC236}">
                <a16:creationId xmlns:a16="http://schemas.microsoft.com/office/drawing/2014/main" id="{FD3FCEE6-44F6-40B5-B2DD-57D1D1D943E4}"/>
              </a:ext>
            </a:extLst>
          </p:cNvPr>
          <p:cNvSpPr/>
          <p:nvPr/>
        </p:nvSpPr>
        <p:spPr>
          <a:xfrm>
            <a:off x="7644019" y="464219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 </a:t>
            </a:r>
          </a:p>
        </p:txBody>
      </p:sp>
      <p:sp>
        <p:nvSpPr>
          <p:cNvPr id="307" name="Rectangle: Rounded Corners 42">
            <a:extLst>
              <a:ext uri="{FF2B5EF4-FFF2-40B4-BE49-F238E27FC236}">
                <a16:creationId xmlns:a16="http://schemas.microsoft.com/office/drawing/2014/main" id="{BBB1585D-AE08-4640-9949-FAE0B9CB7256}"/>
              </a:ext>
            </a:extLst>
          </p:cNvPr>
          <p:cNvSpPr/>
          <p:nvPr/>
        </p:nvSpPr>
        <p:spPr>
          <a:xfrm>
            <a:off x="8737881" y="464219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a:t>
            </a:r>
          </a:p>
        </p:txBody>
      </p:sp>
      <p:sp>
        <p:nvSpPr>
          <p:cNvPr id="308" name="Rectangle: Rounded Corners 42">
            <a:extLst>
              <a:ext uri="{FF2B5EF4-FFF2-40B4-BE49-F238E27FC236}">
                <a16:creationId xmlns:a16="http://schemas.microsoft.com/office/drawing/2014/main" id="{F267ACC7-CD68-4A95-8787-7B12887975BB}"/>
              </a:ext>
            </a:extLst>
          </p:cNvPr>
          <p:cNvSpPr/>
          <p:nvPr/>
        </p:nvSpPr>
        <p:spPr>
          <a:xfrm>
            <a:off x="9830075" y="4642191"/>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45</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8" name="Rounded Rectangle 197">
            <a:hlinkClick r:id="rId3" action="ppaction://hlinksldjump"/>
          </p:cNvPr>
          <p:cNvSpPr/>
          <p:nvPr/>
        </p:nvSpPr>
        <p:spPr>
          <a:xfrm>
            <a:off x="9926320" y="6273800"/>
            <a:ext cx="953589" cy="359229"/>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3" action="ppaction://hlinksldjump"/>
              </a:rPr>
              <a:t>INDEX</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0" name="Arrow: Pentagon 13">
            <a:extLst>
              <a:ext uri="{FF2B5EF4-FFF2-40B4-BE49-F238E27FC236}">
                <a16:creationId xmlns:a16="http://schemas.microsoft.com/office/drawing/2014/main" id="{67BB9A45-B6EE-4FBA-9557-1D827A690F14}"/>
              </a:ext>
            </a:extLst>
          </p:cNvPr>
          <p:cNvSpPr/>
          <p:nvPr/>
        </p:nvSpPr>
        <p:spPr>
          <a:xfrm rot="5400000">
            <a:off x="6885143" y="972889"/>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23P</a:t>
            </a:r>
          </a:p>
        </p:txBody>
      </p:sp>
      <p:sp>
        <p:nvSpPr>
          <p:cNvPr id="201" name="Rectangle: Rounded Corners 19">
            <a:extLst>
              <a:ext uri="{FF2B5EF4-FFF2-40B4-BE49-F238E27FC236}">
                <a16:creationId xmlns:a16="http://schemas.microsoft.com/office/drawing/2014/main" id="{9736D186-1DAF-4CBA-9F74-CF9A20B0F711}"/>
              </a:ext>
            </a:extLst>
          </p:cNvPr>
          <p:cNvSpPr/>
          <p:nvPr/>
        </p:nvSpPr>
        <p:spPr>
          <a:xfrm>
            <a:off x="6520826" y="2492221"/>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42-4.4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2" name="Rectangle: Rounded Corners 36">
            <a:extLst>
              <a:ext uri="{FF2B5EF4-FFF2-40B4-BE49-F238E27FC236}">
                <a16:creationId xmlns:a16="http://schemas.microsoft.com/office/drawing/2014/main" id="{3E5AD9ED-E858-4D06-BA5A-539DEE55E2BE}"/>
              </a:ext>
            </a:extLst>
          </p:cNvPr>
          <p:cNvSpPr/>
          <p:nvPr/>
        </p:nvSpPr>
        <p:spPr>
          <a:xfrm>
            <a:off x="6520826" y="272080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35-0.45</a:t>
            </a:r>
          </a:p>
        </p:txBody>
      </p:sp>
      <p:sp>
        <p:nvSpPr>
          <p:cNvPr id="204" name="Rectangle: Rounded Corners 36">
            <a:extLst>
              <a:ext uri="{FF2B5EF4-FFF2-40B4-BE49-F238E27FC236}">
                <a16:creationId xmlns:a16="http://schemas.microsoft.com/office/drawing/2014/main" id="{CAC0232D-4492-4A76-92A2-ABA5E831370A}"/>
              </a:ext>
            </a:extLst>
          </p:cNvPr>
          <p:cNvSpPr/>
          <p:nvPr/>
        </p:nvSpPr>
        <p:spPr>
          <a:xfrm>
            <a:off x="6520826" y="30069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0-12</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4" name="Rectangle: Rounded Corners 36">
            <a:extLst>
              <a:ext uri="{FF2B5EF4-FFF2-40B4-BE49-F238E27FC236}">
                <a16:creationId xmlns:a16="http://schemas.microsoft.com/office/drawing/2014/main" id="{2F3FC21D-2D83-4F61-92AD-453823E6CF45}"/>
              </a:ext>
            </a:extLst>
          </p:cNvPr>
          <p:cNvSpPr/>
          <p:nvPr/>
        </p:nvSpPr>
        <p:spPr>
          <a:xfrm>
            <a:off x="6520826" y="325636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4.5-5.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7" name="Rectangle: Rounded Corners 19">
            <a:extLst>
              <a:ext uri="{FF2B5EF4-FFF2-40B4-BE49-F238E27FC236}">
                <a16:creationId xmlns:a16="http://schemas.microsoft.com/office/drawing/2014/main" id="{3E690A3F-BA69-4DF3-89BC-6A8FBE7BD567}"/>
              </a:ext>
            </a:extLst>
          </p:cNvPr>
          <p:cNvSpPr/>
          <p:nvPr/>
        </p:nvSpPr>
        <p:spPr>
          <a:xfrm>
            <a:off x="6520826" y="167918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400-41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 name="Rectangle: Rounded Corners 36">
            <a:extLst>
              <a:ext uri="{FF2B5EF4-FFF2-40B4-BE49-F238E27FC236}">
                <a16:creationId xmlns:a16="http://schemas.microsoft.com/office/drawing/2014/main" id="{C8C6D43F-9B2E-43C6-8176-82040BF48BCB}"/>
              </a:ext>
            </a:extLst>
          </p:cNvPr>
          <p:cNvSpPr/>
          <p:nvPr/>
        </p:nvSpPr>
        <p:spPr>
          <a:xfrm>
            <a:off x="6520826" y="190776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5-235</a:t>
            </a:r>
          </a:p>
        </p:txBody>
      </p:sp>
      <p:sp>
        <p:nvSpPr>
          <p:cNvPr id="263" name="Rectangle: Rounded Corners 36">
            <a:extLst>
              <a:ext uri="{FF2B5EF4-FFF2-40B4-BE49-F238E27FC236}">
                <a16:creationId xmlns:a16="http://schemas.microsoft.com/office/drawing/2014/main" id="{23488D4F-E4B9-4474-BCD1-98F660C6802A}"/>
              </a:ext>
            </a:extLst>
          </p:cNvPr>
          <p:cNvSpPr/>
          <p:nvPr/>
        </p:nvSpPr>
        <p:spPr>
          <a:xfrm>
            <a:off x="6520826" y="2193894"/>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630-640</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5" name="Rectangle: Rounded Corners 42">
            <a:extLst>
              <a:ext uri="{FF2B5EF4-FFF2-40B4-BE49-F238E27FC236}">
                <a16:creationId xmlns:a16="http://schemas.microsoft.com/office/drawing/2014/main" id="{28B2CB8C-600E-422C-9287-1D238D4E6B5C}"/>
              </a:ext>
            </a:extLst>
          </p:cNvPr>
          <p:cNvSpPr/>
          <p:nvPr/>
        </p:nvSpPr>
        <p:spPr>
          <a:xfrm>
            <a:off x="6520826" y="512882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1.0-11.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2" name="Rectangle: Rounded Corners 42">
            <a:extLst>
              <a:ext uri="{FF2B5EF4-FFF2-40B4-BE49-F238E27FC236}">
                <a16:creationId xmlns:a16="http://schemas.microsoft.com/office/drawing/2014/main" id="{88B6A17B-9C42-4BC6-A290-85219BEA77F8}"/>
              </a:ext>
            </a:extLst>
          </p:cNvPr>
          <p:cNvSpPr/>
          <p:nvPr/>
        </p:nvSpPr>
        <p:spPr>
          <a:xfrm>
            <a:off x="6520826" y="535438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15-525</a:t>
            </a:r>
          </a:p>
        </p:txBody>
      </p:sp>
      <p:sp>
        <p:nvSpPr>
          <p:cNvPr id="309" name="Rectangle: Rounded Corners 42">
            <a:extLst>
              <a:ext uri="{FF2B5EF4-FFF2-40B4-BE49-F238E27FC236}">
                <a16:creationId xmlns:a16="http://schemas.microsoft.com/office/drawing/2014/main" id="{1962BA60-A904-478C-B8C4-4A8995D439F9}"/>
              </a:ext>
            </a:extLst>
          </p:cNvPr>
          <p:cNvSpPr/>
          <p:nvPr/>
        </p:nvSpPr>
        <p:spPr>
          <a:xfrm>
            <a:off x="6520826" y="5652445"/>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25-535</a:t>
            </a:r>
          </a:p>
        </p:txBody>
      </p:sp>
      <p:sp>
        <p:nvSpPr>
          <p:cNvPr id="310" name="Rectangle: Rounded Corners 36">
            <a:extLst>
              <a:ext uri="{FF2B5EF4-FFF2-40B4-BE49-F238E27FC236}">
                <a16:creationId xmlns:a16="http://schemas.microsoft.com/office/drawing/2014/main" id="{0BFDF473-B9B0-4A79-B088-D3D952BAD166}"/>
              </a:ext>
            </a:extLst>
          </p:cNvPr>
          <p:cNvSpPr/>
          <p:nvPr/>
        </p:nvSpPr>
        <p:spPr>
          <a:xfrm>
            <a:off x="6520826" y="351052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8-63</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1" name="Rectangle: Rounded Corners 42">
            <a:extLst>
              <a:ext uri="{FF2B5EF4-FFF2-40B4-BE49-F238E27FC236}">
                <a16:creationId xmlns:a16="http://schemas.microsoft.com/office/drawing/2014/main" id="{F8D10970-2F7A-4EC8-BAD6-C73EC7BCA9E9}"/>
              </a:ext>
            </a:extLst>
          </p:cNvPr>
          <p:cNvSpPr/>
          <p:nvPr/>
        </p:nvSpPr>
        <p:spPr>
          <a:xfrm>
            <a:off x="6520826" y="3771228"/>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3-28</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5" name="Rectangle: Rounded Corners 42">
            <a:extLst>
              <a:ext uri="{FF2B5EF4-FFF2-40B4-BE49-F238E27FC236}">
                <a16:creationId xmlns:a16="http://schemas.microsoft.com/office/drawing/2014/main" id="{5C58276B-7548-4218-980B-A164A3AD0CB9}"/>
              </a:ext>
            </a:extLst>
          </p:cNvPr>
          <p:cNvSpPr/>
          <p:nvPr/>
        </p:nvSpPr>
        <p:spPr>
          <a:xfrm>
            <a:off x="6520826" y="400759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8-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6" name="Rectangle: Rounded Corners 42">
            <a:extLst>
              <a:ext uri="{FF2B5EF4-FFF2-40B4-BE49-F238E27FC236}">
                <a16:creationId xmlns:a16="http://schemas.microsoft.com/office/drawing/2014/main" id="{68B9330A-A0F9-471D-86FB-DBEFC43AC500}"/>
              </a:ext>
            </a:extLst>
          </p:cNvPr>
          <p:cNvSpPr/>
          <p:nvPr/>
        </p:nvSpPr>
        <p:spPr>
          <a:xfrm>
            <a:off x="6520826" y="4245610"/>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2-97</a:t>
            </a:r>
          </a:p>
        </p:txBody>
      </p:sp>
      <p:sp>
        <p:nvSpPr>
          <p:cNvPr id="317" name="Rectangle: Rounded Corners 42">
            <a:extLst>
              <a:ext uri="{FF2B5EF4-FFF2-40B4-BE49-F238E27FC236}">
                <a16:creationId xmlns:a16="http://schemas.microsoft.com/office/drawing/2014/main" id="{EBB0C5FB-3296-46FA-98A4-8FFB689774D1}"/>
              </a:ext>
            </a:extLst>
          </p:cNvPr>
          <p:cNvSpPr/>
          <p:nvPr/>
        </p:nvSpPr>
        <p:spPr>
          <a:xfrm>
            <a:off x="6520826" y="4645732"/>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130-14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8" name="Arrow: Pentagon 13">
            <a:extLst>
              <a:ext uri="{FF2B5EF4-FFF2-40B4-BE49-F238E27FC236}">
                <a16:creationId xmlns:a16="http://schemas.microsoft.com/office/drawing/2014/main" id="{1F488009-8A92-46AF-A9A9-BACFB2D684F5}"/>
              </a:ext>
            </a:extLst>
          </p:cNvPr>
          <p:cNvSpPr/>
          <p:nvPr/>
        </p:nvSpPr>
        <p:spPr>
          <a:xfrm rot="5400000">
            <a:off x="11229527" y="957363"/>
            <a:ext cx="263911" cy="9925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Y23P</a:t>
            </a:r>
          </a:p>
        </p:txBody>
      </p:sp>
      <p:sp>
        <p:nvSpPr>
          <p:cNvPr id="319" name="Rectangle: Rounded Corners 19">
            <a:extLst>
              <a:ext uri="{FF2B5EF4-FFF2-40B4-BE49-F238E27FC236}">
                <a16:creationId xmlns:a16="http://schemas.microsoft.com/office/drawing/2014/main" id="{8E3959D1-8088-4B61-B223-B1A844874144}"/>
              </a:ext>
            </a:extLst>
          </p:cNvPr>
          <p:cNvSpPr/>
          <p:nvPr/>
        </p:nvSpPr>
        <p:spPr>
          <a:xfrm>
            <a:off x="10865210" y="2486056"/>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8-1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0" name="Rectangle: Rounded Corners 36">
            <a:extLst>
              <a:ext uri="{FF2B5EF4-FFF2-40B4-BE49-F238E27FC236}">
                <a16:creationId xmlns:a16="http://schemas.microsoft.com/office/drawing/2014/main" id="{39AA903F-EB52-4343-8261-B413AEB5B432}"/>
              </a:ext>
            </a:extLst>
          </p:cNvPr>
          <p:cNvSpPr/>
          <p:nvPr/>
        </p:nvSpPr>
        <p:spPr>
          <a:xfrm>
            <a:off x="10865210" y="2715789"/>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12</a:t>
            </a:r>
          </a:p>
        </p:txBody>
      </p:sp>
      <p:sp>
        <p:nvSpPr>
          <p:cNvPr id="321" name="Rectangle: Rounded Corners 36">
            <a:extLst>
              <a:ext uri="{FF2B5EF4-FFF2-40B4-BE49-F238E27FC236}">
                <a16:creationId xmlns:a16="http://schemas.microsoft.com/office/drawing/2014/main" id="{28B7A376-B6D5-4FA2-9717-B0D881D03AD8}"/>
              </a:ext>
            </a:extLst>
          </p:cNvPr>
          <p:cNvSpPr/>
          <p:nvPr/>
        </p:nvSpPr>
        <p:spPr>
          <a:xfrm>
            <a:off x="10865210" y="3000763"/>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8-10</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4" name="Rectangle: Rounded Corners 36">
            <a:extLst>
              <a:ext uri="{FF2B5EF4-FFF2-40B4-BE49-F238E27FC236}">
                <a16:creationId xmlns:a16="http://schemas.microsoft.com/office/drawing/2014/main" id="{E3C9C072-277B-4FB9-8C54-AD6510BBAA18}"/>
              </a:ext>
            </a:extLst>
          </p:cNvPr>
          <p:cNvSpPr/>
          <p:nvPr/>
        </p:nvSpPr>
        <p:spPr>
          <a:xfrm>
            <a:off x="10877251" y="3238882"/>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8-10</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5" name="Rectangle: Rounded Corners 19">
            <a:extLst>
              <a:ext uri="{FF2B5EF4-FFF2-40B4-BE49-F238E27FC236}">
                <a16:creationId xmlns:a16="http://schemas.microsoft.com/office/drawing/2014/main" id="{5A6AC6A4-B0F3-47EF-9A36-00EB6DDD3F1F}"/>
              </a:ext>
            </a:extLst>
          </p:cNvPr>
          <p:cNvSpPr/>
          <p:nvPr/>
        </p:nvSpPr>
        <p:spPr>
          <a:xfrm>
            <a:off x="10865210" y="164887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7-9</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6" name="Rectangle: Rounded Corners 36">
            <a:extLst>
              <a:ext uri="{FF2B5EF4-FFF2-40B4-BE49-F238E27FC236}">
                <a16:creationId xmlns:a16="http://schemas.microsoft.com/office/drawing/2014/main" id="{8DEFD712-C82E-40D8-9712-1AD6C2119D7F}"/>
              </a:ext>
            </a:extLst>
          </p:cNvPr>
          <p:cNvSpPr/>
          <p:nvPr/>
        </p:nvSpPr>
        <p:spPr>
          <a:xfrm>
            <a:off x="10865210" y="190160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12-1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7" name="Rectangle: Rounded Corners 36">
            <a:extLst>
              <a:ext uri="{FF2B5EF4-FFF2-40B4-BE49-F238E27FC236}">
                <a16:creationId xmlns:a16="http://schemas.microsoft.com/office/drawing/2014/main" id="{C9B71339-B279-4896-B21C-13F40D0BBFF2}"/>
              </a:ext>
            </a:extLst>
          </p:cNvPr>
          <p:cNvSpPr/>
          <p:nvPr/>
        </p:nvSpPr>
        <p:spPr>
          <a:xfrm>
            <a:off x="10865210" y="2187728"/>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Arial" panose="020B0604020202020204" pitchFamily="34" charset="0"/>
                <a:cs typeface="Arial" panose="020B0604020202020204" pitchFamily="34" charset="0"/>
              </a:rPr>
              <a:t>9-11</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8" name="Rectangle: Rounded Corners 42">
            <a:extLst>
              <a:ext uri="{FF2B5EF4-FFF2-40B4-BE49-F238E27FC236}">
                <a16:creationId xmlns:a16="http://schemas.microsoft.com/office/drawing/2014/main" id="{A2402E98-D0DF-4E0B-9C2F-EF15FA3723BD}"/>
              </a:ext>
            </a:extLst>
          </p:cNvPr>
          <p:cNvSpPr/>
          <p:nvPr/>
        </p:nvSpPr>
        <p:spPr>
          <a:xfrm>
            <a:off x="10865210" y="5122657"/>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9-11</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9" name="Rectangle: Rounded Corners 42">
            <a:extLst>
              <a:ext uri="{FF2B5EF4-FFF2-40B4-BE49-F238E27FC236}">
                <a16:creationId xmlns:a16="http://schemas.microsoft.com/office/drawing/2014/main" id="{59F9404A-3EE7-4165-9E4E-4215DC6C7F57}"/>
              </a:ext>
            </a:extLst>
          </p:cNvPr>
          <p:cNvSpPr/>
          <p:nvPr/>
        </p:nvSpPr>
        <p:spPr>
          <a:xfrm>
            <a:off x="10865210" y="534822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5-7</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0" name="Rectangle: Rounded Corners 42">
            <a:extLst>
              <a:ext uri="{FF2B5EF4-FFF2-40B4-BE49-F238E27FC236}">
                <a16:creationId xmlns:a16="http://schemas.microsoft.com/office/drawing/2014/main" id="{4ED1D522-F4EA-4364-8C7F-C259F277F041}"/>
              </a:ext>
            </a:extLst>
          </p:cNvPr>
          <p:cNvSpPr/>
          <p:nvPr/>
        </p:nvSpPr>
        <p:spPr>
          <a:xfrm>
            <a:off x="10865210" y="5646280"/>
            <a:ext cx="992546" cy="17594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a:t>
            </a:r>
          </a:p>
        </p:txBody>
      </p:sp>
      <p:sp>
        <p:nvSpPr>
          <p:cNvPr id="331" name="Rectangle: Rounded Corners 36">
            <a:extLst>
              <a:ext uri="{FF2B5EF4-FFF2-40B4-BE49-F238E27FC236}">
                <a16:creationId xmlns:a16="http://schemas.microsoft.com/office/drawing/2014/main" id="{BE438418-F045-4476-BB23-311CF5146E7D}"/>
              </a:ext>
            </a:extLst>
          </p:cNvPr>
          <p:cNvSpPr/>
          <p:nvPr/>
        </p:nvSpPr>
        <p:spPr>
          <a:xfrm>
            <a:off x="10865210" y="3504364"/>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2-4</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2" name="Rectangle: Rounded Corners 42">
            <a:extLst>
              <a:ext uri="{FF2B5EF4-FFF2-40B4-BE49-F238E27FC236}">
                <a16:creationId xmlns:a16="http://schemas.microsoft.com/office/drawing/2014/main" id="{B2B01A1B-33F8-4BEE-8899-9BBE070F3E27}"/>
              </a:ext>
            </a:extLst>
          </p:cNvPr>
          <p:cNvSpPr/>
          <p:nvPr/>
        </p:nvSpPr>
        <p:spPr>
          <a:xfrm>
            <a:off x="10865210" y="376506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pitchFamily="34" charset="0"/>
                <a:cs typeface="Arial" panose="020B0604020202020204" pitchFamily="34" charset="0"/>
              </a:rPr>
              <a:t>3-5</a:t>
            </a: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3" name="Rectangle: Rounded Corners 42">
            <a:extLst>
              <a:ext uri="{FF2B5EF4-FFF2-40B4-BE49-F238E27FC236}">
                <a16:creationId xmlns:a16="http://schemas.microsoft.com/office/drawing/2014/main" id="{C6C2A9F6-7CD2-4F96-A416-83950D430602}"/>
              </a:ext>
            </a:extLst>
          </p:cNvPr>
          <p:cNvSpPr/>
          <p:nvPr/>
        </p:nvSpPr>
        <p:spPr>
          <a:xfrm>
            <a:off x="10865210" y="4001432"/>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2</a:t>
            </a:r>
          </a:p>
        </p:txBody>
      </p:sp>
      <p:sp>
        <p:nvSpPr>
          <p:cNvPr id="334" name="Rectangle: Rounded Corners 42">
            <a:extLst>
              <a:ext uri="{FF2B5EF4-FFF2-40B4-BE49-F238E27FC236}">
                <a16:creationId xmlns:a16="http://schemas.microsoft.com/office/drawing/2014/main" id="{66B18ABE-445F-4ED8-A54C-32D5A1FAB50D}"/>
              </a:ext>
            </a:extLst>
          </p:cNvPr>
          <p:cNvSpPr/>
          <p:nvPr/>
        </p:nvSpPr>
        <p:spPr>
          <a:xfrm>
            <a:off x="10865210" y="4239445"/>
            <a:ext cx="992546" cy="1759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2-4</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5" name="Rectangle: Rounded Corners 42">
            <a:extLst>
              <a:ext uri="{FF2B5EF4-FFF2-40B4-BE49-F238E27FC236}">
                <a16:creationId xmlns:a16="http://schemas.microsoft.com/office/drawing/2014/main" id="{351E3814-DEF2-4CA8-9ABD-61BC2135380D}"/>
              </a:ext>
            </a:extLst>
          </p:cNvPr>
          <p:cNvSpPr/>
          <p:nvPr/>
        </p:nvSpPr>
        <p:spPr>
          <a:xfrm>
            <a:off x="10865210" y="4630206"/>
            <a:ext cx="992546" cy="1828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0000"/>
                </a:solidFill>
                <a:latin typeface="Arial" panose="020B0604020202020204" pitchFamily="34" charset="0"/>
                <a:cs typeface="Arial" panose="020B0604020202020204" pitchFamily="34" charset="0"/>
              </a:rPr>
              <a:t>4-6</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4278664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16EA0-EFB9-4596-99C6-1C8F3F3B57A5}"/>
              </a:ext>
            </a:extLst>
          </p:cNvPr>
          <p:cNvSpPr>
            <a:spLocks noGrp="1"/>
          </p:cNvSpPr>
          <p:nvPr>
            <p:ph type="title"/>
          </p:nvPr>
        </p:nvSpPr>
        <p:spPr>
          <a:xfrm>
            <a:off x="406400" y="-85753"/>
            <a:ext cx="11661932" cy="886397"/>
          </a:xfrm>
        </p:spPr>
        <p:txBody>
          <a:bodyPr>
            <a:normAutofit/>
          </a:bodyPr>
          <a:lstStyle/>
          <a:p>
            <a:r>
              <a:rPr lang="en-US" sz="2800" b="1" dirty="0">
                <a:solidFill>
                  <a:schemeClr val="tx1"/>
                </a:solidFill>
                <a:latin typeface="Arial" panose="020B0604020202020204" pitchFamily="34" charset="0"/>
                <a:cs typeface="Arial" panose="020B0604020202020204" pitchFamily="34" charset="0"/>
              </a:rPr>
              <a:t>PV industry continues to grapple for stock</a:t>
            </a:r>
          </a:p>
        </p:txBody>
      </p:sp>
      <p:graphicFrame>
        <p:nvGraphicFramePr>
          <p:cNvPr id="4" name="Table 3">
            <a:extLst>
              <a:ext uri="{FF2B5EF4-FFF2-40B4-BE49-F238E27FC236}">
                <a16:creationId xmlns:a16="http://schemas.microsoft.com/office/drawing/2014/main" id="{D0D17E10-C654-4DC5-95F3-7A4ADD8B2EE9}"/>
              </a:ext>
            </a:extLst>
          </p:cNvPr>
          <p:cNvGraphicFramePr>
            <a:graphicFrameLocks noGrp="1"/>
          </p:cNvGraphicFramePr>
          <p:nvPr>
            <p:extLst>
              <p:ext uri="{D42A27DB-BD31-4B8C-83A1-F6EECF244321}">
                <p14:modId xmlns:p14="http://schemas.microsoft.com/office/powerpoint/2010/main" val="3816524941"/>
              </p:ext>
            </p:extLst>
          </p:nvPr>
        </p:nvGraphicFramePr>
        <p:xfrm>
          <a:off x="406400" y="745668"/>
          <a:ext cx="11368258" cy="5374407"/>
        </p:xfrm>
        <a:graphic>
          <a:graphicData uri="http://schemas.openxmlformats.org/drawingml/2006/table">
            <a:tbl>
              <a:tblPr firstRow="1" bandRow="1">
                <a:tableStyleId>{EB9631B5-78F2-41C9-869B-9F39066F8104}</a:tableStyleId>
              </a:tblPr>
              <a:tblGrid>
                <a:gridCol w="1845355">
                  <a:extLst>
                    <a:ext uri="{9D8B030D-6E8A-4147-A177-3AD203B41FA5}">
                      <a16:colId xmlns:a16="http://schemas.microsoft.com/office/drawing/2014/main" val="20000"/>
                    </a:ext>
                  </a:extLst>
                </a:gridCol>
                <a:gridCol w="2019303">
                  <a:extLst>
                    <a:ext uri="{9D8B030D-6E8A-4147-A177-3AD203B41FA5}">
                      <a16:colId xmlns:a16="http://schemas.microsoft.com/office/drawing/2014/main" val="20001"/>
                    </a:ext>
                  </a:extLst>
                </a:gridCol>
                <a:gridCol w="1817226">
                  <a:extLst>
                    <a:ext uri="{9D8B030D-6E8A-4147-A177-3AD203B41FA5}">
                      <a16:colId xmlns:a16="http://schemas.microsoft.com/office/drawing/2014/main" val="20002"/>
                    </a:ext>
                  </a:extLst>
                </a:gridCol>
                <a:gridCol w="2013994">
                  <a:extLst>
                    <a:ext uri="{9D8B030D-6E8A-4147-A177-3AD203B41FA5}">
                      <a16:colId xmlns:a16="http://schemas.microsoft.com/office/drawing/2014/main" val="20004"/>
                    </a:ext>
                  </a:extLst>
                </a:gridCol>
                <a:gridCol w="3672380">
                  <a:extLst>
                    <a:ext uri="{9D8B030D-6E8A-4147-A177-3AD203B41FA5}">
                      <a16:colId xmlns:a16="http://schemas.microsoft.com/office/drawing/2014/main" val="20003"/>
                    </a:ext>
                  </a:extLst>
                </a:gridCol>
              </a:tblGrid>
              <a:tr h="555762">
                <a:tc>
                  <a:txBody>
                    <a:bodyPr/>
                    <a:lstStyle/>
                    <a:p>
                      <a:pPr algn="ctr"/>
                      <a:r>
                        <a:rPr lang="en-US" sz="1400" b="1" dirty="0"/>
                        <a:t>Vehicle segment</a:t>
                      </a:r>
                      <a:endParaRPr lang="en-US" sz="1400" b="1" dirty="0">
                        <a:latin typeface="Arial" panose="020B0604020202020204" pitchFamily="34" charset="0"/>
                        <a:cs typeface="Arial" panose="020B0604020202020204" pitchFamily="34" charset="0"/>
                      </a:endParaRPr>
                    </a:p>
                  </a:txBody>
                  <a:tcPr anchor="ctr"/>
                </a:tc>
                <a:tc>
                  <a:txBody>
                    <a:bodyPr/>
                    <a:lstStyle/>
                    <a:p>
                      <a:pPr algn="ctr"/>
                      <a:r>
                        <a:rPr lang="en-US" sz="1400" b="1" dirty="0"/>
                        <a:t>Normal inventory in days</a:t>
                      </a:r>
                      <a:endParaRPr lang="en-US" sz="1400" b="1" dirty="0">
                        <a:latin typeface="Arial" panose="020B0604020202020204" pitchFamily="34" charset="0"/>
                        <a:cs typeface="Arial" panose="020B0604020202020204" pitchFamily="34" charset="0"/>
                      </a:endParaRPr>
                    </a:p>
                  </a:txBody>
                  <a:tcPr anchor="ctr"/>
                </a:tc>
                <a:tc>
                  <a:txBody>
                    <a:bodyPr/>
                    <a:lstStyle/>
                    <a:p>
                      <a:pPr algn="ctr"/>
                      <a:r>
                        <a:rPr lang="en-US" sz="1400" b="1" dirty="0"/>
                        <a:t>Current inventory levels*</a:t>
                      </a:r>
                      <a:endParaRPr lang="en-US" sz="1400" b="1" dirty="0">
                        <a:latin typeface="Arial" panose="020B0604020202020204" pitchFamily="34" charset="0"/>
                        <a:cs typeface="Arial" panose="020B0604020202020204" pitchFamily="34" charset="0"/>
                      </a:endParaRPr>
                    </a:p>
                  </a:txBody>
                  <a:tcPr anchor="ctr"/>
                </a:tc>
                <a:tc>
                  <a:txBody>
                    <a:bodyPr/>
                    <a:lstStyle/>
                    <a:p>
                      <a:pPr algn="ctr"/>
                      <a:r>
                        <a:rPr lang="en-US" sz="1400" b="1" dirty="0"/>
                        <a:t>Inventory Units</a:t>
                      </a:r>
                      <a:endParaRPr lang="en-US" sz="1400" b="1" dirty="0">
                        <a:latin typeface="Arial" panose="020B0604020202020204" pitchFamily="34" charset="0"/>
                        <a:cs typeface="Arial" panose="020B0604020202020204" pitchFamily="34" charset="0"/>
                      </a:endParaRPr>
                    </a:p>
                  </a:txBody>
                  <a:tcPr anchor="ctr"/>
                </a:tc>
                <a:tc>
                  <a:txBody>
                    <a:bodyPr/>
                    <a:lstStyle/>
                    <a:p>
                      <a:pPr algn="ctr"/>
                      <a:r>
                        <a:rPr lang="en-US" sz="1400" b="1" dirty="0"/>
                        <a:t>Reasons</a:t>
                      </a:r>
                      <a:endParaRPr lang="en-US" sz="1400" b="1"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0"/>
                  </a:ext>
                </a:extLst>
              </a:tr>
              <a:tr h="1074959">
                <a:tc>
                  <a:txBody>
                    <a:bodyPr/>
                    <a:lstStyle/>
                    <a:p>
                      <a:r>
                        <a:rPr lang="en-US" sz="1200" b="0" dirty="0"/>
                        <a:t>Passenger Vehicles</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25-30</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latin typeface="Arial" panose="020B0604020202020204" pitchFamily="34" charset="0"/>
                          <a:cs typeface="Arial" panose="020B0604020202020204" pitchFamily="34" charset="0"/>
                        </a:rPr>
                        <a:t>15-20</a:t>
                      </a:r>
                    </a:p>
                  </a:txBody>
                  <a:tcPr anchor="ctr"/>
                </a:tc>
                <a:tc>
                  <a:txBody>
                    <a:bodyPr/>
                    <a:lstStyle/>
                    <a:p>
                      <a:pPr algn="ctr"/>
                      <a:r>
                        <a:rPr lang="en-US" sz="1200" b="0" dirty="0"/>
                        <a:t>80-100</a:t>
                      </a:r>
                    </a:p>
                    <a:p>
                      <a:pPr algn="ctr"/>
                      <a:r>
                        <a:rPr lang="en-US" sz="1200" b="0" dirty="0"/>
                        <a:t>thousand</a:t>
                      </a:r>
                      <a:endParaRPr lang="en-US" sz="1200" b="0" dirty="0">
                        <a:latin typeface="Arial" panose="020B0604020202020204" pitchFamily="34" charset="0"/>
                        <a:cs typeface="Arial" panose="020B0604020202020204" pitchFamily="34" charset="0"/>
                      </a:endParaRPr>
                    </a:p>
                  </a:txBody>
                  <a:tcPr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High retail traction, new</a:t>
                      </a:r>
                      <a:r>
                        <a:rPr lang="en-US" sz="1200" b="0" baseline="0" dirty="0">
                          <a:solidFill>
                            <a:schemeClr val="tx1"/>
                          </a:solidFill>
                        </a:rPr>
                        <a:t> launches, </a:t>
                      </a:r>
                      <a:r>
                        <a:rPr lang="en-US" sz="1200" b="0" dirty="0">
                          <a:solidFill>
                            <a:schemeClr val="tx1"/>
                          </a:solidFill>
                        </a:rPr>
                        <a:t>slower production </a:t>
                      </a:r>
                      <a:r>
                        <a:rPr lang="en-US" sz="1200" b="0" baseline="0" dirty="0">
                          <a:solidFill>
                            <a:schemeClr val="tx1"/>
                          </a:solidFill>
                        </a:rPr>
                        <a:t>have kept the inventory levels low . Industry continues to face chip shortage.</a:t>
                      </a:r>
                      <a:endParaRPr lang="en-US" sz="12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1"/>
                  </a:ext>
                </a:extLst>
              </a:tr>
              <a:tr h="909581">
                <a:tc>
                  <a:txBody>
                    <a:bodyPr/>
                    <a:lstStyle/>
                    <a:p>
                      <a:r>
                        <a:rPr lang="en-US" sz="1200" b="0" dirty="0"/>
                        <a:t>Two Wheelers</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30-35</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43-48</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1.6-2.0 million</a:t>
                      </a:r>
                      <a:endParaRPr lang="en-US" sz="1200" b="0" dirty="0">
                        <a:latin typeface="Arial" panose="020B0604020202020204" pitchFamily="34" charset="0"/>
                        <a:cs typeface="Arial" panose="020B0604020202020204" pitchFamily="34" charset="0"/>
                      </a:endParaRPr>
                    </a:p>
                  </a:txBody>
                  <a:tcPr anchor="ctr"/>
                </a:tc>
                <a:tc>
                  <a: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rPr>
                        <a:t>Slow down in retail momentum resulted in stock correction in December which partially normalized inventory levels. However, OEMs have increased stock levels in Q4 FY22 anticipating good demand</a:t>
                      </a:r>
                      <a:endParaRPr lang="en-US" sz="12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879550">
                <a:tc>
                  <a:txBody>
                    <a:bodyPr/>
                    <a:lstStyle/>
                    <a:p>
                      <a:r>
                        <a:rPr lang="en-US" sz="1200" b="0" dirty="0">
                          <a:solidFill>
                            <a:schemeClr val="tx1"/>
                          </a:solidFill>
                        </a:rPr>
                        <a:t>Commercial Vehicles</a:t>
                      </a:r>
                      <a:endParaRPr lang="en-US" sz="1200" b="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b="0" dirty="0">
                          <a:solidFill>
                            <a:schemeClr val="tx1"/>
                          </a:solidFill>
                        </a:rPr>
                        <a:t>25-35</a:t>
                      </a:r>
                      <a:endParaRPr lang="en-US" sz="1200" b="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b="0" dirty="0">
                          <a:solidFill>
                            <a:schemeClr val="tx1"/>
                          </a:solidFill>
                        </a:rPr>
                        <a:t>~30</a:t>
                      </a:r>
                      <a:endParaRPr lang="en-US" sz="1200" b="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b="0" dirty="0">
                          <a:solidFill>
                            <a:schemeClr val="tx1"/>
                          </a:solidFill>
                        </a:rPr>
                        <a:t>55-60 thousand</a:t>
                      </a:r>
                      <a:endParaRPr lang="en-US" sz="1200" b="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IN" sz="1200" b="0" u="none" strike="noStrike" kern="1200" cap="none" spc="0" normalizeH="0" baseline="0" dirty="0">
                          <a:ln>
                            <a:noFill/>
                          </a:ln>
                          <a:solidFill>
                            <a:prstClr val="black"/>
                          </a:solidFill>
                          <a:effectLst/>
                          <a:uLnTx/>
                          <a:uFillTx/>
                        </a:rPr>
                        <a:t>Inventory levels are in the normal range for the MHCV segment. However, the SCV segment is facing problems and inventory levels are much lower than normal on account of shortage of semi conductor. </a:t>
                      </a:r>
                      <a:endPar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val="10003"/>
                  </a:ext>
                </a:extLst>
              </a:tr>
              <a:tr h="1270460">
                <a:tc>
                  <a:txBody>
                    <a:bodyPr/>
                    <a:lstStyle/>
                    <a:p>
                      <a:r>
                        <a:rPr lang="en-US" sz="1200" b="0" dirty="0"/>
                        <a:t>Tractors</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30-35</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solidFill>
                            <a:schemeClr val="tx1"/>
                          </a:solidFill>
                        </a:rPr>
                        <a:t>43-48</a:t>
                      </a:r>
                      <a:endParaRPr lang="en-US" sz="1200" b="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200" b="0" dirty="0">
                          <a:solidFill>
                            <a:schemeClr val="tx1"/>
                          </a:solidFill>
                        </a:rPr>
                        <a:t>93-98 thousand</a:t>
                      </a:r>
                      <a:endParaRPr lang="en-US" sz="1200" b="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Inventory levels,</a:t>
                      </a:r>
                      <a:r>
                        <a:rPr lang="en-US" sz="1200" b="0" baseline="0" dirty="0"/>
                        <a:t> have further increased in Q4 due player actions to achieve year end numbers. Dealers have more stock than required on account of poor retail sentiments on ground.</a:t>
                      </a:r>
                      <a:endParaRPr lang="en-US" sz="1200" b="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4"/>
                  </a:ext>
                </a:extLst>
              </a:tr>
              <a:tr h="684095">
                <a:tc>
                  <a:txBody>
                    <a:bodyPr/>
                    <a:lstStyle/>
                    <a:p>
                      <a:r>
                        <a:rPr lang="en-US" sz="1200" b="0" dirty="0"/>
                        <a:t>Three-wheeler</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20-25</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40-45</a:t>
                      </a:r>
                      <a:endParaRPr lang="en-US" sz="1200" b="0" dirty="0">
                        <a:latin typeface="Arial" panose="020B0604020202020204" pitchFamily="34" charset="0"/>
                        <a:cs typeface="Arial" panose="020B0604020202020204" pitchFamily="34" charset="0"/>
                      </a:endParaRPr>
                    </a:p>
                  </a:txBody>
                  <a:tcPr anchor="ctr"/>
                </a:tc>
                <a:tc>
                  <a:txBody>
                    <a:bodyPr/>
                    <a:lstStyle/>
                    <a:p>
                      <a:pPr algn="ctr"/>
                      <a:r>
                        <a:rPr lang="en-US" sz="1200" b="0" dirty="0"/>
                        <a:t>~25-30 thousand</a:t>
                      </a:r>
                      <a:endParaRPr lang="en-US" sz="1200" b="0" dirty="0">
                        <a:latin typeface="Arial" panose="020B0604020202020204" pitchFamily="34" charset="0"/>
                        <a:cs typeface="Arial" panose="020B0604020202020204" pitchFamily="34" charset="0"/>
                      </a:endParaRPr>
                    </a:p>
                  </a:txBody>
                  <a:tcPr anchor="ctr"/>
                </a:tc>
                <a:tc>
                  <a:txBody>
                    <a:bodyPr/>
                    <a:lstStyle/>
                    <a:p>
                      <a:pPr algn="l"/>
                      <a:r>
                        <a:rPr lang="en-US" sz="1200" b="0" baseline="0" dirty="0">
                          <a:solidFill>
                            <a:schemeClr val="tx1"/>
                          </a:solidFill>
                        </a:rPr>
                        <a:t>OEMs have increased production due to pick up in demand and dealers are left with enough stock to last more than a month for the retail demand</a:t>
                      </a:r>
                      <a:endParaRPr lang="en-US" sz="1200" b="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637388906"/>
                  </a:ext>
                </a:extLst>
              </a:tr>
            </a:tbl>
          </a:graphicData>
        </a:graphic>
      </p:graphicFrame>
      <p:sp>
        <p:nvSpPr>
          <p:cNvPr id="5" name="Rectangle 4">
            <a:extLst>
              <a:ext uri="{FF2B5EF4-FFF2-40B4-BE49-F238E27FC236}">
                <a16:creationId xmlns:a16="http://schemas.microsoft.com/office/drawing/2014/main" id="{3A63003F-5864-4EC2-A161-F61A07B9F8D3}"/>
              </a:ext>
            </a:extLst>
          </p:cNvPr>
          <p:cNvSpPr/>
          <p:nvPr/>
        </p:nvSpPr>
        <p:spPr>
          <a:xfrm>
            <a:off x="1036471" y="6599900"/>
            <a:ext cx="5098166" cy="246221"/>
          </a:xfrm>
          <a:prstGeom prst="rect">
            <a:avLst/>
          </a:prstGeom>
        </p:spPr>
        <p:txBody>
          <a:bodyPr wrap="square" lIns="91421" tIns="45712" rIns="91421"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Industry, CRISIL Research</a:t>
            </a:r>
            <a:endParaRPr kumimoji="0" lang="en-GB"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Rectangle 5">
            <a:extLst>
              <a:ext uri="{FF2B5EF4-FFF2-40B4-BE49-F238E27FC236}">
                <a16:creationId xmlns:a16="http://schemas.microsoft.com/office/drawing/2014/main" id="{5918C450-95B1-45FA-AE72-CD640A15D115}"/>
              </a:ext>
            </a:extLst>
          </p:cNvPr>
          <p:cNvSpPr/>
          <p:nvPr/>
        </p:nvSpPr>
        <p:spPr>
          <a:xfrm>
            <a:off x="1036471" y="6353695"/>
            <a:ext cx="6968966" cy="246205"/>
          </a:xfrm>
          <a:prstGeom prst="rect">
            <a:avLst/>
          </a:prstGeom>
        </p:spPr>
        <p:txBody>
          <a:bodyPr wrap="square" lIns="91421" tIns="45712" rIns="91421" bIns="4571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NOTE:* Inventory level as on end of </a:t>
            </a:r>
            <a:r>
              <a:rPr lang="en-US" sz="1000" i="1" dirty="0">
                <a:solidFill>
                  <a:srgbClr val="000000"/>
                </a:solidFill>
                <a:latin typeface="Arial" panose="020B0604020202020204" pitchFamily="34" charset="0"/>
                <a:cs typeface="Arial" panose="020B0604020202020204" pitchFamily="34" charset="0"/>
              </a:rPr>
              <a:t>March 2022</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ventory units have been calculated using last 12 months sales</a:t>
            </a:r>
            <a:endParaRPr kumimoji="0" lang="en-GB"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2414431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400" b="1" dirty="0">
                <a:latin typeface="Franklin Gothic Medium" panose="020B0603020102020204" pitchFamily="34" charset="0"/>
              </a:rPr>
              <a:t>Passenger vehicles</a:t>
            </a:r>
          </a:p>
        </p:txBody>
      </p:sp>
      <p:sp>
        <p:nvSpPr>
          <p:cNvPr id="8" name="Rectangle 7">
            <a:hlinkClick r:id="rId2" action="ppaction://hlinksldjump"/>
            <a:extLst>
              <a:ext uri="{FF2B5EF4-FFF2-40B4-BE49-F238E27FC236}">
                <a16:creationId xmlns:a16="http://schemas.microsoft.com/office/drawing/2014/main" id="{61DEDED1-93FA-4493-8418-3D2434A0FBEA}"/>
              </a:ext>
            </a:extLst>
          </p:cNvPr>
          <p:cNvSpPr/>
          <p:nvPr/>
        </p:nvSpPr>
        <p:spPr>
          <a:xfrm>
            <a:off x="7949525" y="6390244"/>
            <a:ext cx="3094687"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ction="ppaction://hlinksldjump"/>
              </a:rPr>
              <a:t>Back to Summary Forecast Slide</a:t>
            </a:r>
            <a:endPar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8405751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379" y="219791"/>
            <a:ext cx="11064324" cy="886397"/>
          </a:xfrm>
        </p:spPr>
        <p:txBody>
          <a:bodyPr vert="horz" lIns="0" tIns="0" rIns="0" bIns="0" rtlCol="0" anchor="ctr">
            <a:noAutofit/>
          </a:bodyPr>
          <a:lstStyle/>
          <a:p>
            <a:r>
              <a:rPr lang="en-US" sz="2800" b="1" dirty="0">
                <a:solidFill>
                  <a:schemeClr val="tx1"/>
                </a:solidFill>
                <a:latin typeface="Arial" panose="020B0604020202020204" pitchFamily="34" charset="0"/>
                <a:cs typeface="Arial" panose="020B0604020202020204" pitchFamily="34" charset="0"/>
              </a:rPr>
              <a:t>Strong booking pipeline, new launches</a:t>
            </a:r>
            <a:r>
              <a:rPr lang="en-US" sz="2800" b="1" dirty="0">
                <a:latin typeface="Arial" panose="020B0604020202020204" pitchFamily="34" charset="0"/>
                <a:cs typeface="Arial" panose="020B0604020202020204" pitchFamily="34" charset="0"/>
              </a:rPr>
              <a:t> </a:t>
            </a:r>
            <a:r>
              <a:rPr lang="en-US" sz="2800" b="1" dirty="0">
                <a:solidFill>
                  <a:schemeClr val="tx1"/>
                </a:solidFill>
                <a:latin typeface="Arial" panose="020B0604020202020204" pitchFamily="34" charset="0"/>
                <a:cs typeface="Arial" panose="020B0604020202020204" pitchFamily="34" charset="0"/>
              </a:rPr>
              <a:t>to support continued growth in FY23</a:t>
            </a:r>
          </a:p>
        </p:txBody>
      </p:sp>
      <p:graphicFrame>
        <p:nvGraphicFramePr>
          <p:cNvPr id="20" name="Table 19"/>
          <p:cNvGraphicFramePr>
            <a:graphicFrameLocks noGrp="1"/>
          </p:cNvGraphicFramePr>
          <p:nvPr>
            <p:extLst>
              <p:ext uri="{D42A27DB-BD31-4B8C-83A1-F6EECF244321}">
                <p14:modId xmlns:p14="http://schemas.microsoft.com/office/powerpoint/2010/main" val="3190298445"/>
              </p:ext>
            </p:extLst>
          </p:nvPr>
        </p:nvGraphicFramePr>
        <p:xfrm>
          <a:off x="420869" y="1288494"/>
          <a:ext cx="5128483" cy="685470"/>
        </p:xfrm>
        <a:graphic>
          <a:graphicData uri="http://schemas.openxmlformats.org/drawingml/2006/table">
            <a:tbl>
              <a:tblPr firstRow="1" bandRow="1">
                <a:tableStyleId>{D27102A9-8310-4765-A935-A1911B00CA55}</a:tableStyleId>
              </a:tblPr>
              <a:tblGrid>
                <a:gridCol w="3641380">
                  <a:extLst>
                    <a:ext uri="{9D8B030D-6E8A-4147-A177-3AD203B41FA5}">
                      <a16:colId xmlns:a16="http://schemas.microsoft.com/office/drawing/2014/main" val="20000"/>
                    </a:ext>
                  </a:extLst>
                </a:gridCol>
                <a:gridCol w="1487103">
                  <a:extLst>
                    <a:ext uri="{9D8B030D-6E8A-4147-A177-3AD203B41FA5}">
                      <a16:colId xmlns:a16="http://schemas.microsoft.com/office/drawing/2014/main" val="20003"/>
                    </a:ext>
                  </a:extLst>
                </a:gridCol>
              </a:tblGrid>
              <a:tr h="327832">
                <a:tc>
                  <a:txBody>
                    <a:bodyPr/>
                    <a:lstStyle/>
                    <a:p>
                      <a:pPr algn="ctr" rtl="0" fontAlgn="b"/>
                      <a:r>
                        <a:rPr lang="en-US" sz="1300" u="none" strike="noStrike" dirty="0">
                          <a:solidFill>
                            <a:schemeClr val="bg1"/>
                          </a:solidFill>
                          <a:latin typeface="Arial" panose="020B0604020202020204" pitchFamily="34" charset="0"/>
                          <a:cs typeface="Arial" panose="020B0604020202020204" pitchFamily="34" charset="0"/>
                        </a:rPr>
                        <a:t>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42875" marR="7938" marT="7938" marB="0" anchor="ctr">
                    <a:solidFill>
                      <a:schemeClr val="accent2"/>
                    </a:solidFill>
                  </a:tcPr>
                </a:tc>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19</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0000"/>
                  </a:ext>
                </a:extLst>
              </a:tr>
              <a:tr h="357638">
                <a:tc>
                  <a:txBody>
                    <a:bodyPr/>
                    <a:lstStyle/>
                    <a:p>
                      <a:pPr algn="l" fontAlgn="t">
                        <a:lnSpc>
                          <a:spcPct val="150000"/>
                        </a:lnSpc>
                      </a:pPr>
                      <a:r>
                        <a:rPr lang="en-US" sz="1300" u="none" strike="noStrike" dirty="0">
                          <a:solidFill>
                            <a:schemeClr val="tx1"/>
                          </a:solidFill>
                          <a:latin typeface="Arial" panose="020B0604020202020204" pitchFamily="34" charset="0"/>
                          <a:cs typeface="Arial" panose="020B0604020202020204" pitchFamily="34" charset="0"/>
                        </a:rPr>
                        <a:t>Income for</a:t>
                      </a:r>
                      <a:r>
                        <a:rPr lang="en-US" sz="1300" u="none" strike="noStrike" baseline="0" dirty="0">
                          <a:solidFill>
                            <a:schemeClr val="tx1"/>
                          </a:solidFill>
                          <a:latin typeface="Arial" panose="020B0604020202020204" pitchFamily="34" charset="0"/>
                          <a:cs typeface="Arial" panose="020B0604020202020204" pitchFamily="34" charset="0"/>
                        </a:rPr>
                        <a:t> discretionary spending</a:t>
                      </a:r>
                      <a:endParaRPr lang="en-US" sz="1300" b="1" i="0" u="none" strike="noStrike" dirty="0">
                        <a:solidFill>
                          <a:schemeClr val="tx1"/>
                        </a:solidFill>
                        <a:latin typeface="Arial" panose="020B0604020202020204" pitchFamily="34" charset="0"/>
                        <a:cs typeface="Arial" panose="020B0604020202020204" pitchFamily="34" charset="0"/>
                      </a:endParaRPr>
                    </a:p>
                  </a:txBody>
                  <a:tcPr marL="0" marR="0" marT="0" marB="0">
                    <a:solidFill>
                      <a:schemeClr val="tx2"/>
                    </a:solidFill>
                  </a:tcPr>
                </a:tc>
                <a:tc>
                  <a:txBody>
                    <a:bodyPr/>
                    <a:lstStyle/>
                    <a:p>
                      <a:pPr algn="ctr" rtl="0" fontAlgn="t"/>
                      <a:r>
                        <a:rPr lang="en-US" sz="1300" u="none" strike="noStrike" dirty="0">
                          <a:effectLst/>
                          <a:latin typeface="Arial" panose="020B0604020202020204" pitchFamily="34" charset="0"/>
                          <a:cs typeface="Arial" panose="020B0604020202020204" pitchFamily="34" charset="0"/>
                        </a:rPr>
                        <a:t>F</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00B050"/>
                    </a:solidFill>
                  </a:tcPr>
                </a:tc>
                <a:extLst>
                  <a:ext uri="{0D108BD9-81ED-4DB2-BD59-A6C34878D82A}">
                    <a16:rowId xmlns:a16="http://schemas.microsoft.com/office/drawing/2014/main" val="10001"/>
                  </a:ext>
                </a:extLst>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186388690"/>
              </p:ext>
            </p:extLst>
          </p:nvPr>
        </p:nvGraphicFramePr>
        <p:xfrm>
          <a:off x="420869" y="2100635"/>
          <a:ext cx="5114270" cy="1639160"/>
        </p:xfrm>
        <a:graphic>
          <a:graphicData uri="http://schemas.openxmlformats.org/drawingml/2006/table">
            <a:tbl>
              <a:tblPr firstRow="1" bandRow="1">
                <a:tableStyleId>{9D7B26C5-4107-4FEC-AEDC-1716B250A1EF}</a:tableStyleId>
              </a:tblPr>
              <a:tblGrid>
                <a:gridCol w="3631287">
                  <a:extLst>
                    <a:ext uri="{9D8B030D-6E8A-4147-A177-3AD203B41FA5}">
                      <a16:colId xmlns:a16="http://schemas.microsoft.com/office/drawing/2014/main" val="20000"/>
                    </a:ext>
                  </a:extLst>
                </a:gridCol>
                <a:gridCol w="1482983">
                  <a:extLst>
                    <a:ext uri="{9D8B030D-6E8A-4147-A177-3AD203B41FA5}">
                      <a16:colId xmlns:a16="http://schemas.microsoft.com/office/drawing/2014/main" val="20003"/>
                    </a:ext>
                  </a:extLst>
                </a:gridCol>
              </a:tblGrid>
              <a:tr h="327832">
                <a:tc>
                  <a:txBody>
                    <a:bodyPr/>
                    <a:lstStyle/>
                    <a:p>
                      <a:pPr algn="ctr" rtl="0" fontAlgn="b"/>
                      <a:r>
                        <a:rPr lang="en-US" sz="1300" u="none" strike="noStrike" dirty="0">
                          <a:solidFill>
                            <a:schemeClr val="bg1"/>
                          </a:solidFill>
                          <a:latin typeface="Arial" panose="020B0604020202020204" pitchFamily="34" charset="0"/>
                          <a:cs typeface="Arial" panose="020B0604020202020204" pitchFamily="34" charset="0"/>
                        </a:rPr>
                        <a:t>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42875" marR="7938" marT="7938" marB="0" anchor="ctr">
                    <a:solidFill>
                      <a:schemeClr val="accent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u="none" strike="noStrike" kern="1200" dirty="0">
                          <a:solidFill>
                            <a:schemeClr val="bg1"/>
                          </a:solidFill>
                          <a:latin typeface="Arial" panose="020B0604020202020204" pitchFamily="34" charset="0"/>
                          <a:cs typeface="Arial" panose="020B0604020202020204" pitchFamily="34" charset="0"/>
                        </a:rPr>
                        <a:t>FY19</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0000"/>
                  </a:ext>
                </a:extLst>
              </a:tr>
              <a:tr h="327832">
                <a:tc>
                  <a:txBody>
                    <a:bodyPr/>
                    <a:lstStyle/>
                    <a:p>
                      <a:pPr algn="l" fontAlgn="t">
                        <a:lnSpc>
                          <a:spcPct val="150000"/>
                        </a:lnSpc>
                      </a:pPr>
                      <a:r>
                        <a:rPr lang="en-US" sz="1300" u="none" strike="noStrike" kern="1200" dirty="0">
                          <a:solidFill>
                            <a:schemeClr val="tx1"/>
                          </a:solidFill>
                          <a:latin typeface="Arial" panose="020B0604020202020204" pitchFamily="34" charset="0"/>
                          <a:cs typeface="Arial" panose="020B0604020202020204" pitchFamily="34" charset="0"/>
                        </a:rPr>
                        <a:t>Cost of ownership</a:t>
                      </a:r>
                      <a:endParaRPr lang="en-US" sz="1300" b="1"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solidFill>
                      <a:schemeClr val="tx2"/>
                    </a:solidFill>
                  </a:tcPr>
                </a:tc>
                <a:tc>
                  <a:txBody>
                    <a:bodyPr/>
                    <a:lstStyle/>
                    <a:p>
                      <a:pPr algn="ctr" rtl="0" fontAlgn="t"/>
                      <a:r>
                        <a:rPr lang="en-US" sz="1300" dirty="0">
                          <a:solidFill>
                            <a:schemeClr val="bg1"/>
                          </a:solidFill>
                          <a:latin typeface="Arial" panose="020B0604020202020204" pitchFamily="34" charset="0"/>
                          <a:cs typeface="Arial" panose="020B0604020202020204" pitchFamily="34" charset="0"/>
                        </a:rPr>
                        <a:t>NF</a:t>
                      </a:r>
                    </a:p>
                  </a:txBody>
                  <a:tcPr marL="7938" marR="7938" marT="7938" marB="0" anchor="ctr">
                    <a:solidFill>
                      <a:srgbClr val="FF0000"/>
                    </a:solidFill>
                  </a:tcPr>
                </a:tc>
                <a:extLst>
                  <a:ext uri="{0D108BD9-81ED-4DB2-BD59-A6C34878D82A}">
                    <a16:rowId xmlns:a16="http://schemas.microsoft.com/office/drawing/2014/main" val="10001"/>
                  </a:ext>
                </a:extLst>
              </a:tr>
              <a:tr h="327832">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       </a:t>
                      </a:r>
                      <a:r>
                        <a:rPr lang="en-US" sz="1300" u="none" strike="noStrike" baseline="0" dirty="0">
                          <a:latin typeface="Arial" panose="020B0604020202020204" pitchFamily="34" charset="0"/>
                          <a:cs typeface="Arial" panose="020B0604020202020204" pitchFamily="34" charset="0"/>
                        </a:rPr>
                        <a:t>    </a:t>
                      </a:r>
                      <a:r>
                        <a:rPr lang="en-US" sz="1300" u="none" strike="noStrike" dirty="0">
                          <a:latin typeface="Arial" panose="020B0604020202020204" pitchFamily="34" charset="0"/>
                          <a:cs typeface="Arial" panose="020B0604020202020204" pitchFamily="34" charset="0"/>
                        </a:rPr>
                        <a:t> </a:t>
                      </a:r>
                      <a:r>
                        <a:rPr lang="en-US" sz="1300" u="none" strike="noStrike" kern="1200" dirty="0">
                          <a:latin typeface="Arial" panose="020B0604020202020204" pitchFamily="34" charset="0"/>
                          <a:cs typeface="Arial" panose="020B0604020202020204" pitchFamily="34" charset="0"/>
                        </a:rPr>
                        <a:t>Petrol</a:t>
                      </a:r>
                      <a:r>
                        <a:rPr lang="en-US" sz="1300" u="none" strike="noStrike" dirty="0">
                          <a:latin typeface="Arial" panose="020B0604020202020204" pitchFamily="34" charset="0"/>
                          <a:cs typeface="Arial" panose="020B0604020202020204" pitchFamily="34" charset="0"/>
                        </a:rPr>
                        <a:t> / CNG Vehicles</a:t>
                      </a:r>
                      <a:endParaRPr lang="en-US" sz="1300" b="1" i="0" u="none" strike="noStrike" dirty="0">
                        <a:solidFill>
                          <a:srgbClr val="404040"/>
                        </a:solidFill>
                        <a:latin typeface="Arial" panose="020B0604020202020204" pitchFamily="34" charset="0"/>
                        <a:cs typeface="Arial" panose="020B0604020202020204" pitchFamily="34" charset="0"/>
                      </a:endParaRPr>
                    </a:p>
                  </a:txBody>
                  <a:tcPr marL="0" marR="0" marT="0" marB="0"/>
                </a:tc>
                <a:tc>
                  <a:txBody>
                    <a:bodyPr/>
                    <a:lstStyle/>
                    <a:p>
                      <a:pPr algn="ctr" rtl="0" fontAlgn="b"/>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0"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0002"/>
                  </a:ext>
                </a:extLst>
              </a:tr>
              <a:tr h="327832">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            </a:t>
                      </a:r>
                      <a:r>
                        <a:rPr lang="en-US" sz="1300" u="none" strike="noStrike" dirty="0">
                          <a:solidFill>
                            <a:schemeClr val="tx1"/>
                          </a:solidFill>
                          <a:latin typeface="Arial" panose="020B0604020202020204" pitchFamily="34" charset="0"/>
                          <a:cs typeface="Arial" panose="020B0604020202020204" pitchFamily="34" charset="0"/>
                        </a:rPr>
                        <a:t>Diesel vehicles</a:t>
                      </a:r>
                      <a:endParaRPr lang="en-US" sz="1300" b="1" i="0" u="none" strike="noStrike" dirty="0">
                        <a:solidFill>
                          <a:schemeClr val="tx1"/>
                        </a:solidFill>
                        <a:latin typeface="Arial" panose="020B0604020202020204" pitchFamily="34" charset="0"/>
                        <a:cs typeface="Arial" panose="020B0604020202020204" pitchFamily="34" charset="0"/>
                      </a:endParaRPr>
                    </a:p>
                  </a:txBody>
                  <a:tcPr marL="0" marR="0" marT="0" marB="0">
                    <a:solidFill>
                      <a:schemeClr val="tx2"/>
                    </a:solidFill>
                  </a:tcPr>
                </a:tc>
                <a:tc>
                  <a:txBody>
                    <a:bodyPr/>
                    <a:lstStyle/>
                    <a:p>
                      <a:pPr marL="0" marR="0" lvl="0" indent="0" algn="ctr" defTabSz="1097280" rtl="0" eaLnBrk="1" fontAlgn="t" latinLnBrk="0" hangingPunct="1">
                        <a:lnSpc>
                          <a:spcPct val="100000"/>
                        </a:lnSpc>
                        <a:spcBef>
                          <a:spcPts val="0"/>
                        </a:spcBef>
                        <a:spcAft>
                          <a:spcPts val="0"/>
                        </a:spcAft>
                        <a:buClrTx/>
                        <a:buSzTx/>
                        <a:buFontTx/>
                        <a:buNone/>
                        <a:tabLst/>
                        <a:defRPr/>
                      </a:pPr>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0"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2270964127"/>
                  </a:ext>
                </a:extLst>
              </a:tr>
              <a:tr h="327832">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            Interest rates</a:t>
                      </a:r>
                      <a:endParaRPr lang="en-US" sz="1300" b="1" i="0" u="none" strike="noStrike" dirty="0">
                        <a:solidFill>
                          <a:srgbClr val="404040"/>
                        </a:solidFill>
                        <a:latin typeface="Arial" panose="020B0604020202020204" pitchFamily="34" charset="0"/>
                        <a:cs typeface="Arial" panose="020B0604020202020204" pitchFamily="34" charset="0"/>
                      </a:endParaRPr>
                    </a:p>
                  </a:txBody>
                  <a:tcPr marL="0" marR="0" marT="0" marB="0"/>
                </a:tc>
                <a:tc>
                  <a:txBody>
                    <a:bodyPr/>
                    <a:lstStyle/>
                    <a:p>
                      <a:pPr marL="0" algn="ctr" defTabSz="457200"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0003"/>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2882549907"/>
              </p:ext>
            </p:extLst>
          </p:nvPr>
        </p:nvGraphicFramePr>
        <p:xfrm>
          <a:off x="434381" y="3866468"/>
          <a:ext cx="5118403" cy="1052535"/>
        </p:xfrm>
        <a:graphic>
          <a:graphicData uri="http://schemas.openxmlformats.org/drawingml/2006/table">
            <a:tbl>
              <a:tblPr firstRow="1" bandRow="1">
                <a:tableStyleId>{9D7B26C5-4107-4FEC-AEDC-1716B250A1EF}</a:tableStyleId>
              </a:tblPr>
              <a:tblGrid>
                <a:gridCol w="3634222">
                  <a:extLst>
                    <a:ext uri="{9D8B030D-6E8A-4147-A177-3AD203B41FA5}">
                      <a16:colId xmlns:a16="http://schemas.microsoft.com/office/drawing/2014/main" val="20000"/>
                    </a:ext>
                  </a:extLst>
                </a:gridCol>
                <a:gridCol w="1484181">
                  <a:extLst>
                    <a:ext uri="{9D8B030D-6E8A-4147-A177-3AD203B41FA5}">
                      <a16:colId xmlns:a16="http://schemas.microsoft.com/office/drawing/2014/main" val="20003"/>
                    </a:ext>
                  </a:extLst>
                </a:gridCol>
              </a:tblGrid>
              <a:tr h="310603">
                <a:tc>
                  <a:txBody>
                    <a:bodyPr/>
                    <a:lstStyle/>
                    <a:p>
                      <a:pPr algn="ctr" rtl="0" fontAlgn="b"/>
                      <a:r>
                        <a:rPr lang="en-US" sz="1300" u="none" strike="noStrike" dirty="0">
                          <a:solidFill>
                            <a:schemeClr val="bg1"/>
                          </a:solidFill>
                          <a:latin typeface="Arial" panose="020B0604020202020204" pitchFamily="34" charset="0"/>
                          <a:cs typeface="Arial" panose="020B0604020202020204" pitchFamily="34" charset="0"/>
                        </a:rPr>
                        <a:t>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42875" marR="7938" marT="7938" marB="0" anchor="ctr">
                    <a:solidFill>
                      <a:schemeClr val="accent2"/>
                    </a:solidFill>
                  </a:tcPr>
                </a:tc>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19</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0000"/>
                  </a:ext>
                </a:extLst>
              </a:tr>
              <a:tr h="370966">
                <a:tc>
                  <a:txBody>
                    <a:bodyPr/>
                    <a:lstStyle/>
                    <a:p>
                      <a:pPr marL="0" algn="l" defTabSz="457200" rtl="0" eaLnBrk="1" fontAlgn="b" latinLnBrk="0" hangingPunct="1">
                        <a:lnSpc>
                          <a:spcPct val="150000"/>
                        </a:lnSpc>
                      </a:pPr>
                      <a:r>
                        <a:rPr lang="en-US" sz="1300" b="0" i="0" u="none" strike="noStrike" kern="1200" dirty="0">
                          <a:solidFill>
                            <a:schemeClr val="tx1"/>
                          </a:solidFill>
                          <a:latin typeface="Arial" panose="020B0604020202020204" pitchFamily="34" charset="0"/>
                          <a:ea typeface="+mn-ea"/>
                          <a:cs typeface="Arial" panose="020B0604020202020204" pitchFamily="34" charset="0"/>
                        </a:rPr>
                        <a:t>New model/</a:t>
                      </a:r>
                      <a:r>
                        <a:rPr lang="en-US" sz="1300" b="0" i="0" u="none" strike="noStrike" kern="1200" baseline="0" dirty="0">
                          <a:solidFill>
                            <a:schemeClr val="tx1"/>
                          </a:solidFill>
                          <a:latin typeface="Arial" panose="020B0604020202020204" pitchFamily="34" charset="0"/>
                          <a:ea typeface="+mn-ea"/>
                          <a:cs typeface="Arial" panose="020B0604020202020204" pitchFamily="34" charset="0"/>
                        </a:rPr>
                        <a:t> facelift </a:t>
                      </a:r>
                      <a:r>
                        <a:rPr lang="en-US" sz="1300" b="0" i="0" u="none" strike="noStrike" kern="1200" dirty="0">
                          <a:solidFill>
                            <a:schemeClr val="tx1"/>
                          </a:solidFill>
                          <a:latin typeface="Arial" panose="020B0604020202020204" pitchFamily="34" charset="0"/>
                          <a:ea typeface="+mn-ea"/>
                          <a:cs typeface="Arial" panose="020B0604020202020204" pitchFamily="34" charset="0"/>
                        </a:rPr>
                        <a:t>launches</a:t>
                      </a:r>
                    </a:p>
                  </a:txBody>
                  <a:tcPr marL="142875" marR="7938" marT="7938" marB="0" anchor="ctr">
                    <a:solidFill>
                      <a:schemeClr val="tx2"/>
                    </a:solidFill>
                  </a:tcPr>
                </a:tc>
                <a:tc>
                  <a:txBody>
                    <a:bodyPr/>
                    <a:lstStyle/>
                    <a:p>
                      <a:pPr algn="ctr" rtl="0" fontAlgn="ctr"/>
                      <a:r>
                        <a:rPr lang="en-US" sz="1300" b="0" i="0" u="none" strike="noStrike" dirty="0">
                          <a:solidFill>
                            <a:schemeClr val="bg1"/>
                          </a:solidFill>
                          <a:effectLst/>
                          <a:latin typeface="Arial" panose="020B0604020202020204" pitchFamily="34" charset="0"/>
                          <a:cs typeface="Arial" panose="020B0604020202020204" pitchFamily="34" charset="0"/>
                        </a:rPr>
                        <a:t>NF</a:t>
                      </a:r>
                    </a:p>
                  </a:txBody>
                  <a:tcPr marL="7938" marR="7938" marT="7938" marB="0" anchor="ctr">
                    <a:solidFill>
                      <a:srgbClr val="FF0000"/>
                    </a:solidFill>
                  </a:tcPr>
                </a:tc>
                <a:extLst>
                  <a:ext uri="{0D108BD9-81ED-4DB2-BD59-A6C34878D82A}">
                    <a16:rowId xmlns:a16="http://schemas.microsoft.com/office/drawing/2014/main" val="10001"/>
                  </a:ext>
                </a:extLst>
              </a:tr>
              <a:tr h="370966">
                <a:tc>
                  <a:txBody>
                    <a:bodyPr/>
                    <a:lstStyle/>
                    <a:p>
                      <a:pPr marL="0" algn="l" defTabSz="457200" rtl="0" eaLnBrk="1" fontAlgn="b" latinLnBrk="0" hangingPunct="1">
                        <a:lnSpc>
                          <a:spcPct val="150000"/>
                        </a:lnSpc>
                      </a:pPr>
                      <a:r>
                        <a:rPr lang="en-US" sz="1300" u="none" strike="noStrike" kern="1200" dirty="0">
                          <a:latin typeface="Arial" panose="020B0604020202020204" pitchFamily="34" charset="0"/>
                          <a:cs typeface="Arial" panose="020B0604020202020204" pitchFamily="34" charset="0"/>
                        </a:rPr>
                        <a:t>Regulations – passenger vehicles</a:t>
                      </a:r>
                      <a:endParaRPr lang="en-US" sz="1300" b="1" i="0" u="none" strike="noStrike" kern="1200" dirty="0">
                        <a:solidFill>
                          <a:srgbClr val="404040"/>
                        </a:solidFill>
                        <a:latin typeface="Arial" panose="020B0604020202020204" pitchFamily="34" charset="0"/>
                        <a:ea typeface="+mn-ea"/>
                        <a:cs typeface="Arial" panose="020B0604020202020204" pitchFamily="34" charset="0"/>
                      </a:endParaRPr>
                    </a:p>
                  </a:txBody>
                  <a:tcPr marL="142875" marR="7938" marT="7938" marB="0" anchor="ctr"/>
                </a:tc>
                <a:tc>
                  <a:txBody>
                    <a:bodyPr/>
                    <a:lstStyle/>
                    <a:p>
                      <a:pPr algn="ctr" rtl="0" fontAlgn="ctr"/>
                      <a:r>
                        <a:rPr lang="en-US" sz="1300" u="none" strike="noStrike" dirty="0">
                          <a:effectLst/>
                          <a:latin typeface="Arial" panose="020B0604020202020204" pitchFamily="34" charset="0"/>
                          <a:cs typeface="Arial" panose="020B0604020202020204" pitchFamily="34" charset="0"/>
                        </a:rPr>
                        <a:t>N</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0003"/>
                  </a:ext>
                </a:extLst>
              </a:tr>
            </a:tbl>
          </a:graphicData>
        </a:graphic>
      </p:graphicFrame>
      <p:graphicFrame>
        <p:nvGraphicFramePr>
          <p:cNvPr id="23" name="Table 22">
            <a:extLst>
              <a:ext uri="{FF2B5EF4-FFF2-40B4-BE49-F238E27FC236}">
                <a16:creationId xmlns:a16="http://schemas.microsoft.com/office/drawing/2014/main" id="{0FA70A4E-C312-444E-A3C2-B46E0A80F6CA}"/>
              </a:ext>
            </a:extLst>
          </p:cNvPr>
          <p:cNvGraphicFramePr>
            <a:graphicFrameLocks noGrp="1"/>
          </p:cNvGraphicFramePr>
          <p:nvPr/>
        </p:nvGraphicFramePr>
        <p:xfrm>
          <a:off x="5620592" y="1288494"/>
          <a:ext cx="1514383" cy="662082"/>
        </p:xfrm>
        <a:graphic>
          <a:graphicData uri="http://schemas.openxmlformats.org/drawingml/2006/table">
            <a:tbl>
              <a:tblPr firstRow="1" bandRow="1">
                <a:tableStyleId>{9D7B26C5-4107-4FEC-AEDC-1716B250A1EF}</a:tableStyleId>
              </a:tblPr>
              <a:tblGrid>
                <a:gridCol w="1514383">
                  <a:extLst>
                    <a:ext uri="{9D8B030D-6E8A-4147-A177-3AD203B41FA5}">
                      <a16:colId xmlns:a16="http://schemas.microsoft.com/office/drawing/2014/main" val="2066203713"/>
                    </a:ext>
                  </a:extLst>
                </a:gridCol>
              </a:tblGrid>
              <a:tr h="316646">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0 </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345436">
                <a:tc>
                  <a:txBody>
                    <a:bodyPr/>
                    <a:lstStyle/>
                    <a:p>
                      <a:pPr algn="ctr" rtl="0" fontAlgn="t"/>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590881403"/>
                  </a:ext>
                </a:extLst>
              </a:tr>
            </a:tbl>
          </a:graphicData>
        </a:graphic>
      </p:graphicFrame>
      <p:graphicFrame>
        <p:nvGraphicFramePr>
          <p:cNvPr id="24" name="Table 23">
            <a:extLst>
              <a:ext uri="{FF2B5EF4-FFF2-40B4-BE49-F238E27FC236}">
                <a16:creationId xmlns:a16="http://schemas.microsoft.com/office/drawing/2014/main" id="{76A822D3-585D-4D23-955E-6DF6A726211E}"/>
              </a:ext>
            </a:extLst>
          </p:cNvPr>
          <p:cNvGraphicFramePr>
            <a:graphicFrameLocks noGrp="1"/>
          </p:cNvGraphicFramePr>
          <p:nvPr/>
        </p:nvGraphicFramePr>
        <p:xfrm>
          <a:off x="5590712" y="2100635"/>
          <a:ext cx="1534283" cy="1620460"/>
        </p:xfrm>
        <a:graphic>
          <a:graphicData uri="http://schemas.openxmlformats.org/drawingml/2006/table">
            <a:tbl>
              <a:tblPr firstRow="1" bandRow="1">
                <a:tableStyleId>{9D7B26C5-4107-4FEC-AEDC-1716B250A1EF}</a:tableStyleId>
              </a:tblPr>
              <a:tblGrid>
                <a:gridCol w="1534283">
                  <a:extLst>
                    <a:ext uri="{9D8B030D-6E8A-4147-A177-3AD203B41FA5}">
                      <a16:colId xmlns:a16="http://schemas.microsoft.com/office/drawing/2014/main" val="2098157944"/>
                    </a:ext>
                  </a:extLst>
                </a:gridCol>
              </a:tblGrid>
              <a:tr h="324092">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0 </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655500846"/>
                  </a:ext>
                </a:extLst>
              </a:tr>
              <a:tr h="324092">
                <a:tc>
                  <a:txBody>
                    <a:bodyPr/>
                    <a:lstStyle/>
                    <a:p>
                      <a:pPr algn="ctr" rtl="0" fontAlgn="t"/>
                      <a:r>
                        <a:rPr lang="en-US" sz="1300" u="none" strike="noStrike" dirty="0">
                          <a:effectLst/>
                          <a:latin typeface="Arial" panose="020B0604020202020204" pitchFamily="34" charset="0"/>
                          <a:cs typeface="Arial" panose="020B0604020202020204" pitchFamily="34" charset="0"/>
                        </a:rPr>
                        <a:t>N</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4283901365"/>
                  </a:ext>
                </a:extLst>
              </a:tr>
              <a:tr h="324092">
                <a:tc>
                  <a:txBody>
                    <a:bodyPr/>
                    <a:lstStyle/>
                    <a:p>
                      <a:pPr algn="ctr" rtl="0"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252197383"/>
                  </a:ext>
                </a:extLst>
              </a:tr>
              <a:tr h="324092">
                <a:tc>
                  <a:txBody>
                    <a:bodyPr/>
                    <a:lstStyle/>
                    <a:p>
                      <a:pPr algn="ctr" rtl="0"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833564489"/>
                  </a:ext>
                </a:extLst>
              </a:tr>
              <a:tr h="324092">
                <a:tc>
                  <a:txBody>
                    <a:bodyPr/>
                    <a:lstStyle/>
                    <a:p>
                      <a:pPr marL="0" algn="ctr" defTabSz="1097280" rtl="0" eaLnBrk="1" fontAlgn="t"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520048342"/>
                  </a:ext>
                </a:extLst>
              </a:tr>
            </a:tbl>
          </a:graphicData>
        </a:graphic>
      </p:graphicFrame>
      <p:graphicFrame>
        <p:nvGraphicFramePr>
          <p:cNvPr id="25" name="Table 24">
            <a:extLst>
              <a:ext uri="{FF2B5EF4-FFF2-40B4-BE49-F238E27FC236}">
                <a16:creationId xmlns:a16="http://schemas.microsoft.com/office/drawing/2014/main" id="{3997271C-B01A-4BD8-A67B-C97367694AC4}"/>
              </a:ext>
            </a:extLst>
          </p:cNvPr>
          <p:cNvGraphicFramePr>
            <a:graphicFrameLocks noGrp="1"/>
          </p:cNvGraphicFramePr>
          <p:nvPr/>
        </p:nvGraphicFramePr>
        <p:xfrm>
          <a:off x="5605652" y="3867697"/>
          <a:ext cx="1532458" cy="1044779"/>
        </p:xfrm>
        <a:graphic>
          <a:graphicData uri="http://schemas.openxmlformats.org/drawingml/2006/table">
            <a:tbl>
              <a:tblPr firstRow="1" bandRow="1">
                <a:tableStyleId>{9D7B26C5-4107-4FEC-AEDC-1716B250A1EF}</a:tableStyleId>
              </a:tblPr>
              <a:tblGrid>
                <a:gridCol w="1532458">
                  <a:extLst>
                    <a:ext uri="{9D8B030D-6E8A-4147-A177-3AD203B41FA5}">
                      <a16:colId xmlns:a16="http://schemas.microsoft.com/office/drawing/2014/main" val="3468808665"/>
                    </a:ext>
                  </a:extLst>
                </a:gridCol>
              </a:tblGrid>
              <a:tr h="29709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0 </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163484585"/>
                  </a:ext>
                </a:extLst>
              </a:tr>
              <a:tr h="373843">
                <a:tc>
                  <a:txBody>
                    <a:bodyPr/>
                    <a:lstStyle/>
                    <a:p>
                      <a:pPr marL="0" algn="ctr" defTabSz="457200" rtl="0" eaLnBrk="1" fontAlgn="ctr"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F</a:t>
                      </a:r>
                    </a:p>
                  </a:txBody>
                  <a:tcPr marL="7938" marR="7938" marT="7938" marB="0" anchor="ctr">
                    <a:solidFill>
                      <a:srgbClr val="00B050"/>
                    </a:solidFill>
                  </a:tcPr>
                </a:tc>
                <a:extLst>
                  <a:ext uri="{0D108BD9-81ED-4DB2-BD59-A6C34878D82A}">
                    <a16:rowId xmlns:a16="http://schemas.microsoft.com/office/drawing/2014/main" val="10001"/>
                  </a:ext>
                </a:extLst>
              </a:tr>
              <a:tr h="373843">
                <a:tc>
                  <a:txBody>
                    <a:bodyPr/>
                    <a:lstStyle/>
                    <a:p>
                      <a:pPr marL="0" algn="ctr" defTabSz="457200" rtl="0" eaLnBrk="1" fontAlgn="ctr" latinLnBrk="0" hangingPunct="1"/>
                      <a:r>
                        <a:rPr lang="en-US" sz="1300" u="none" strike="noStrike" kern="1200" dirty="0">
                          <a:solidFill>
                            <a:schemeClr val="bg1"/>
                          </a:solidFill>
                          <a:effectLst/>
                          <a:latin typeface="Arial" panose="020B0604020202020204" pitchFamily="34" charset="0"/>
                          <a:cs typeface="Arial" panose="020B0604020202020204" pitchFamily="34" charset="0"/>
                        </a:rPr>
                        <a:t>NF</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479979544"/>
                  </a:ext>
                </a:extLst>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3957601551"/>
              </p:ext>
            </p:extLst>
          </p:nvPr>
        </p:nvGraphicFramePr>
        <p:xfrm>
          <a:off x="434378" y="5045668"/>
          <a:ext cx="5087277" cy="327832"/>
        </p:xfrm>
        <a:graphic>
          <a:graphicData uri="http://schemas.openxmlformats.org/drawingml/2006/table">
            <a:tbl>
              <a:tblPr firstRow="1" bandRow="1">
                <a:tableStyleId>{9D7B26C5-4107-4FEC-AEDC-1716B250A1EF}</a:tableStyleId>
              </a:tblPr>
              <a:tblGrid>
                <a:gridCol w="3616330">
                  <a:extLst>
                    <a:ext uri="{9D8B030D-6E8A-4147-A177-3AD203B41FA5}">
                      <a16:colId xmlns:a16="http://schemas.microsoft.com/office/drawing/2014/main" val="20000"/>
                    </a:ext>
                  </a:extLst>
                </a:gridCol>
                <a:gridCol w="1470947">
                  <a:extLst>
                    <a:ext uri="{9D8B030D-6E8A-4147-A177-3AD203B41FA5}">
                      <a16:colId xmlns:a16="http://schemas.microsoft.com/office/drawing/2014/main" val="20003"/>
                    </a:ext>
                  </a:extLst>
                </a:gridCol>
              </a:tblGrid>
              <a:tr h="327832">
                <a:tc>
                  <a:txBody>
                    <a:bodyPr/>
                    <a:lstStyle/>
                    <a:p>
                      <a:pPr algn="l" rtl="0" fontAlgn="b"/>
                      <a:r>
                        <a:rPr lang="en-US" sz="1500" u="none" strike="noStrike" dirty="0">
                          <a:solidFill>
                            <a:schemeClr val="tx1"/>
                          </a:solidFill>
                          <a:latin typeface="Arial" panose="020B0604020202020204" pitchFamily="34" charset="0"/>
                          <a:cs typeface="Arial" panose="020B0604020202020204" pitchFamily="34" charset="0"/>
                        </a:rPr>
                        <a:t>Impact</a:t>
                      </a:r>
                      <a:r>
                        <a:rPr lang="en-US" sz="1500" u="none" strike="noStrike" baseline="0" dirty="0">
                          <a:solidFill>
                            <a:schemeClr val="tx1"/>
                          </a:solidFill>
                          <a:latin typeface="Arial" panose="020B0604020202020204" pitchFamily="34" charset="0"/>
                          <a:cs typeface="Arial" panose="020B0604020202020204" pitchFamily="34" charset="0"/>
                        </a:rPr>
                        <a:t> on Overall Sales Growth</a:t>
                      </a:r>
                      <a:endParaRPr lang="en-US" sz="1500" b="1" i="0" u="none" strike="noStrike" dirty="0">
                        <a:solidFill>
                          <a:schemeClr val="tx1"/>
                        </a:solidFill>
                        <a:latin typeface="Arial" panose="020B0604020202020204" pitchFamily="34" charset="0"/>
                        <a:cs typeface="Arial" panose="020B0604020202020204" pitchFamily="34" charset="0"/>
                      </a:endParaRPr>
                    </a:p>
                  </a:txBody>
                  <a:tcPr marL="142875" marR="7938" marT="7938" marB="0" anchor="ctr">
                    <a:solidFill>
                      <a:schemeClr val="tx2"/>
                    </a:solidFill>
                  </a:tcPr>
                </a:tc>
                <a:tc>
                  <a:txBody>
                    <a:bodyPr/>
                    <a:lstStyle/>
                    <a:p>
                      <a:pPr marL="0" marR="0" algn="ctr" defTabSz="457200" rtl="0" eaLnBrk="1" latinLnBrk="0" hangingPunct="1">
                        <a:spcBef>
                          <a:spcPts val="0"/>
                        </a:spcBef>
                        <a:spcAft>
                          <a:spcPts val="0"/>
                        </a:spcAft>
                      </a:pPr>
                      <a:r>
                        <a:rPr lang="en-US" sz="1500" u="none" strike="noStrike" kern="1200" dirty="0">
                          <a:latin typeface="Arial" panose="020B0604020202020204" pitchFamily="34" charset="0"/>
                          <a:cs typeface="Arial" panose="020B0604020202020204" pitchFamily="34" charset="0"/>
                        </a:rPr>
                        <a:t>  N</a:t>
                      </a:r>
                      <a:endParaRPr lang="en-US" sz="1500" b="1" u="none" strike="noStrike" kern="1200" dirty="0">
                        <a:solidFill>
                          <a:schemeClr val="tx1"/>
                        </a:solidFill>
                        <a:latin typeface="Arial" panose="020B0604020202020204" pitchFamily="34" charset="0"/>
                        <a:ea typeface="+mn-ea"/>
                        <a:cs typeface="Arial" panose="020B0604020202020204" pitchFamily="34" charset="0"/>
                      </a:endParaRPr>
                    </a:p>
                  </a:txBody>
                  <a:tcPr marL="7938" marR="142875" marT="7938" marB="0" anchor="ctr">
                    <a:solidFill>
                      <a:srgbClr val="FFC000"/>
                    </a:solidFill>
                  </a:tcPr>
                </a:tc>
                <a:extLst>
                  <a:ext uri="{0D108BD9-81ED-4DB2-BD59-A6C34878D82A}">
                    <a16:rowId xmlns:a16="http://schemas.microsoft.com/office/drawing/2014/main" val="10000"/>
                  </a:ext>
                </a:extLst>
              </a:tr>
            </a:tbl>
          </a:graphicData>
        </a:graphic>
      </p:graphicFrame>
      <p:graphicFrame>
        <p:nvGraphicFramePr>
          <p:cNvPr id="27" name="Table 26">
            <a:extLst>
              <a:ext uri="{FF2B5EF4-FFF2-40B4-BE49-F238E27FC236}">
                <a16:creationId xmlns:a16="http://schemas.microsoft.com/office/drawing/2014/main" id="{3997271C-B01A-4BD8-A67B-C97367694AC4}"/>
              </a:ext>
            </a:extLst>
          </p:cNvPr>
          <p:cNvGraphicFramePr>
            <a:graphicFrameLocks noGrp="1"/>
          </p:cNvGraphicFramePr>
          <p:nvPr/>
        </p:nvGraphicFramePr>
        <p:xfrm>
          <a:off x="5605653" y="5028589"/>
          <a:ext cx="1519340" cy="327818"/>
        </p:xfrm>
        <a:graphic>
          <a:graphicData uri="http://schemas.openxmlformats.org/drawingml/2006/table">
            <a:tbl>
              <a:tblPr firstRow="1" bandRow="1">
                <a:tableStyleId>{9D7B26C5-4107-4FEC-AEDC-1716B250A1EF}</a:tableStyleId>
              </a:tblPr>
              <a:tblGrid>
                <a:gridCol w="1519340">
                  <a:extLst>
                    <a:ext uri="{9D8B030D-6E8A-4147-A177-3AD203B41FA5}">
                      <a16:colId xmlns:a16="http://schemas.microsoft.com/office/drawing/2014/main" val="3468808665"/>
                    </a:ext>
                  </a:extLst>
                </a:gridCol>
              </a:tblGrid>
              <a:tr h="327818">
                <a:tc>
                  <a:txBody>
                    <a:bodyPr/>
                    <a:lstStyle/>
                    <a:p>
                      <a:pPr marL="0" algn="ctr" defTabSz="457200" rtl="0" eaLnBrk="1" fontAlgn="ctr" latinLnBrk="0" hangingPunct="1"/>
                      <a:r>
                        <a:rPr lang="en-US" sz="1500" u="none" strike="noStrike" kern="1200" dirty="0">
                          <a:solidFill>
                            <a:schemeClr val="bg1"/>
                          </a:solidFill>
                          <a:effectLst/>
                          <a:latin typeface="Arial" panose="020B0604020202020204" pitchFamily="34" charset="0"/>
                          <a:cs typeface="Arial" panose="020B0604020202020204" pitchFamily="34" charset="0"/>
                        </a:rPr>
                        <a:t>NF</a:t>
                      </a:r>
                      <a:endParaRPr lang="en-US" sz="15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479979544"/>
                  </a:ext>
                </a:extLst>
              </a:tr>
            </a:tbl>
          </a:graphicData>
        </a:graphic>
      </p:graphicFrame>
      <p:graphicFrame>
        <p:nvGraphicFramePr>
          <p:cNvPr id="28" name="Table 27">
            <a:extLst>
              <a:ext uri="{FF2B5EF4-FFF2-40B4-BE49-F238E27FC236}">
                <a16:creationId xmlns:a16="http://schemas.microsoft.com/office/drawing/2014/main" id="{0FA70A4E-C312-444E-A3C2-B46E0A80F6CA}"/>
              </a:ext>
            </a:extLst>
          </p:cNvPr>
          <p:cNvGraphicFramePr>
            <a:graphicFrameLocks noGrp="1"/>
          </p:cNvGraphicFramePr>
          <p:nvPr/>
        </p:nvGraphicFramePr>
        <p:xfrm>
          <a:off x="7171894" y="1296114"/>
          <a:ext cx="1403724" cy="647140"/>
        </p:xfrm>
        <a:graphic>
          <a:graphicData uri="http://schemas.openxmlformats.org/drawingml/2006/table">
            <a:tbl>
              <a:tblPr firstRow="1" bandRow="1">
                <a:tableStyleId>{9D7B26C5-4107-4FEC-AEDC-1716B250A1EF}</a:tableStyleId>
              </a:tblPr>
              <a:tblGrid>
                <a:gridCol w="1403724">
                  <a:extLst>
                    <a:ext uri="{9D8B030D-6E8A-4147-A177-3AD203B41FA5}">
                      <a16:colId xmlns:a16="http://schemas.microsoft.com/office/drawing/2014/main" val="2066203713"/>
                    </a:ext>
                  </a:extLst>
                </a:gridCol>
              </a:tblGrid>
              <a:tr h="309500">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337640">
                <a:tc>
                  <a:txBody>
                    <a:bodyPr/>
                    <a:lstStyle/>
                    <a:p>
                      <a:pPr algn="ctr" rtl="0" fontAlgn="t"/>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590881403"/>
                  </a:ext>
                </a:extLst>
              </a:tr>
            </a:tbl>
          </a:graphicData>
        </a:graphic>
      </p:graphicFrame>
      <p:graphicFrame>
        <p:nvGraphicFramePr>
          <p:cNvPr id="29" name="Table 28">
            <a:extLst>
              <a:ext uri="{FF2B5EF4-FFF2-40B4-BE49-F238E27FC236}">
                <a16:creationId xmlns:a16="http://schemas.microsoft.com/office/drawing/2014/main" id="{76A822D3-585D-4D23-955E-6DF6A726211E}"/>
              </a:ext>
            </a:extLst>
          </p:cNvPr>
          <p:cNvGraphicFramePr>
            <a:graphicFrameLocks noGrp="1"/>
          </p:cNvGraphicFramePr>
          <p:nvPr/>
        </p:nvGraphicFramePr>
        <p:xfrm>
          <a:off x="7181004" y="2117487"/>
          <a:ext cx="1382114" cy="1616312"/>
        </p:xfrm>
        <a:graphic>
          <a:graphicData uri="http://schemas.openxmlformats.org/drawingml/2006/table">
            <a:tbl>
              <a:tblPr firstRow="1" bandRow="1">
                <a:tableStyleId>{9D7B26C5-4107-4FEC-AEDC-1716B250A1EF}</a:tableStyleId>
              </a:tblPr>
              <a:tblGrid>
                <a:gridCol w="1382114">
                  <a:extLst>
                    <a:ext uri="{9D8B030D-6E8A-4147-A177-3AD203B41FA5}">
                      <a16:colId xmlns:a16="http://schemas.microsoft.com/office/drawing/2014/main" val="2098157944"/>
                    </a:ext>
                  </a:extLst>
                </a:gridCol>
              </a:tblGrid>
              <a:tr h="304100">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655500846"/>
                  </a:ext>
                </a:extLst>
              </a:tr>
              <a:tr h="328053">
                <a:tc>
                  <a:txBody>
                    <a:bodyPr/>
                    <a:lstStyle/>
                    <a:p>
                      <a:pPr algn="ctr" rtl="0" fontAlgn="t"/>
                      <a:r>
                        <a:rPr lang="en-US" sz="1300" b="0" i="0" u="none" strike="noStrike" dirty="0">
                          <a:solidFill>
                            <a:schemeClr val="tx1"/>
                          </a:solidFill>
                          <a:effectLst/>
                          <a:latin typeface="Arial" panose="020B0604020202020204" pitchFamily="34" charset="0"/>
                          <a:cs typeface="Arial" panose="020B0604020202020204" pitchFamily="34" charset="0"/>
                        </a:rPr>
                        <a:t>N</a:t>
                      </a:r>
                      <a:endParaRPr lang="en-US" sz="1300" b="1" i="0" u="none" strike="noStrike" dirty="0">
                        <a:solidFill>
                          <a:schemeClr val="tx1"/>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4283901365"/>
                  </a:ext>
                </a:extLst>
              </a:tr>
              <a:tr h="328053">
                <a:tc>
                  <a:txBody>
                    <a:bodyPr/>
                    <a:lstStyle/>
                    <a:p>
                      <a:pPr algn="ctr" rtl="0"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252197383"/>
                  </a:ext>
                </a:extLst>
              </a:tr>
              <a:tr h="328053">
                <a:tc>
                  <a:txBody>
                    <a:bodyPr/>
                    <a:lstStyle/>
                    <a:p>
                      <a:pPr algn="ctr" rtl="0" fontAlgn="b"/>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0"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833564489"/>
                  </a:ext>
                </a:extLst>
              </a:tr>
              <a:tr h="328053">
                <a:tc>
                  <a:txBody>
                    <a:bodyPr/>
                    <a:lstStyle/>
                    <a:p>
                      <a:pPr marL="0" algn="ctr" defTabSz="1097280"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F</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938" marR="7938" marT="7938" marB="0" anchor="ctr">
                    <a:solidFill>
                      <a:srgbClr val="00B050"/>
                    </a:solidFill>
                  </a:tcPr>
                </a:tc>
                <a:extLst>
                  <a:ext uri="{0D108BD9-81ED-4DB2-BD59-A6C34878D82A}">
                    <a16:rowId xmlns:a16="http://schemas.microsoft.com/office/drawing/2014/main" val="2931027550"/>
                  </a:ext>
                </a:extLst>
              </a:tr>
            </a:tbl>
          </a:graphicData>
        </a:graphic>
      </p:graphicFrame>
      <p:graphicFrame>
        <p:nvGraphicFramePr>
          <p:cNvPr id="30" name="Table 29">
            <a:extLst>
              <a:ext uri="{FF2B5EF4-FFF2-40B4-BE49-F238E27FC236}">
                <a16:creationId xmlns:a16="http://schemas.microsoft.com/office/drawing/2014/main" id="{3997271C-B01A-4BD8-A67B-C97367694AC4}"/>
              </a:ext>
            </a:extLst>
          </p:cNvPr>
          <p:cNvGraphicFramePr>
            <a:graphicFrameLocks noGrp="1"/>
          </p:cNvGraphicFramePr>
          <p:nvPr/>
        </p:nvGraphicFramePr>
        <p:xfrm>
          <a:off x="7181008" y="3871070"/>
          <a:ext cx="1394611" cy="1044779"/>
        </p:xfrm>
        <a:graphic>
          <a:graphicData uri="http://schemas.openxmlformats.org/drawingml/2006/table">
            <a:tbl>
              <a:tblPr firstRow="1" bandRow="1">
                <a:tableStyleId>{9D7B26C5-4107-4FEC-AEDC-1716B250A1EF}</a:tableStyleId>
              </a:tblPr>
              <a:tblGrid>
                <a:gridCol w="1394611">
                  <a:extLst>
                    <a:ext uri="{9D8B030D-6E8A-4147-A177-3AD203B41FA5}">
                      <a16:colId xmlns:a16="http://schemas.microsoft.com/office/drawing/2014/main" val="3468808665"/>
                    </a:ext>
                  </a:extLst>
                </a:gridCol>
              </a:tblGrid>
              <a:tr h="29709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163484585"/>
                  </a:ext>
                </a:extLst>
              </a:tr>
              <a:tr h="373843">
                <a:tc>
                  <a:txBody>
                    <a:bodyPr/>
                    <a:lstStyle/>
                    <a:p>
                      <a:pPr marL="0" algn="ctr" defTabSz="457200" rtl="0" eaLnBrk="1" fontAlgn="ctr"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10001"/>
                  </a:ext>
                </a:extLst>
              </a:tr>
              <a:tr h="373843">
                <a:tc>
                  <a:txBody>
                    <a:bodyPr/>
                    <a:lstStyle/>
                    <a:p>
                      <a:pPr marL="0" algn="ctr" defTabSz="457200" rtl="0" eaLnBrk="1" fontAlgn="ctr"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479979544"/>
                  </a:ext>
                </a:extLst>
              </a:tr>
            </a:tbl>
          </a:graphicData>
        </a:graphic>
      </p:graphicFrame>
      <p:graphicFrame>
        <p:nvGraphicFramePr>
          <p:cNvPr id="31" name="Table 30">
            <a:extLst>
              <a:ext uri="{FF2B5EF4-FFF2-40B4-BE49-F238E27FC236}">
                <a16:creationId xmlns:a16="http://schemas.microsoft.com/office/drawing/2014/main" id="{3997271C-B01A-4BD8-A67B-C97367694AC4}"/>
              </a:ext>
            </a:extLst>
          </p:cNvPr>
          <p:cNvGraphicFramePr>
            <a:graphicFrameLocks noGrp="1"/>
          </p:cNvGraphicFramePr>
          <p:nvPr/>
        </p:nvGraphicFramePr>
        <p:xfrm>
          <a:off x="7181008" y="5012545"/>
          <a:ext cx="1394611" cy="327818"/>
        </p:xfrm>
        <a:graphic>
          <a:graphicData uri="http://schemas.openxmlformats.org/drawingml/2006/table">
            <a:tbl>
              <a:tblPr firstRow="1" bandRow="1">
                <a:tableStyleId>{9D7B26C5-4107-4FEC-AEDC-1716B250A1EF}</a:tableStyleId>
              </a:tblPr>
              <a:tblGrid>
                <a:gridCol w="1394611">
                  <a:extLst>
                    <a:ext uri="{9D8B030D-6E8A-4147-A177-3AD203B41FA5}">
                      <a16:colId xmlns:a16="http://schemas.microsoft.com/office/drawing/2014/main" val="3468808665"/>
                    </a:ext>
                  </a:extLst>
                </a:gridCol>
              </a:tblGrid>
              <a:tr h="327818">
                <a:tc>
                  <a:txBody>
                    <a:bodyPr/>
                    <a:lstStyle/>
                    <a:p>
                      <a:pPr marL="0" algn="ctr" defTabSz="1097280" rtl="0" eaLnBrk="1" fontAlgn="t" latinLnBrk="0" hangingPunct="1"/>
                      <a:r>
                        <a:rPr lang="en-US" sz="1500" u="none" strike="noStrike" kern="1200" dirty="0">
                          <a:solidFill>
                            <a:schemeClr val="bg1"/>
                          </a:solidFill>
                          <a:effectLst/>
                          <a:latin typeface="Arial" panose="020B0604020202020204" pitchFamily="34" charset="0"/>
                          <a:ea typeface="+mn-ea"/>
                          <a:cs typeface="Arial" panose="020B0604020202020204" pitchFamily="34" charset="0"/>
                        </a:rPr>
                        <a:t>NF</a:t>
                      </a:r>
                      <a:endParaRPr lang="en-US" sz="130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479979544"/>
                  </a:ext>
                </a:extLst>
              </a:tr>
            </a:tbl>
          </a:graphicData>
        </a:graphic>
      </p:graphicFrame>
      <p:sp>
        <p:nvSpPr>
          <p:cNvPr id="33" name="TextBox 32"/>
          <p:cNvSpPr txBox="1">
            <a:spLocks noChangeArrowheads="1"/>
          </p:cNvSpPr>
          <p:nvPr/>
        </p:nvSpPr>
        <p:spPr bwMode="auto">
          <a:xfrm>
            <a:off x="437894" y="5496245"/>
            <a:ext cx="476275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282828"/>
                </a:solidFill>
                <a:effectLst/>
                <a:uLnTx/>
                <a:uFillTx/>
                <a:latin typeface="Arial" pitchFamily="34" charset="0"/>
                <a:ea typeface="+mn-ea"/>
                <a:cs typeface="Arial" pitchFamily="34" charset="0"/>
              </a:rPr>
              <a:t>E: Estimated; *: Due to estimated pressure on GDP growth &amp; inflation</a:t>
            </a:r>
          </a:p>
        </p:txBody>
      </p:sp>
      <p:sp>
        <p:nvSpPr>
          <p:cNvPr id="34" name="TextBox 33"/>
          <p:cNvSpPr txBox="1">
            <a:spLocks noChangeArrowheads="1"/>
          </p:cNvSpPr>
          <p:nvPr/>
        </p:nvSpPr>
        <p:spPr bwMode="auto">
          <a:xfrm>
            <a:off x="437895" y="5680201"/>
            <a:ext cx="34290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282828"/>
                </a:solidFill>
                <a:effectLst/>
                <a:uLnTx/>
                <a:uFillTx/>
                <a:latin typeface="Arial" pitchFamily="34" charset="0"/>
                <a:ea typeface="+mn-ea"/>
                <a:cs typeface="Arial" pitchFamily="34" charset="0"/>
              </a:rPr>
              <a:t>SOURCE: Industry, CRISIL Research</a:t>
            </a:r>
          </a:p>
        </p:txBody>
      </p:sp>
      <p:graphicFrame>
        <p:nvGraphicFramePr>
          <p:cNvPr id="18" name="Table 17">
            <a:extLst>
              <a:ext uri="{FF2B5EF4-FFF2-40B4-BE49-F238E27FC236}">
                <a16:creationId xmlns:a16="http://schemas.microsoft.com/office/drawing/2014/main" id="{0FA70A4E-C312-444E-A3C2-B46E0A80F6CA}"/>
              </a:ext>
            </a:extLst>
          </p:cNvPr>
          <p:cNvGraphicFramePr>
            <a:graphicFrameLocks noGrp="1"/>
          </p:cNvGraphicFramePr>
          <p:nvPr/>
        </p:nvGraphicFramePr>
        <p:xfrm>
          <a:off x="8627494" y="1283261"/>
          <a:ext cx="1403724" cy="647140"/>
        </p:xfrm>
        <a:graphic>
          <a:graphicData uri="http://schemas.openxmlformats.org/drawingml/2006/table">
            <a:tbl>
              <a:tblPr firstRow="1" bandRow="1">
                <a:tableStyleId>{9D7B26C5-4107-4FEC-AEDC-1716B250A1EF}</a:tableStyleId>
              </a:tblPr>
              <a:tblGrid>
                <a:gridCol w="1403724">
                  <a:extLst>
                    <a:ext uri="{9D8B030D-6E8A-4147-A177-3AD203B41FA5}">
                      <a16:colId xmlns:a16="http://schemas.microsoft.com/office/drawing/2014/main" val="2066203713"/>
                    </a:ext>
                  </a:extLst>
                </a:gridCol>
              </a:tblGrid>
              <a:tr h="309500">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2 </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337640">
                <a:tc>
                  <a:txBody>
                    <a:bodyPr/>
                    <a:lstStyle/>
                    <a:p>
                      <a:pPr algn="ctr" rtl="0" fontAlgn="t"/>
                      <a:r>
                        <a:rPr lang="en-US" sz="1300" u="none" strike="noStrike" dirty="0">
                          <a:effectLst/>
                          <a:latin typeface="Arial" panose="020B0604020202020204" pitchFamily="34" charset="0"/>
                          <a:cs typeface="Arial" panose="020B0604020202020204" pitchFamily="34" charset="0"/>
                        </a:rPr>
                        <a:t>F</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00B050"/>
                    </a:solidFill>
                  </a:tcPr>
                </a:tc>
                <a:extLst>
                  <a:ext uri="{0D108BD9-81ED-4DB2-BD59-A6C34878D82A}">
                    <a16:rowId xmlns:a16="http://schemas.microsoft.com/office/drawing/2014/main" val="590881403"/>
                  </a:ext>
                </a:extLst>
              </a:tr>
            </a:tbl>
          </a:graphicData>
        </a:graphic>
      </p:graphicFrame>
      <p:graphicFrame>
        <p:nvGraphicFramePr>
          <p:cNvPr id="19" name="Table 18">
            <a:extLst>
              <a:ext uri="{FF2B5EF4-FFF2-40B4-BE49-F238E27FC236}">
                <a16:creationId xmlns:a16="http://schemas.microsoft.com/office/drawing/2014/main" id="{76A822D3-585D-4D23-955E-6DF6A726211E}"/>
              </a:ext>
            </a:extLst>
          </p:cNvPr>
          <p:cNvGraphicFramePr>
            <a:graphicFrameLocks noGrp="1"/>
          </p:cNvGraphicFramePr>
          <p:nvPr/>
        </p:nvGraphicFramePr>
        <p:xfrm>
          <a:off x="8619294" y="2105764"/>
          <a:ext cx="1420129" cy="1647085"/>
        </p:xfrm>
        <a:graphic>
          <a:graphicData uri="http://schemas.openxmlformats.org/drawingml/2006/table">
            <a:tbl>
              <a:tblPr firstRow="1" bandRow="1">
                <a:tableStyleId>{9D7B26C5-4107-4FEC-AEDC-1716B250A1EF}</a:tableStyleId>
              </a:tblPr>
              <a:tblGrid>
                <a:gridCol w="1420129">
                  <a:extLst>
                    <a:ext uri="{9D8B030D-6E8A-4147-A177-3AD203B41FA5}">
                      <a16:colId xmlns:a16="http://schemas.microsoft.com/office/drawing/2014/main" val="2098157944"/>
                    </a:ext>
                  </a:extLst>
                </a:gridCol>
              </a:tblGrid>
              <a:tr h="329417">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2</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655500846"/>
                  </a:ext>
                </a:extLst>
              </a:tr>
              <a:tr h="329417">
                <a:tc>
                  <a:txBody>
                    <a:bodyPr/>
                    <a:lstStyle/>
                    <a:p>
                      <a:pPr algn="ctr" rtl="0" fontAlgn="t"/>
                      <a:r>
                        <a:rPr lang="en-US" sz="1300" b="0" i="0" u="none" strike="noStrike" dirty="0">
                          <a:solidFill>
                            <a:schemeClr val="tx1"/>
                          </a:solidFill>
                          <a:effectLst/>
                          <a:latin typeface="Arial" panose="020B0604020202020204" pitchFamily="34" charset="0"/>
                          <a:cs typeface="Arial" panose="020B0604020202020204" pitchFamily="34" charset="0"/>
                        </a:rPr>
                        <a:t>N</a:t>
                      </a:r>
                      <a:endParaRPr lang="en-US" sz="1300" b="1" i="0" u="none" strike="noStrike" dirty="0">
                        <a:solidFill>
                          <a:schemeClr val="tx1"/>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4283901365"/>
                  </a:ext>
                </a:extLst>
              </a:tr>
              <a:tr h="329417">
                <a:tc>
                  <a:txBody>
                    <a:bodyPr/>
                    <a:lstStyle/>
                    <a:p>
                      <a:pPr algn="ctr" rtl="0" fontAlgn="b"/>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0"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252197383"/>
                  </a:ext>
                </a:extLst>
              </a:tr>
              <a:tr h="329417">
                <a:tc>
                  <a:txBody>
                    <a:bodyPr/>
                    <a:lstStyle/>
                    <a:p>
                      <a:pPr marL="0" algn="ctr" defTabSz="914253" rtl="0" eaLnBrk="1" fontAlgn="b" latinLnBrk="0" hangingPunct="1"/>
                      <a:r>
                        <a:rPr lang="en-US" sz="1300" u="none" strike="noStrike" kern="1200" dirty="0">
                          <a:solidFill>
                            <a:schemeClr val="bg1"/>
                          </a:solidFill>
                          <a:effectLst/>
                          <a:latin typeface="Arial" panose="020B0604020202020204" pitchFamily="34" charset="0"/>
                          <a:ea typeface="+mn-ea"/>
                          <a:cs typeface="Arial" panose="020B0604020202020204" pitchFamily="34" charset="0"/>
                        </a:rPr>
                        <a:t>NF</a:t>
                      </a:r>
                    </a:p>
                  </a:txBody>
                  <a:tcPr marL="7938" marR="7938" marT="7938" marB="0" anchor="ctr">
                    <a:solidFill>
                      <a:srgbClr val="FF0000"/>
                    </a:solidFill>
                  </a:tcPr>
                </a:tc>
                <a:extLst>
                  <a:ext uri="{0D108BD9-81ED-4DB2-BD59-A6C34878D82A}">
                    <a16:rowId xmlns:a16="http://schemas.microsoft.com/office/drawing/2014/main" val="1833564489"/>
                  </a:ext>
                </a:extLst>
              </a:tr>
              <a:tr h="329417">
                <a:tc>
                  <a:txBody>
                    <a:bodyPr/>
                    <a:lstStyle/>
                    <a:p>
                      <a:pPr marL="0" algn="ctr" defTabSz="1097280"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2931027550"/>
                  </a:ext>
                </a:extLst>
              </a:tr>
            </a:tbl>
          </a:graphicData>
        </a:graphic>
      </p:graphicFrame>
      <p:graphicFrame>
        <p:nvGraphicFramePr>
          <p:cNvPr id="32" name="Table 31">
            <a:extLst>
              <a:ext uri="{FF2B5EF4-FFF2-40B4-BE49-F238E27FC236}">
                <a16:creationId xmlns:a16="http://schemas.microsoft.com/office/drawing/2014/main" id="{3997271C-B01A-4BD8-A67B-C97367694AC4}"/>
              </a:ext>
            </a:extLst>
          </p:cNvPr>
          <p:cNvGraphicFramePr>
            <a:graphicFrameLocks noGrp="1"/>
          </p:cNvGraphicFramePr>
          <p:nvPr/>
        </p:nvGraphicFramePr>
        <p:xfrm>
          <a:off x="8617559" y="3877267"/>
          <a:ext cx="1423774" cy="1044779"/>
        </p:xfrm>
        <a:graphic>
          <a:graphicData uri="http://schemas.openxmlformats.org/drawingml/2006/table">
            <a:tbl>
              <a:tblPr firstRow="1" bandRow="1">
                <a:tableStyleId>{9D7B26C5-4107-4FEC-AEDC-1716B250A1EF}</a:tableStyleId>
              </a:tblPr>
              <a:tblGrid>
                <a:gridCol w="1423774">
                  <a:extLst>
                    <a:ext uri="{9D8B030D-6E8A-4147-A177-3AD203B41FA5}">
                      <a16:colId xmlns:a16="http://schemas.microsoft.com/office/drawing/2014/main" val="3468808665"/>
                    </a:ext>
                  </a:extLst>
                </a:gridCol>
              </a:tblGrid>
              <a:tr h="29709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2</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163484585"/>
                  </a:ext>
                </a:extLst>
              </a:tr>
              <a:tr h="373843">
                <a:tc>
                  <a:txBody>
                    <a:bodyPr/>
                    <a:lstStyle/>
                    <a:p>
                      <a:pPr marL="0" algn="ctr" defTabSz="457200" rtl="0" eaLnBrk="1" fontAlgn="ctr"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F</a:t>
                      </a:r>
                    </a:p>
                  </a:txBody>
                  <a:tcPr marL="7938" marR="7938" marT="7938" marB="0" anchor="ctr">
                    <a:solidFill>
                      <a:srgbClr val="00B050"/>
                    </a:solidFill>
                  </a:tcPr>
                </a:tc>
                <a:extLst>
                  <a:ext uri="{0D108BD9-81ED-4DB2-BD59-A6C34878D82A}">
                    <a16:rowId xmlns:a16="http://schemas.microsoft.com/office/drawing/2014/main" val="10001"/>
                  </a:ext>
                </a:extLst>
              </a:tr>
              <a:tr h="373843">
                <a:tc>
                  <a:txBody>
                    <a:bodyPr/>
                    <a:lstStyle/>
                    <a:p>
                      <a:pPr marL="0" algn="ctr" defTabSz="457200" rtl="0" eaLnBrk="1" fontAlgn="ctr"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479979544"/>
                  </a:ext>
                </a:extLst>
              </a:tr>
            </a:tbl>
          </a:graphicData>
        </a:graphic>
      </p:graphicFrame>
      <p:graphicFrame>
        <p:nvGraphicFramePr>
          <p:cNvPr id="35" name="Table 34">
            <a:extLst>
              <a:ext uri="{FF2B5EF4-FFF2-40B4-BE49-F238E27FC236}">
                <a16:creationId xmlns:a16="http://schemas.microsoft.com/office/drawing/2014/main" id="{3997271C-B01A-4BD8-A67B-C97367694AC4}"/>
              </a:ext>
            </a:extLst>
          </p:cNvPr>
          <p:cNvGraphicFramePr>
            <a:graphicFrameLocks noGrp="1"/>
          </p:cNvGraphicFramePr>
          <p:nvPr/>
        </p:nvGraphicFramePr>
        <p:xfrm>
          <a:off x="8617559" y="5012545"/>
          <a:ext cx="1423774" cy="327818"/>
        </p:xfrm>
        <a:graphic>
          <a:graphicData uri="http://schemas.openxmlformats.org/drawingml/2006/table">
            <a:tbl>
              <a:tblPr firstRow="1" bandRow="1">
                <a:tableStyleId>{9D7B26C5-4107-4FEC-AEDC-1716B250A1EF}</a:tableStyleId>
              </a:tblPr>
              <a:tblGrid>
                <a:gridCol w="1423774">
                  <a:extLst>
                    <a:ext uri="{9D8B030D-6E8A-4147-A177-3AD203B41FA5}">
                      <a16:colId xmlns:a16="http://schemas.microsoft.com/office/drawing/2014/main" val="3468808665"/>
                    </a:ext>
                  </a:extLst>
                </a:gridCol>
              </a:tblGrid>
              <a:tr h="327818">
                <a:tc>
                  <a:txBody>
                    <a:bodyPr/>
                    <a:lstStyle/>
                    <a:p>
                      <a:pPr marL="0" algn="ctr" defTabSz="914363" rtl="0" eaLnBrk="1" fontAlgn="t" latinLnBrk="0" hangingPunct="1"/>
                      <a:r>
                        <a:rPr lang="en-US" sz="1600" u="none" strike="noStrike" kern="1200" dirty="0">
                          <a:latin typeface="Arial" panose="020B0604020202020204" pitchFamily="34" charset="0"/>
                          <a:cs typeface="Arial" panose="020B0604020202020204" pitchFamily="34" charset="0"/>
                        </a:rPr>
                        <a:t> F</a:t>
                      </a:r>
                      <a:endParaRPr lang="en-US" sz="16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7938" marR="7938" marT="7938" marB="0" anchor="ctr">
                    <a:solidFill>
                      <a:srgbClr val="00B050"/>
                    </a:solidFill>
                  </a:tcPr>
                </a:tc>
                <a:extLst>
                  <a:ext uri="{0D108BD9-81ED-4DB2-BD59-A6C34878D82A}">
                    <a16:rowId xmlns:a16="http://schemas.microsoft.com/office/drawing/2014/main" val="1479979544"/>
                  </a:ext>
                </a:extLst>
              </a:tr>
            </a:tbl>
          </a:graphicData>
        </a:graphic>
      </p:graphicFrame>
      <p:graphicFrame>
        <p:nvGraphicFramePr>
          <p:cNvPr id="36" name="Table 35">
            <a:extLst>
              <a:ext uri="{FF2B5EF4-FFF2-40B4-BE49-F238E27FC236}">
                <a16:creationId xmlns:a16="http://schemas.microsoft.com/office/drawing/2014/main" id="{94A3A4F8-98DA-4AF2-B9F5-E35564295EEF}"/>
              </a:ext>
            </a:extLst>
          </p:cNvPr>
          <p:cNvGraphicFramePr>
            <a:graphicFrameLocks noGrp="1"/>
          </p:cNvGraphicFramePr>
          <p:nvPr/>
        </p:nvGraphicFramePr>
        <p:xfrm>
          <a:off x="10094978" y="1281551"/>
          <a:ext cx="1403724" cy="647140"/>
        </p:xfrm>
        <a:graphic>
          <a:graphicData uri="http://schemas.openxmlformats.org/drawingml/2006/table">
            <a:tbl>
              <a:tblPr firstRow="1" bandRow="1">
                <a:tableStyleId>{9D7B26C5-4107-4FEC-AEDC-1716B250A1EF}</a:tableStyleId>
              </a:tblPr>
              <a:tblGrid>
                <a:gridCol w="1403724">
                  <a:extLst>
                    <a:ext uri="{9D8B030D-6E8A-4147-A177-3AD203B41FA5}">
                      <a16:colId xmlns:a16="http://schemas.microsoft.com/office/drawing/2014/main" val="2066203713"/>
                    </a:ext>
                  </a:extLst>
                </a:gridCol>
              </a:tblGrid>
              <a:tr h="309500">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3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337640">
                <a:tc>
                  <a:txBody>
                    <a:bodyPr/>
                    <a:lstStyle/>
                    <a:p>
                      <a:pPr algn="ctr" rtl="0" fontAlgn="t"/>
                      <a:r>
                        <a:rPr lang="en-US" sz="1300" u="none" strike="noStrike" dirty="0">
                          <a:effectLst/>
                          <a:latin typeface="Arial" panose="020B0604020202020204" pitchFamily="34" charset="0"/>
                          <a:cs typeface="Arial" panose="020B0604020202020204" pitchFamily="34" charset="0"/>
                        </a:rPr>
                        <a:t>N*</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chemeClr val="accent4"/>
                    </a:solidFill>
                  </a:tcPr>
                </a:tc>
                <a:extLst>
                  <a:ext uri="{0D108BD9-81ED-4DB2-BD59-A6C34878D82A}">
                    <a16:rowId xmlns:a16="http://schemas.microsoft.com/office/drawing/2014/main" val="590881403"/>
                  </a:ext>
                </a:extLst>
              </a:tr>
            </a:tbl>
          </a:graphicData>
        </a:graphic>
      </p:graphicFrame>
      <p:graphicFrame>
        <p:nvGraphicFramePr>
          <p:cNvPr id="37" name="Table 36">
            <a:extLst>
              <a:ext uri="{FF2B5EF4-FFF2-40B4-BE49-F238E27FC236}">
                <a16:creationId xmlns:a16="http://schemas.microsoft.com/office/drawing/2014/main" id="{7F1BAD3C-764D-4467-BDC1-2624E456D95B}"/>
              </a:ext>
            </a:extLst>
          </p:cNvPr>
          <p:cNvGraphicFramePr>
            <a:graphicFrameLocks noGrp="1"/>
          </p:cNvGraphicFramePr>
          <p:nvPr/>
        </p:nvGraphicFramePr>
        <p:xfrm>
          <a:off x="10086778" y="2104054"/>
          <a:ext cx="1420129" cy="1647085"/>
        </p:xfrm>
        <a:graphic>
          <a:graphicData uri="http://schemas.openxmlformats.org/drawingml/2006/table">
            <a:tbl>
              <a:tblPr firstRow="1" bandRow="1">
                <a:tableStyleId>{9D7B26C5-4107-4FEC-AEDC-1716B250A1EF}</a:tableStyleId>
              </a:tblPr>
              <a:tblGrid>
                <a:gridCol w="1420129">
                  <a:extLst>
                    <a:ext uri="{9D8B030D-6E8A-4147-A177-3AD203B41FA5}">
                      <a16:colId xmlns:a16="http://schemas.microsoft.com/office/drawing/2014/main" val="2098157944"/>
                    </a:ext>
                  </a:extLst>
                </a:gridCol>
              </a:tblGrid>
              <a:tr h="329417">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3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655500846"/>
                  </a:ext>
                </a:extLst>
              </a:tr>
              <a:tr h="329417">
                <a:tc>
                  <a:txBody>
                    <a:bodyPr/>
                    <a:lstStyle/>
                    <a:p>
                      <a:pPr algn="ctr" rtl="0" fontAlgn="t"/>
                      <a:r>
                        <a:rPr lang="en-US" sz="1300" b="0" i="0" u="none" strike="noStrike" dirty="0">
                          <a:solidFill>
                            <a:schemeClr val="tx1"/>
                          </a:solidFill>
                          <a:effectLst/>
                          <a:latin typeface="Arial" panose="020B0604020202020204" pitchFamily="34" charset="0"/>
                          <a:cs typeface="Arial" panose="020B0604020202020204" pitchFamily="34" charset="0"/>
                        </a:rPr>
                        <a:t>N</a:t>
                      </a:r>
                      <a:endParaRPr lang="en-US" sz="1300" b="1" i="0" u="none" strike="noStrike" dirty="0">
                        <a:solidFill>
                          <a:schemeClr val="tx1"/>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4283901365"/>
                  </a:ext>
                </a:extLst>
              </a:tr>
              <a:tr h="329417">
                <a:tc>
                  <a:txBody>
                    <a:bodyPr/>
                    <a:lstStyle/>
                    <a:p>
                      <a:pPr algn="ctr" rtl="0" fontAlgn="b"/>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0"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1252197383"/>
                  </a:ext>
                </a:extLst>
              </a:tr>
              <a:tr h="329417">
                <a:tc>
                  <a:txBody>
                    <a:bodyPr/>
                    <a:lstStyle/>
                    <a:p>
                      <a:pPr algn="ctr" rtl="0" fontAlgn="b"/>
                      <a:r>
                        <a:rPr lang="en-US" sz="1300" b="0" i="0" u="none" strike="noStrike" dirty="0">
                          <a:solidFill>
                            <a:schemeClr val="bg1"/>
                          </a:solidFill>
                          <a:effectLst/>
                          <a:latin typeface="Arial" panose="020B0604020202020204" pitchFamily="34" charset="0"/>
                          <a:cs typeface="Arial" panose="020B0604020202020204" pitchFamily="34" charset="0"/>
                        </a:rPr>
                        <a:t>NF</a:t>
                      </a:r>
                    </a:p>
                  </a:txBody>
                  <a:tcPr marL="7938" marR="7938" marT="7938" marB="0" anchor="ctr">
                    <a:solidFill>
                      <a:srgbClr val="FF0000"/>
                    </a:solidFill>
                  </a:tcPr>
                </a:tc>
                <a:extLst>
                  <a:ext uri="{0D108BD9-81ED-4DB2-BD59-A6C34878D82A}">
                    <a16:rowId xmlns:a16="http://schemas.microsoft.com/office/drawing/2014/main" val="1833564489"/>
                  </a:ext>
                </a:extLst>
              </a:tr>
              <a:tr h="329417">
                <a:tc>
                  <a:txBody>
                    <a:bodyPr/>
                    <a:lstStyle/>
                    <a:p>
                      <a:pPr marL="0" algn="ctr" defTabSz="1097280"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2931027550"/>
                  </a:ext>
                </a:extLst>
              </a:tr>
            </a:tbl>
          </a:graphicData>
        </a:graphic>
      </p:graphicFrame>
      <p:graphicFrame>
        <p:nvGraphicFramePr>
          <p:cNvPr id="38" name="Table 37">
            <a:extLst>
              <a:ext uri="{FF2B5EF4-FFF2-40B4-BE49-F238E27FC236}">
                <a16:creationId xmlns:a16="http://schemas.microsoft.com/office/drawing/2014/main" id="{005F6F5A-1FC8-4399-9817-F1EC1B07724F}"/>
              </a:ext>
            </a:extLst>
          </p:cNvPr>
          <p:cNvGraphicFramePr>
            <a:graphicFrameLocks noGrp="1"/>
          </p:cNvGraphicFramePr>
          <p:nvPr/>
        </p:nvGraphicFramePr>
        <p:xfrm>
          <a:off x="10085043" y="3875557"/>
          <a:ext cx="1423774" cy="1044779"/>
        </p:xfrm>
        <a:graphic>
          <a:graphicData uri="http://schemas.openxmlformats.org/drawingml/2006/table">
            <a:tbl>
              <a:tblPr firstRow="1" bandRow="1">
                <a:tableStyleId>{9D7B26C5-4107-4FEC-AEDC-1716B250A1EF}</a:tableStyleId>
              </a:tblPr>
              <a:tblGrid>
                <a:gridCol w="1423774">
                  <a:extLst>
                    <a:ext uri="{9D8B030D-6E8A-4147-A177-3AD203B41FA5}">
                      <a16:colId xmlns:a16="http://schemas.microsoft.com/office/drawing/2014/main" val="3468808665"/>
                    </a:ext>
                  </a:extLst>
                </a:gridCol>
              </a:tblGrid>
              <a:tr h="29709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23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163484585"/>
                  </a:ext>
                </a:extLst>
              </a:tr>
              <a:tr h="373843">
                <a:tc>
                  <a:txBody>
                    <a:bodyPr/>
                    <a:lstStyle/>
                    <a:p>
                      <a:pPr marL="0" algn="ctr" defTabSz="457200" rtl="0" eaLnBrk="1" fontAlgn="ctr"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F</a:t>
                      </a:r>
                    </a:p>
                  </a:txBody>
                  <a:tcPr marL="7938" marR="7938" marT="7938" marB="0" anchor="ctr">
                    <a:solidFill>
                      <a:srgbClr val="00B050"/>
                    </a:solidFill>
                  </a:tcPr>
                </a:tc>
                <a:extLst>
                  <a:ext uri="{0D108BD9-81ED-4DB2-BD59-A6C34878D82A}">
                    <a16:rowId xmlns:a16="http://schemas.microsoft.com/office/drawing/2014/main" val="10001"/>
                  </a:ext>
                </a:extLst>
              </a:tr>
              <a:tr h="373843">
                <a:tc>
                  <a:txBody>
                    <a:bodyPr/>
                    <a:lstStyle/>
                    <a:p>
                      <a:pPr marL="0" algn="ctr" defTabSz="457200" rtl="0" eaLnBrk="1" fontAlgn="ctr"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479979544"/>
                  </a:ext>
                </a:extLst>
              </a:tr>
            </a:tbl>
          </a:graphicData>
        </a:graphic>
      </p:graphicFrame>
      <p:graphicFrame>
        <p:nvGraphicFramePr>
          <p:cNvPr id="39" name="Table 38">
            <a:extLst>
              <a:ext uri="{FF2B5EF4-FFF2-40B4-BE49-F238E27FC236}">
                <a16:creationId xmlns:a16="http://schemas.microsoft.com/office/drawing/2014/main" id="{7BFAC40D-2BBD-40B4-9442-A3E60E1DA570}"/>
              </a:ext>
            </a:extLst>
          </p:cNvPr>
          <p:cNvGraphicFramePr>
            <a:graphicFrameLocks noGrp="1"/>
          </p:cNvGraphicFramePr>
          <p:nvPr/>
        </p:nvGraphicFramePr>
        <p:xfrm>
          <a:off x="10085043" y="5010835"/>
          <a:ext cx="1423774" cy="327818"/>
        </p:xfrm>
        <a:graphic>
          <a:graphicData uri="http://schemas.openxmlformats.org/drawingml/2006/table">
            <a:tbl>
              <a:tblPr firstRow="1" bandRow="1">
                <a:tableStyleId>{9D7B26C5-4107-4FEC-AEDC-1716B250A1EF}</a:tableStyleId>
              </a:tblPr>
              <a:tblGrid>
                <a:gridCol w="1423774">
                  <a:extLst>
                    <a:ext uri="{9D8B030D-6E8A-4147-A177-3AD203B41FA5}">
                      <a16:colId xmlns:a16="http://schemas.microsoft.com/office/drawing/2014/main" val="3468808665"/>
                    </a:ext>
                  </a:extLst>
                </a:gridCol>
              </a:tblGrid>
              <a:tr h="327818">
                <a:tc>
                  <a:txBody>
                    <a:bodyPr/>
                    <a:lstStyle/>
                    <a:p>
                      <a:pPr marL="0" algn="ctr" defTabSz="914363" rtl="0" eaLnBrk="1" fontAlgn="t" latinLnBrk="0" hangingPunct="1"/>
                      <a:r>
                        <a:rPr lang="en-US" sz="1600" u="none" strike="noStrike" kern="1200" dirty="0">
                          <a:latin typeface="Arial" panose="020B0604020202020204" pitchFamily="34" charset="0"/>
                          <a:cs typeface="Arial" panose="020B0604020202020204" pitchFamily="34" charset="0"/>
                        </a:rPr>
                        <a:t> F</a:t>
                      </a:r>
                      <a:endParaRPr lang="en-US" sz="16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7938" marR="7938" marT="7938" marB="0" anchor="ctr">
                    <a:solidFill>
                      <a:srgbClr val="00B050"/>
                    </a:solidFill>
                  </a:tcPr>
                </a:tc>
                <a:extLst>
                  <a:ext uri="{0D108BD9-81ED-4DB2-BD59-A6C34878D82A}">
                    <a16:rowId xmlns:a16="http://schemas.microsoft.com/office/drawing/2014/main" val="1479979544"/>
                  </a:ext>
                </a:extLst>
              </a:tr>
            </a:tbl>
          </a:graphicData>
        </a:graphic>
      </p:graphicFrame>
    </p:spTree>
    <p:extLst>
      <p:ext uri="{BB962C8B-B14F-4D97-AF65-F5344CB8AC3E}">
        <p14:creationId xmlns:p14="http://schemas.microsoft.com/office/powerpoint/2010/main" val="18358087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607" y="184054"/>
            <a:ext cx="11349218" cy="443198"/>
          </a:xfrm>
        </p:spPr>
        <p:txBody>
          <a:bodyPr/>
          <a:lstStyle/>
          <a:p>
            <a:r>
              <a:rPr lang="en-IN" dirty="0">
                <a:solidFill>
                  <a:schemeClr val="tx1"/>
                </a:solidFill>
              </a:rPr>
              <a:t>Covid-19 impacting economic activities in some countries</a:t>
            </a:r>
          </a:p>
        </p:txBody>
      </p:sp>
      <p:sp>
        <p:nvSpPr>
          <p:cNvPr id="4" name="Rectangle 3"/>
          <p:cNvSpPr/>
          <p:nvPr/>
        </p:nvSpPr>
        <p:spPr>
          <a:xfrm>
            <a:off x="1362807" y="6244106"/>
            <a:ext cx="8294078" cy="348685"/>
          </a:xfrm>
          <a:prstGeom prst="rect">
            <a:avLst/>
          </a:prstGeom>
        </p:spPr>
        <p:txBody>
          <a:bodyPr wrap="square">
            <a:spAutoFit/>
          </a:bodyPr>
          <a:lstStyle/>
          <a:p>
            <a:r>
              <a:rPr lang="en-IN" sz="833" i="1" dirty="0">
                <a:solidFill>
                  <a:srgbClr val="58595B"/>
                </a:solidFill>
                <a:latin typeface="Arial" panose="020B0604020202020204" pitchFamily="34" charset="0"/>
                <a:cs typeface="Arial" panose="020B0604020202020204" pitchFamily="34" charset="0"/>
              </a:rPr>
              <a:t>Note: Share of total population that have received all doses prescribed by the vaccination protocol.</a:t>
            </a:r>
          </a:p>
          <a:p>
            <a:r>
              <a:rPr lang="en-IN" sz="833" i="1" dirty="0">
                <a:solidFill>
                  <a:srgbClr val="58595B"/>
                </a:solidFill>
                <a:latin typeface="Arial" panose="020B0604020202020204" pitchFamily="34" charset="0"/>
                <a:cs typeface="Arial" panose="020B0604020202020204" pitchFamily="34" charset="0"/>
              </a:rPr>
              <a:t>Source: OurWorldinData.org, CEIC, CRISIL</a:t>
            </a:r>
            <a:endParaRPr lang="en-IN" sz="2333" dirty="0">
              <a:latin typeface="Arial" panose="020B0604020202020204" pitchFamily="34" charset="0"/>
              <a:cs typeface="Arial" panose="020B0604020202020204" pitchFamily="34" charset="0"/>
            </a:endParaRPr>
          </a:p>
        </p:txBody>
      </p:sp>
      <p:sp>
        <p:nvSpPr>
          <p:cNvPr id="6" name="Text Placeholder 4"/>
          <p:cNvSpPr txBox="1">
            <a:spLocks/>
          </p:cNvSpPr>
          <p:nvPr/>
        </p:nvSpPr>
        <p:spPr>
          <a:xfrm>
            <a:off x="281608" y="1000728"/>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USA</a:t>
            </a:r>
          </a:p>
        </p:txBody>
      </p:sp>
      <p:sp>
        <p:nvSpPr>
          <p:cNvPr id="8" name="Text Placeholder 4"/>
          <p:cNvSpPr txBox="1">
            <a:spLocks/>
          </p:cNvSpPr>
          <p:nvPr/>
        </p:nvSpPr>
        <p:spPr>
          <a:xfrm>
            <a:off x="7823077" y="1000728"/>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EU</a:t>
            </a:r>
          </a:p>
        </p:txBody>
      </p:sp>
      <p:sp>
        <p:nvSpPr>
          <p:cNvPr id="9" name="Text Placeholder 4"/>
          <p:cNvSpPr txBox="1">
            <a:spLocks/>
          </p:cNvSpPr>
          <p:nvPr/>
        </p:nvSpPr>
        <p:spPr>
          <a:xfrm>
            <a:off x="4052342" y="1008878"/>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UK</a:t>
            </a:r>
          </a:p>
        </p:txBody>
      </p:sp>
      <p:sp>
        <p:nvSpPr>
          <p:cNvPr id="18" name="Text Placeholder 4"/>
          <p:cNvSpPr txBox="1">
            <a:spLocks/>
          </p:cNvSpPr>
          <p:nvPr/>
        </p:nvSpPr>
        <p:spPr>
          <a:xfrm>
            <a:off x="1962182" y="3608010"/>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India</a:t>
            </a:r>
          </a:p>
        </p:txBody>
      </p:sp>
      <p:sp>
        <p:nvSpPr>
          <p:cNvPr id="20" name="Text Placeholder 4"/>
          <p:cNvSpPr txBox="1">
            <a:spLocks/>
          </p:cNvSpPr>
          <p:nvPr/>
        </p:nvSpPr>
        <p:spPr>
          <a:xfrm>
            <a:off x="6369656" y="3623467"/>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Japan</a:t>
            </a:r>
          </a:p>
        </p:txBody>
      </p:sp>
      <p:pic>
        <p:nvPicPr>
          <p:cNvPr id="22" name="Picture 21">
            <a:extLst>
              <a:ext uri="{FF2B5EF4-FFF2-40B4-BE49-F238E27FC236}">
                <a16:creationId xmlns:a16="http://schemas.microsoft.com/office/drawing/2014/main" id="{E3292743-E127-41CA-AD0B-7B73332E2DB1}"/>
              </a:ext>
            </a:extLst>
          </p:cNvPr>
          <p:cNvPicPr>
            <a:picLocks noChangeAspect="1"/>
          </p:cNvPicPr>
          <p:nvPr/>
        </p:nvPicPr>
        <p:blipFill>
          <a:blip r:embed="rId2"/>
          <a:stretch>
            <a:fillRect/>
          </a:stretch>
        </p:blipFill>
        <p:spPr>
          <a:xfrm>
            <a:off x="281608" y="1246693"/>
            <a:ext cx="3595149" cy="1995990"/>
          </a:xfrm>
          <a:prstGeom prst="rect">
            <a:avLst/>
          </a:prstGeom>
        </p:spPr>
      </p:pic>
      <p:pic>
        <p:nvPicPr>
          <p:cNvPr id="25" name="Picture 24">
            <a:extLst>
              <a:ext uri="{FF2B5EF4-FFF2-40B4-BE49-F238E27FC236}">
                <a16:creationId xmlns:a16="http://schemas.microsoft.com/office/drawing/2014/main" id="{E1C58EDC-1268-4C97-854B-3DBD7E22EF1E}"/>
              </a:ext>
            </a:extLst>
          </p:cNvPr>
          <p:cNvPicPr>
            <a:picLocks noChangeAspect="1"/>
          </p:cNvPicPr>
          <p:nvPr/>
        </p:nvPicPr>
        <p:blipFill>
          <a:blip r:embed="rId3"/>
          <a:stretch>
            <a:fillRect/>
          </a:stretch>
        </p:blipFill>
        <p:spPr>
          <a:xfrm>
            <a:off x="4070879" y="1254001"/>
            <a:ext cx="3581463" cy="1995990"/>
          </a:xfrm>
          <a:prstGeom prst="rect">
            <a:avLst/>
          </a:prstGeom>
        </p:spPr>
      </p:pic>
      <p:pic>
        <p:nvPicPr>
          <p:cNvPr id="26" name="Picture 25">
            <a:extLst>
              <a:ext uri="{FF2B5EF4-FFF2-40B4-BE49-F238E27FC236}">
                <a16:creationId xmlns:a16="http://schemas.microsoft.com/office/drawing/2014/main" id="{B7DD18E6-8803-4D84-A967-3EBB520B0D41}"/>
              </a:ext>
            </a:extLst>
          </p:cNvPr>
          <p:cNvPicPr>
            <a:picLocks noChangeAspect="1"/>
          </p:cNvPicPr>
          <p:nvPr/>
        </p:nvPicPr>
        <p:blipFill>
          <a:blip r:embed="rId4"/>
          <a:stretch>
            <a:fillRect/>
          </a:stretch>
        </p:blipFill>
        <p:spPr>
          <a:xfrm>
            <a:off x="7818226" y="1262150"/>
            <a:ext cx="3599999" cy="1995990"/>
          </a:xfrm>
          <a:prstGeom prst="rect">
            <a:avLst/>
          </a:prstGeom>
        </p:spPr>
      </p:pic>
      <p:pic>
        <p:nvPicPr>
          <p:cNvPr id="27" name="Picture 26">
            <a:extLst>
              <a:ext uri="{FF2B5EF4-FFF2-40B4-BE49-F238E27FC236}">
                <a16:creationId xmlns:a16="http://schemas.microsoft.com/office/drawing/2014/main" id="{CF5C5D16-056D-49E0-95C5-D0C7ED0D0926}"/>
              </a:ext>
            </a:extLst>
          </p:cNvPr>
          <p:cNvPicPr>
            <a:picLocks noChangeAspect="1"/>
          </p:cNvPicPr>
          <p:nvPr/>
        </p:nvPicPr>
        <p:blipFill>
          <a:blip r:embed="rId5"/>
          <a:stretch>
            <a:fillRect/>
          </a:stretch>
        </p:blipFill>
        <p:spPr>
          <a:xfrm>
            <a:off x="1962183" y="3844503"/>
            <a:ext cx="3595149" cy="2261314"/>
          </a:xfrm>
          <a:prstGeom prst="rect">
            <a:avLst/>
          </a:prstGeom>
        </p:spPr>
      </p:pic>
      <p:pic>
        <p:nvPicPr>
          <p:cNvPr id="28" name="Picture 27">
            <a:extLst>
              <a:ext uri="{FF2B5EF4-FFF2-40B4-BE49-F238E27FC236}">
                <a16:creationId xmlns:a16="http://schemas.microsoft.com/office/drawing/2014/main" id="{DB6617EA-B19A-412C-8DF2-4F663A3CC095}"/>
              </a:ext>
            </a:extLst>
          </p:cNvPr>
          <p:cNvPicPr>
            <a:picLocks noChangeAspect="1"/>
          </p:cNvPicPr>
          <p:nvPr/>
        </p:nvPicPr>
        <p:blipFill>
          <a:blip r:embed="rId6"/>
          <a:stretch>
            <a:fillRect/>
          </a:stretch>
        </p:blipFill>
        <p:spPr>
          <a:xfrm>
            <a:off x="6369657" y="3851811"/>
            <a:ext cx="3595149" cy="2261314"/>
          </a:xfrm>
          <a:prstGeom prst="rect">
            <a:avLst/>
          </a:prstGeom>
        </p:spPr>
      </p:pic>
    </p:spTree>
    <p:extLst>
      <p:ext uri="{BB962C8B-B14F-4D97-AF65-F5344CB8AC3E}">
        <p14:creationId xmlns:p14="http://schemas.microsoft.com/office/powerpoint/2010/main" val="16785938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rot="5400000">
            <a:off x="5834081" y="-4815684"/>
            <a:ext cx="274320" cy="11430000"/>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defTabSz="914363">
              <a:defRPr/>
            </a:pPr>
            <a:r>
              <a:rPr lang="en-GB" sz="1417" b="1" dirty="0">
                <a:solidFill>
                  <a:prstClr val="white"/>
                </a:solidFill>
                <a:latin typeface="Arial" panose="020B0604020202020204" pitchFamily="34" charset="0"/>
              </a:rPr>
              <a:t>Offtake records much faster q-o-q growth (21% vs 4%)</a:t>
            </a:r>
          </a:p>
        </p:txBody>
      </p:sp>
      <p:sp>
        <p:nvSpPr>
          <p:cNvPr id="4" name="Rectangle 3">
            <a:extLst>
              <a:ext uri="{FF2B5EF4-FFF2-40B4-BE49-F238E27FC236}">
                <a16:creationId xmlns:a16="http://schemas.microsoft.com/office/drawing/2014/main" id="{0C6202D1-A0CE-408F-95AD-938410031EB1}"/>
              </a:ext>
            </a:extLst>
          </p:cNvPr>
          <p:cNvSpPr/>
          <p:nvPr/>
        </p:nvSpPr>
        <p:spPr>
          <a:xfrm>
            <a:off x="256240" y="139150"/>
            <a:ext cx="11882831" cy="623006"/>
          </a:xfrm>
          <a:prstGeom prst="rect">
            <a:avLst/>
          </a:prstGeom>
        </p:spPr>
        <p:txBody>
          <a:bodyPr vert="horz" lIns="0" tIns="0" rIns="0" bIns="0" rtlCol="0" anchor="ctr">
            <a:noAutofit/>
          </a:bodyPr>
          <a:lstStyle/>
          <a:p>
            <a:pPr defTabSz="914363">
              <a:lnSpc>
                <a:spcPct val="90000"/>
              </a:lnSpc>
              <a:spcBef>
                <a:spcPct val="0"/>
              </a:spcBef>
              <a:defRPr/>
            </a:pPr>
            <a:r>
              <a:rPr lang="en-US" sz="2417" b="1" dirty="0">
                <a:solidFill>
                  <a:prstClr val="black"/>
                </a:solidFill>
                <a:latin typeface="Arial" panose="020B0604020202020204" pitchFamily="34" charset="0"/>
                <a:cs typeface="Arial" panose="020B0604020202020204" pitchFamily="34" charset="0"/>
              </a:rPr>
              <a:t>Dealer inventory built up during Q4, yet high waiting periods pursue</a:t>
            </a:r>
            <a:endParaRPr lang="en-GB" sz="2417" b="1" dirty="0">
              <a:solidFill>
                <a:prstClr val="black"/>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F6508939-69F0-4956-A970-5DD12AD41427}"/>
              </a:ext>
            </a:extLst>
          </p:cNvPr>
          <p:cNvGrpSpPr/>
          <p:nvPr/>
        </p:nvGrpSpPr>
        <p:grpSpPr>
          <a:xfrm>
            <a:off x="1179475" y="6368498"/>
            <a:ext cx="2324371" cy="233462"/>
            <a:chOff x="1480556" y="3288085"/>
            <a:chExt cx="2324371" cy="233462"/>
          </a:xfrm>
        </p:grpSpPr>
        <p:sp>
          <p:nvSpPr>
            <p:cNvPr id="26" name="Rectangle 25"/>
            <p:cNvSpPr/>
            <p:nvPr/>
          </p:nvSpPr>
          <p:spPr>
            <a:xfrm>
              <a:off x="1480556" y="3337739"/>
              <a:ext cx="548640" cy="137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3">
                <a:defRPr/>
              </a:pPr>
              <a:r>
                <a:rPr lang="en-US" sz="917" dirty="0">
                  <a:solidFill>
                    <a:prstClr val="white"/>
                  </a:solidFill>
                  <a:latin typeface="Arial" panose="020B0604020202020204" pitchFamily="34" charset="0"/>
                  <a:cs typeface="Arial" panose="020B0604020202020204" pitchFamily="34" charset="0"/>
                </a:rPr>
                <a:t>xxx</a:t>
              </a:r>
            </a:p>
          </p:txBody>
        </p:sp>
        <p:sp>
          <p:nvSpPr>
            <p:cNvPr id="6" name="TextBox 5"/>
            <p:cNvSpPr txBox="1"/>
            <p:nvPr/>
          </p:nvSpPr>
          <p:spPr>
            <a:xfrm>
              <a:off x="2029195" y="3288085"/>
              <a:ext cx="1775732" cy="233462"/>
            </a:xfrm>
            <a:prstGeom prst="rect">
              <a:avLst/>
            </a:prstGeom>
            <a:noFill/>
          </p:spPr>
          <p:txBody>
            <a:bodyPr wrap="square" rtlCol="0">
              <a:spAutoFit/>
            </a:bodyPr>
            <a:lstStyle/>
            <a:p>
              <a:pPr defTabSz="914363">
                <a:defRPr/>
              </a:pPr>
              <a:r>
                <a:rPr lang="en-US" sz="917" i="1" dirty="0">
                  <a:solidFill>
                    <a:prstClr val="black"/>
                  </a:solidFill>
                  <a:latin typeface="Arial" panose="020B0604020202020204" pitchFamily="34" charset="0"/>
                  <a:cs typeface="Arial" panose="020B0604020202020204" pitchFamily="34" charset="0"/>
                </a:rPr>
                <a:t>Dealer inventory days</a:t>
              </a:r>
            </a:p>
          </p:txBody>
        </p:sp>
      </p:grpSp>
      <p:sp>
        <p:nvSpPr>
          <p:cNvPr id="28" name="Rounded Rectangle 27"/>
          <p:cNvSpPr/>
          <p:nvPr/>
        </p:nvSpPr>
        <p:spPr>
          <a:xfrm rot="5400000">
            <a:off x="5834082" y="-1920961"/>
            <a:ext cx="274320" cy="11430001"/>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defTabSz="914363">
              <a:defRPr/>
            </a:pPr>
            <a:r>
              <a:rPr lang="en-GB" sz="1417" b="1" dirty="0">
                <a:solidFill>
                  <a:prstClr val="white"/>
                </a:solidFill>
                <a:latin typeface="Arial" panose="020B0604020202020204" pitchFamily="34" charset="0"/>
              </a:rPr>
              <a:t>Offtake eclipse retails for all major players</a:t>
            </a:r>
          </a:p>
        </p:txBody>
      </p:sp>
      <p:sp>
        <p:nvSpPr>
          <p:cNvPr id="17" name="Rectangle 16">
            <a:extLst>
              <a:ext uri="{FF2B5EF4-FFF2-40B4-BE49-F238E27FC236}">
                <a16:creationId xmlns:a16="http://schemas.microsoft.com/office/drawing/2014/main" id="{4C4FB46C-6BC9-4DDB-A71D-3B2992CEECC7}"/>
              </a:ext>
            </a:extLst>
          </p:cNvPr>
          <p:cNvSpPr/>
          <p:nvPr/>
        </p:nvSpPr>
        <p:spPr>
          <a:xfrm>
            <a:off x="8209794" y="1157082"/>
            <a:ext cx="1143000" cy="167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63">
              <a:defRPr/>
            </a:pPr>
            <a:r>
              <a:rPr lang="en-US" sz="1000" dirty="0">
                <a:solidFill>
                  <a:prstClr val="black"/>
                </a:solidFill>
                <a:latin typeface="Arial" panose="020B0604020202020204" pitchFamily="34" charset="0"/>
                <a:cs typeface="Arial" panose="020B0604020202020204" pitchFamily="34" charset="0"/>
              </a:rPr>
              <a:t>5-10</a:t>
            </a:r>
          </a:p>
        </p:txBody>
      </p:sp>
      <p:sp>
        <p:nvSpPr>
          <p:cNvPr id="18" name="Rectangle 17">
            <a:extLst>
              <a:ext uri="{FF2B5EF4-FFF2-40B4-BE49-F238E27FC236}">
                <a16:creationId xmlns:a16="http://schemas.microsoft.com/office/drawing/2014/main" id="{97A22F9E-D8D3-4840-AFCD-EFEC5ED12149}"/>
              </a:ext>
            </a:extLst>
          </p:cNvPr>
          <p:cNvSpPr/>
          <p:nvPr/>
        </p:nvSpPr>
        <p:spPr>
          <a:xfrm>
            <a:off x="6296148" y="1169177"/>
            <a:ext cx="1143000" cy="1685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63">
              <a:defRPr/>
            </a:pPr>
            <a:r>
              <a:rPr lang="en-US" sz="1000" dirty="0">
                <a:solidFill>
                  <a:prstClr val="black"/>
                </a:solidFill>
                <a:latin typeface="Arial" panose="020B0604020202020204" pitchFamily="34" charset="0"/>
                <a:cs typeface="Arial" panose="020B0604020202020204" pitchFamily="34" charset="0"/>
              </a:rPr>
              <a:t>~15</a:t>
            </a:r>
          </a:p>
        </p:txBody>
      </p:sp>
      <p:sp>
        <p:nvSpPr>
          <p:cNvPr id="20" name="Rectangle 19">
            <a:extLst>
              <a:ext uri="{FF2B5EF4-FFF2-40B4-BE49-F238E27FC236}">
                <a16:creationId xmlns:a16="http://schemas.microsoft.com/office/drawing/2014/main" id="{5002E85A-3819-4C58-A0C6-D88790C46BBB}"/>
              </a:ext>
            </a:extLst>
          </p:cNvPr>
          <p:cNvSpPr/>
          <p:nvPr/>
        </p:nvSpPr>
        <p:spPr>
          <a:xfrm>
            <a:off x="4581648" y="1158602"/>
            <a:ext cx="1143000" cy="1685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63">
              <a:defRPr/>
            </a:pPr>
            <a:r>
              <a:rPr lang="en-US" sz="1000" dirty="0">
                <a:solidFill>
                  <a:prstClr val="black"/>
                </a:solidFill>
                <a:latin typeface="Arial" panose="020B0604020202020204" pitchFamily="34" charset="0"/>
                <a:cs typeface="Arial" panose="020B0604020202020204" pitchFamily="34" charset="0"/>
              </a:rPr>
              <a:t>30-35</a:t>
            </a:r>
          </a:p>
        </p:txBody>
      </p:sp>
      <p:sp>
        <p:nvSpPr>
          <p:cNvPr id="21" name="Rectangle 20">
            <a:extLst>
              <a:ext uri="{FF2B5EF4-FFF2-40B4-BE49-F238E27FC236}">
                <a16:creationId xmlns:a16="http://schemas.microsoft.com/office/drawing/2014/main" id="{F56F70DA-0E8B-49E5-8313-3AACDD414E4D}"/>
              </a:ext>
            </a:extLst>
          </p:cNvPr>
          <p:cNvSpPr/>
          <p:nvPr/>
        </p:nvSpPr>
        <p:spPr>
          <a:xfrm>
            <a:off x="2755765" y="1175552"/>
            <a:ext cx="1143000" cy="1685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63">
              <a:defRPr/>
            </a:pPr>
            <a:r>
              <a:rPr lang="en-US" sz="1000" dirty="0">
                <a:solidFill>
                  <a:prstClr val="black"/>
                </a:solidFill>
                <a:latin typeface="Arial" panose="020B0604020202020204" pitchFamily="34" charset="0"/>
                <a:cs typeface="Arial" panose="020B0604020202020204" pitchFamily="34" charset="0"/>
              </a:rPr>
              <a:t>10-15</a:t>
            </a:r>
          </a:p>
        </p:txBody>
      </p:sp>
      <p:sp>
        <p:nvSpPr>
          <p:cNvPr id="22" name="Rectangle 21">
            <a:extLst>
              <a:ext uri="{FF2B5EF4-FFF2-40B4-BE49-F238E27FC236}">
                <a16:creationId xmlns:a16="http://schemas.microsoft.com/office/drawing/2014/main" id="{7378EEFA-7C43-4391-A229-9D762F961B38}"/>
              </a:ext>
            </a:extLst>
          </p:cNvPr>
          <p:cNvSpPr/>
          <p:nvPr/>
        </p:nvSpPr>
        <p:spPr>
          <a:xfrm>
            <a:off x="1095064" y="1175552"/>
            <a:ext cx="1143000" cy="1685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63">
              <a:defRPr/>
            </a:pPr>
            <a:r>
              <a:rPr lang="en-US" sz="1000" dirty="0">
                <a:solidFill>
                  <a:prstClr val="black"/>
                </a:solidFill>
                <a:latin typeface="Arial" panose="020B0604020202020204" pitchFamily="34" charset="0"/>
                <a:cs typeface="Arial" panose="020B0604020202020204" pitchFamily="34" charset="0"/>
              </a:rPr>
              <a:t>20-25</a:t>
            </a:r>
          </a:p>
        </p:txBody>
      </p:sp>
      <p:sp>
        <p:nvSpPr>
          <p:cNvPr id="23" name="Rectangle 22">
            <a:extLst>
              <a:ext uri="{FF2B5EF4-FFF2-40B4-BE49-F238E27FC236}">
                <a16:creationId xmlns:a16="http://schemas.microsoft.com/office/drawing/2014/main" id="{0F5408F5-3AB7-4916-992F-18047FCDA40A}"/>
              </a:ext>
            </a:extLst>
          </p:cNvPr>
          <p:cNvSpPr/>
          <p:nvPr/>
        </p:nvSpPr>
        <p:spPr>
          <a:xfrm>
            <a:off x="10354231" y="1168295"/>
            <a:ext cx="1143000" cy="167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63">
              <a:defRPr/>
            </a:pPr>
            <a:r>
              <a:rPr lang="en-US" sz="1000" dirty="0">
                <a:solidFill>
                  <a:prstClr val="black"/>
                </a:solidFill>
                <a:latin typeface="Arial" panose="020B0604020202020204" pitchFamily="34" charset="0"/>
                <a:cs typeface="Arial" panose="020B0604020202020204" pitchFamily="34" charset="0"/>
              </a:rPr>
              <a:t>15-20</a:t>
            </a:r>
          </a:p>
        </p:txBody>
      </p:sp>
      <p:sp>
        <p:nvSpPr>
          <p:cNvPr id="25" name="TextBox 24">
            <a:extLst>
              <a:ext uri="{FF2B5EF4-FFF2-40B4-BE49-F238E27FC236}">
                <a16:creationId xmlns:a16="http://schemas.microsoft.com/office/drawing/2014/main" id="{6548080E-841F-43E2-B199-7AFADDF2D49F}"/>
              </a:ext>
            </a:extLst>
          </p:cNvPr>
          <p:cNvSpPr txBox="1"/>
          <p:nvPr/>
        </p:nvSpPr>
        <p:spPr>
          <a:xfrm>
            <a:off x="1095066" y="6561076"/>
            <a:ext cx="2651759" cy="233462"/>
          </a:xfrm>
          <a:prstGeom prst="rect">
            <a:avLst/>
          </a:prstGeom>
          <a:noFill/>
        </p:spPr>
        <p:txBody>
          <a:bodyPr wrap="square">
            <a:spAutoFit/>
          </a:bodyPr>
          <a:lstStyle/>
          <a:p>
            <a:pPr defTabSz="914363">
              <a:defRPr/>
            </a:pPr>
            <a:r>
              <a:rPr lang="en-IN" sz="917" i="1" dirty="0">
                <a:solidFill>
                  <a:prstClr val="black"/>
                </a:solidFill>
                <a:latin typeface="Arial" panose="020B0604020202020204" pitchFamily="34" charset="0"/>
                <a:cs typeface="Arial" panose="020B0604020202020204" pitchFamily="34" charset="0"/>
              </a:rPr>
              <a:t>Source: SIAM, </a:t>
            </a:r>
            <a:r>
              <a:rPr lang="en-IN" sz="917" i="1" dirty="0" err="1">
                <a:solidFill>
                  <a:prstClr val="black"/>
                </a:solidFill>
                <a:latin typeface="Arial" panose="020B0604020202020204" pitchFamily="34" charset="0"/>
                <a:cs typeface="Arial" panose="020B0604020202020204" pitchFamily="34" charset="0"/>
              </a:rPr>
              <a:t>MoRTH</a:t>
            </a:r>
            <a:r>
              <a:rPr lang="en-IN" sz="917" i="1" dirty="0">
                <a:solidFill>
                  <a:prstClr val="black"/>
                </a:solidFill>
                <a:latin typeface="Arial" panose="020B0604020202020204" pitchFamily="34" charset="0"/>
                <a:cs typeface="Arial" panose="020B0604020202020204" pitchFamily="34" charset="0"/>
              </a:rPr>
              <a:t>, </a:t>
            </a:r>
            <a:r>
              <a:rPr lang="en-US" sz="917" i="1" dirty="0">
                <a:solidFill>
                  <a:prstClr val="black"/>
                </a:solidFill>
                <a:latin typeface="Arial" panose="020B0604020202020204" pitchFamily="34" charset="0"/>
                <a:cs typeface="Arial" panose="020B0604020202020204" pitchFamily="34" charset="0"/>
              </a:rPr>
              <a:t>CRISIL Research</a:t>
            </a:r>
            <a:endParaRPr lang="en-IN" sz="917" i="1" dirty="0">
              <a:solidFill>
                <a:prstClr val="black"/>
              </a:solidFill>
              <a:latin typeface="Arial" panose="020B0604020202020204" pitchFamily="34" charset="0"/>
              <a:cs typeface="Arial" panose="020B0604020202020204" pitchFamily="34" charset="0"/>
            </a:endParaRPr>
          </a:p>
        </p:txBody>
      </p:sp>
      <p:graphicFrame>
        <p:nvGraphicFramePr>
          <p:cNvPr id="27" name="Chart 26">
            <a:extLst>
              <a:ext uri="{FF2B5EF4-FFF2-40B4-BE49-F238E27FC236}">
                <a16:creationId xmlns:a16="http://schemas.microsoft.com/office/drawing/2014/main" id="{00000000-0008-0000-0100-000006000000}"/>
              </a:ext>
            </a:extLst>
          </p:cNvPr>
          <p:cNvGraphicFramePr>
            <a:graphicFrameLocks/>
          </p:cNvGraphicFramePr>
          <p:nvPr/>
        </p:nvGraphicFramePr>
        <p:xfrm>
          <a:off x="256240" y="1393318"/>
          <a:ext cx="11429999" cy="1985935"/>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D6E1E06B-C82C-4705-B174-DD9015802871}"/>
              </a:ext>
            </a:extLst>
          </p:cNvPr>
          <p:cNvSpPr txBox="1"/>
          <p:nvPr/>
        </p:nvSpPr>
        <p:spPr>
          <a:xfrm>
            <a:off x="10711418" y="2420065"/>
            <a:ext cx="428625" cy="246221"/>
          </a:xfrm>
          <a:prstGeom prst="rect">
            <a:avLst/>
          </a:prstGeom>
          <a:noFill/>
        </p:spPr>
        <p:txBody>
          <a:bodyPr wrap="square" rtlCol="0">
            <a:spAutoFit/>
          </a:bodyPr>
          <a:lstStyle/>
          <a:p>
            <a:pPr defTabSz="914363">
              <a:defRPr/>
            </a:pPr>
            <a:r>
              <a:rPr lang="en-US" sz="1000" dirty="0">
                <a:solidFill>
                  <a:srgbClr val="7B1E29"/>
                </a:solidFill>
                <a:latin typeface="Arial" panose="020B0604020202020204" pitchFamily="34" charset="0"/>
                <a:cs typeface="Arial" panose="020B0604020202020204" pitchFamily="34" charset="0"/>
              </a:rPr>
              <a:t>-6%</a:t>
            </a:r>
          </a:p>
        </p:txBody>
      </p:sp>
      <p:sp>
        <p:nvSpPr>
          <p:cNvPr id="31" name="TextBox 30">
            <a:extLst>
              <a:ext uri="{FF2B5EF4-FFF2-40B4-BE49-F238E27FC236}">
                <a16:creationId xmlns:a16="http://schemas.microsoft.com/office/drawing/2014/main" id="{CB4EA1B2-5873-4E1C-9323-1009BBA90C9A}"/>
              </a:ext>
            </a:extLst>
          </p:cNvPr>
          <p:cNvSpPr txBox="1"/>
          <p:nvPr/>
        </p:nvSpPr>
        <p:spPr>
          <a:xfrm>
            <a:off x="11105956" y="2433255"/>
            <a:ext cx="625903" cy="246221"/>
          </a:xfrm>
          <a:prstGeom prst="rect">
            <a:avLst/>
          </a:prstGeom>
          <a:noFill/>
        </p:spPr>
        <p:txBody>
          <a:bodyPr wrap="square" rtlCol="0">
            <a:spAutoFit/>
          </a:bodyPr>
          <a:lstStyle/>
          <a:p>
            <a:pPr defTabSz="914363">
              <a:defRPr/>
            </a:pPr>
            <a:r>
              <a:rPr lang="en-US" sz="1000" dirty="0">
                <a:solidFill>
                  <a:srgbClr val="7B1E29"/>
                </a:solidFill>
                <a:latin typeface="Arial" panose="020B0604020202020204" pitchFamily="34" charset="0"/>
                <a:cs typeface="Arial" panose="020B0604020202020204" pitchFamily="34" charset="0"/>
              </a:rPr>
              <a:t>-13%</a:t>
            </a:r>
          </a:p>
        </p:txBody>
      </p:sp>
      <p:graphicFrame>
        <p:nvGraphicFramePr>
          <p:cNvPr id="24" name="Chart 23">
            <a:extLst>
              <a:ext uri="{FF2B5EF4-FFF2-40B4-BE49-F238E27FC236}">
                <a16:creationId xmlns:a16="http://schemas.microsoft.com/office/drawing/2014/main" id="{141382EF-E5C7-4105-A6D5-83F634AFCFC1}"/>
              </a:ext>
            </a:extLst>
          </p:cNvPr>
          <p:cNvGraphicFramePr>
            <a:graphicFrameLocks/>
          </p:cNvGraphicFramePr>
          <p:nvPr/>
        </p:nvGraphicFramePr>
        <p:xfrm>
          <a:off x="292752" y="3931199"/>
          <a:ext cx="11393487" cy="2286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1600853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rot="5400000">
            <a:off x="3541392" y="-2501357"/>
            <a:ext cx="274320" cy="6825925"/>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a:r>
              <a:rPr lang="en-US" sz="1333" b="1" dirty="0">
                <a:solidFill>
                  <a:schemeClr val="bg1"/>
                </a:solidFill>
                <a:latin typeface="Arial" panose="020B0604020202020204" pitchFamily="34" charset="0"/>
              </a:rPr>
              <a:t>New launches provide the much-needed push in FY22 </a:t>
            </a:r>
            <a:endParaRPr lang="en-GB" sz="1333" b="1" dirty="0">
              <a:solidFill>
                <a:schemeClr val="bg1"/>
              </a:solidFill>
              <a:latin typeface="Arial" panose="020B0604020202020204" pitchFamily="34" charset="0"/>
            </a:endParaRPr>
          </a:p>
        </p:txBody>
      </p:sp>
      <p:sp>
        <p:nvSpPr>
          <p:cNvPr id="4" name="Rectangle 3">
            <a:extLst>
              <a:ext uri="{FF2B5EF4-FFF2-40B4-BE49-F238E27FC236}">
                <a16:creationId xmlns:a16="http://schemas.microsoft.com/office/drawing/2014/main" id="{0C6202D1-A0CE-408F-95AD-938410031EB1}"/>
              </a:ext>
            </a:extLst>
          </p:cNvPr>
          <p:cNvSpPr/>
          <p:nvPr/>
        </p:nvSpPr>
        <p:spPr>
          <a:xfrm>
            <a:off x="256240" y="102280"/>
            <a:ext cx="11882831" cy="623006"/>
          </a:xfrm>
          <a:prstGeom prst="rect">
            <a:avLst/>
          </a:prstGeom>
        </p:spPr>
        <p:txBody>
          <a:bodyPr vert="horz" lIns="0" tIns="0" rIns="0" bIns="0" rtlCol="0" anchor="ctr">
            <a:noAutofit/>
          </a:bodyPr>
          <a:lstStyle/>
          <a:p>
            <a:pPr>
              <a:lnSpc>
                <a:spcPct val="90000"/>
              </a:lnSpc>
              <a:spcBef>
                <a:spcPct val="0"/>
              </a:spcBef>
            </a:pPr>
            <a:r>
              <a:rPr lang="en-US" sz="2417" b="1" dirty="0">
                <a:latin typeface="Arial" panose="020B0604020202020204" pitchFamily="34" charset="0"/>
                <a:ea typeface="+mj-ea"/>
                <a:cs typeface="Arial" panose="020B0604020202020204" pitchFamily="34" charset="0"/>
              </a:rPr>
              <a:t>SUV segment continues to expand in this fiscal</a:t>
            </a:r>
            <a:endParaRPr lang="en-GB" sz="2417" b="1" dirty="0">
              <a:latin typeface="Arial" panose="020B0604020202020204" pitchFamily="34" charset="0"/>
              <a:ea typeface="+mj-ea"/>
              <a:cs typeface="Arial" panose="020B0604020202020204" pitchFamily="34" charset="0"/>
            </a:endParaRPr>
          </a:p>
        </p:txBody>
      </p:sp>
      <p:grpSp>
        <p:nvGrpSpPr>
          <p:cNvPr id="7" name="Group 6">
            <a:extLst>
              <a:ext uri="{FF2B5EF4-FFF2-40B4-BE49-F238E27FC236}">
                <a16:creationId xmlns:a16="http://schemas.microsoft.com/office/drawing/2014/main" id="{A9C9B690-F1D8-4851-9F35-35C2CA2BCFA9}"/>
              </a:ext>
            </a:extLst>
          </p:cNvPr>
          <p:cNvGrpSpPr/>
          <p:nvPr/>
        </p:nvGrpSpPr>
        <p:grpSpPr>
          <a:xfrm>
            <a:off x="1000071" y="6331623"/>
            <a:ext cx="3283271" cy="381183"/>
            <a:chOff x="978601" y="6457890"/>
            <a:chExt cx="3283274" cy="381182"/>
          </a:xfrm>
        </p:grpSpPr>
        <p:sp>
          <p:nvSpPr>
            <p:cNvPr id="14" name="TextBox 13"/>
            <p:cNvSpPr txBox="1"/>
            <p:nvPr/>
          </p:nvSpPr>
          <p:spPr>
            <a:xfrm>
              <a:off x="978601" y="6621000"/>
              <a:ext cx="3117190" cy="218072"/>
            </a:xfrm>
            <a:prstGeom prst="rect">
              <a:avLst/>
            </a:prstGeom>
            <a:noFill/>
          </p:spPr>
          <p:txBody>
            <a:bodyPr wrap="square" lIns="76200" tIns="38100" rIns="76200" bIns="38100" rtlCol="0">
              <a:spAutoFit/>
            </a:bodyPr>
            <a:lstStyle/>
            <a:p>
              <a:r>
                <a:rPr lang="en-IN" sz="917" i="1" dirty="0">
                  <a:latin typeface="Arial" panose="020B0604020202020204" pitchFamily="34" charset="0"/>
                  <a:cs typeface="Arial" panose="020B0604020202020204" pitchFamily="34" charset="0"/>
                </a:rPr>
                <a:t>Source: SIAM, </a:t>
              </a:r>
              <a:r>
                <a:rPr lang="en-IN" sz="917" i="1" dirty="0" err="1">
                  <a:latin typeface="Arial" panose="020B0604020202020204" pitchFamily="34" charset="0"/>
                  <a:cs typeface="Arial" panose="020B0604020202020204" pitchFamily="34" charset="0"/>
                </a:rPr>
                <a:t>MoRTH</a:t>
              </a:r>
              <a:r>
                <a:rPr lang="en-IN" sz="917" i="1" dirty="0">
                  <a:latin typeface="Arial" panose="020B0604020202020204" pitchFamily="34" charset="0"/>
                  <a:cs typeface="Arial" panose="020B0604020202020204" pitchFamily="34" charset="0"/>
                </a:rPr>
                <a:t>, Industry, </a:t>
              </a:r>
              <a:r>
                <a:rPr lang="en-US" sz="917" i="1" dirty="0">
                  <a:solidFill>
                    <a:prstClr val="black"/>
                  </a:solidFill>
                  <a:latin typeface="Arial" panose="020B0604020202020204" pitchFamily="34" charset="0"/>
                  <a:cs typeface="Arial" panose="020B0604020202020204" pitchFamily="34" charset="0"/>
                </a:rPr>
                <a:t>CRISIL Research</a:t>
              </a:r>
              <a:endParaRPr lang="en-IN" sz="917" i="1"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D31FCB3E-3419-4619-B4BD-40F8A2BA9765}"/>
                </a:ext>
              </a:extLst>
            </p:cNvPr>
            <p:cNvSpPr/>
            <p:nvPr/>
          </p:nvSpPr>
          <p:spPr>
            <a:xfrm>
              <a:off x="978601" y="6457890"/>
              <a:ext cx="3283274" cy="233461"/>
            </a:xfrm>
            <a:prstGeom prst="rect">
              <a:avLst/>
            </a:prstGeom>
          </p:spPr>
          <p:txBody>
            <a:bodyPr wrap="none">
              <a:spAutoFit/>
            </a:bodyPr>
            <a:lstStyle/>
            <a:p>
              <a:r>
                <a:rPr lang="en-US" sz="917" i="1" dirty="0">
                  <a:latin typeface="Arial" panose="020B0604020202020204" pitchFamily="34" charset="0"/>
                  <a:cs typeface="Arial" panose="020B0604020202020204" pitchFamily="34" charset="0"/>
                </a:rPr>
                <a:t>NOTE: </a:t>
              </a:r>
              <a:r>
                <a:rPr lang="en-IN" sz="917" i="1" dirty="0">
                  <a:latin typeface="Arial" panose="020B0604020202020204" pitchFamily="34" charset="0"/>
                  <a:cs typeface="Arial" panose="020B0604020202020204" pitchFamily="34" charset="0"/>
                </a:rPr>
                <a:t>Vehicle is considered newly launched for 18 months</a:t>
              </a:r>
              <a:endParaRPr lang="en-US" sz="917" i="1" dirty="0">
                <a:latin typeface="Arial" panose="020B0604020202020204" pitchFamily="34" charset="0"/>
                <a:cs typeface="Arial" panose="020B0604020202020204" pitchFamily="34" charset="0"/>
              </a:endParaRPr>
            </a:p>
          </p:txBody>
        </p:sp>
      </p:grpSp>
      <p:sp>
        <p:nvSpPr>
          <p:cNvPr id="25" name="Rounded Rectangle 24">
            <a:extLst>
              <a:ext uri="{FF2B5EF4-FFF2-40B4-BE49-F238E27FC236}">
                <a16:creationId xmlns:a16="http://schemas.microsoft.com/office/drawing/2014/main" id="{71F81B80-4C46-4FBE-B74B-727A547EC34B}"/>
              </a:ext>
            </a:extLst>
          </p:cNvPr>
          <p:cNvSpPr/>
          <p:nvPr/>
        </p:nvSpPr>
        <p:spPr>
          <a:xfrm rot="5400000">
            <a:off x="5957341" y="-2057257"/>
            <a:ext cx="274320" cy="11582400"/>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a:r>
              <a:rPr lang="en-GB" sz="1333" b="1" dirty="0">
                <a:solidFill>
                  <a:schemeClr val="bg1"/>
                </a:solidFill>
                <a:latin typeface="Arial" panose="020B0604020202020204" pitchFamily="34" charset="0"/>
              </a:rPr>
              <a:t>Fall in share of premium compact and Other SUV segment due to supply constraint</a:t>
            </a:r>
          </a:p>
        </p:txBody>
      </p:sp>
      <p:sp>
        <p:nvSpPr>
          <p:cNvPr id="29" name="Rounded Rectangle 28"/>
          <p:cNvSpPr/>
          <p:nvPr/>
        </p:nvSpPr>
        <p:spPr>
          <a:xfrm rot="5400000">
            <a:off x="9422848" y="-1385657"/>
            <a:ext cx="274320" cy="4568877"/>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algn="ctr" defTabSz="914180">
              <a:defRPr/>
            </a:pPr>
            <a:r>
              <a:rPr lang="en-US" sz="1583" b="1" dirty="0">
                <a:solidFill>
                  <a:prstClr val="white"/>
                </a:solidFill>
                <a:latin typeface="Arial" panose="020B0604020202020204" pitchFamily="34" charset="0"/>
                <a:cs typeface="Arial" panose="020B0604020202020204" pitchFamily="34" charset="0"/>
              </a:rPr>
              <a:t>Major upcoming launches (Q1 FY 2023)</a:t>
            </a:r>
          </a:p>
        </p:txBody>
      </p:sp>
      <p:graphicFrame>
        <p:nvGraphicFramePr>
          <p:cNvPr id="34" name="Table 33">
            <a:extLst>
              <a:ext uri="{FF2B5EF4-FFF2-40B4-BE49-F238E27FC236}">
                <a16:creationId xmlns:a16="http://schemas.microsoft.com/office/drawing/2014/main" id="{9B713B96-8063-4500-BE4E-E50438B3E9B4}"/>
              </a:ext>
            </a:extLst>
          </p:cNvPr>
          <p:cNvGraphicFramePr>
            <a:graphicFrameLocks noGrp="1"/>
          </p:cNvGraphicFramePr>
          <p:nvPr/>
        </p:nvGraphicFramePr>
        <p:xfrm>
          <a:off x="7275569" y="1066078"/>
          <a:ext cx="4568877" cy="2220050"/>
        </p:xfrm>
        <a:graphic>
          <a:graphicData uri="http://schemas.openxmlformats.org/drawingml/2006/table">
            <a:tbl>
              <a:tblPr firstRow="1" firstCol="1">
                <a:tableStyleId>{7DF18680-E054-41AD-8BC1-D1AEF772440D}</a:tableStyleId>
              </a:tblPr>
              <a:tblGrid>
                <a:gridCol w="1253177">
                  <a:extLst>
                    <a:ext uri="{9D8B030D-6E8A-4147-A177-3AD203B41FA5}">
                      <a16:colId xmlns:a16="http://schemas.microsoft.com/office/drawing/2014/main" val="1785985104"/>
                    </a:ext>
                  </a:extLst>
                </a:gridCol>
                <a:gridCol w="1931982">
                  <a:extLst>
                    <a:ext uri="{9D8B030D-6E8A-4147-A177-3AD203B41FA5}">
                      <a16:colId xmlns:a16="http://schemas.microsoft.com/office/drawing/2014/main" val="1996607926"/>
                    </a:ext>
                  </a:extLst>
                </a:gridCol>
                <a:gridCol w="1383718">
                  <a:extLst>
                    <a:ext uri="{9D8B030D-6E8A-4147-A177-3AD203B41FA5}">
                      <a16:colId xmlns:a16="http://schemas.microsoft.com/office/drawing/2014/main" val="1841512216"/>
                    </a:ext>
                  </a:extLst>
                </a:gridCol>
              </a:tblGrid>
              <a:tr h="326500">
                <a:tc>
                  <a:txBody>
                    <a:bodyPr/>
                    <a:lstStyle/>
                    <a:p>
                      <a:pPr algn="ctr" fontAlgn="b"/>
                      <a:r>
                        <a:rPr lang="en-IN" sz="1200" u="none" strike="noStrike" dirty="0">
                          <a:solidFill>
                            <a:schemeClr val="bg1"/>
                          </a:solidFill>
                          <a:effectLst/>
                          <a:latin typeface="Arial" panose="020B0604020202020204" pitchFamily="34" charset="0"/>
                        </a:rPr>
                        <a:t>Company</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65000"/>
                      </a:schemeClr>
                    </a:solidFill>
                  </a:tcPr>
                </a:tc>
                <a:tc>
                  <a:txBody>
                    <a:bodyPr/>
                    <a:lstStyle/>
                    <a:p>
                      <a:pPr algn="ctr" fontAlgn="b"/>
                      <a:r>
                        <a:rPr lang="en-IN" sz="1200" u="none" strike="noStrike" dirty="0">
                          <a:solidFill>
                            <a:schemeClr val="bg1"/>
                          </a:solidFill>
                          <a:effectLst/>
                          <a:latin typeface="Arial" panose="020B0604020202020204" pitchFamily="34" charset="0"/>
                        </a:rPr>
                        <a:t>Model</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65000"/>
                      </a:schemeClr>
                    </a:solidFill>
                  </a:tcPr>
                </a:tc>
                <a:tc>
                  <a:txBody>
                    <a:bodyPr/>
                    <a:lstStyle/>
                    <a:p>
                      <a:pPr algn="ctr" fontAlgn="b"/>
                      <a:r>
                        <a:rPr lang="en-IN" sz="1200" u="none" strike="noStrike" dirty="0">
                          <a:solidFill>
                            <a:schemeClr val="bg1"/>
                          </a:solidFill>
                          <a:effectLst/>
                          <a:latin typeface="Arial" panose="020B0604020202020204" pitchFamily="34" charset="0"/>
                        </a:rPr>
                        <a:t>Segment</a:t>
                      </a:r>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540715176"/>
                  </a:ext>
                </a:extLst>
              </a:tr>
              <a:tr h="378710">
                <a:tc rowSpan="2">
                  <a:txBody>
                    <a:bodyPr/>
                    <a:lstStyle/>
                    <a:p>
                      <a:pPr algn="ctr" fontAlgn="b"/>
                      <a:r>
                        <a:rPr lang="en-IN" sz="1000" b="1" i="0" u="none" strike="noStrike" dirty="0">
                          <a:solidFill>
                            <a:schemeClr val="tx1"/>
                          </a:solidFill>
                          <a:effectLst/>
                          <a:latin typeface="Arial" panose="020B0604020202020204" pitchFamily="34" charset="0"/>
                          <a:cs typeface="Arial" panose="020B0604020202020204" pitchFamily="34" charset="0"/>
                        </a:rPr>
                        <a:t>Hyundai</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b"/>
                      <a:r>
                        <a:rPr lang="en-IN" sz="1000" b="0" i="0" u="none" strike="noStrike" dirty="0">
                          <a:solidFill>
                            <a:srgbClr val="282828"/>
                          </a:solidFill>
                          <a:effectLst/>
                          <a:latin typeface="Arial" panose="020B0604020202020204" pitchFamily="34" charset="0"/>
                          <a:cs typeface="Arial" panose="020B0604020202020204" pitchFamily="34" charset="0"/>
                        </a:rPr>
                        <a:t>Creta facelift</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b"/>
                      <a:r>
                        <a:rPr lang="en-IN" sz="1000" b="0" i="0" u="none" strike="noStrike" kern="1200" dirty="0">
                          <a:solidFill>
                            <a:schemeClr val="tx1"/>
                          </a:solidFill>
                          <a:effectLst/>
                          <a:latin typeface="Arial" panose="020B0604020202020204" pitchFamily="34" charset="0"/>
                          <a:ea typeface="+mn-ea"/>
                          <a:cs typeface="Arial" panose="020B0604020202020204" pitchFamily="34" charset="0"/>
                        </a:rPr>
                        <a:t>Other SUV</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78710">
                <a:tc vMerge="1">
                  <a:txBody>
                    <a:bodyPr/>
                    <a:lstStyle/>
                    <a:p>
                      <a:pPr algn="ctr" fontAlgn="b"/>
                      <a:endParaRPr lang="en-IN" sz="1200" b="1" i="0" u="none" strike="noStrike" dirty="0">
                        <a:solidFill>
                          <a:schemeClr val="bg1"/>
                        </a:solidFill>
                        <a:effectLst/>
                        <a:latin typeface="Arial" panose="020B0604020202020204" pitchFamily="34" charset="0"/>
                        <a:cs typeface="Arial" panose="020B0604020202020204" pitchFamily="34" charset="0"/>
                      </a:endParaRPr>
                    </a:p>
                  </a:txBody>
                  <a:tcPr anchor="ctr">
                    <a:lnT w="12700" cap="flat" cmpd="sng" algn="ctr">
                      <a:solidFill>
                        <a:srgbClr val="A6A6A6"/>
                      </a:solidFill>
                      <a:prstDash val="solid"/>
                      <a:round/>
                      <a:headEnd type="none" w="med" len="med"/>
                      <a:tailEnd type="none" w="med" len="med"/>
                    </a:lnT>
                  </a:tcPr>
                </a:tc>
                <a:tc>
                  <a:txBody>
                    <a:bodyPr/>
                    <a:lstStyle/>
                    <a:p>
                      <a:pPr algn="ctr" fontAlgn="b"/>
                      <a:r>
                        <a:rPr lang="en-US" sz="1000" b="0" i="0" u="none" strike="noStrike" dirty="0">
                          <a:solidFill>
                            <a:schemeClr val="tx1"/>
                          </a:solidFill>
                          <a:effectLst/>
                          <a:latin typeface="Arial" panose="020B0604020202020204" pitchFamily="34" charset="0"/>
                          <a:cs typeface="Arial" panose="020B0604020202020204" pitchFamily="34" charset="0"/>
                        </a:rPr>
                        <a:t>Venue facelift</a:t>
                      </a:r>
                      <a:endParaRPr lang="en-IN" sz="1000" b="0" i="0" u="none" strike="noStrike" dirty="0">
                        <a:solidFill>
                          <a:schemeClr val="tx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tc>
                  <a:txBody>
                    <a:bodyPr/>
                    <a:lstStyle/>
                    <a:p>
                      <a:pPr marL="0" marR="0" indent="0" algn="ctr" defTabSz="1097280" rtl="0" eaLnBrk="1" fontAlgn="b" latinLnBrk="0" hangingPunct="1">
                        <a:lnSpc>
                          <a:spcPct val="100000"/>
                        </a:lnSpc>
                        <a:spcBef>
                          <a:spcPts val="0"/>
                        </a:spcBef>
                        <a:spcAft>
                          <a:spcPts val="0"/>
                        </a:spcAft>
                        <a:buClrTx/>
                        <a:buSzTx/>
                        <a:buFontTx/>
                        <a:buNone/>
                        <a:tabLst/>
                        <a:defRPr/>
                      </a:pPr>
                      <a:r>
                        <a:rPr lang="en-IN" sz="1000" b="0" i="0" u="none" strike="noStrike" dirty="0">
                          <a:solidFill>
                            <a:schemeClr val="tx1"/>
                          </a:solidFill>
                          <a:effectLst/>
                          <a:latin typeface="Arial" panose="020B0604020202020204" pitchFamily="34" charset="0"/>
                          <a:cs typeface="Arial" panose="020B0604020202020204" pitchFamily="34" charset="0"/>
                        </a:rPr>
                        <a:t>Compact UV</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78710">
                <a:tc>
                  <a:txBody>
                    <a:bodyPr/>
                    <a:lstStyle/>
                    <a:p>
                      <a:pPr algn="ctr" fontAlgn="b"/>
                      <a:r>
                        <a:rPr lang="en-IN" sz="1000" b="1" i="0" u="none" strike="noStrike" dirty="0">
                          <a:solidFill>
                            <a:schemeClr val="tx1"/>
                          </a:solidFill>
                          <a:effectLst/>
                          <a:latin typeface="Arial" panose="020B0604020202020204" pitchFamily="34" charset="0"/>
                          <a:cs typeface="Arial" panose="020B0604020202020204" pitchFamily="34" charset="0"/>
                        </a:rPr>
                        <a:t>Maruti</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7D7D7"/>
                    </a:solidFill>
                  </a:tcPr>
                </a:tc>
                <a:tc>
                  <a:txBody>
                    <a:bodyPr/>
                    <a:lstStyle/>
                    <a:p>
                      <a:pPr algn="ctr" fontAlgn="b"/>
                      <a:r>
                        <a:rPr lang="en-IN" sz="1000" b="0" i="0" u="none" strike="noStrike" dirty="0" err="1">
                          <a:solidFill>
                            <a:schemeClr val="tx1"/>
                          </a:solidFill>
                          <a:effectLst/>
                          <a:latin typeface="Arial" panose="020B0604020202020204" pitchFamily="34" charset="0"/>
                          <a:cs typeface="Arial" panose="020B0604020202020204" pitchFamily="34" charset="0"/>
                        </a:rPr>
                        <a:t>Brezza</a:t>
                      </a:r>
                      <a:r>
                        <a:rPr lang="en-IN" sz="1000" b="0" i="0" u="none" strike="noStrike" dirty="0">
                          <a:solidFill>
                            <a:schemeClr val="tx1"/>
                          </a:solidFill>
                          <a:effectLst/>
                          <a:latin typeface="Arial" panose="020B0604020202020204" pitchFamily="34" charset="0"/>
                          <a:cs typeface="Arial" panose="020B0604020202020204" pitchFamily="34" charset="0"/>
                        </a:rPr>
                        <a:t> facelift</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7D7D7"/>
                    </a:solidFill>
                  </a:tcPr>
                </a:tc>
                <a:tc>
                  <a:txBody>
                    <a:bodyPr/>
                    <a:lstStyle/>
                    <a:p>
                      <a:pPr marL="0" marR="0" indent="0" algn="ctr" defTabSz="1097280" rtl="0" eaLnBrk="1" fontAlgn="b" latinLnBrk="0" hangingPunct="1">
                        <a:lnSpc>
                          <a:spcPct val="100000"/>
                        </a:lnSpc>
                        <a:spcBef>
                          <a:spcPts val="0"/>
                        </a:spcBef>
                        <a:spcAft>
                          <a:spcPts val="0"/>
                        </a:spcAft>
                        <a:buClrTx/>
                        <a:buSzTx/>
                        <a:buFontTx/>
                        <a:buNone/>
                        <a:tabLst/>
                        <a:defRPr/>
                      </a:pPr>
                      <a:r>
                        <a:rPr lang="en-IN" sz="1000" b="0" i="0" u="none" strike="noStrike" dirty="0">
                          <a:solidFill>
                            <a:schemeClr val="tx1"/>
                          </a:solidFill>
                          <a:effectLst/>
                          <a:latin typeface="Arial" panose="020B0604020202020204" pitchFamily="34" charset="0"/>
                          <a:cs typeface="Arial" panose="020B0604020202020204" pitchFamily="34" charset="0"/>
                        </a:rPr>
                        <a:t>Compact UV</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D7D7D7"/>
                    </a:solidFill>
                  </a:tcPr>
                </a:tc>
                <a:extLst>
                  <a:ext uri="{0D108BD9-81ED-4DB2-BD59-A6C34878D82A}">
                    <a16:rowId xmlns:a16="http://schemas.microsoft.com/office/drawing/2014/main" val="4276681744"/>
                  </a:ext>
                </a:extLst>
              </a:tr>
              <a:tr h="378710">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1"/>
                          </a:solidFill>
                          <a:effectLst/>
                          <a:latin typeface="Arial" panose="020B0604020202020204" pitchFamily="34" charset="0"/>
                          <a:ea typeface="+mn-ea"/>
                          <a:cs typeface="Arial" panose="020B0604020202020204" pitchFamily="34" charset="0"/>
                        </a:rPr>
                        <a:t>Kia</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IN" sz="1000" b="0" i="0" u="none" strike="noStrike" kern="1200" dirty="0">
                          <a:solidFill>
                            <a:schemeClr val="tx1"/>
                          </a:solidFill>
                          <a:effectLst/>
                          <a:latin typeface="Arial" panose="020B0604020202020204" pitchFamily="34" charset="0"/>
                          <a:ea typeface="+mn-ea"/>
                          <a:cs typeface="Arial" panose="020B0604020202020204" pitchFamily="34" charset="0"/>
                        </a:rPr>
                        <a:t>Sportage</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fontAlgn="b"/>
                      <a:r>
                        <a:rPr lang="en-IN" sz="1000" b="0" i="0" u="none" strike="noStrike" kern="1200" dirty="0">
                          <a:solidFill>
                            <a:schemeClr val="tx1"/>
                          </a:solidFill>
                          <a:effectLst/>
                          <a:latin typeface="Arial" panose="020B0604020202020204" pitchFamily="34" charset="0"/>
                          <a:ea typeface="+mn-ea"/>
                          <a:cs typeface="Arial" panose="020B0604020202020204" pitchFamily="34" charset="0"/>
                        </a:rPr>
                        <a:t>Other SUV</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8710">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1"/>
                          </a:solidFill>
                          <a:effectLst/>
                          <a:latin typeface="Arial" panose="020B0604020202020204" pitchFamily="34" charset="0"/>
                          <a:ea typeface="+mn-ea"/>
                          <a:cs typeface="Arial" panose="020B0604020202020204" pitchFamily="34" charset="0"/>
                        </a:rPr>
                        <a:t>Volkswagen</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algn="ctr" fontAlgn="b"/>
                      <a:r>
                        <a:rPr lang="en-IN" sz="1000" b="0" i="0" u="none" strike="noStrike" kern="1200" dirty="0">
                          <a:solidFill>
                            <a:schemeClr val="tx1"/>
                          </a:solidFill>
                          <a:effectLst/>
                          <a:latin typeface="Arial" panose="020B0604020202020204" pitchFamily="34" charset="0"/>
                          <a:ea typeface="+mn-ea"/>
                          <a:cs typeface="Arial" panose="020B0604020202020204" pitchFamily="34" charset="0"/>
                        </a:rPr>
                        <a:t>Virtus</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tc>
                  <a:txBody>
                    <a:bodyPr/>
                    <a:lstStyle/>
                    <a:p>
                      <a:pPr marL="0" marR="0" lvl="0" indent="0" algn="ctr" defTabSz="1097280" rtl="0" eaLnBrk="1" fontAlgn="b" latinLnBrk="0" hangingPunct="1">
                        <a:lnSpc>
                          <a:spcPct val="100000"/>
                        </a:lnSpc>
                        <a:spcBef>
                          <a:spcPts val="0"/>
                        </a:spcBef>
                        <a:spcAft>
                          <a:spcPts val="0"/>
                        </a:spcAft>
                        <a:buClrTx/>
                        <a:buSzTx/>
                        <a:buFontTx/>
                        <a:buNone/>
                        <a:tabLst/>
                        <a:defRPr/>
                      </a:pPr>
                      <a:r>
                        <a:rPr lang="en-IN" sz="1000" b="0" i="0" u="none" strike="noStrike" kern="1200" dirty="0">
                          <a:solidFill>
                            <a:schemeClr val="tx1"/>
                          </a:solidFill>
                          <a:effectLst/>
                          <a:latin typeface="Arial" panose="020B0604020202020204" pitchFamily="34" charset="0"/>
                          <a:ea typeface="+mn-ea"/>
                          <a:cs typeface="Arial" panose="020B0604020202020204" pitchFamily="34" charset="0"/>
                        </a:rPr>
                        <a:t>Large car</a:t>
                      </a:r>
                    </a:p>
                  </a:txBody>
                  <a:tcPr marL="44450" marR="44450" marT="44450" marB="4445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543999784"/>
                  </a:ext>
                </a:extLst>
              </a:tr>
            </a:tbl>
          </a:graphicData>
        </a:graphic>
      </p:graphicFrame>
      <p:graphicFrame>
        <p:nvGraphicFramePr>
          <p:cNvPr id="12" name="Chart 11">
            <a:extLst>
              <a:ext uri="{FF2B5EF4-FFF2-40B4-BE49-F238E27FC236}">
                <a16:creationId xmlns:a16="http://schemas.microsoft.com/office/drawing/2014/main" id="{8DB6222C-4E68-4A16-A2FC-43F7D007A928}"/>
              </a:ext>
            </a:extLst>
          </p:cNvPr>
          <p:cNvGraphicFramePr>
            <a:graphicFrameLocks/>
          </p:cNvGraphicFramePr>
          <p:nvPr>
            <p:extLst>
              <p:ext uri="{D42A27DB-BD31-4B8C-83A1-F6EECF244321}">
                <p14:modId xmlns:p14="http://schemas.microsoft.com/office/powerpoint/2010/main" val="2257549781"/>
              </p:ext>
            </p:extLst>
          </p:nvPr>
        </p:nvGraphicFramePr>
        <p:xfrm>
          <a:off x="256240" y="1018034"/>
          <a:ext cx="6835274" cy="24201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6824995A-818D-472A-A51A-B062866148AB}"/>
              </a:ext>
            </a:extLst>
          </p:cNvPr>
          <p:cNvGraphicFramePr>
            <a:graphicFrameLocks/>
          </p:cNvGraphicFramePr>
          <p:nvPr/>
        </p:nvGraphicFramePr>
        <p:xfrm>
          <a:off x="90752" y="3871105"/>
          <a:ext cx="11794949" cy="23351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96267576"/>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rot="5400000">
            <a:off x="3064812" y="-1709273"/>
            <a:ext cx="266700" cy="5715000"/>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algn="ctr" defTabSz="914143">
              <a:defRPr/>
            </a:pPr>
            <a:r>
              <a:rPr lang="en-US" sz="1417" b="1" dirty="0">
                <a:solidFill>
                  <a:prstClr val="white"/>
                </a:solidFill>
                <a:latin typeface="Arial" panose="020B0604020202020204" pitchFamily="34" charset="0"/>
                <a:cs typeface="Arial" panose="020B0604020202020204" pitchFamily="34" charset="0"/>
              </a:rPr>
              <a:t>Fuel prices hiked in the second half of March </a:t>
            </a:r>
          </a:p>
        </p:txBody>
      </p:sp>
      <p:sp>
        <p:nvSpPr>
          <p:cNvPr id="18" name="TextBox 17">
            <a:extLst>
              <a:ext uri="{FF2B5EF4-FFF2-40B4-BE49-F238E27FC236}">
                <a16:creationId xmlns:a16="http://schemas.microsoft.com/office/drawing/2014/main" id="{A8C084BA-2434-4B72-BB14-017D6441770F}"/>
              </a:ext>
            </a:extLst>
          </p:cNvPr>
          <p:cNvSpPr txBox="1"/>
          <p:nvPr/>
        </p:nvSpPr>
        <p:spPr>
          <a:xfrm>
            <a:off x="404340" y="6502492"/>
            <a:ext cx="7683747" cy="348671"/>
          </a:xfrm>
          <a:prstGeom prst="rect">
            <a:avLst/>
          </a:prstGeom>
          <a:noFill/>
        </p:spPr>
        <p:txBody>
          <a:bodyPr wrap="square" lIns="91425" tIns="45713" rIns="91425" bIns="45713" rtlCol="0">
            <a:spAutoFit/>
          </a:bodyPr>
          <a:lstStyle/>
          <a:p>
            <a:pPr defTabSz="914143">
              <a:defRPr/>
            </a:pPr>
            <a:r>
              <a:rPr lang="en-US" sz="833" i="1" dirty="0">
                <a:solidFill>
                  <a:prstClr val="black"/>
                </a:solidFill>
                <a:latin typeface="Arial" panose="020B0604020202020204" pitchFamily="34" charset="0"/>
                <a:cs typeface="Arial" panose="020B0604020202020204" pitchFamily="34" charset="0"/>
              </a:rPr>
              <a:t>Note: Average fuel prices  of 4 region – Mumbai, Delhi, </a:t>
            </a:r>
            <a:r>
              <a:rPr lang="en-US" sz="833" i="1" dirty="0" err="1">
                <a:solidFill>
                  <a:prstClr val="black"/>
                </a:solidFill>
                <a:latin typeface="Arial" panose="020B0604020202020204" pitchFamily="34" charset="0"/>
                <a:cs typeface="Arial" panose="020B0604020202020204" pitchFamily="34" charset="0"/>
              </a:rPr>
              <a:t>Kolkatta</a:t>
            </a:r>
            <a:r>
              <a:rPr lang="en-US" sz="833" i="1" dirty="0">
                <a:solidFill>
                  <a:prstClr val="black"/>
                </a:solidFill>
                <a:latin typeface="Arial" panose="020B0604020202020204" pitchFamily="34" charset="0"/>
                <a:cs typeface="Arial" panose="020B0604020202020204" pitchFamily="34" charset="0"/>
              </a:rPr>
              <a:t> and Chennai, Interest rates are average bank lending rates</a:t>
            </a:r>
          </a:p>
          <a:p>
            <a:pPr defTabSz="914143">
              <a:defRPr/>
            </a:pPr>
            <a:r>
              <a:rPr lang="en-US" sz="833" i="1" dirty="0">
                <a:solidFill>
                  <a:prstClr val="black"/>
                </a:solidFill>
                <a:latin typeface="Arial" panose="020B0604020202020204" pitchFamily="34" charset="0"/>
                <a:cs typeface="Arial" panose="020B0604020202020204" pitchFamily="34" charset="0"/>
              </a:rPr>
              <a:t>Source: Industry, </a:t>
            </a:r>
            <a:r>
              <a:rPr lang="en-US" sz="833" i="1" dirty="0" err="1">
                <a:solidFill>
                  <a:prstClr val="black"/>
                </a:solidFill>
                <a:latin typeface="Arial" panose="020B0604020202020204" pitchFamily="34" charset="0"/>
                <a:cs typeface="Arial" panose="020B0604020202020204" pitchFamily="34" charset="0"/>
              </a:rPr>
              <a:t>MoRTH</a:t>
            </a:r>
            <a:r>
              <a:rPr lang="en-US" sz="833" i="1" dirty="0">
                <a:solidFill>
                  <a:prstClr val="black"/>
                </a:solidFill>
                <a:latin typeface="Arial" panose="020B0604020202020204" pitchFamily="34" charset="0"/>
                <a:cs typeface="Arial" panose="020B0604020202020204" pitchFamily="34" charset="0"/>
              </a:rPr>
              <a:t>, CRISIL Research</a:t>
            </a:r>
            <a:endParaRPr lang="en-IN" sz="833" i="1" dirty="0">
              <a:solidFill>
                <a:prstClr val="black"/>
              </a:solidFill>
              <a:latin typeface="Arial" panose="020B0604020202020204" pitchFamily="34" charset="0"/>
              <a:cs typeface="Arial" panose="020B0604020202020204" pitchFamily="34" charset="0"/>
            </a:endParaRPr>
          </a:p>
        </p:txBody>
      </p:sp>
      <p:sp>
        <p:nvSpPr>
          <p:cNvPr id="4" name="Rectangle 3"/>
          <p:cNvSpPr/>
          <p:nvPr/>
        </p:nvSpPr>
        <p:spPr>
          <a:xfrm>
            <a:off x="178645" y="26898"/>
            <a:ext cx="11610356" cy="978729"/>
          </a:xfrm>
          <a:prstGeom prst="rect">
            <a:avLst/>
          </a:prstGeom>
        </p:spPr>
        <p:txBody>
          <a:bodyPr vert="horz" lIns="0" tIns="0" rIns="0" bIns="0" rtlCol="0" anchor="ctr">
            <a:noAutofit/>
          </a:bodyPr>
          <a:lstStyle/>
          <a:p>
            <a:pPr defTabSz="914180">
              <a:lnSpc>
                <a:spcPct val="90000"/>
              </a:lnSpc>
              <a:spcBef>
                <a:spcPct val="0"/>
              </a:spcBef>
              <a:defRPr/>
            </a:pPr>
            <a:r>
              <a:rPr lang="en-IN" sz="2833" b="1" dirty="0">
                <a:solidFill>
                  <a:srgbClr val="000000"/>
                </a:solidFill>
                <a:latin typeface="Arial" panose="020B0604020202020204" pitchFamily="34" charset="0"/>
                <a:cs typeface="Arial" panose="020B0604020202020204" pitchFamily="34" charset="0"/>
              </a:rPr>
              <a:t>Rise in fuel prices incentivise CNG/Electric vehicle adoption, interest rates remain muted</a:t>
            </a:r>
            <a:endParaRPr lang="en-US" sz="2833" b="1" dirty="0">
              <a:solidFill>
                <a:srgbClr val="000000"/>
              </a:solidFill>
              <a:latin typeface="Arial" panose="020B0604020202020204" pitchFamily="34" charset="0"/>
              <a:cs typeface="Arial" panose="020B0604020202020204" pitchFamily="34" charset="0"/>
            </a:endParaRPr>
          </a:p>
        </p:txBody>
      </p:sp>
      <p:sp>
        <p:nvSpPr>
          <p:cNvPr id="17" name="Rounded Rectangle 16"/>
          <p:cNvSpPr/>
          <p:nvPr/>
        </p:nvSpPr>
        <p:spPr>
          <a:xfrm rot="5400000">
            <a:off x="8866728" y="-1663552"/>
            <a:ext cx="266700" cy="5577841"/>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defTabSz="914327"/>
            <a:r>
              <a:rPr lang="en-GB" sz="1417" b="1" dirty="0">
                <a:solidFill>
                  <a:prstClr val="white"/>
                </a:solidFill>
                <a:latin typeface="Arial" panose="020B0604020202020204" pitchFamily="34" charset="0"/>
              </a:rPr>
              <a:t>Share of CNG &amp; Electric expanded further in fiscal 22</a:t>
            </a:r>
          </a:p>
        </p:txBody>
      </p:sp>
      <p:sp>
        <p:nvSpPr>
          <p:cNvPr id="20" name="Rounded Rectangle 19">
            <a:extLst>
              <a:ext uri="{FF2B5EF4-FFF2-40B4-BE49-F238E27FC236}">
                <a16:creationId xmlns:a16="http://schemas.microsoft.com/office/drawing/2014/main" id="{71F81B80-4C46-4FBE-B74B-727A547EC34B}"/>
              </a:ext>
            </a:extLst>
          </p:cNvPr>
          <p:cNvSpPr/>
          <p:nvPr/>
        </p:nvSpPr>
        <p:spPr>
          <a:xfrm rot="5400000">
            <a:off x="5985989" y="-1902097"/>
            <a:ext cx="266700" cy="11430000"/>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40" tIns="45720" rIns="91440" bIns="45720" rtlCol="0" anchor="ctr"/>
          <a:lstStyle/>
          <a:p>
            <a:pPr algn="ctr" defTabSz="914327"/>
            <a:r>
              <a:rPr lang="en-GB" sz="1417" b="1" dirty="0">
                <a:solidFill>
                  <a:prstClr val="white"/>
                </a:solidFill>
                <a:latin typeface="Arial" panose="020B0604020202020204" pitchFamily="34" charset="0"/>
              </a:rPr>
              <a:t>Difference between MCLR &amp; lending rate narrows down further</a:t>
            </a:r>
          </a:p>
        </p:txBody>
      </p:sp>
      <p:graphicFrame>
        <p:nvGraphicFramePr>
          <p:cNvPr id="13" name="Chart 12">
            <a:extLst>
              <a:ext uri="{FF2B5EF4-FFF2-40B4-BE49-F238E27FC236}">
                <a16:creationId xmlns:a16="http://schemas.microsoft.com/office/drawing/2014/main" id="{00000000-0008-0000-0500-000003000000}"/>
              </a:ext>
            </a:extLst>
          </p:cNvPr>
          <p:cNvGraphicFramePr>
            <a:graphicFrameLocks/>
          </p:cNvGraphicFramePr>
          <p:nvPr/>
        </p:nvGraphicFramePr>
        <p:xfrm>
          <a:off x="340659" y="1287793"/>
          <a:ext cx="5715003" cy="23793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00000000-0008-0000-0000-000002000000}"/>
              </a:ext>
            </a:extLst>
          </p:cNvPr>
          <p:cNvGraphicFramePr>
            <a:graphicFrameLocks/>
          </p:cNvGraphicFramePr>
          <p:nvPr/>
        </p:nvGraphicFramePr>
        <p:xfrm>
          <a:off x="6220327" y="1264932"/>
          <a:ext cx="5559502" cy="24084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E7D1EFF0-C606-45A2-BD49-21472B408E9F}"/>
              </a:ext>
            </a:extLst>
          </p:cNvPr>
          <p:cNvGraphicFramePr>
            <a:graphicFrameLocks/>
          </p:cNvGraphicFramePr>
          <p:nvPr/>
        </p:nvGraphicFramePr>
        <p:xfrm>
          <a:off x="340660" y="3932647"/>
          <a:ext cx="11429999" cy="268753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94818368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rot="5400000">
            <a:off x="6118782" y="-804373"/>
            <a:ext cx="262661" cy="3787744"/>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algn="ctr" defTabSz="914180">
              <a:defRPr/>
            </a:pPr>
            <a:r>
              <a:rPr lang="en-US" sz="1333" b="1" dirty="0">
                <a:solidFill>
                  <a:srgbClr val="FFFFFF"/>
                </a:solidFill>
                <a:latin typeface="Arial" panose="020B0604020202020204" pitchFamily="34" charset="0"/>
                <a:cs typeface="Arial" panose="020B0604020202020204" pitchFamily="34" charset="0"/>
              </a:rPr>
              <a:t>Loan-to-value (LTV)</a:t>
            </a:r>
          </a:p>
        </p:txBody>
      </p:sp>
      <p:sp>
        <p:nvSpPr>
          <p:cNvPr id="26" name="TextBox 25"/>
          <p:cNvSpPr txBox="1"/>
          <p:nvPr/>
        </p:nvSpPr>
        <p:spPr>
          <a:xfrm>
            <a:off x="298649" y="4678495"/>
            <a:ext cx="5683881" cy="233448"/>
          </a:xfrm>
          <a:prstGeom prst="rect">
            <a:avLst/>
          </a:prstGeom>
          <a:noFill/>
        </p:spPr>
        <p:txBody>
          <a:bodyPr wrap="square" lIns="91425" tIns="45713" rIns="91425" bIns="45713" rtlCol="0">
            <a:spAutoFit/>
          </a:bodyPr>
          <a:lstStyle/>
          <a:p>
            <a:pPr defTabSz="914180">
              <a:defRPr/>
            </a:pPr>
            <a:r>
              <a:rPr lang="en-IN" sz="917" i="1" dirty="0">
                <a:solidFill>
                  <a:srgbClr val="000000"/>
                </a:solidFill>
                <a:latin typeface="Arial" panose="020B0604020202020204" pitchFamily="34" charset="0"/>
                <a:cs typeface="Arial" panose="020B0604020202020204" pitchFamily="34" charset="0"/>
              </a:rPr>
              <a:t>Source: Company Report, Industry, </a:t>
            </a:r>
            <a:r>
              <a:rPr lang="en-US" sz="917" i="1" dirty="0">
                <a:solidFill>
                  <a:prstClr val="black"/>
                </a:solidFill>
                <a:latin typeface="Arial" panose="020B0604020202020204" pitchFamily="34" charset="0"/>
                <a:cs typeface="Arial" panose="020B0604020202020204" pitchFamily="34" charset="0"/>
              </a:rPr>
              <a:t>CRISIL Research</a:t>
            </a:r>
            <a:endParaRPr lang="en-IN" sz="917" i="1" dirty="0">
              <a:solidFill>
                <a:srgbClr val="000000"/>
              </a:solidFill>
              <a:latin typeface="Arial" panose="020B0604020202020204" pitchFamily="34" charset="0"/>
              <a:cs typeface="Arial" panose="020B0604020202020204" pitchFamily="34" charset="0"/>
            </a:endParaRPr>
          </a:p>
        </p:txBody>
      </p:sp>
      <p:sp>
        <p:nvSpPr>
          <p:cNvPr id="11" name="Rounded Rectangle 10">
            <a:extLst>
              <a:ext uri="{FF2B5EF4-FFF2-40B4-BE49-F238E27FC236}">
                <a16:creationId xmlns:a16="http://schemas.microsoft.com/office/drawing/2014/main" id="{12B8F990-71D6-493E-93A8-EDC68232D5B4}"/>
              </a:ext>
            </a:extLst>
          </p:cNvPr>
          <p:cNvSpPr/>
          <p:nvPr/>
        </p:nvSpPr>
        <p:spPr>
          <a:xfrm rot="5400000">
            <a:off x="9964968" y="-655501"/>
            <a:ext cx="262660" cy="3490001"/>
          </a:xfrm>
          <a:prstGeom prst="roundRect">
            <a:avLst/>
          </a:prstGeom>
          <a:solidFill>
            <a:schemeClr val="accent6">
              <a:lumMod val="50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algn="ctr" defTabSz="914143">
              <a:defRPr/>
            </a:pPr>
            <a:r>
              <a:rPr lang="en-US" sz="1333" b="1" dirty="0">
                <a:solidFill>
                  <a:prstClr val="white"/>
                </a:solidFill>
                <a:latin typeface="Arial" panose="020B0604020202020204" pitchFamily="34" charset="0"/>
                <a:cs typeface="Arial" panose="020B0604020202020204" pitchFamily="34" charset="0"/>
              </a:rPr>
              <a:t>Financing penetration</a:t>
            </a:r>
          </a:p>
        </p:txBody>
      </p:sp>
      <p:sp>
        <p:nvSpPr>
          <p:cNvPr id="12" name="Rectangle 11">
            <a:extLst>
              <a:ext uri="{FF2B5EF4-FFF2-40B4-BE49-F238E27FC236}">
                <a16:creationId xmlns:a16="http://schemas.microsoft.com/office/drawing/2014/main" id="{EA59BFA3-81DB-4267-B37E-141371721CF6}"/>
              </a:ext>
            </a:extLst>
          </p:cNvPr>
          <p:cNvSpPr/>
          <p:nvPr/>
        </p:nvSpPr>
        <p:spPr>
          <a:xfrm>
            <a:off x="386573" y="5119315"/>
            <a:ext cx="11576827" cy="1169922"/>
          </a:xfrm>
          <a:prstGeom prst="rect">
            <a:avLst/>
          </a:prstGeom>
          <a:solidFill>
            <a:schemeClr val="bg1">
              <a:lumMod val="85000"/>
            </a:schemeClr>
          </a:solidFill>
        </p:spPr>
        <p:txBody>
          <a:bodyPr wrap="square" lIns="91425" tIns="45713" rIns="91425" bIns="45713" anchor="ctr">
            <a:spAutoFit/>
          </a:bodyPr>
          <a:lstStyle/>
          <a:p>
            <a:pPr marL="171373" indent="-171373" defTabSz="914180">
              <a:buSzPct val="140000"/>
              <a:buFont typeface="Arial" panose="020B0604020202020204" pitchFamily="34" charset="0"/>
              <a:buChar char="•"/>
              <a:defRPr/>
            </a:pPr>
            <a:r>
              <a:rPr lang="en-IN" sz="1167" dirty="0">
                <a:solidFill>
                  <a:srgbClr val="000000"/>
                </a:solidFill>
                <a:latin typeface="Arial" panose="020B0604020202020204" pitchFamily="34" charset="0"/>
                <a:cs typeface="Arial" panose="020B0604020202020204" pitchFamily="34" charset="0"/>
              </a:rPr>
              <a:t>PV industry is expected to grow 12-14% y-o-y during fiscal 23 providing a push to overall disbursements during the year, expected increase in prices to offset the rise in commodity costs will provide an added support to the disbursements; After a slide in fiscal 21, disbursement bounced back during fiscal 22 with increase in vehicle sales volumes as well as prices. </a:t>
            </a:r>
          </a:p>
          <a:p>
            <a:pPr marL="171373" indent="-171373" defTabSz="914180">
              <a:buSzPct val="140000"/>
              <a:buFont typeface="Arial" panose="020B0604020202020204" pitchFamily="34" charset="0"/>
              <a:buChar char="•"/>
              <a:defRPr/>
            </a:pPr>
            <a:r>
              <a:rPr lang="en-IN" sz="1167" dirty="0">
                <a:solidFill>
                  <a:srgbClr val="000000"/>
                </a:solidFill>
                <a:latin typeface="Arial" panose="020B0604020202020204" pitchFamily="34" charset="0"/>
                <a:cs typeface="Arial" panose="020B0604020202020204" pitchFamily="34" charset="0"/>
              </a:rPr>
              <a:t>Interest rates have been contracting q-o-q during fiscal 22, we expect the rates to remain muted during fiscal 23</a:t>
            </a:r>
          </a:p>
          <a:p>
            <a:pPr marL="171373" indent="-171373" defTabSz="914180">
              <a:buSzPct val="140000"/>
              <a:buFont typeface="Arial" panose="020B0604020202020204" pitchFamily="34" charset="0"/>
              <a:buChar char="•"/>
              <a:defRPr/>
            </a:pPr>
            <a:r>
              <a:rPr lang="en-IN" sz="1167" dirty="0">
                <a:solidFill>
                  <a:srgbClr val="000000"/>
                </a:solidFill>
                <a:latin typeface="Arial" panose="020B0604020202020204" pitchFamily="34" charset="0"/>
                <a:cs typeface="Arial" panose="020B0604020202020204" pitchFamily="34" charset="0"/>
              </a:rPr>
              <a:t>However, some cautious funding is expected going ahead amidst the estimated pressure on disposable incomes of customers amidst the global uncertainty</a:t>
            </a:r>
          </a:p>
          <a:p>
            <a:pPr marL="171373" indent="-171373" defTabSz="914180">
              <a:buSzPct val="140000"/>
              <a:buFont typeface="Arial" panose="020B0604020202020204" pitchFamily="34" charset="0"/>
              <a:buChar char="•"/>
              <a:defRPr/>
            </a:pPr>
            <a:r>
              <a:rPr lang="en-IN" sz="1167" dirty="0">
                <a:solidFill>
                  <a:srgbClr val="000000"/>
                </a:solidFill>
                <a:latin typeface="Arial" panose="020B0604020202020204" pitchFamily="34" charset="0"/>
                <a:cs typeface="Arial" panose="020B0604020202020204" pitchFamily="34" charset="0"/>
              </a:rPr>
              <a:t>LTV &amp; Penetration levels are expected to continue their gradual improvement</a:t>
            </a:r>
          </a:p>
        </p:txBody>
      </p:sp>
      <p:sp>
        <p:nvSpPr>
          <p:cNvPr id="3" name="Rectangle 2">
            <a:extLst>
              <a:ext uri="{FF2B5EF4-FFF2-40B4-BE49-F238E27FC236}">
                <a16:creationId xmlns:a16="http://schemas.microsoft.com/office/drawing/2014/main" id="{F1B0364F-4E86-473D-8424-D1324971015C}"/>
              </a:ext>
            </a:extLst>
          </p:cNvPr>
          <p:cNvSpPr/>
          <p:nvPr/>
        </p:nvSpPr>
        <p:spPr>
          <a:xfrm>
            <a:off x="363033" y="52268"/>
            <a:ext cx="11600367" cy="918382"/>
          </a:xfrm>
          <a:prstGeom prst="rect">
            <a:avLst/>
          </a:prstGeom>
        </p:spPr>
        <p:txBody>
          <a:bodyPr vert="horz" lIns="0" tIns="0" rIns="0" bIns="0" rtlCol="0" anchor="ctr">
            <a:noAutofit/>
          </a:bodyPr>
          <a:lstStyle/>
          <a:p>
            <a:pPr defTabSz="914180">
              <a:lnSpc>
                <a:spcPct val="90000"/>
              </a:lnSpc>
              <a:spcBef>
                <a:spcPct val="0"/>
              </a:spcBef>
              <a:defRPr/>
            </a:pPr>
            <a:r>
              <a:rPr lang="en-IN" sz="2667" b="1" dirty="0">
                <a:solidFill>
                  <a:srgbClr val="000000"/>
                </a:solidFill>
                <a:latin typeface="Arial" panose="020B0604020202020204" pitchFamily="34" charset="0"/>
                <a:cs typeface="Arial" panose="020B0604020202020204" pitchFamily="34" charset="0"/>
              </a:rPr>
              <a:t>Disbursements expected to rise further in fiscal 23, interest rates to remain subdued</a:t>
            </a:r>
            <a:endParaRPr lang="en-US" sz="2667" b="1" dirty="0">
              <a:solidFill>
                <a:srgbClr val="000000"/>
              </a:solidFill>
              <a:latin typeface="Arial" panose="020B0604020202020204" pitchFamily="34" charset="0"/>
              <a:cs typeface="Arial" panose="020B0604020202020204" pitchFamily="34" charset="0"/>
            </a:endParaRPr>
          </a:p>
        </p:txBody>
      </p:sp>
      <p:sp>
        <p:nvSpPr>
          <p:cNvPr id="10" name="Rounded Rectangle 9"/>
          <p:cNvSpPr/>
          <p:nvPr/>
        </p:nvSpPr>
        <p:spPr>
          <a:xfrm rot="5400000">
            <a:off x="2009890" y="-817298"/>
            <a:ext cx="262661" cy="3813595"/>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12699" algn="ctr" defTabSz="914180">
              <a:defRPr/>
            </a:pPr>
            <a:r>
              <a:rPr lang="en-US" sz="1333" b="1" dirty="0">
                <a:solidFill>
                  <a:prstClr val="white"/>
                </a:solidFill>
                <a:latin typeface="Arial" panose="020B0604020202020204" pitchFamily="34" charset="0"/>
                <a:cs typeface="Arial" panose="020B0604020202020204" pitchFamily="34" charset="0"/>
              </a:rPr>
              <a:t>Disbursement</a:t>
            </a:r>
          </a:p>
        </p:txBody>
      </p:sp>
      <p:graphicFrame>
        <p:nvGraphicFramePr>
          <p:cNvPr id="17" name="Chart 16">
            <a:extLst>
              <a:ext uri="{FF2B5EF4-FFF2-40B4-BE49-F238E27FC236}">
                <a16:creationId xmlns:a16="http://schemas.microsoft.com/office/drawing/2014/main" id="{C5523DE7-70EA-4AAB-89E7-88F1B930F7E9}"/>
              </a:ext>
            </a:extLst>
          </p:cNvPr>
          <p:cNvGraphicFramePr>
            <a:graphicFrameLocks/>
          </p:cNvGraphicFramePr>
          <p:nvPr/>
        </p:nvGraphicFramePr>
        <p:xfrm>
          <a:off x="4289763" y="1285306"/>
          <a:ext cx="3854223" cy="29784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00000000-0008-0000-0100-000002000000}"/>
              </a:ext>
            </a:extLst>
          </p:cNvPr>
          <p:cNvGraphicFramePr>
            <a:graphicFrameLocks/>
          </p:cNvGraphicFramePr>
          <p:nvPr/>
        </p:nvGraphicFramePr>
        <p:xfrm>
          <a:off x="234424" y="1287991"/>
          <a:ext cx="3936883" cy="33233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E4E6A422-6500-4706-8F1B-7285ED520756}"/>
              </a:ext>
            </a:extLst>
          </p:cNvPr>
          <p:cNvGraphicFramePr>
            <a:graphicFrameLocks/>
          </p:cNvGraphicFramePr>
          <p:nvPr/>
        </p:nvGraphicFramePr>
        <p:xfrm>
          <a:off x="8351298" y="1287991"/>
          <a:ext cx="3700289" cy="317099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4227660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1C3708-46BA-4A0F-8561-60C85F416959}"/>
              </a:ext>
            </a:extLst>
          </p:cNvPr>
          <p:cNvSpPr txBox="1"/>
          <p:nvPr/>
        </p:nvSpPr>
        <p:spPr>
          <a:xfrm>
            <a:off x="412514" y="5172006"/>
            <a:ext cx="11547261" cy="1015649"/>
          </a:xfrm>
          <a:prstGeom prst="rect">
            <a:avLst/>
          </a:prstGeom>
          <a:solidFill>
            <a:schemeClr val="tx2"/>
          </a:solidFill>
        </p:spPr>
        <p:txBody>
          <a:bodyPr wrap="square" lIns="91425" tIns="45713" rIns="91425" bIns="45713" rtlCol="0" anchor="ctr">
            <a:spAutoFit/>
          </a:bodyPr>
          <a:lstStyle/>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tail sales have been better than offtake in turn increasing pressure on supply.</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There was some improvement in offtake during the Q1 FY22 boosting dealer inventory, continued restrictions in few states like Kerala, WB limited the retail demand growth</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Continued supply shortage on account of the semi conductor chip issue resulted in a large difference between retail &amp; offtake in Q3 FY22</a:t>
            </a:r>
          </a:p>
          <a:p>
            <a:pPr marL="171387" marR="0" lvl="0" indent="-171387" algn="l" defTabSz="914253"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aler stock levels continue to remain below normal; currently at 1</a:t>
            </a:r>
            <a:r>
              <a:rPr lang="en-US" sz="1200" dirty="0">
                <a:solidFill>
                  <a:srgbClr val="000000"/>
                </a:solidFill>
                <a:latin typeface="Arial" panose="020B0604020202020204" pitchFamily="34" charset="0"/>
                <a:cs typeface="Arial" panose="020B0604020202020204" pitchFamily="34" charset="0"/>
              </a:rPr>
              <a:t>5-2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ays </a:t>
            </a:r>
          </a:p>
        </p:txBody>
      </p:sp>
      <p:sp>
        <p:nvSpPr>
          <p:cNvPr id="9" name="Rectangle 8">
            <a:extLst>
              <a:ext uri="{FF2B5EF4-FFF2-40B4-BE49-F238E27FC236}">
                <a16:creationId xmlns:a16="http://schemas.microsoft.com/office/drawing/2014/main" id="{2C6C8494-3F11-4854-BA6B-3A3D6D03AADE}"/>
              </a:ext>
            </a:extLst>
          </p:cNvPr>
          <p:cNvSpPr/>
          <p:nvPr/>
        </p:nvSpPr>
        <p:spPr>
          <a:xfrm>
            <a:off x="397996" y="130400"/>
            <a:ext cx="11532747" cy="978729"/>
          </a:xfrm>
          <a:prstGeom prst="rect">
            <a:avLst/>
          </a:prstGeom>
        </p:spPr>
        <p:txBody>
          <a:bodyPr vert="horz" lIns="0" tIns="0" rIns="0" bIns="0" rtlCol="0" anchor="ctr">
            <a:noAutofit/>
          </a:bodyPr>
          <a:lstStyle/>
          <a:p>
            <a:pPr marL="0" marR="0" lvl="0" indent="0" algn="l" defTabSz="914253"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272727"/>
                </a:solidFill>
                <a:effectLst/>
                <a:uLnTx/>
                <a:uFillTx/>
                <a:latin typeface="Arial" panose="020B0604020202020204" pitchFamily="34" charset="0"/>
                <a:ea typeface="+mn-ea"/>
                <a:cs typeface="Arial" panose="020B0604020202020204" pitchFamily="34" charset="0"/>
              </a:rPr>
              <a:t>Some improvement in</a:t>
            </a:r>
            <a:r>
              <a:rPr kumimoji="0" lang="en-US" sz="2800" b="1" i="0" u="none" strike="noStrike" kern="1200" cap="none" spc="0" normalizeH="0" noProof="0" dirty="0">
                <a:ln>
                  <a:noFill/>
                </a:ln>
                <a:solidFill>
                  <a:srgbClr val="272727"/>
                </a:solidFill>
                <a:effectLst/>
                <a:uLnTx/>
                <a:uFillTx/>
                <a:latin typeface="Arial" panose="020B0604020202020204" pitchFamily="34" charset="0"/>
                <a:ea typeface="+mn-ea"/>
                <a:cs typeface="Arial" panose="020B0604020202020204" pitchFamily="34" charset="0"/>
              </a:rPr>
              <a:t> </a:t>
            </a:r>
            <a:r>
              <a:rPr lang="en-US" sz="2800" b="1" dirty="0">
                <a:solidFill>
                  <a:srgbClr val="272727"/>
                </a:solidFill>
                <a:latin typeface="Arial" panose="020B0604020202020204" pitchFamily="34" charset="0"/>
                <a:cs typeface="Arial" panose="020B0604020202020204" pitchFamily="34" charset="0"/>
              </a:rPr>
              <a:t>retail</a:t>
            </a:r>
            <a:r>
              <a:rPr kumimoji="0" lang="en-US" sz="2800" b="1" i="0" u="none" strike="noStrike" kern="1200" cap="none" spc="0" normalizeH="0" noProof="0" dirty="0">
                <a:ln>
                  <a:noFill/>
                </a:ln>
                <a:solidFill>
                  <a:srgbClr val="272727"/>
                </a:solidFill>
                <a:effectLst/>
                <a:uLnTx/>
                <a:uFillTx/>
                <a:latin typeface="Arial" panose="020B0604020202020204" pitchFamily="34" charset="0"/>
                <a:ea typeface="+mn-ea"/>
                <a:cs typeface="Arial" panose="020B0604020202020204" pitchFamily="34" charset="0"/>
              </a:rPr>
              <a:t> during </a:t>
            </a:r>
            <a:r>
              <a:rPr lang="en-US" sz="2800" b="1" dirty="0">
                <a:solidFill>
                  <a:srgbClr val="272727"/>
                </a:solidFill>
                <a:latin typeface="Arial" panose="020B0604020202020204" pitchFamily="34" charset="0"/>
                <a:cs typeface="Arial" panose="020B0604020202020204" pitchFamily="34" charset="0"/>
              </a:rPr>
              <a:t>Q2</a:t>
            </a:r>
            <a:r>
              <a:rPr kumimoji="0" lang="en-US" sz="2800" b="1" i="0" u="none" strike="noStrike" kern="1200" cap="none" spc="0" normalizeH="0" noProof="0" dirty="0">
                <a:ln>
                  <a:noFill/>
                </a:ln>
                <a:solidFill>
                  <a:srgbClr val="272727"/>
                </a:solidFill>
                <a:effectLst/>
                <a:uLnTx/>
                <a:uFillTx/>
                <a:latin typeface="Arial" panose="020B0604020202020204" pitchFamily="34" charset="0"/>
                <a:ea typeface="+mn-ea"/>
                <a:cs typeface="Arial" panose="020B0604020202020204" pitchFamily="34" charset="0"/>
              </a:rPr>
              <a:t> </a:t>
            </a:r>
            <a:endPar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8B47D191-64C9-45E1-9F1C-6FBE9F3136FD}"/>
              </a:ext>
            </a:extLst>
          </p:cNvPr>
          <p:cNvSpPr txBox="1"/>
          <p:nvPr/>
        </p:nvSpPr>
        <p:spPr>
          <a:xfrm>
            <a:off x="411057" y="4603919"/>
            <a:ext cx="4864326" cy="400095"/>
          </a:xfrm>
          <a:prstGeom prst="rect">
            <a:avLst/>
          </a:prstGeom>
          <a:noFill/>
        </p:spPr>
        <p:txBody>
          <a:bodyPr wrap="square" lIns="91425" tIns="45713" rIns="91425" bIns="45713"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Retail numbers are estimated, Offtake numbers include Tata</a:t>
            </a:r>
            <a:r>
              <a:rPr kumimoji="0" lang="en-IN" sz="1000" b="0" i="1"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Motors sales</a:t>
            </a:r>
            <a:endPar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a:t>
            </a:r>
            <a:r>
              <a:rPr kumimoji="0" lang="en-IN" sz="10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RTH</a:t>
            </a: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IAM, CRISIL Research</a:t>
            </a:r>
            <a:endParaRPr kumimoji="0" lang="en-IN"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494152DC-6D2E-4C9C-AB52-C3CDEB122E34}"/>
              </a:ext>
            </a:extLst>
          </p:cNvPr>
          <p:cNvSpPr/>
          <p:nvPr/>
        </p:nvSpPr>
        <p:spPr>
          <a:xfrm rot="5400000">
            <a:off x="5987384" y="-4342610"/>
            <a:ext cx="396063" cy="11548712"/>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Retail vs off-take FY21</a:t>
            </a:r>
            <a:r>
              <a:rPr kumimoji="0" lang="en-GB" sz="1800" b="1" i="0" u="none" strike="noStrike" kern="1200" cap="none" spc="0" normalizeH="0" noProof="0" dirty="0">
                <a:ln>
                  <a:noFill/>
                </a:ln>
                <a:solidFill>
                  <a:srgbClr val="FFFFFF"/>
                </a:solidFill>
                <a:effectLst/>
                <a:uLnTx/>
                <a:uFillTx/>
                <a:latin typeface="Arial" panose="020B0604020202020204" pitchFamily="34" charset="0"/>
                <a:ea typeface="+mn-ea"/>
                <a:cs typeface="+mn-cs"/>
              </a:rPr>
              <a:t> &amp; FY22</a:t>
            </a:r>
            <a:endParaRPr kumimoji="0" lang="en-GB" sz="1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aphicFrame>
        <p:nvGraphicFramePr>
          <p:cNvPr id="8" name="Chart 7">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065501761"/>
              </p:ext>
            </p:extLst>
          </p:nvPr>
        </p:nvGraphicFramePr>
        <p:xfrm>
          <a:off x="411057" y="1705438"/>
          <a:ext cx="11519686" cy="28535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7976733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rot="5400000">
            <a:off x="3056838" y="-1597400"/>
            <a:ext cx="266700" cy="5577840"/>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algn="ctr" defTabSz="914217">
              <a:defRPr/>
            </a:pPr>
            <a:r>
              <a:rPr lang="en-US" sz="1583" b="1" dirty="0">
                <a:solidFill>
                  <a:srgbClr val="FFFFFF"/>
                </a:solidFill>
                <a:latin typeface="Arial" panose="020B0604020202020204" pitchFamily="34" charset="0"/>
              </a:rPr>
              <a:t>Supply constraint impacts utilization level</a:t>
            </a:r>
            <a:endParaRPr lang="en-GB" sz="1583" b="1" dirty="0">
              <a:solidFill>
                <a:srgbClr val="FFFFFF"/>
              </a:solidFill>
              <a:latin typeface="Arial" panose="020B0604020202020204" pitchFamily="34" charset="0"/>
            </a:endParaRPr>
          </a:p>
        </p:txBody>
      </p:sp>
      <p:sp>
        <p:nvSpPr>
          <p:cNvPr id="13" name="Rounded Rectangle 12"/>
          <p:cNvSpPr/>
          <p:nvPr/>
        </p:nvSpPr>
        <p:spPr>
          <a:xfrm rot="5400000">
            <a:off x="8972938" y="-1634068"/>
            <a:ext cx="266700" cy="5643550"/>
          </a:xfrm>
          <a:prstGeom prst="round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5" tIns="45713" rIns="91425" bIns="45713" rtlCol="0" anchor="ctr"/>
          <a:lstStyle/>
          <a:p>
            <a:pPr algn="ctr" defTabSz="914217">
              <a:defRPr/>
            </a:pPr>
            <a:r>
              <a:rPr lang="en-IN" sz="1583" b="1" dirty="0">
                <a:solidFill>
                  <a:srgbClr val="FFFFFF"/>
                </a:solidFill>
                <a:latin typeface="Arial" panose="020B0604020202020204" pitchFamily="34" charset="0"/>
              </a:rPr>
              <a:t>Capacity utilisation of key players</a:t>
            </a:r>
          </a:p>
        </p:txBody>
      </p:sp>
      <p:sp>
        <p:nvSpPr>
          <p:cNvPr id="16" name="TextBox 15"/>
          <p:cNvSpPr txBox="1"/>
          <p:nvPr/>
        </p:nvSpPr>
        <p:spPr>
          <a:xfrm>
            <a:off x="6284516" y="4661990"/>
            <a:ext cx="5643550" cy="268201"/>
          </a:xfrm>
          <a:prstGeom prst="rect">
            <a:avLst/>
          </a:prstGeom>
          <a:noFill/>
        </p:spPr>
        <p:txBody>
          <a:bodyPr wrap="square" lIns="0" tIns="45713" rIns="91425" bIns="45713" rtlCol="0">
            <a:spAutoFit/>
          </a:bodyPr>
          <a:lstStyle/>
          <a:p>
            <a:pPr marL="171401" lvl="1" indent="-171401" defTabSz="914217" fontAlgn="base">
              <a:lnSpc>
                <a:spcPts val="1500"/>
              </a:lnSpc>
              <a:spcBef>
                <a:spcPts val="300"/>
              </a:spcBef>
              <a:spcAft>
                <a:spcPts val="300"/>
              </a:spcAft>
              <a:buClr>
                <a:srgbClr val="000000"/>
              </a:buClr>
              <a:buSzPct val="150000"/>
              <a:buFont typeface="Arial" panose="020B0604020202020204" pitchFamily="34" charset="0"/>
              <a:buChar char="•"/>
              <a:defRPr/>
            </a:pPr>
            <a:endParaRPr lang="en-US" sz="1083" kern="0" dirty="0">
              <a:solidFill>
                <a:srgbClr val="000000"/>
              </a:solidFill>
              <a:latin typeface="Arial" panose="020B0604020202020204" pitchFamily="34" charset="0"/>
              <a:cs typeface="Arial" panose="020B0604020202020204" pitchFamily="34" charset="0"/>
            </a:endParaRPr>
          </a:p>
        </p:txBody>
      </p:sp>
      <p:graphicFrame>
        <p:nvGraphicFramePr>
          <p:cNvPr id="19" name="Table 18"/>
          <p:cNvGraphicFramePr>
            <a:graphicFrameLocks noGrp="1"/>
          </p:cNvGraphicFramePr>
          <p:nvPr>
            <p:extLst>
              <p:ext uri="{D42A27DB-BD31-4B8C-83A1-F6EECF244321}">
                <p14:modId xmlns:p14="http://schemas.microsoft.com/office/powerpoint/2010/main" val="3386129058"/>
              </p:ext>
            </p:extLst>
          </p:nvPr>
        </p:nvGraphicFramePr>
        <p:xfrm>
          <a:off x="6284515" y="1442271"/>
          <a:ext cx="5643548" cy="4149262"/>
        </p:xfrm>
        <a:graphic>
          <a:graphicData uri="http://schemas.openxmlformats.org/drawingml/2006/table">
            <a:tbl>
              <a:tblPr firstRow="1" bandRow="1">
                <a:tableStyleId>{00A15C55-8517-42AA-B614-E9B94910E393}</a:tableStyleId>
              </a:tblPr>
              <a:tblGrid>
                <a:gridCol w="1299912">
                  <a:extLst>
                    <a:ext uri="{9D8B030D-6E8A-4147-A177-3AD203B41FA5}">
                      <a16:colId xmlns:a16="http://schemas.microsoft.com/office/drawing/2014/main" val="20000"/>
                    </a:ext>
                  </a:extLst>
                </a:gridCol>
                <a:gridCol w="1632158">
                  <a:extLst>
                    <a:ext uri="{9D8B030D-6E8A-4147-A177-3AD203B41FA5}">
                      <a16:colId xmlns:a16="http://schemas.microsoft.com/office/drawing/2014/main" val="20001"/>
                    </a:ext>
                  </a:extLst>
                </a:gridCol>
                <a:gridCol w="1355739">
                  <a:extLst>
                    <a:ext uri="{9D8B030D-6E8A-4147-A177-3AD203B41FA5}">
                      <a16:colId xmlns:a16="http://schemas.microsoft.com/office/drawing/2014/main" val="20002"/>
                    </a:ext>
                  </a:extLst>
                </a:gridCol>
                <a:gridCol w="1355739">
                  <a:extLst>
                    <a:ext uri="{9D8B030D-6E8A-4147-A177-3AD203B41FA5}">
                      <a16:colId xmlns:a16="http://schemas.microsoft.com/office/drawing/2014/main" val="3750565245"/>
                    </a:ext>
                  </a:extLst>
                </a:gridCol>
              </a:tblGrid>
              <a:tr h="1009518">
                <a:tc>
                  <a:txBody>
                    <a:bodyPr/>
                    <a:lstStyle/>
                    <a:p>
                      <a:pPr algn="ctr" rtl="0" fontAlgn="ctr"/>
                      <a:r>
                        <a:rPr lang="en-US" sz="1100" u="none" strike="noStrike" dirty="0">
                          <a:solidFill>
                            <a:schemeClr val="bg1"/>
                          </a:solidFill>
                          <a:effectLst/>
                        </a:rPr>
                        <a:t>Player</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rtl="0" fontAlgn="ctr"/>
                      <a:r>
                        <a:rPr lang="en-US" sz="1100" u="none" strike="noStrike" dirty="0">
                          <a:effectLst/>
                        </a:rPr>
                        <a:t>Effective Capacity </a:t>
                      </a:r>
                    </a:p>
                    <a:p>
                      <a:pPr algn="ctr" rtl="0" fontAlgn="ctr"/>
                      <a:r>
                        <a:rPr lang="en-US" sz="1100" u="none" strike="noStrike" dirty="0">
                          <a:effectLst/>
                        </a:rPr>
                        <a:t>(in ‘000)</a:t>
                      </a:r>
                    </a:p>
                    <a:p>
                      <a:pPr algn="ctr" rtl="0" fontAlgn="ctr"/>
                      <a:r>
                        <a:rPr lang="en-US" sz="1100" u="none" strike="noStrike" dirty="0">
                          <a:effectLst/>
                        </a:rPr>
                        <a:t>(on 31st Mar 2021)</a:t>
                      </a:r>
                      <a:endParaRPr lang="en-US" sz="1100" u="none" strike="noStrike" dirty="0">
                        <a:effectLst/>
                        <a:latin typeface="Arial" panose="020B0604020202020204" pitchFamily="34" charset="0"/>
                        <a:cs typeface="Arial" panose="020B0604020202020204" pitchFamily="34" charset="0"/>
                      </a:endParaRPr>
                    </a:p>
                  </a:txBody>
                  <a:tcPr marL="9525" marR="9525" marT="9525" anchor="ctr"/>
                </a:tc>
                <a:tc>
                  <a:txBody>
                    <a:bodyPr/>
                    <a:lstStyle/>
                    <a:p>
                      <a:pPr algn="ctr" rtl="0" fontAlgn="ctr"/>
                      <a:r>
                        <a:rPr lang="en-US" sz="1100" b="1" u="none" strike="noStrike" dirty="0">
                          <a:solidFill>
                            <a:schemeClr val="bg1"/>
                          </a:solidFill>
                          <a:effectLst/>
                        </a:rPr>
                        <a:t>Capacity utilisation in </a:t>
                      </a:r>
                    </a:p>
                    <a:p>
                      <a:pPr algn="ctr" rtl="0" fontAlgn="ctr"/>
                      <a:r>
                        <a:rPr lang="en-US" sz="1100" b="1" u="none" strike="noStrike" dirty="0">
                          <a:solidFill>
                            <a:schemeClr val="bg1"/>
                          </a:solidFill>
                          <a:effectLst/>
                        </a:rPr>
                        <a:t>FY21</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anchor="ctr"/>
                </a:tc>
                <a:tc>
                  <a:txBody>
                    <a:bodyPr/>
                    <a:lstStyle/>
                    <a:p>
                      <a:pPr algn="ctr" rtl="0" fontAlgn="ctr"/>
                      <a:r>
                        <a:rPr lang="en-US" sz="1100" b="1" u="none" strike="noStrike" dirty="0">
                          <a:solidFill>
                            <a:schemeClr val="bg1"/>
                          </a:solidFill>
                          <a:effectLst/>
                        </a:rPr>
                        <a:t>Capacity Utilisation in </a:t>
                      </a:r>
                    </a:p>
                    <a:p>
                      <a:pPr algn="ctr" rtl="0" fontAlgn="ctr"/>
                      <a:r>
                        <a:rPr lang="en-US" sz="1100" b="1" u="none" strike="noStrike" dirty="0">
                          <a:solidFill>
                            <a:schemeClr val="bg1"/>
                          </a:solidFill>
                          <a:effectLst/>
                        </a:rPr>
                        <a:t>FY22</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anchor="ctr"/>
                </a:tc>
                <a:extLst>
                  <a:ext uri="{0D108BD9-81ED-4DB2-BD59-A6C34878D82A}">
                    <a16:rowId xmlns:a16="http://schemas.microsoft.com/office/drawing/2014/main" val="10000"/>
                  </a:ext>
                </a:extLst>
              </a:tr>
              <a:tr h="392468">
                <a:tc>
                  <a:txBody>
                    <a:bodyPr/>
                    <a:lstStyle/>
                    <a:p>
                      <a:pPr algn="l" rtl="0" fontAlgn="ctr"/>
                      <a:r>
                        <a:rPr lang="en-US" sz="1100" u="none" strike="noStrike" dirty="0">
                          <a:solidFill>
                            <a:srgbClr val="282828"/>
                          </a:solidFill>
                          <a:effectLst/>
                        </a:rPr>
                        <a:t>  Maruti</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fontAlgn="b"/>
                      <a:r>
                        <a:rPr lang="en-US" sz="1100" b="0" u="none" strike="noStrike" dirty="0">
                          <a:solidFill>
                            <a:srgbClr val="000000"/>
                          </a:solidFill>
                          <a:effectLst/>
                        </a:rPr>
                        <a:t>2,050</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6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7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1"/>
                  </a:ext>
                </a:extLst>
              </a:tr>
              <a:tr h="392468">
                <a:tc>
                  <a:txBody>
                    <a:bodyPr/>
                    <a:lstStyle/>
                    <a:p>
                      <a:pPr algn="l" rtl="0" fontAlgn="ctr"/>
                      <a:r>
                        <a:rPr lang="en-US" sz="1100" u="none" strike="noStrike" dirty="0">
                          <a:solidFill>
                            <a:srgbClr val="282828"/>
                          </a:solidFill>
                          <a:effectLst/>
                        </a:rPr>
                        <a:t>  Hyundai</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fontAlgn="b"/>
                      <a:r>
                        <a:rPr lang="en-US" sz="1100" b="0" u="none" strike="noStrike" dirty="0">
                          <a:solidFill>
                            <a:srgbClr val="000000"/>
                          </a:solidFill>
                          <a:effectLst/>
                        </a:rPr>
                        <a:t>763</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74%</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7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2"/>
                  </a:ext>
                </a:extLst>
              </a:tr>
              <a:tr h="392468">
                <a:tc>
                  <a:txBody>
                    <a:bodyPr/>
                    <a:lstStyle/>
                    <a:p>
                      <a:pPr algn="l" rtl="0" fontAlgn="ctr"/>
                      <a:r>
                        <a:rPr lang="en-US" sz="1100" u="none" strike="noStrike" dirty="0">
                          <a:solidFill>
                            <a:srgbClr val="282828"/>
                          </a:solidFill>
                          <a:effectLst/>
                        </a:rPr>
                        <a:t>  Tata Motors E</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fontAlgn="b"/>
                      <a:r>
                        <a:rPr lang="en-US" sz="1100" b="0" u="none" strike="noStrike" dirty="0">
                          <a:solidFill>
                            <a:srgbClr val="000000"/>
                          </a:solidFill>
                          <a:effectLst/>
                        </a:rPr>
                        <a:t>564</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3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59%</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3"/>
                  </a:ext>
                </a:extLst>
              </a:tr>
              <a:tr h="392468">
                <a:tc>
                  <a:txBody>
                    <a:bodyPr/>
                    <a:lstStyle/>
                    <a:p>
                      <a:pPr algn="l" rtl="0" fontAlgn="ctr"/>
                      <a:r>
                        <a:rPr lang="en-US" sz="1100" u="none" strike="noStrike" dirty="0">
                          <a:solidFill>
                            <a:schemeClr val="tx1"/>
                          </a:solidFill>
                          <a:effectLst/>
                        </a:rPr>
                        <a:t>  Renault-Nissan</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fontAlgn="b"/>
                      <a:r>
                        <a:rPr lang="en-US" sz="1100" b="0" u="none" strike="noStrike" dirty="0">
                          <a:solidFill>
                            <a:schemeClr val="tx1"/>
                          </a:solidFill>
                          <a:effectLst/>
                        </a:rPr>
                        <a:t>48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30%</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3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5"/>
                  </a:ext>
                </a:extLst>
              </a:tr>
              <a:tr h="392468">
                <a:tc>
                  <a:txBody>
                    <a:bodyPr/>
                    <a:lstStyle/>
                    <a:p>
                      <a:pPr algn="l" rtl="0" fontAlgn="ctr"/>
                      <a:r>
                        <a:rPr lang="en-US" sz="1100" u="none" strike="noStrike" kern="1200" dirty="0">
                          <a:solidFill>
                            <a:srgbClr val="282828"/>
                          </a:solidFill>
                          <a:effectLst/>
                        </a:rPr>
                        <a:t>  Toyota</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tc>
                <a:tc>
                  <a:txBody>
                    <a:bodyPr/>
                    <a:lstStyle/>
                    <a:p>
                      <a:pPr algn="ctr" fontAlgn="b"/>
                      <a:r>
                        <a:rPr lang="en-US" sz="1100" u="none" strike="noStrike" kern="1200" dirty="0">
                          <a:solidFill>
                            <a:srgbClr val="282828"/>
                          </a:solidFill>
                          <a:effectLst/>
                        </a:rPr>
                        <a:t>310</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u="none" strike="noStrike" kern="1200" dirty="0">
                          <a:solidFill>
                            <a:srgbClr val="282828"/>
                          </a:solidFill>
                          <a:effectLst/>
                        </a:rPr>
                        <a:t>17%</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u="none" strike="noStrike" kern="1200" dirty="0">
                          <a:solidFill>
                            <a:srgbClr val="282828"/>
                          </a:solidFill>
                          <a:effectLst/>
                        </a:rPr>
                        <a:t>24%</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7"/>
                  </a:ext>
                </a:extLst>
              </a:tr>
              <a:tr h="392468">
                <a:tc>
                  <a:txBody>
                    <a:bodyPr/>
                    <a:lstStyle/>
                    <a:p>
                      <a:pPr algn="l" rtl="0" fontAlgn="ctr"/>
                      <a:r>
                        <a:rPr lang="en-US" sz="1100" u="none" strike="noStrike" dirty="0">
                          <a:solidFill>
                            <a:srgbClr val="282828"/>
                          </a:solidFill>
                          <a:effectLst/>
                        </a:rPr>
                        <a:t>  Honda</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fontAlgn="b"/>
                      <a:r>
                        <a:rPr lang="en-US" sz="1100" b="0" u="none" strike="noStrike" dirty="0">
                          <a:solidFill>
                            <a:schemeClr val="tx1"/>
                          </a:solidFill>
                          <a:effectLst/>
                        </a:rPr>
                        <a:t>180</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4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58%</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8"/>
                  </a:ext>
                </a:extLst>
              </a:tr>
              <a:tr h="392468">
                <a:tc>
                  <a:txBody>
                    <a:bodyPr/>
                    <a:lstStyle/>
                    <a:p>
                      <a:pPr algn="l" rtl="0" fontAlgn="ctr"/>
                      <a:r>
                        <a:rPr lang="en-US" sz="1100" u="none" strike="noStrike" kern="1200" dirty="0">
                          <a:solidFill>
                            <a:srgbClr val="282828"/>
                          </a:solidFill>
                          <a:effectLst/>
                        </a:rPr>
                        <a:t>  Volkswagen</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tc>
                <a:tc>
                  <a:txBody>
                    <a:bodyPr/>
                    <a:lstStyle/>
                    <a:p>
                      <a:pPr algn="ctr" fontAlgn="b"/>
                      <a:r>
                        <a:rPr lang="en-US" sz="1100" u="none" strike="noStrike" kern="1200" dirty="0">
                          <a:solidFill>
                            <a:srgbClr val="282828"/>
                          </a:solidFill>
                          <a:effectLst/>
                        </a:rPr>
                        <a:t>179</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u="none" strike="noStrike" kern="1200" dirty="0">
                          <a:solidFill>
                            <a:srgbClr val="282828"/>
                          </a:solidFill>
                          <a:effectLst/>
                        </a:rPr>
                        <a:t>28%</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u="none" strike="noStrike" kern="1200" dirty="0">
                          <a:solidFill>
                            <a:srgbClr val="282828"/>
                          </a:solidFill>
                          <a:effectLst/>
                        </a:rPr>
                        <a:t>42%</a:t>
                      </a:r>
                      <a:endParaRPr lang="en-US" sz="110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09"/>
                  </a:ext>
                </a:extLst>
              </a:tr>
              <a:tr h="392468">
                <a:tc>
                  <a:txBody>
                    <a:bodyPr/>
                    <a:lstStyle/>
                    <a:p>
                      <a:pPr algn="l" rtl="0" fontAlgn="ctr"/>
                      <a:r>
                        <a:rPr lang="en-US" sz="1100" b="0" u="none" strike="noStrike" dirty="0">
                          <a:solidFill>
                            <a:srgbClr val="282828"/>
                          </a:solidFill>
                          <a:effectLst/>
                        </a:rPr>
                        <a:t>  Kia Motors</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tc>
                <a:tc>
                  <a:txBody>
                    <a:bodyPr/>
                    <a:lstStyle/>
                    <a:p>
                      <a:pPr algn="ctr" fontAlgn="b"/>
                      <a:r>
                        <a:rPr lang="en-US" sz="1100" b="0" u="none" strike="noStrike" dirty="0">
                          <a:solidFill>
                            <a:srgbClr val="000000"/>
                          </a:solidFill>
                          <a:effectLst/>
                        </a:rPr>
                        <a:t>300</a:t>
                      </a:r>
                      <a:endParaRPr lang="en-US" sz="1100" b="0" i="0" u="none" strike="noStrike" dirty="0">
                        <a:solidFill>
                          <a:srgbClr val="FF0000"/>
                        </a:solidFill>
                        <a:effectLst/>
                        <a:latin typeface="Arial" panose="020B0604020202020204" pitchFamily="34" charset="0"/>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64%</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tc>
                  <a:txBody>
                    <a:bodyPr/>
                    <a:lstStyle/>
                    <a:p>
                      <a:pPr marL="0" algn="ctr" defTabSz="1097280" rtl="0" eaLnBrk="1" fontAlgn="b" latinLnBrk="0" hangingPunct="1"/>
                      <a:r>
                        <a:rPr lang="en-US" sz="1100" b="0" u="none" strike="noStrike" kern="1200" dirty="0">
                          <a:solidFill>
                            <a:srgbClr val="000000"/>
                          </a:solidFill>
                          <a:effectLst/>
                        </a:rPr>
                        <a:t>76%</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tc>
                <a:extLst>
                  <a:ext uri="{0D108BD9-81ED-4DB2-BD59-A6C34878D82A}">
                    <a16:rowId xmlns:a16="http://schemas.microsoft.com/office/drawing/2014/main" val="10012"/>
                  </a:ext>
                </a:extLst>
              </a:tr>
            </a:tbl>
          </a:graphicData>
        </a:graphic>
      </p:graphicFrame>
      <p:sp>
        <p:nvSpPr>
          <p:cNvPr id="3" name="Rectangle 2">
            <a:extLst>
              <a:ext uri="{FF2B5EF4-FFF2-40B4-BE49-F238E27FC236}">
                <a16:creationId xmlns:a16="http://schemas.microsoft.com/office/drawing/2014/main" id="{D31FCB3E-3419-4619-B4BD-40F8A2BA9765}"/>
              </a:ext>
            </a:extLst>
          </p:cNvPr>
          <p:cNvSpPr/>
          <p:nvPr/>
        </p:nvSpPr>
        <p:spPr>
          <a:xfrm>
            <a:off x="6219201" y="5652982"/>
            <a:ext cx="2371132" cy="233448"/>
          </a:xfrm>
          <a:prstGeom prst="rect">
            <a:avLst/>
          </a:prstGeom>
        </p:spPr>
        <p:txBody>
          <a:bodyPr wrap="none" lIns="91425" tIns="45713" rIns="91425" bIns="45713">
            <a:spAutoFit/>
          </a:bodyPr>
          <a:lstStyle/>
          <a:p>
            <a:pPr defTabSz="914217">
              <a:defRPr/>
            </a:pPr>
            <a:r>
              <a:rPr lang="en-US" sz="917" i="1" dirty="0">
                <a:solidFill>
                  <a:srgbClr val="000000"/>
                </a:solidFill>
                <a:latin typeface="Arial" panose="020B0604020202020204" pitchFamily="34" charset="0"/>
                <a:cs typeface="Arial" panose="020B0604020202020204" pitchFamily="34" charset="0"/>
              </a:rPr>
              <a:t>Source: SIAM, Industry, CRISIL Research</a:t>
            </a:r>
          </a:p>
        </p:txBody>
      </p:sp>
      <p:sp>
        <p:nvSpPr>
          <p:cNvPr id="4" name="Rectangle 3">
            <a:extLst>
              <a:ext uri="{FF2B5EF4-FFF2-40B4-BE49-F238E27FC236}">
                <a16:creationId xmlns:a16="http://schemas.microsoft.com/office/drawing/2014/main" id="{0C6202D1-A0CE-408F-95AD-938410031EB1}"/>
              </a:ext>
            </a:extLst>
          </p:cNvPr>
          <p:cNvSpPr/>
          <p:nvPr/>
        </p:nvSpPr>
        <p:spPr>
          <a:xfrm>
            <a:off x="417401" y="126171"/>
            <a:ext cx="11615000" cy="891316"/>
          </a:xfrm>
          <a:prstGeom prst="rect">
            <a:avLst/>
          </a:prstGeom>
        </p:spPr>
        <p:txBody>
          <a:bodyPr vert="horz" lIns="0" tIns="0" rIns="0" bIns="0" rtlCol="0" anchor="ctr">
            <a:noAutofit/>
          </a:bodyPr>
          <a:lstStyle/>
          <a:p>
            <a:pPr defTabSz="914217">
              <a:lnSpc>
                <a:spcPct val="90000"/>
              </a:lnSpc>
              <a:spcBef>
                <a:spcPct val="0"/>
              </a:spcBef>
              <a:defRPr/>
            </a:pPr>
            <a:r>
              <a:rPr lang="en-US" sz="2417" b="1" dirty="0">
                <a:solidFill>
                  <a:srgbClr val="000000"/>
                </a:solidFill>
                <a:latin typeface="Arial" panose="020B0604020202020204" pitchFamily="34" charset="0"/>
                <a:cs typeface="Arial" panose="020B0604020202020204" pitchFamily="34" charset="0"/>
              </a:rPr>
              <a:t>Utilization improved in fiscal 22 despite the semiconductor handicap; expected to witness further improvement in fiscal 23</a:t>
            </a:r>
            <a:endParaRPr lang="en-GB" sz="2417" b="1" dirty="0">
              <a:solidFill>
                <a:srgbClr val="000000"/>
              </a:solidFill>
              <a:latin typeface="Arial" panose="020B0604020202020204" pitchFamily="34" charset="0"/>
              <a:cs typeface="Arial" panose="020B0604020202020204" pitchFamily="34" charset="0"/>
            </a:endParaRPr>
          </a:p>
        </p:txBody>
      </p:sp>
      <p:sp>
        <p:nvSpPr>
          <p:cNvPr id="14" name="TextBox 13"/>
          <p:cNvSpPr txBox="1"/>
          <p:nvPr/>
        </p:nvSpPr>
        <p:spPr>
          <a:xfrm>
            <a:off x="295228" y="5665272"/>
            <a:ext cx="5683881" cy="233448"/>
          </a:xfrm>
          <a:prstGeom prst="rect">
            <a:avLst/>
          </a:prstGeom>
          <a:noFill/>
        </p:spPr>
        <p:txBody>
          <a:bodyPr wrap="square" lIns="91425" tIns="45713" rIns="91425" bIns="45713" rtlCol="0">
            <a:spAutoFit/>
          </a:bodyPr>
          <a:lstStyle/>
          <a:p>
            <a:pPr defTabSz="914217">
              <a:defRPr/>
            </a:pPr>
            <a:r>
              <a:rPr lang="en-IN" sz="917" i="1" dirty="0">
                <a:solidFill>
                  <a:srgbClr val="000000"/>
                </a:solidFill>
                <a:latin typeface="Arial" panose="020B0604020202020204" pitchFamily="34" charset="0"/>
                <a:cs typeface="Arial" panose="020B0604020202020204" pitchFamily="34" charset="0"/>
              </a:rPr>
              <a:t>Source: </a:t>
            </a:r>
            <a:r>
              <a:rPr lang="en-US" sz="917" i="1" dirty="0">
                <a:solidFill>
                  <a:prstClr val="black"/>
                </a:solidFill>
                <a:latin typeface="Arial" panose="020B0604020202020204" pitchFamily="34" charset="0"/>
                <a:cs typeface="Arial" panose="020B0604020202020204" pitchFamily="34" charset="0"/>
              </a:rPr>
              <a:t>CRISIL Research Estimated</a:t>
            </a:r>
            <a:endParaRPr lang="en-IN" sz="917" i="1" dirty="0">
              <a:solidFill>
                <a:srgbClr val="000000"/>
              </a:solidFill>
              <a:latin typeface="Arial" panose="020B0604020202020204" pitchFamily="34" charset="0"/>
              <a:cs typeface="Arial" panose="020B0604020202020204" pitchFamily="34" charset="0"/>
            </a:endParaRPr>
          </a:p>
        </p:txBody>
      </p:sp>
      <p:graphicFrame>
        <p:nvGraphicFramePr>
          <p:cNvPr id="10" name="Chart 9">
            <a:extLst>
              <a:ext uri="{FF2B5EF4-FFF2-40B4-BE49-F238E27FC236}">
                <a16:creationId xmlns:a16="http://schemas.microsoft.com/office/drawing/2014/main" id="{A3AAFDC1-9181-42F5-8AA7-5032A5ECDBBC}"/>
              </a:ext>
            </a:extLst>
          </p:cNvPr>
          <p:cNvGraphicFramePr>
            <a:graphicFrameLocks/>
          </p:cNvGraphicFramePr>
          <p:nvPr>
            <p:extLst>
              <p:ext uri="{D42A27DB-BD31-4B8C-83A1-F6EECF244321}">
                <p14:modId xmlns:p14="http://schemas.microsoft.com/office/powerpoint/2010/main" val="1351126075"/>
              </p:ext>
            </p:extLst>
          </p:nvPr>
        </p:nvGraphicFramePr>
        <p:xfrm>
          <a:off x="401269" y="1428894"/>
          <a:ext cx="5530799" cy="416263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4331078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31577" y="4436618"/>
            <a:ext cx="2045370" cy="230792"/>
          </a:xfrm>
          <a:prstGeom prst="rect">
            <a:avLst/>
          </a:prstGeom>
          <a:noFill/>
        </p:spPr>
        <p:txBody>
          <a:bodyPr wrap="square" lIns="91395" tIns="45700" rIns="91395" bIns="45700" rtlCol="0">
            <a:spAutoFit/>
          </a:body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IAM, CRISIL Research</a:t>
            </a:r>
          </a:p>
        </p:txBody>
      </p:sp>
      <p:sp>
        <p:nvSpPr>
          <p:cNvPr id="14" name="Rectangle 13"/>
          <p:cNvSpPr/>
          <p:nvPr/>
        </p:nvSpPr>
        <p:spPr>
          <a:xfrm rot="5400000">
            <a:off x="5888126" y="-4728015"/>
            <a:ext cx="408550" cy="11521646"/>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12699" marR="0" lvl="0" indent="0" algn="ctr" defTabSz="91396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arterly production trend (‘000 units)</a:t>
            </a:r>
          </a:p>
        </p:txBody>
      </p:sp>
      <p:sp>
        <p:nvSpPr>
          <p:cNvPr id="17" name="Title 1">
            <a:extLst>
              <a:ext uri="{FF2B5EF4-FFF2-40B4-BE49-F238E27FC236}">
                <a16:creationId xmlns:a16="http://schemas.microsoft.com/office/drawing/2014/main" id="{B4D66F93-F7D3-4652-81A5-36FAECAAFF48}"/>
              </a:ext>
            </a:extLst>
          </p:cNvPr>
          <p:cNvSpPr txBox="1">
            <a:spLocks/>
          </p:cNvSpPr>
          <p:nvPr/>
        </p:nvSpPr>
        <p:spPr>
          <a:xfrm>
            <a:off x="276462" y="194909"/>
            <a:ext cx="11602487" cy="859031"/>
          </a:xfrm>
          <a:prstGeom prst="rect">
            <a:avLst/>
          </a:prstGeom>
        </p:spPr>
        <p:txBody>
          <a:bodyPr lIns="91395" tIns="45700" rIns="91395" bIns="45700"/>
          <a:lstStyle>
            <a:lvl1pPr algn="l" defTabSz="914363"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Production witnessed </a:t>
            </a:r>
            <a:r>
              <a:rPr lang="en-US" sz="2800" b="1" dirty="0">
                <a:solidFill>
                  <a:srgbClr val="000000"/>
                </a:solidFill>
                <a:latin typeface="Arial" panose="020B0604020202020204" pitchFamily="34" charset="0"/>
                <a:cs typeface="Arial" panose="020B0604020202020204" pitchFamily="34" charset="0"/>
              </a:rPr>
              <a:t>decline</a:t>
            </a: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in Q4 Fiscal</a:t>
            </a:r>
            <a:r>
              <a:rPr kumimoji="0" lang="en-US" sz="2800" b="1" i="0" u="none" strike="noStrike" kern="1200" cap="none" spc="0" normalizeH="0" noProof="0" dirty="0">
                <a:ln>
                  <a:noFill/>
                </a:ln>
                <a:solidFill>
                  <a:srgbClr val="000000"/>
                </a:solidFill>
                <a:effectLst/>
                <a:uLnTx/>
                <a:uFillTx/>
                <a:latin typeface="Arial" panose="020B0604020202020204" pitchFamily="34" charset="0"/>
                <a:ea typeface="+mj-ea"/>
                <a:cs typeface="Arial" panose="020B0604020202020204" pitchFamily="34" charset="0"/>
              </a:rPr>
              <a:t> 2022</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8" name="TextBox 17"/>
          <p:cNvSpPr txBox="1"/>
          <p:nvPr/>
        </p:nvSpPr>
        <p:spPr>
          <a:xfrm>
            <a:off x="316881" y="4730306"/>
            <a:ext cx="11521647" cy="1200288"/>
          </a:xfrm>
          <a:prstGeom prst="rect">
            <a:avLst/>
          </a:prstGeom>
          <a:solidFill>
            <a:schemeClr val="bg1">
              <a:lumMod val="85000"/>
            </a:schemeClr>
          </a:solidFill>
        </p:spPr>
        <p:txBody>
          <a:bodyPr wrap="square" lIns="91395" tIns="45700" rIns="91395" bIns="45700" rtlCol="0" anchor="ctr">
            <a:spAutoFit/>
          </a:bodyPr>
          <a:lstStyle/>
          <a:p>
            <a:pPr marL="285615" marR="0" lvl="0" indent="-285615" algn="l" defTabSz="9139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idst the Covid wave 2 &amp; the induced</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kdowns, production contracted in Q1 FY22</a:t>
            </a:r>
          </a:p>
          <a:p>
            <a:pPr marL="285615" marR="0" lvl="0" indent="-285615" algn="l" defTabSz="91396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Q-o-Q drop in production was slightly higher for cars , as OEMs continued to focus on high demand UV segment</a:t>
            </a:r>
          </a:p>
          <a:p>
            <a:pPr marL="285615" marR="0" lvl="0" indent="-285615" algn="l" defTabSz="91396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is</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further boosted share of UVs in total production; from </a:t>
            </a:r>
            <a:r>
              <a:rPr kumimoji="0" lang="en-US" sz="1200" b="0" i="0" u="none" strike="noStrike" kern="1200" cap="none" spc="0" normalizeH="0" dirty="0">
                <a:ln>
                  <a:noFill/>
                </a:ln>
                <a:solidFill>
                  <a:srgbClr val="000000"/>
                </a:solidFill>
                <a:effectLst/>
                <a:uLnTx/>
                <a:uFillTx/>
                <a:latin typeface="Arial" panose="020B0604020202020204" pitchFamily="34" charset="0"/>
                <a:ea typeface="+mn-ea"/>
                <a:cs typeface="Arial" panose="020B0604020202020204" pitchFamily="34" charset="0"/>
              </a:rPr>
              <a:t>44</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in fiscal 2021 to </a:t>
            </a:r>
            <a:r>
              <a:rPr lang="en-US" sz="1200" dirty="0">
                <a:solidFill>
                  <a:srgbClr val="000000"/>
                </a:solidFill>
                <a:latin typeface="Arial" panose="020B0604020202020204" pitchFamily="34" charset="0"/>
                <a:cs typeface="Arial" panose="020B0604020202020204" pitchFamily="34" charset="0"/>
              </a:rPr>
              <a:t>48</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in Q4 fiscal 2022</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615" lvl="0" indent="-285615" defTabSz="913960">
              <a:buFont typeface="Arial" panose="020B0604020202020204" pitchFamily="34" charset="0"/>
              <a:buChar char="•"/>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vival in production is </a:t>
            </a:r>
            <a:r>
              <a:rPr lang="en-US" sz="1200" dirty="0">
                <a:solidFill>
                  <a:srgbClr val="000000"/>
                </a:solidFill>
                <a:latin typeface="Arial" panose="020B0604020202020204" pitchFamily="34" charset="0"/>
                <a:cs typeface="Arial" panose="020B0604020202020204" pitchFamily="34" charset="0"/>
              </a:rPr>
              <a:t>witnessed </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om Q2 , in line with the</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estimated demand growth </a:t>
            </a:r>
            <a:r>
              <a:rPr lang="en-US" sz="1200" dirty="0">
                <a:solidFill>
                  <a:srgbClr val="000000"/>
                </a:solidFill>
                <a:latin typeface="Arial" panose="020B0604020202020204" pitchFamily="34" charset="0"/>
                <a:cs typeface="Arial" panose="020B0604020202020204" pitchFamily="34" charset="0"/>
              </a:rPr>
              <a:t>and Covid situation normalizing</a:t>
            </a:r>
          </a:p>
          <a:p>
            <a:pPr marL="285615" lvl="0" indent="-285615"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OEMs pushed inventory in Feb &amp; March improving production for Q4 FY22.</a:t>
            </a:r>
          </a:p>
          <a:p>
            <a:pPr marL="285615" lvl="0" indent="-285615"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Semi conductor shortage to impact production in fiscal 2022.</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7" name="Chart 6">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463051160"/>
              </p:ext>
            </p:extLst>
          </p:nvPr>
        </p:nvGraphicFramePr>
        <p:xfrm>
          <a:off x="331577" y="1285815"/>
          <a:ext cx="11521645" cy="30879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3992721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B4D66F93-F7D3-4652-81A5-36FAECAAFF48}"/>
              </a:ext>
            </a:extLst>
          </p:cNvPr>
          <p:cNvSpPr txBox="1">
            <a:spLocks/>
          </p:cNvSpPr>
          <p:nvPr/>
        </p:nvSpPr>
        <p:spPr>
          <a:xfrm>
            <a:off x="409996" y="110728"/>
            <a:ext cx="11602487" cy="498874"/>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l" defTabSz="91425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omestic – annual forecast</a:t>
            </a:r>
          </a:p>
        </p:txBody>
      </p:sp>
      <p:sp>
        <p:nvSpPr>
          <p:cNvPr id="2" name="Rectangle 1"/>
          <p:cNvSpPr/>
          <p:nvPr/>
        </p:nvSpPr>
        <p:spPr>
          <a:xfrm>
            <a:off x="1220883" y="1671792"/>
            <a:ext cx="2737554" cy="3505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0 volumes</a:t>
            </a:r>
          </a:p>
        </p:txBody>
      </p:sp>
      <p:sp>
        <p:nvSpPr>
          <p:cNvPr id="3" name="Rectangle 2"/>
          <p:cNvSpPr/>
          <p:nvPr/>
        </p:nvSpPr>
        <p:spPr>
          <a:xfrm>
            <a:off x="1220883" y="2572592"/>
            <a:ext cx="2737554" cy="3505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1 volumes</a:t>
            </a:r>
          </a:p>
        </p:txBody>
      </p:sp>
      <p:sp>
        <p:nvSpPr>
          <p:cNvPr id="6" name="Rectangle: Rounded Corners 5"/>
          <p:cNvSpPr/>
          <p:nvPr/>
        </p:nvSpPr>
        <p:spPr>
          <a:xfrm>
            <a:off x="4134657" y="1016437"/>
            <a:ext cx="1770474" cy="525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ssenger vehicles</a:t>
            </a:r>
          </a:p>
        </p:txBody>
      </p:sp>
      <p:sp>
        <p:nvSpPr>
          <p:cNvPr id="7" name="Rectangle: Rounded Corners 6"/>
          <p:cNvSpPr/>
          <p:nvPr/>
        </p:nvSpPr>
        <p:spPr>
          <a:xfrm>
            <a:off x="6292865" y="1016437"/>
            <a:ext cx="1770474" cy="525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rs</a:t>
            </a:r>
          </a:p>
        </p:txBody>
      </p:sp>
      <p:sp>
        <p:nvSpPr>
          <p:cNvPr id="8" name="Rectangle: Rounded Corners 7"/>
          <p:cNvSpPr/>
          <p:nvPr/>
        </p:nvSpPr>
        <p:spPr>
          <a:xfrm>
            <a:off x="8555574" y="1016437"/>
            <a:ext cx="1770474" cy="5257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Vs and vans</a:t>
            </a:r>
          </a:p>
        </p:txBody>
      </p:sp>
      <p:sp>
        <p:nvSpPr>
          <p:cNvPr id="13" name="Rectangle 12"/>
          <p:cNvSpPr/>
          <p:nvPr/>
        </p:nvSpPr>
        <p:spPr>
          <a:xfrm>
            <a:off x="6496927" y="1684016"/>
            <a:ext cx="1440000" cy="3734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98</a:t>
            </a:r>
          </a:p>
        </p:txBody>
      </p:sp>
      <p:sp>
        <p:nvSpPr>
          <p:cNvPr id="14" name="Rectangle 13"/>
          <p:cNvSpPr/>
          <p:nvPr/>
        </p:nvSpPr>
        <p:spPr>
          <a:xfrm>
            <a:off x="8776266" y="1684016"/>
            <a:ext cx="1440000" cy="3734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75</a:t>
            </a:r>
          </a:p>
        </p:txBody>
      </p:sp>
      <p:sp>
        <p:nvSpPr>
          <p:cNvPr id="16" name="Rectangle 15"/>
          <p:cNvSpPr/>
          <p:nvPr/>
        </p:nvSpPr>
        <p:spPr>
          <a:xfrm>
            <a:off x="4274091" y="1684016"/>
            <a:ext cx="1440000" cy="3734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73</a:t>
            </a:r>
          </a:p>
        </p:txBody>
      </p:sp>
      <p:sp>
        <p:nvSpPr>
          <p:cNvPr id="18" name="Rectangle 17"/>
          <p:cNvSpPr/>
          <p:nvPr/>
        </p:nvSpPr>
        <p:spPr>
          <a:xfrm>
            <a:off x="1220883" y="2122192"/>
            <a:ext cx="2737554" cy="3505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0</a:t>
            </a:r>
          </a:p>
        </p:txBody>
      </p:sp>
      <p:sp>
        <p:nvSpPr>
          <p:cNvPr id="24" name="Rectangle 23"/>
          <p:cNvSpPr/>
          <p:nvPr/>
        </p:nvSpPr>
        <p:spPr>
          <a:xfrm>
            <a:off x="6496927" y="2130246"/>
            <a:ext cx="1440000" cy="37349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3%</a:t>
            </a:r>
          </a:p>
        </p:txBody>
      </p:sp>
      <p:sp>
        <p:nvSpPr>
          <p:cNvPr id="25" name="Rectangle 24"/>
          <p:cNvSpPr/>
          <p:nvPr/>
        </p:nvSpPr>
        <p:spPr>
          <a:xfrm>
            <a:off x="8776266" y="2130246"/>
            <a:ext cx="1440000" cy="37349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a:t>
            </a:r>
          </a:p>
        </p:txBody>
      </p:sp>
      <p:sp>
        <p:nvSpPr>
          <p:cNvPr id="27" name="Rectangle 26"/>
          <p:cNvSpPr/>
          <p:nvPr/>
        </p:nvSpPr>
        <p:spPr>
          <a:xfrm>
            <a:off x="4274091" y="2130246"/>
            <a:ext cx="1440000" cy="37349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8%</a:t>
            </a:r>
          </a:p>
        </p:txBody>
      </p:sp>
      <p:sp>
        <p:nvSpPr>
          <p:cNvPr id="28" name="Rectangle 27"/>
          <p:cNvSpPr/>
          <p:nvPr/>
        </p:nvSpPr>
        <p:spPr>
          <a:xfrm>
            <a:off x="6496927" y="2576475"/>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42</a:t>
            </a:r>
          </a:p>
        </p:txBody>
      </p:sp>
      <p:sp>
        <p:nvSpPr>
          <p:cNvPr id="29" name="Rectangle 28"/>
          <p:cNvSpPr/>
          <p:nvPr/>
        </p:nvSpPr>
        <p:spPr>
          <a:xfrm>
            <a:off x="8776266" y="2576475"/>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70</a:t>
            </a:r>
          </a:p>
        </p:txBody>
      </p:sp>
      <p:sp>
        <p:nvSpPr>
          <p:cNvPr id="31" name="Rectangle 30"/>
          <p:cNvSpPr/>
          <p:nvPr/>
        </p:nvSpPr>
        <p:spPr>
          <a:xfrm>
            <a:off x="4274091" y="2576475"/>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12</a:t>
            </a:r>
          </a:p>
        </p:txBody>
      </p:sp>
      <p:sp>
        <p:nvSpPr>
          <p:cNvPr id="32" name="Rectangle 31"/>
          <p:cNvSpPr/>
          <p:nvPr/>
        </p:nvSpPr>
        <p:spPr>
          <a:xfrm>
            <a:off x="6496927" y="3022705"/>
            <a:ext cx="1440000" cy="37349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9%</a:t>
            </a:r>
          </a:p>
        </p:txBody>
      </p:sp>
      <p:sp>
        <p:nvSpPr>
          <p:cNvPr id="33" name="Rectangle 32"/>
          <p:cNvSpPr/>
          <p:nvPr/>
        </p:nvSpPr>
        <p:spPr>
          <a:xfrm>
            <a:off x="8776266" y="3022705"/>
            <a:ext cx="1440000" cy="3734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p>
        </p:txBody>
      </p:sp>
      <p:sp>
        <p:nvSpPr>
          <p:cNvPr id="35" name="Rectangle 34"/>
          <p:cNvSpPr/>
          <p:nvPr/>
        </p:nvSpPr>
        <p:spPr>
          <a:xfrm>
            <a:off x="4274091" y="3022705"/>
            <a:ext cx="1440000" cy="37349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36" name="Rectangle 35"/>
          <p:cNvSpPr/>
          <p:nvPr/>
        </p:nvSpPr>
        <p:spPr>
          <a:xfrm>
            <a:off x="1220883" y="3022992"/>
            <a:ext cx="2737554" cy="3505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1</a:t>
            </a:r>
          </a:p>
        </p:txBody>
      </p:sp>
      <p:sp>
        <p:nvSpPr>
          <p:cNvPr id="34" name="Rounded Rectangle 2">
            <a:extLst>
              <a:ext uri="{FF2B5EF4-FFF2-40B4-BE49-F238E27FC236}">
                <a16:creationId xmlns:a16="http://schemas.microsoft.com/office/drawing/2014/main" id="{BD086A69-9C34-4AB9-B337-80907772E674}"/>
              </a:ext>
            </a:extLst>
          </p:cNvPr>
          <p:cNvSpPr/>
          <p:nvPr/>
        </p:nvSpPr>
        <p:spPr>
          <a:xfrm>
            <a:off x="1220883" y="3473392"/>
            <a:ext cx="2737554" cy="3505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2 volumes</a:t>
            </a:r>
          </a:p>
        </p:txBody>
      </p:sp>
      <p:sp>
        <p:nvSpPr>
          <p:cNvPr id="37" name="Rectangle 36">
            <a:extLst>
              <a:ext uri="{FF2B5EF4-FFF2-40B4-BE49-F238E27FC236}">
                <a16:creationId xmlns:a16="http://schemas.microsoft.com/office/drawing/2014/main" id="{3BC01944-A839-4D54-AFED-0AB789A24089}"/>
              </a:ext>
            </a:extLst>
          </p:cNvPr>
          <p:cNvSpPr/>
          <p:nvPr/>
        </p:nvSpPr>
        <p:spPr>
          <a:xfrm>
            <a:off x="6496927" y="3468934"/>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27</a:t>
            </a:r>
          </a:p>
        </p:txBody>
      </p:sp>
      <p:sp>
        <p:nvSpPr>
          <p:cNvPr id="38" name="Rectangle 37">
            <a:extLst>
              <a:ext uri="{FF2B5EF4-FFF2-40B4-BE49-F238E27FC236}">
                <a16:creationId xmlns:a16="http://schemas.microsoft.com/office/drawing/2014/main" id="{E6C6F4BC-A2CE-4A4C-A97D-6D65D35D6543}"/>
              </a:ext>
            </a:extLst>
          </p:cNvPr>
          <p:cNvSpPr/>
          <p:nvPr/>
        </p:nvSpPr>
        <p:spPr>
          <a:xfrm>
            <a:off x="8776266" y="3468934"/>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15</a:t>
            </a:r>
          </a:p>
        </p:txBody>
      </p:sp>
      <p:sp>
        <p:nvSpPr>
          <p:cNvPr id="39" name="Rectangle 38">
            <a:extLst>
              <a:ext uri="{FF2B5EF4-FFF2-40B4-BE49-F238E27FC236}">
                <a16:creationId xmlns:a16="http://schemas.microsoft.com/office/drawing/2014/main" id="{A4CB3DCB-BAC5-486F-857F-8078139BC28B}"/>
              </a:ext>
            </a:extLst>
          </p:cNvPr>
          <p:cNvSpPr/>
          <p:nvPr/>
        </p:nvSpPr>
        <p:spPr>
          <a:xfrm>
            <a:off x="4274091" y="3468934"/>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2942</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868E858E-1DB4-4F5C-A233-42F4C9B585C7}"/>
              </a:ext>
            </a:extLst>
          </p:cNvPr>
          <p:cNvSpPr/>
          <p:nvPr/>
        </p:nvSpPr>
        <p:spPr>
          <a:xfrm>
            <a:off x="6496927" y="3915163"/>
            <a:ext cx="1440000" cy="37349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7</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41" name="Rectangle 40">
            <a:extLst>
              <a:ext uri="{FF2B5EF4-FFF2-40B4-BE49-F238E27FC236}">
                <a16:creationId xmlns:a16="http://schemas.microsoft.com/office/drawing/2014/main" id="{B8EC36F2-722E-4FA9-A8C7-2725464674F4}"/>
              </a:ext>
            </a:extLst>
          </p:cNvPr>
          <p:cNvSpPr/>
          <p:nvPr/>
        </p:nvSpPr>
        <p:spPr>
          <a:xfrm>
            <a:off x="8776266" y="3915163"/>
            <a:ext cx="1440000" cy="3734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30</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42" name="Rectangle 41">
            <a:extLst>
              <a:ext uri="{FF2B5EF4-FFF2-40B4-BE49-F238E27FC236}">
                <a16:creationId xmlns:a16="http://schemas.microsoft.com/office/drawing/2014/main" id="{3A3946E2-76C4-445B-95FE-7F211536C08D}"/>
              </a:ext>
            </a:extLst>
          </p:cNvPr>
          <p:cNvSpPr/>
          <p:nvPr/>
        </p:nvSpPr>
        <p:spPr>
          <a:xfrm>
            <a:off x="4274091" y="3915163"/>
            <a:ext cx="1440000" cy="3734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43" name="Rounded Rectangle 35">
            <a:extLst>
              <a:ext uri="{FF2B5EF4-FFF2-40B4-BE49-F238E27FC236}">
                <a16:creationId xmlns:a16="http://schemas.microsoft.com/office/drawing/2014/main" id="{6D67312E-E161-4076-A690-C977E273676A}"/>
              </a:ext>
            </a:extLst>
          </p:cNvPr>
          <p:cNvSpPr/>
          <p:nvPr/>
        </p:nvSpPr>
        <p:spPr>
          <a:xfrm>
            <a:off x="1220883" y="3923792"/>
            <a:ext cx="2737554" cy="3505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2</a:t>
            </a:r>
          </a:p>
        </p:txBody>
      </p:sp>
      <p:sp>
        <p:nvSpPr>
          <p:cNvPr id="44" name="TextBox 43"/>
          <p:cNvSpPr txBox="1"/>
          <p:nvPr/>
        </p:nvSpPr>
        <p:spPr>
          <a:xfrm>
            <a:off x="1166241" y="5511765"/>
            <a:ext cx="7722684" cy="246191"/>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Volumes in thousand units, numbers in red boxes indicate y-o-y de-growth, numbers in green boxes represent y-o-y growth</a:t>
            </a:r>
          </a:p>
        </p:txBody>
      </p:sp>
      <p:sp>
        <p:nvSpPr>
          <p:cNvPr id="46" name="TextBox 45"/>
          <p:cNvSpPr txBox="1"/>
          <p:nvPr/>
        </p:nvSpPr>
        <p:spPr>
          <a:xfrm>
            <a:off x="1166241" y="5757956"/>
            <a:ext cx="2738346" cy="246221"/>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51" name="Rounded Rectangle 2">
            <a:extLst>
              <a:ext uri="{FF2B5EF4-FFF2-40B4-BE49-F238E27FC236}">
                <a16:creationId xmlns:a16="http://schemas.microsoft.com/office/drawing/2014/main" id="{73EA96A0-F4F6-4753-AE2D-2AD0177CA360}"/>
              </a:ext>
            </a:extLst>
          </p:cNvPr>
          <p:cNvSpPr/>
          <p:nvPr/>
        </p:nvSpPr>
        <p:spPr>
          <a:xfrm>
            <a:off x="1229447" y="4355255"/>
            <a:ext cx="2737554" cy="3505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3P volumes</a:t>
            </a:r>
          </a:p>
        </p:txBody>
      </p:sp>
      <p:sp>
        <p:nvSpPr>
          <p:cNvPr id="52" name="Rectangle 51">
            <a:extLst>
              <a:ext uri="{FF2B5EF4-FFF2-40B4-BE49-F238E27FC236}">
                <a16:creationId xmlns:a16="http://schemas.microsoft.com/office/drawing/2014/main" id="{3ED0DD06-C040-4F3A-BB64-F46FDB58D768}"/>
              </a:ext>
            </a:extLst>
          </p:cNvPr>
          <p:cNvSpPr/>
          <p:nvPr/>
        </p:nvSpPr>
        <p:spPr>
          <a:xfrm>
            <a:off x="6505491" y="4350797"/>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58-1572</a:t>
            </a:r>
          </a:p>
        </p:txBody>
      </p:sp>
      <p:sp>
        <p:nvSpPr>
          <p:cNvPr id="53" name="Rectangle 52">
            <a:extLst>
              <a:ext uri="{FF2B5EF4-FFF2-40B4-BE49-F238E27FC236}">
                <a16:creationId xmlns:a16="http://schemas.microsoft.com/office/drawing/2014/main" id="{CB452082-ABA9-452E-AD98-D7CEF2507B1A}"/>
              </a:ext>
            </a:extLst>
          </p:cNvPr>
          <p:cNvSpPr/>
          <p:nvPr/>
        </p:nvSpPr>
        <p:spPr>
          <a:xfrm>
            <a:off x="8784830" y="4350797"/>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75-1895</a:t>
            </a:r>
          </a:p>
        </p:txBody>
      </p:sp>
      <p:sp>
        <p:nvSpPr>
          <p:cNvPr id="54" name="Rectangle 53">
            <a:extLst>
              <a:ext uri="{FF2B5EF4-FFF2-40B4-BE49-F238E27FC236}">
                <a16:creationId xmlns:a16="http://schemas.microsoft.com/office/drawing/2014/main" id="{5152531F-5085-457E-9924-6FD5E4BA552D}"/>
              </a:ext>
            </a:extLst>
          </p:cNvPr>
          <p:cNvSpPr/>
          <p:nvPr/>
        </p:nvSpPr>
        <p:spPr>
          <a:xfrm>
            <a:off x="4282655" y="4350797"/>
            <a:ext cx="1440000" cy="3734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3440-3460</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0C28E94A-8D2C-48DC-BAB5-BAF9EED6FFB7}"/>
              </a:ext>
            </a:extLst>
          </p:cNvPr>
          <p:cNvSpPr/>
          <p:nvPr/>
        </p:nvSpPr>
        <p:spPr>
          <a:xfrm>
            <a:off x="6505491" y="4797026"/>
            <a:ext cx="1440000" cy="3734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9-1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56" name="Rectangle 55">
            <a:extLst>
              <a:ext uri="{FF2B5EF4-FFF2-40B4-BE49-F238E27FC236}">
                <a16:creationId xmlns:a16="http://schemas.microsoft.com/office/drawing/2014/main" id="{64275BC7-D17C-46BF-A15E-0FA2D79BB797}"/>
              </a:ext>
            </a:extLst>
          </p:cNvPr>
          <p:cNvSpPr/>
          <p:nvPr/>
        </p:nvSpPr>
        <p:spPr>
          <a:xfrm>
            <a:off x="8784830" y="4797026"/>
            <a:ext cx="1440000" cy="3734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23-25</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57" name="Rectangle 56">
            <a:extLst>
              <a:ext uri="{FF2B5EF4-FFF2-40B4-BE49-F238E27FC236}">
                <a16:creationId xmlns:a16="http://schemas.microsoft.com/office/drawing/2014/main" id="{54B48D23-6D92-4998-9BE5-CB24786AF2F1}"/>
              </a:ext>
            </a:extLst>
          </p:cNvPr>
          <p:cNvSpPr/>
          <p:nvPr/>
        </p:nvSpPr>
        <p:spPr>
          <a:xfrm>
            <a:off x="4282655" y="4797026"/>
            <a:ext cx="1440000" cy="37349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18%</a:t>
            </a:r>
          </a:p>
        </p:txBody>
      </p:sp>
      <p:sp>
        <p:nvSpPr>
          <p:cNvPr id="58" name="Rounded Rectangle 35">
            <a:extLst>
              <a:ext uri="{FF2B5EF4-FFF2-40B4-BE49-F238E27FC236}">
                <a16:creationId xmlns:a16="http://schemas.microsoft.com/office/drawing/2014/main" id="{A04A006C-2DB6-4635-8DC3-7B104B1E16A9}"/>
              </a:ext>
            </a:extLst>
          </p:cNvPr>
          <p:cNvSpPr/>
          <p:nvPr/>
        </p:nvSpPr>
        <p:spPr>
          <a:xfrm>
            <a:off x="1229447" y="4805655"/>
            <a:ext cx="2737554" cy="3505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3P</a:t>
            </a:r>
          </a:p>
        </p:txBody>
      </p:sp>
    </p:spTree>
    <p:extLst>
      <p:ext uri="{BB962C8B-B14F-4D97-AF65-F5344CB8AC3E}">
        <p14:creationId xmlns:p14="http://schemas.microsoft.com/office/powerpoint/2010/main" val="30394416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a:extLst>
              <a:ext uri="{FF2B5EF4-FFF2-40B4-BE49-F238E27FC236}">
                <a16:creationId xmlns:a16="http://schemas.microsoft.com/office/drawing/2014/main" id="{B4D66F93-F7D3-4652-81A5-36FAECAAFF48}"/>
              </a:ext>
            </a:extLst>
          </p:cNvPr>
          <p:cNvSpPr txBox="1">
            <a:spLocks/>
          </p:cNvSpPr>
          <p:nvPr/>
        </p:nvSpPr>
        <p:spPr>
          <a:xfrm>
            <a:off x="419406" y="139695"/>
            <a:ext cx="11589714" cy="500026"/>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l" defTabSz="91425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omestic – quarterly forecast</a:t>
            </a:r>
          </a:p>
        </p:txBody>
      </p:sp>
      <p:sp>
        <p:nvSpPr>
          <p:cNvPr id="155" name="TextBox 154"/>
          <p:cNvSpPr txBox="1"/>
          <p:nvPr/>
        </p:nvSpPr>
        <p:spPr>
          <a:xfrm>
            <a:off x="390001" y="4151870"/>
            <a:ext cx="2045370" cy="233398"/>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156" name="TextBox 155"/>
          <p:cNvSpPr txBox="1"/>
          <p:nvPr/>
        </p:nvSpPr>
        <p:spPr>
          <a:xfrm>
            <a:off x="411480" y="4720995"/>
            <a:ext cx="11465702" cy="1401572"/>
          </a:xfrm>
          <a:prstGeom prst="rect">
            <a:avLst/>
          </a:prstGeom>
          <a:solidFill>
            <a:schemeClr val="tx2"/>
          </a:solidFill>
        </p:spPr>
        <p:txBody>
          <a:bodyPr wrap="square" lIns="91406" tIns="45705" rIns="91406" bIns="45705" rtlCol="0" anchor="ctr">
            <a:spAutoFit/>
          </a:bodyPr>
          <a:lstStyle/>
          <a:p>
            <a:pPr marL="285649" marR="0" lvl="0" indent="-285649" algn="just" defTabSz="914253" rtl="0" eaLnBrk="1" fontAlgn="auto" latinLnBrk="0" hangingPunct="1">
              <a:lnSpc>
                <a:spcPct val="12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Cars witnessed a higher drop of </a:t>
            </a:r>
            <a:r>
              <a:rPr lang="en-US" sz="1200" dirty="0">
                <a:solidFill>
                  <a:srgbClr val="000000"/>
                </a:solidFill>
                <a:latin typeface="Arial" panose="020B0604020202020204" pitchFamily="34" charset="0"/>
                <a:cs typeface="Arial" panose="020B0604020202020204" pitchFamily="34" charset="0"/>
              </a:rPr>
              <a:t>22</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while UVs contracted </a:t>
            </a:r>
            <a:r>
              <a:rPr lang="en-US" sz="1200" dirty="0">
                <a:solidFill>
                  <a:srgbClr val="000000"/>
                </a:solidFill>
                <a:latin typeface="Arial" panose="020B0604020202020204" pitchFamily="34" charset="0"/>
                <a:cs typeface="Arial" panose="020B0604020202020204" pitchFamily="34" charset="0"/>
              </a:rPr>
              <a:t>5</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on-year in Q4 FY22 </a:t>
            </a:r>
          </a:p>
          <a:p>
            <a:pPr marL="285649" marR="0" lvl="0" indent="-285649" algn="just" defTabSz="914253" rtl="0" eaLnBrk="1" fontAlgn="auto" latinLnBrk="0" hangingPunct="1">
              <a:lnSpc>
                <a:spcPct val="120000"/>
              </a:lnSpc>
              <a:spcBef>
                <a:spcPts val="0"/>
              </a:spcBef>
              <a:spcAft>
                <a:spcPts val="0"/>
              </a:spcAft>
              <a:buClrTx/>
              <a:buSzPct val="15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Sales to expected to witness robust growth in Q1 FY23 backed by continued need for personal mobility, strong order pipeline, estimated improvement in economy &amp; added push with new launches over an above a low base.</a:t>
            </a:r>
          </a:p>
          <a:p>
            <a:pPr marL="285649" marR="0" lvl="0" indent="-285649" algn="just" defTabSz="914253" rtl="0" eaLnBrk="1" fontAlgn="auto" latinLnBrk="0" hangingPunct="1">
              <a:lnSpc>
                <a:spcPct val="120000"/>
              </a:lnSpc>
              <a:spcBef>
                <a:spcPts val="0"/>
              </a:spcBef>
              <a:spcAft>
                <a:spcPts val="0"/>
              </a:spcAft>
              <a:buClrTx/>
              <a:buSzPct val="15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UVs are expected to continue to outpace cars given the changing consumer preference towards UVs as well as the UV dominated new vehicle pipeline of OEMs</a:t>
            </a:r>
          </a:p>
          <a:p>
            <a:pPr marL="285649" marR="0" lvl="0" indent="-285649" algn="just" defTabSz="914253" rtl="0" eaLnBrk="1" fontAlgn="auto" latinLnBrk="0" hangingPunct="1">
              <a:lnSpc>
                <a:spcPct val="12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Annual FY23 sales are expected to </a:t>
            </a:r>
            <a:r>
              <a:rPr lang="en-US" sz="1200" dirty="0">
                <a:solidFill>
                  <a:srgbClr val="000000"/>
                </a:solidFill>
                <a:latin typeface="Arial" panose="020B0604020202020204" pitchFamily="34" charset="0"/>
                <a:cs typeface="Arial" panose="020B0604020202020204" pitchFamily="34" charset="0"/>
              </a:rPr>
              <a:t>witness a strong growth of 16-18% on-year</a:t>
            </a:r>
            <a:endPar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649" marR="0" lvl="0" indent="-285649" algn="just" defTabSz="914253" rtl="0" eaLnBrk="1" fontAlgn="auto" latinLnBrk="0" hangingPunct="1">
              <a:lnSpc>
                <a:spcPct val="12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We have not considered the resurgence of </a:t>
            </a:r>
            <a:r>
              <a:rPr kumimoji="0" lang="en-US" sz="1200" b="0" i="0" u="none" strike="noStrike" kern="1200" cap="none" spc="0" normalizeH="0" noProof="0" dirty="0" err="1">
                <a:ln>
                  <a:noFill/>
                </a:ln>
                <a:solidFill>
                  <a:srgbClr val="000000"/>
                </a:solidFill>
                <a:effectLst/>
                <a:uLnTx/>
                <a:uFillTx/>
                <a:latin typeface="Arial" panose="020B0604020202020204" pitchFamily="34" charset="0"/>
                <a:ea typeface="+mn-ea"/>
                <a:cs typeface="Arial" panose="020B0604020202020204" pitchFamily="34" charset="0"/>
              </a:rPr>
              <a:t>Covid</a:t>
            </a:r>
            <a:r>
              <a:rPr kumimoji="0" lang="en-US" sz="12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and renewed restrictions in the forecast</a:t>
            </a:r>
          </a:p>
        </p:txBody>
      </p:sp>
      <p:sp>
        <p:nvSpPr>
          <p:cNvPr id="15" name="Rectangle: Rounded Corners 157">
            <a:extLst>
              <a:ext uri="{FF2B5EF4-FFF2-40B4-BE49-F238E27FC236}">
                <a16:creationId xmlns:a16="http://schemas.microsoft.com/office/drawing/2014/main" id="{715A8F26-4A7A-4685-A004-FB0603859007}"/>
              </a:ext>
            </a:extLst>
          </p:cNvPr>
          <p:cNvSpPr/>
          <p:nvPr/>
        </p:nvSpPr>
        <p:spPr>
          <a:xfrm>
            <a:off x="2504838" y="1087243"/>
            <a:ext cx="1471702" cy="328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6" name="Rectangle: Rounded Corners 158">
            <a:extLst>
              <a:ext uri="{FF2B5EF4-FFF2-40B4-BE49-F238E27FC236}">
                <a16:creationId xmlns:a16="http://schemas.microsoft.com/office/drawing/2014/main" id="{44A46C80-5A88-4EAB-ADB6-FA569F11B069}"/>
              </a:ext>
            </a:extLst>
          </p:cNvPr>
          <p:cNvSpPr/>
          <p:nvPr/>
        </p:nvSpPr>
        <p:spPr>
          <a:xfrm>
            <a:off x="4055403" y="1082647"/>
            <a:ext cx="1471702" cy="328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41" name="Rectangle: Rounded Corners 72">
            <a:extLst>
              <a:ext uri="{FF2B5EF4-FFF2-40B4-BE49-F238E27FC236}">
                <a16:creationId xmlns:a16="http://schemas.microsoft.com/office/drawing/2014/main" id="{A738871E-9F78-4346-A0D4-4AA58AA59FED}"/>
              </a:ext>
            </a:extLst>
          </p:cNvPr>
          <p:cNvSpPr/>
          <p:nvPr/>
        </p:nvSpPr>
        <p:spPr>
          <a:xfrm>
            <a:off x="411483" y="724182"/>
            <a:ext cx="1994517" cy="694548"/>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iod</a:t>
            </a:r>
          </a:p>
        </p:txBody>
      </p:sp>
      <p:sp>
        <p:nvSpPr>
          <p:cNvPr id="42" name="Rectangle: Rounded Corners 145">
            <a:extLst>
              <a:ext uri="{FF2B5EF4-FFF2-40B4-BE49-F238E27FC236}">
                <a16:creationId xmlns:a16="http://schemas.microsoft.com/office/drawing/2014/main" id="{DD7CFA8E-7CDC-4A6C-AB95-FCC0A15833EF}"/>
              </a:ext>
            </a:extLst>
          </p:cNvPr>
          <p:cNvSpPr/>
          <p:nvPr/>
        </p:nvSpPr>
        <p:spPr>
          <a:xfrm>
            <a:off x="1562111" y="1476449"/>
            <a:ext cx="843888"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43" name="Rectangle: Rounded Corners 149">
            <a:extLst>
              <a:ext uri="{FF2B5EF4-FFF2-40B4-BE49-F238E27FC236}">
                <a16:creationId xmlns:a16="http://schemas.microsoft.com/office/drawing/2014/main" id="{D101FBB6-7D7E-483C-B6E3-AB9308D1F50F}"/>
              </a:ext>
            </a:extLst>
          </p:cNvPr>
          <p:cNvSpPr/>
          <p:nvPr/>
        </p:nvSpPr>
        <p:spPr>
          <a:xfrm>
            <a:off x="2504837" y="1466934"/>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34</a:t>
            </a:r>
          </a:p>
        </p:txBody>
      </p:sp>
      <p:sp>
        <p:nvSpPr>
          <p:cNvPr id="44" name="Rectangle: Rounded Corners 153">
            <a:extLst>
              <a:ext uri="{FF2B5EF4-FFF2-40B4-BE49-F238E27FC236}">
                <a16:creationId xmlns:a16="http://schemas.microsoft.com/office/drawing/2014/main" id="{670A388E-8574-483D-9CBA-C4807A34A062}"/>
              </a:ext>
            </a:extLst>
          </p:cNvPr>
          <p:cNvSpPr/>
          <p:nvPr/>
        </p:nvSpPr>
        <p:spPr>
          <a:xfrm>
            <a:off x="4046497" y="1474277"/>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3%</a:t>
            </a:r>
          </a:p>
        </p:txBody>
      </p:sp>
      <p:sp>
        <p:nvSpPr>
          <p:cNvPr id="46" name="Rectangle: Rounded Corners 168">
            <a:extLst>
              <a:ext uri="{FF2B5EF4-FFF2-40B4-BE49-F238E27FC236}">
                <a16:creationId xmlns:a16="http://schemas.microsoft.com/office/drawing/2014/main" id="{29DF9AF3-A9C6-4EC2-8010-653D056EFE62}"/>
              </a:ext>
            </a:extLst>
          </p:cNvPr>
          <p:cNvSpPr/>
          <p:nvPr/>
        </p:nvSpPr>
        <p:spPr>
          <a:xfrm>
            <a:off x="411480" y="1466933"/>
            <a:ext cx="1070328" cy="2990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1</a:t>
            </a:r>
          </a:p>
        </p:txBody>
      </p:sp>
      <p:sp>
        <p:nvSpPr>
          <p:cNvPr id="97" name="Rectangle 96"/>
          <p:cNvSpPr/>
          <p:nvPr/>
        </p:nvSpPr>
        <p:spPr>
          <a:xfrm>
            <a:off x="2504838" y="733170"/>
            <a:ext cx="3019865" cy="299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ssenger vehicles</a:t>
            </a:r>
          </a:p>
        </p:txBody>
      </p:sp>
      <p:sp>
        <p:nvSpPr>
          <p:cNvPr id="100" name="Rectangle: Rounded Corners 157">
            <a:extLst>
              <a:ext uri="{FF2B5EF4-FFF2-40B4-BE49-F238E27FC236}">
                <a16:creationId xmlns:a16="http://schemas.microsoft.com/office/drawing/2014/main" id="{715A8F26-4A7A-4685-A004-FB0603859007}"/>
              </a:ext>
            </a:extLst>
          </p:cNvPr>
          <p:cNvSpPr/>
          <p:nvPr/>
        </p:nvSpPr>
        <p:spPr>
          <a:xfrm>
            <a:off x="5670384" y="1093956"/>
            <a:ext cx="1471702" cy="328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01" name="Rectangle: Rounded Corners 158">
            <a:extLst>
              <a:ext uri="{FF2B5EF4-FFF2-40B4-BE49-F238E27FC236}">
                <a16:creationId xmlns:a16="http://schemas.microsoft.com/office/drawing/2014/main" id="{44A46C80-5A88-4EAB-ADB6-FA569F11B069}"/>
              </a:ext>
            </a:extLst>
          </p:cNvPr>
          <p:cNvSpPr/>
          <p:nvPr/>
        </p:nvSpPr>
        <p:spPr>
          <a:xfrm>
            <a:off x="7220949" y="1089360"/>
            <a:ext cx="1471702" cy="328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13" name="Rectangle: Rounded Corners 149">
            <a:extLst>
              <a:ext uri="{FF2B5EF4-FFF2-40B4-BE49-F238E27FC236}">
                <a16:creationId xmlns:a16="http://schemas.microsoft.com/office/drawing/2014/main" id="{D101FBB6-7D7E-483C-B6E3-AB9308D1F50F}"/>
              </a:ext>
            </a:extLst>
          </p:cNvPr>
          <p:cNvSpPr/>
          <p:nvPr/>
        </p:nvSpPr>
        <p:spPr>
          <a:xfrm>
            <a:off x="5670383" y="1473647"/>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13</a:t>
            </a:r>
          </a:p>
        </p:txBody>
      </p:sp>
      <p:sp>
        <p:nvSpPr>
          <p:cNvPr id="114" name="Rectangle: Rounded Corners 153">
            <a:extLst>
              <a:ext uri="{FF2B5EF4-FFF2-40B4-BE49-F238E27FC236}">
                <a16:creationId xmlns:a16="http://schemas.microsoft.com/office/drawing/2014/main" id="{670A388E-8574-483D-9CBA-C4807A34A062}"/>
              </a:ext>
            </a:extLst>
          </p:cNvPr>
          <p:cNvSpPr/>
          <p:nvPr/>
        </p:nvSpPr>
        <p:spPr>
          <a:xfrm>
            <a:off x="7212043" y="1480989"/>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a:t>
            </a:r>
          </a:p>
        </p:txBody>
      </p:sp>
      <p:sp>
        <p:nvSpPr>
          <p:cNvPr id="120" name="Rectangle: Rounded Corners 179">
            <a:extLst>
              <a:ext uri="{FF2B5EF4-FFF2-40B4-BE49-F238E27FC236}">
                <a16:creationId xmlns:a16="http://schemas.microsoft.com/office/drawing/2014/main" id="{64FF5EEA-2412-47FC-8967-2592D2CF3F61}"/>
              </a:ext>
            </a:extLst>
          </p:cNvPr>
          <p:cNvSpPr/>
          <p:nvPr/>
        </p:nvSpPr>
        <p:spPr>
          <a:xfrm>
            <a:off x="7209695" y="3317199"/>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3-15</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25" name="Rectangle 124"/>
          <p:cNvSpPr/>
          <p:nvPr/>
        </p:nvSpPr>
        <p:spPr>
          <a:xfrm>
            <a:off x="5670384" y="739883"/>
            <a:ext cx="3019865" cy="2998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rs</a:t>
            </a:r>
          </a:p>
        </p:txBody>
      </p:sp>
      <p:sp>
        <p:nvSpPr>
          <p:cNvPr id="128" name="Rectangle: Rounded Corners 157">
            <a:extLst>
              <a:ext uri="{FF2B5EF4-FFF2-40B4-BE49-F238E27FC236}">
                <a16:creationId xmlns:a16="http://schemas.microsoft.com/office/drawing/2014/main" id="{715A8F26-4A7A-4685-A004-FB0603859007}"/>
              </a:ext>
            </a:extLst>
          </p:cNvPr>
          <p:cNvSpPr/>
          <p:nvPr/>
        </p:nvSpPr>
        <p:spPr>
          <a:xfrm>
            <a:off x="8834772" y="1094599"/>
            <a:ext cx="1471702" cy="328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29" name="Rectangle: Rounded Corners 158">
            <a:extLst>
              <a:ext uri="{FF2B5EF4-FFF2-40B4-BE49-F238E27FC236}">
                <a16:creationId xmlns:a16="http://schemas.microsoft.com/office/drawing/2014/main" id="{44A46C80-5A88-4EAB-ADB6-FA569F11B069}"/>
              </a:ext>
            </a:extLst>
          </p:cNvPr>
          <p:cNvSpPr/>
          <p:nvPr/>
        </p:nvSpPr>
        <p:spPr>
          <a:xfrm>
            <a:off x="10385336" y="1090003"/>
            <a:ext cx="1471702" cy="3288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41" name="Rectangle: Rounded Corners 149">
            <a:extLst>
              <a:ext uri="{FF2B5EF4-FFF2-40B4-BE49-F238E27FC236}">
                <a16:creationId xmlns:a16="http://schemas.microsoft.com/office/drawing/2014/main" id="{D101FBB6-7D7E-483C-B6E3-AB9308D1F50F}"/>
              </a:ext>
            </a:extLst>
          </p:cNvPr>
          <p:cNvSpPr/>
          <p:nvPr/>
        </p:nvSpPr>
        <p:spPr>
          <a:xfrm>
            <a:off x="8834770" y="1474290"/>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0</a:t>
            </a:r>
          </a:p>
        </p:txBody>
      </p:sp>
      <p:sp>
        <p:nvSpPr>
          <p:cNvPr id="142" name="Rectangle: Rounded Corners 153">
            <a:extLst>
              <a:ext uri="{FF2B5EF4-FFF2-40B4-BE49-F238E27FC236}">
                <a16:creationId xmlns:a16="http://schemas.microsoft.com/office/drawing/2014/main" id="{670A388E-8574-483D-9CBA-C4807A34A062}"/>
              </a:ext>
            </a:extLst>
          </p:cNvPr>
          <p:cNvSpPr/>
          <p:nvPr/>
        </p:nvSpPr>
        <p:spPr>
          <a:xfrm>
            <a:off x="10376430" y="1481633"/>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7%</a:t>
            </a:r>
          </a:p>
        </p:txBody>
      </p:sp>
      <p:sp>
        <p:nvSpPr>
          <p:cNvPr id="145" name="Rectangle: Rounded Corners 175">
            <a:extLst>
              <a:ext uri="{FF2B5EF4-FFF2-40B4-BE49-F238E27FC236}">
                <a16:creationId xmlns:a16="http://schemas.microsoft.com/office/drawing/2014/main" id="{388EBF78-E031-474D-90CE-C3A53D5902D6}"/>
              </a:ext>
            </a:extLst>
          </p:cNvPr>
          <p:cNvSpPr/>
          <p:nvPr/>
        </p:nvSpPr>
        <p:spPr>
          <a:xfrm>
            <a:off x="8832422" y="3319439"/>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99</a:t>
            </a:r>
          </a:p>
        </p:txBody>
      </p:sp>
      <p:sp>
        <p:nvSpPr>
          <p:cNvPr id="148" name="Rectangle: Rounded Corners 179">
            <a:extLst>
              <a:ext uri="{FF2B5EF4-FFF2-40B4-BE49-F238E27FC236}">
                <a16:creationId xmlns:a16="http://schemas.microsoft.com/office/drawing/2014/main" id="{64FF5EEA-2412-47FC-8967-2592D2CF3F61}"/>
              </a:ext>
            </a:extLst>
          </p:cNvPr>
          <p:cNvSpPr/>
          <p:nvPr/>
        </p:nvSpPr>
        <p:spPr>
          <a:xfrm>
            <a:off x="10374082" y="3317842"/>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20%</a:t>
            </a:r>
          </a:p>
        </p:txBody>
      </p:sp>
      <p:sp>
        <p:nvSpPr>
          <p:cNvPr id="153" name="Rectangle 152"/>
          <p:cNvSpPr/>
          <p:nvPr/>
        </p:nvSpPr>
        <p:spPr>
          <a:xfrm>
            <a:off x="8834772" y="740526"/>
            <a:ext cx="3013360" cy="2993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Vs and vans</a:t>
            </a:r>
          </a:p>
        </p:txBody>
      </p:sp>
      <p:sp>
        <p:nvSpPr>
          <p:cNvPr id="75" name="Rectangle: Rounded Corners 172">
            <a:extLst>
              <a:ext uri="{FF2B5EF4-FFF2-40B4-BE49-F238E27FC236}">
                <a16:creationId xmlns:a16="http://schemas.microsoft.com/office/drawing/2014/main" id="{66CC6CAB-11F9-4810-BE60-801C5C58F5F8}"/>
              </a:ext>
            </a:extLst>
          </p:cNvPr>
          <p:cNvSpPr/>
          <p:nvPr/>
        </p:nvSpPr>
        <p:spPr>
          <a:xfrm>
            <a:off x="1567201" y="1831546"/>
            <a:ext cx="843201" cy="2300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1</a:t>
            </a:r>
          </a:p>
        </p:txBody>
      </p:sp>
      <p:sp>
        <p:nvSpPr>
          <p:cNvPr id="76" name="Rectangle: Rounded Corners 176">
            <a:extLst>
              <a:ext uri="{FF2B5EF4-FFF2-40B4-BE49-F238E27FC236}">
                <a16:creationId xmlns:a16="http://schemas.microsoft.com/office/drawing/2014/main" id="{59D18927-4AF5-46EC-803A-A7443AC551C6}"/>
              </a:ext>
            </a:extLst>
          </p:cNvPr>
          <p:cNvSpPr/>
          <p:nvPr/>
        </p:nvSpPr>
        <p:spPr>
          <a:xfrm>
            <a:off x="5636433" y="1805559"/>
            <a:ext cx="1470502" cy="2300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37</a:t>
            </a:r>
          </a:p>
        </p:txBody>
      </p:sp>
      <p:sp>
        <p:nvSpPr>
          <p:cNvPr id="77" name="Rectangle: Rounded Corners 180">
            <a:extLst>
              <a:ext uri="{FF2B5EF4-FFF2-40B4-BE49-F238E27FC236}">
                <a16:creationId xmlns:a16="http://schemas.microsoft.com/office/drawing/2014/main" id="{5133D946-867C-4BC5-B546-C260BE43596E}"/>
              </a:ext>
            </a:extLst>
          </p:cNvPr>
          <p:cNvSpPr/>
          <p:nvPr/>
        </p:nvSpPr>
        <p:spPr>
          <a:xfrm>
            <a:off x="7225132" y="1803858"/>
            <a:ext cx="1470502" cy="2502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1%</a:t>
            </a:r>
          </a:p>
        </p:txBody>
      </p:sp>
      <p:sp>
        <p:nvSpPr>
          <p:cNvPr id="78" name="Rectangle: Rounded Corners 176">
            <a:extLst>
              <a:ext uri="{FF2B5EF4-FFF2-40B4-BE49-F238E27FC236}">
                <a16:creationId xmlns:a16="http://schemas.microsoft.com/office/drawing/2014/main" id="{59D18927-4AF5-46EC-803A-A7443AC551C6}"/>
              </a:ext>
            </a:extLst>
          </p:cNvPr>
          <p:cNvSpPr/>
          <p:nvPr/>
        </p:nvSpPr>
        <p:spPr>
          <a:xfrm>
            <a:off x="8846134" y="1811829"/>
            <a:ext cx="1470502" cy="2300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8</a:t>
            </a:r>
          </a:p>
        </p:txBody>
      </p:sp>
      <p:sp>
        <p:nvSpPr>
          <p:cNvPr id="79" name="Rectangle: Rounded Corners 180">
            <a:extLst>
              <a:ext uri="{FF2B5EF4-FFF2-40B4-BE49-F238E27FC236}">
                <a16:creationId xmlns:a16="http://schemas.microsoft.com/office/drawing/2014/main" id="{5133D946-867C-4BC5-B546-C260BE43596E}"/>
              </a:ext>
            </a:extLst>
          </p:cNvPr>
          <p:cNvSpPr/>
          <p:nvPr/>
        </p:nvSpPr>
        <p:spPr>
          <a:xfrm>
            <a:off x="10386536" y="1814334"/>
            <a:ext cx="1470502" cy="2300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9%</a:t>
            </a:r>
          </a:p>
        </p:txBody>
      </p:sp>
      <p:sp>
        <p:nvSpPr>
          <p:cNvPr id="80" name="Rectangle: Rounded Corners 176">
            <a:extLst>
              <a:ext uri="{FF2B5EF4-FFF2-40B4-BE49-F238E27FC236}">
                <a16:creationId xmlns:a16="http://schemas.microsoft.com/office/drawing/2014/main" id="{59D18927-4AF5-46EC-803A-A7443AC551C6}"/>
              </a:ext>
            </a:extLst>
          </p:cNvPr>
          <p:cNvSpPr/>
          <p:nvPr/>
        </p:nvSpPr>
        <p:spPr>
          <a:xfrm>
            <a:off x="2509153" y="1805559"/>
            <a:ext cx="1470502" cy="2300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45</a:t>
            </a:r>
          </a:p>
        </p:txBody>
      </p:sp>
      <p:sp>
        <p:nvSpPr>
          <p:cNvPr id="81" name="Rectangle: Rounded Corners 180">
            <a:extLst>
              <a:ext uri="{FF2B5EF4-FFF2-40B4-BE49-F238E27FC236}">
                <a16:creationId xmlns:a16="http://schemas.microsoft.com/office/drawing/2014/main" id="{5133D946-867C-4BC5-B546-C260BE43596E}"/>
              </a:ext>
            </a:extLst>
          </p:cNvPr>
          <p:cNvSpPr/>
          <p:nvPr/>
        </p:nvSpPr>
        <p:spPr>
          <a:xfrm>
            <a:off x="4063127" y="1816870"/>
            <a:ext cx="1470502" cy="2300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0%</a:t>
            </a:r>
          </a:p>
        </p:txBody>
      </p:sp>
      <p:sp>
        <p:nvSpPr>
          <p:cNvPr id="82" name="Rectangle: Rounded Corners 168">
            <a:extLst>
              <a:ext uri="{FF2B5EF4-FFF2-40B4-BE49-F238E27FC236}">
                <a16:creationId xmlns:a16="http://schemas.microsoft.com/office/drawing/2014/main" id="{29DF9AF3-A9C6-4EC2-8010-653D056EFE62}"/>
              </a:ext>
            </a:extLst>
          </p:cNvPr>
          <p:cNvSpPr/>
          <p:nvPr/>
        </p:nvSpPr>
        <p:spPr>
          <a:xfrm>
            <a:off x="426298" y="1812343"/>
            <a:ext cx="1063693" cy="11102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2 E</a:t>
            </a:r>
          </a:p>
        </p:txBody>
      </p:sp>
      <p:sp>
        <p:nvSpPr>
          <p:cNvPr id="83" name="Rectangle: Rounded Corners 172">
            <a:extLst>
              <a:ext uri="{FF2B5EF4-FFF2-40B4-BE49-F238E27FC236}">
                <a16:creationId xmlns:a16="http://schemas.microsoft.com/office/drawing/2014/main" id="{66CC6CAB-11F9-4810-BE60-801C5C58F5F8}"/>
              </a:ext>
            </a:extLst>
          </p:cNvPr>
          <p:cNvSpPr/>
          <p:nvPr/>
        </p:nvSpPr>
        <p:spPr>
          <a:xfrm>
            <a:off x="1562783" y="2103708"/>
            <a:ext cx="843201"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85" name="Rectangle: Rounded Corners 176">
            <a:extLst>
              <a:ext uri="{FF2B5EF4-FFF2-40B4-BE49-F238E27FC236}">
                <a16:creationId xmlns:a16="http://schemas.microsoft.com/office/drawing/2014/main" id="{59D18927-4AF5-46EC-803A-A7443AC551C6}"/>
              </a:ext>
            </a:extLst>
          </p:cNvPr>
          <p:cNvSpPr/>
          <p:nvPr/>
        </p:nvSpPr>
        <p:spPr>
          <a:xfrm>
            <a:off x="5659583" y="2088144"/>
            <a:ext cx="1470502"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44</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 name="Rectangle: Rounded Corners 180">
            <a:extLst>
              <a:ext uri="{FF2B5EF4-FFF2-40B4-BE49-F238E27FC236}">
                <a16:creationId xmlns:a16="http://schemas.microsoft.com/office/drawing/2014/main" id="{5133D946-867C-4BC5-B546-C260BE43596E}"/>
              </a:ext>
            </a:extLst>
          </p:cNvPr>
          <p:cNvSpPr/>
          <p:nvPr/>
        </p:nvSpPr>
        <p:spPr>
          <a:xfrm>
            <a:off x="7238700" y="2123351"/>
            <a:ext cx="1470502"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9)</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87" name="Rectangle: Rounded Corners 176">
            <a:extLst>
              <a:ext uri="{FF2B5EF4-FFF2-40B4-BE49-F238E27FC236}">
                <a16:creationId xmlns:a16="http://schemas.microsoft.com/office/drawing/2014/main" id="{59D18927-4AF5-46EC-803A-A7443AC551C6}"/>
              </a:ext>
            </a:extLst>
          </p:cNvPr>
          <p:cNvSpPr/>
          <p:nvPr/>
        </p:nvSpPr>
        <p:spPr>
          <a:xfrm>
            <a:off x="8846134" y="2103785"/>
            <a:ext cx="1470502"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7</a:t>
            </a:r>
          </a:p>
        </p:txBody>
      </p:sp>
      <p:sp>
        <p:nvSpPr>
          <p:cNvPr id="88" name="Rectangle: Rounded Corners 180">
            <a:extLst>
              <a:ext uri="{FF2B5EF4-FFF2-40B4-BE49-F238E27FC236}">
                <a16:creationId xmlns:a16="http://schemas.microsoft.com/office/drawing/2014/main" id="{5133D946-867C-4BC5-B546-C260BE43596E}"/>
              </a:ext>
            </a:extLst>
          </p:cNvPr>
          <p:cNvSpPr/>
          <p:nvPr/>
        </p:nvSpPr>
        <p:spPr>
          <a:xfrm>
            <a:off x="10386536" y="2106290"/>
            <a:ext cx="1470502"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2%</a:t>
            </a:r>
          </a:p>
        </p:txBody>
      </p:sp>
      <p:sp>
        <p:nvSpPr>
          <p:cNvPr id="89" name="Rectangle: Rounded Corners 176">
            <a:extLst>
              <a:ext uri="{FF2B5EF4-FFF2-40B4-BE49-F238E27FC236}">
                <a16:creationId xmlns:a16="http://schemas.microsoft.com/office/drawing/2014/main" id="{59D18927-4AF5-46EC-803A-A7443AC551C6}"/>
              </a:ext>
            </a:extLst>
          </p:cNvPr>
          <p:cNvSpPr/>
          <p:nvPr/>
        </p:nvSpPr>
        <p:spPr>
          <a:xfrm>
            <a:off x="2509153" y="2103121"/>
            <a:ext cx="1470502"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41</a:t>
            </a:r>
          </a:p>
        </p:txBody>
      </p:sp>
      <p:sp>
        <p:nvSpPr>
          <p:cNvPr id="90" name="Rectangle: Rounded Corners 180">
            <a:extLst>
              <a:ext uri="{FF2B5EF4-FFF2-40B4-BE49-F238E27FC236}">
                <a16:creationId xmlns:a16="http://schemas.microsoft.com/office/drawing/2014/main" id="{5133D946-867C-4BC5-B546-C260BE43596E}"/>
              </a:ext>
            </a:extLst>
          </p:cNvPr>
          <p:cNvSpPr/>
          <p:nvPr/>
        </p:nvSpPr>
        <p:spPr>
          <a:xfrm>
            <a:off x="4063127" y="2108826"/>
            <a:ext cx="1470502" cy="2300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92" name="Rectangle: Rounded Corners 172">
            <a:extLst>
              <a:ext uri="{FF2B5EF4-FFF2-40B4-BE49-F238E27FC236}">
                <a16:creationId xmlns:a16="http://schemas.microsoft.com/office/drawing/2014/main" id="{66CC6CAB-11F9-4810-BE60-801C5C58F5F8}"/>
              </a:ext>
            </a:extLst>
          </p:cNvPr>
          <p:cNvSpPr/>
          <p:nvPr/>
        </p:nvSpPr>
        <p:spPr>
          <a:xfrm>
            <a:off x="1567201" y="2403071"/>
            <a:ext cx="843888"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3</a:t>
            </a:r>
          </a:p>
        </p:txBody>
      </p:sp>
      <p:sp>
        <p:nvSpPr>
          <p:cNvPr id="93" name="Rectangle: Rounded Corners 176">
            <a:extLst>
              <a:ext uri="{FF2B5EF4-FFF2-40B4-BE49-F238E27FC236}">
                <a16:creationId xmlns:a16="http://schemas.microsoft.com/office/drawing/2014/main" id="{59D18927-4AF5-46EC-803A-A7443AC551C6}"/>
              </a:ext>
            </a:extLst>
          </p:cNvPr>
          <p:cNvSpPr/>
          <p:nvPr/>
        </p:nvSpPr>
        <p:spPr>
          <a:xfrm>
            <a:off x="2511745" y="2400683"/>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60</a:t>
            </a:r>
          </a:p>
        </p:txBody>
      </p:sp>
      <p:sp>
        <p:nvSpPr>
          <p:cNvPr id="94" name="Rectangle: Rounded Corners 180">
            <a:extLst>
              <a:ext uri="{FF2B5EF4-FFF2-40B4-BE49-F238E27FC236}">
                <a16:creationId xmlns:a16="http://schemas.microsoft.com/office/drawing/2014/main" id="{5133D946-867C-4BC5-B546-C260BE43596E}"/>
              </a:ext>
            </a:extLst>
          </p:cNvPr>
          <p:cNvSpPr/>
          <p:nvPr/>
        </p:nvSpPr>
        <p:spPr>
          <a:xfrm>
            <a:off x="4084103" y="2400683"/>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5)</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03" name="Rectangle: Rounded Corners 176">
            <a:extLst>
              <a:ext uri="{FF2B5EF4-FFF2-40B4-BE49-F238E27FC236}">
                <a16:creationId xmlns:a16="http://schemas.microsoft.com/office/drawing/2014/main" id="{59D18927-4AF5-46EC-803A-A7443AC551C6}"/>
              </a:ext>
            </a:extLst>
          </p:cNvPr>
          <p:cNvSpPr/>
          <p:nvPr/>
        </p:nvSpPr>
        <p:spPr>
          <a:xfrm>
            <a:off x="5665462" y="2393789"/>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49</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4" name="Rectangle: Rounded Corners 180">
            <a:extLst>
              <a:ext uri="{FF2B5EF4-FFF2-40B4-BE49-F238E27FC236}">
                <a16:creationId xmlns:a16="http://schemas.microsoft.com/office/drawing/2014/main" id="{5133D946-867C-4BC5-B546-C260BE43596E}"/>
              </a:ext>
            </a:extLst>
          </p:cNvPr>
          <p:cNvSpPr/>
          <p:nvPr/>
        </p:nvSpPr>
        <p:spPr>
          <a:xfrm>
            <a:off x="7218697" y="2407865"/>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32</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08" name="Rectangle: Rounded Corners 176">
            <a:extLst>
              <a:ext uri="{FF2B5EF4-FFF2-40B4-BE49-F238E27FC236}">
                <a16:creationId xmlns:a16="http://schemas.microsoft.com/office/drawing/2014/main" id="{59D18927-4AF5-46EC-803A-A7443AC551C6}"/>
              </a:ext>
            </a:extLst>
          </p:cNvPr>
          <p:cNvSpPr/>
          <p:nvPr/>
        </p:nvSpPr>
        <p:spPr>
          <a:xfrm>
            <a:off x="8853000" y="2394432"/>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411</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 name="Rectangle: Rounded Corners 180">
            <a:extLst>
              <a:ext uri="{FF2B5EF4-FFF2-40B4-BE49-F238E27FC236}">
                <a16:creationId xmlns:a16="http://schemas.microsoft.com/office/drawing/2014/main" id="{5133D946-867C-4BC5-B546-C260BE43596E}"/>
              </a:ext>
            </a:extLst>
          </p:cNvPr>
          <p:cNvSpPr/>
          <p:nvPr/>
        </p:nvSpPr>
        <p:spPr>
          <a:xfrm>
            <a:off x="10385336" y="2398137"/>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p>
        </p:txBody>
      </p:sp>
      <p:sp>
        <p:nvSpPr>
          <p:cNvPr id="74" name="Rectangle: Rounded Corners 145">
            <a:extLst>
              <a:ext uri="{FF2B5EF4-FFF2-40B4-BE49-F238E27FC236}">
                <a16:creationId xmlns:a16="http://schemas.microsoft.com/office/drawing/2014/main" id="{DD7CFA8E-7CDC-4A6C-AB95-FCC0A15833EF}"/>
              </a:ext>
            </a:extLst>
          </p:cNvPr>
          <p:cNvSpPr/>
          <p:nvPr/>
        </p:nvSpPr>
        <p:spPr>
          <a:xfrm>
            <a:off x="1562111" y="2708963"/>
            <a:ext cx="843888"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84" name="Rectangle: Rounded Corners 149">
            <a:extLst>
              <a:ext uri="{FF2B5EF4-FFF2-40B4-BE49-F238E27FC236}">
                <a16:creationId xmlns:a16="http://schemas.microsoft.com/office/drawing/2014/main" id="{D101FBB6-7D7E-483C-B6E3-AB9308D1F50F}"/>
              </a:ext>
            </a:extLst>
          </p:cNvPr>
          <p:cNvSpPr/>
          <p:nvPr/>
        </p:nvSpPr>
        <p:spPr>
          <a:xfrm>
            <a:off x="2504836" y="2699448"/>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797</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1" name="Rectangle: Rounded Corners 153">
            <a:extLst>
              <a:ext uri="{FF2B5EF4-FFF2-40B4-BE49-F238E27FC236}">
                <a16:creationId xmlns:a16="http://schemas.microsoft.com/office/drawing/2014/main" id="{670A388E-8574-483D-9CBA-C4807A34A062}"/>
              </a:ext>
            </a:extLst>
          </p:cNvPr>
          <p:cNvSpPr/>
          <p:nvPr/>
        </p:nvSpPr>
        <p:spPr>
          <a:xfrm>
            <a:off x="4046496" y="2706791"/>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15)</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95" name="Rectangle: Rounded Corners 149">
            <a:extLst>
              <a:ext uri="{FF2B5EF4-FFF2-40B4-BE49-F238E27FC236}">
                <a16:creationId xmlns:a16="http://schemas.microsoft.com/office/drawing/2014/main" id="{D101FBB6-7D7E-483C-B6E3-AB9308D1F50F}"/>
              </a:ext>
            </a:extLst>
          </p:cNvPr>
          <p:cNvSpPr/>
          <p:nvPr/>
        </p:nvSpPr>
        <p:spPr>
          <a:xfrm>
            <a:off x="5658983" y="2720076"/>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98</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Rectangle: Rounded Corners 153">
            <a:extLst>
              <a:ext uri="{FF2B5EF4-FFF2-40B4-BE49-F238E27FC236}">
                <a16:creationId xmlns:a16="http://schemas.microsoft.com/office/drawing/2014/main" id="{670A388E-8574-483D-9CBA-C4807A34A062}"/>
              </a:ext>
            </a:extLst>
          </p:cNvPr>
          <p:cNvSpPr/>
          <p:nvPr/>
        </p:nvSpPr>
        <p:spPr>
          <a:xfrm>
            <a:off x="7235192" y="2713504"/>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22</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05" name="Rectangle: Rounded Corners 149">
            <a:extLst>
              <a:ext uri="{FF2B5EF4-FFF2-40B4-BE49-F238E27FC236}">
                <a16:creationId xmlns:a16="http://schemas.microsoft.com/office/drawing/2014/main" id="{D101FBB6-7D7E-483C-B6E3-AB9308D1F50F}"/>
              </a:ext>
            </a:extLst>
          </p:cNvPr>
          <p:cNvSpPr/>
          <p:nvPr/>
        </p:nvSpPr>
        <p:spPr>
          <a:xfrm>
            <a:off x="8834770" y="2706804"/>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98</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 name="Rectangle: Rounded Corners 153">
            <a:extLst>
              <a:ext uri="{FF2B5EF4-FFF2-40B4-BE49-F238E27FC236}">
                <a16:creationId xmlns:a16="http://schemas.microsoft.com/office/drawing/2014/main" id="{670A388E-8574-483D-9CBA-C4807A34A062}"/>
              </a:ext>
            </a:extLst>
          </p:cNvPr>
          <p:cNvSpPr/>
          <p:nvPr/>
        </p:nvSpPr>
        <p:spPr>
          <a:xfrm>
            <a:off x="10376430" y="2714146"/>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73" name="Rectangle: Rounded Corners 168">
            <a:extLst>
              <a:ext uri="{FF2B5EF4-FFF2-40B4-BE49-F238E27FC236}">
                <a16:creationId xmlns:a16="http://schemas.microsoft.com/office/drawing/2014/main" id="{29DF9AF3-A9C6-4EC2-8010-653D056EFE62}"/>
              </a:ext>
            </a:extLst>
          </p:cNvPr>
          <p:cNvSpPr/>
          <p:nvPr/>
        </p:nvSpPr>
        <p:spPr>
          <a:xfrm>
            <a:off x="420463" y="2967511"/>
            <a:ext cx="1069528" cy="12031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3 P</a:t>
            </a:r>
          </a:p>
        </p:txBody>
      </p:sp>
      <p:sp>
        <p:nvSpPr>
          <p:cNvPr id="98" name="Rectangle: Rounded Corners 172">
            <a:extLst>
              <a:ext uri="{FF2B5EF4-FFF2-40B4-BE49-F238E27FC236}">
                <a16:creationId xmlns:a16="http://schemas.microsoft.com/office/drawing/2014/main" id="{66CC6CAB-11F9-4810-BE60-801C5C58F5F8}"/>
              </a:ext>
            </a:extLst>
          </p:cNvPr>
          <p:cNvSpPr/>
          <p:nvPr/>
        </p:nvSpPr>
        <p:spPr>
          <a:xfrm>
            <a:off x="1567201" y="3024038"/>
            <a:ext cx="843888"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1</a:t>
            </a:r>
          </a:p>
        </p:txBody>
      </p:sp>
      <p:sp>
        <p:nvSpPr>
          <p:cNvPr id="99" name="Rectangle: Rounded Corners 176">
            <a:extLst>
              <a:ext uri="{FF2B5EF4-FFF2-40B4-BE49-F238E27FC236}">
                <a16:creationId xmlns:a16="http://schemas.microsoft.com/office/drawing/2014/main" id="{59D18927-4AF5-46EC-803A-A7443AC551C6}"/>
              </a:ext>
            </a:extLst>
          </p:cNvPr>
          <p:cNvSpPr/>
          <p:nvPr/>
        </p:nvSpPr>
        <p:spPr>
          <a:xfrm>
            <a:off x="2511745" y="3021650"/>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845-855</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 name="Rectangle: Rounded Corners 180">
            <a:extLst>
              <a:ext uri="{FF2B5EF4-FFF2-40B4-BE49-F238E27FC236}">
                <a16:creationId xmlns:a16="http://schemas.microsoft.com/office/drawing/2014/main" id="{5133D946-867C-4BC5-B546-C260BE43596E}"/>
              </a:ext>
            </a:extLst>
          </p:cNvPr>
          <p:cNvSpPr/>
          <p:nvPr/>
        </p:nvSpPr>
        <p:spPr>
          <a:xfrm>
            <a:off x="4084103" y="3021650"/>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1-33%</a:t>
            </a:r>
          </a:p>
        </p:txBody>
      </p:sp>
      <p:sp>
        <p:nvSpPr>
          <p:cNvPr id="109" name="Rectangle: Rounded Corners 176">
            <a:extLst>
              <a:ext uri="{FF2B5EF4-FFF2-40B4-BE49-F238E27FC236}">
                <a16:creationId xmlns:a16="http://schemas.microsoft.com/office/drawing/2014/main" id="{59D18927-4AF5-46EC-803A-A7443AC551C6}"/>
              </a:ext>
            </a:extLst>
          </p:cNvPr>
          <p:cNvSpPr/>
          <p:nvPr/>
        </p:nvSpPr>
        <p:spPr>
          <a:xfrm>
            <a:off x="5665462" y="3014756"/>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82-392</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1" name="Rectangle: Rounded Corners 180">
            <a:extLst>
              <a:ext uri="{FF2B5EF4-FFF2-40B4-BE49-F238E27FC236}">
                <a16:creationId xmlns:a16="http://schemas.microsoft.com/office/drawing/2014/main" id="{5133D946-867C-4BC5-B546-C260BE43596E}"/>
              </a:ext>
            </a:extLst>
          </p:cNvPr>
          <p:cNvSpPr/>
          <p:nvPr/>
        </p:nvSpPr>
        <p:spPr>
          <a:xfrm>
            <a:off x="7218697" y="3028832"/>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16%</a:t>
            </a:r>
          </a:p>
        </p:txBody>
      </p:sp>
      <p:sp>
        <p:nvSpPr>
          <p:cNvPr id="112" name="Rectangle: Rounded Corners 176">
            <a:extLst>
              <a:ext uri="{FF2B5EF4-FFF2-40B4-BE49-F238E27FC236}">
                <a16:creationId xmlns:a16="http://schemas.microsoft.com/office/drawing/2014/main" id="{59D18927-4AF5-46EC-803A-A7443AC551C6}"/>
              </a:ext>
            </a:extLst>
          </p:cNvPr>
          <p:cNvSpPr/>
          <p:nvPr/>
        </p:nvSpPr>
        <p:spPr>
          <a:xfrm>
            <a:off x="8853000" y="3015399"/>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5-465</a:t>
            </a:r>
          </a:p>
        </p:txBody>
      </p:sp>
      <p:sp>
        <p:nvSpPr>
          <p:cNvPr id="115" name="Rectangle: Rounded Corners 180">
            <a:extLst>
              <a:ext uri="{FF2B5EF4-FFF2-40B4-BE49-F238E27FC236}">
                <a16:creationId xmlns:a16="http://schemas.microsoft.com/office/drawing/2014/main" id="{5133D946-867C-4BC5-B546-C260BE43596E}"/>
              </a:ext>
            </a:extLst>
          </p:cNvPr>
          <p:cNvSpPr/>
          <p:nvPr/>
        </p:nvSpPr>
        <p:spPr>
          <a:xfrm>
            <a:off x="10385336" y="3019104"/>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50%</a:t>
            </a:r>
          </a:p>
        </p:txBody>
      </p:sp>
      <p:sp>
        <p:nvSpPr>
          <p:cNvPr id="122" name="Rectangle: Rounded Corners 145">
            <a:extLst>
              <a:ext uri="{FF2B5EF4-FFF2-40B4-BE49-F238E27FC236}">
                <a16:creationId xmlns:a16="http://schemas.microsoft.com/office/drawing/2014/main" id="{DD7CFA8E-7CDC-4A6C-AB95-FCC0A15833EF}"/>
              </a:ext>
            </a:extLst>
          </p:cNvPr>
          <p:cNvSpPr/>
          <p:nvPr/>
        </p:nvSpPr>
        <p:spPr>
          <a:xfrm>
            <a:off x="1559763" y="3339671"/>
            <a:ext cx="843888"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123" name="Rectangle: Rounded Corners 149">
            <a:extLst>
              <a:ext uri="{FF2B5EF4-FFF2-40B4-BE49-F238E27FC236}">
                <a16:creationId xmlns:a16="http://schemas.microsoft.com/office/drawing/2014/main" id="{D101FBB6-7D7E-483C-B6E3-AB9308D1F50F}"/>
              </a:ext>
            </a:extLst>
          </p:cNvPr>
          <p:cNvSpPr/>
          <p:nvPr/>
        </p:nvSpPr>
        <p:spPr>
          <a:xfrm>
            <a:off x="2502488" y="3330156"/>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40-850</a:t>
            </a:r>
          </a:p>
        </p:txBody>
      </p:sp>
      <p:sp>
        <p:nvSpPr>
          <p:cNvPr id="124" name="Rectangle: Rounded Corners 153">
            <a:extLst>
              <a:ext uri="{FF2B5EF4-FFF2-40B4-BE49-F238E27FC236}">
                <a16:creationId xmlns:a16="http://schemas.microsoft.com/office/drawing/2014/main" id="{670A388E-8574-483D-9CBA-C4807A34A062}"/>
              </a:ext>
            </a:extLst>
          </p:cNvPr>
          <p:cNvSpPr/>
          <p:nvPr/>
        </p:nvSpPr>
        <p:spPr>
          <a:xfrm>
            <a:off x="4044148" y="3316951"/>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18%</a:t>
            </a:r>
          </a:p>
        </p:txBody>
      </p:sp>
      <p:sp>
        <p:nvSpPr>
          <p:cNvPr id="126" name="Rectangle: Rounded Corners 149">
            <a:extLst>
              <a:ext uri="{FF2B5EF4-FFF2-40B4-BE49-F238E27FC236}">
                <a16:creationId xmlns:a16="http://schemas.microsoft.com/office/drawing/2014/main" id="{D101FBB6-7D7E-483C-B6E3-AB9308D1F50F}"/>
              </a:ext>
            </a:extLst>
          </p:cNvPr>
          <p:cNvSpPr/>
          <p:nvPr/>
        </p:nvSpPr>
        <p:spPr>
          <a:xfrm>
            <a:off x="5656635" y="3350784"/>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88-398</a:t>
            </a:r>
          </a:p>
        </p:txBody>
      </p:sp>
      <p:sp>
        <p:nvSpPr>
          <p:cNvPr id="130" name="Rectangle: Rounded Corners 149">
            <a:extLst>
              <a:ext uri="{FF2B5EF4-FFF2-40B4-BE49-F238E27FC236}">
                <a16:creationId xmlns:a16="http://schemas.microsoft.com/office/drawing/2014/main" id="{D101FBB6-7D7E-483C-B6E3-AB9308D1F50F}"/>
              </a:ext>
            </a:extLst>
          </p:cNvPr>
          <p:cNvSpPr/>
          <p:nvPr/>
        </p:nvSpPr>
        <p:spPr>
          <a:xfrm>
            <a:off x="8832422" y="3337512"/>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65-475</a:t>
            </a:r>
          </a:p>
        </p:txBody>
      </p:sp>
      <p:sp>
        <p:nvSpPr>
          <p:cNvPr id="131" name="Rectangle: Rounded Corners 153">
            <a:extLst>
              <a:ext uri="{FF2B5EF4-FFF2-40B4-BE49-F238E27FC236}">
                <a16:creationId xmlns:a16="http://schemas.microsoft.com/office/drawing/2014/main" id="{670A388E-8574-483D-9CBA-C4807A34A062}"/>
              </a:ext>
            </a:extLst>
          </p:cNvPr>
          <p:cNvSpPr/>
          <p:nvPr/>
        </p:nvSpPr>
        <p:spPr>
          <a:xfrm>
            <a:off x="10374082" y="3612541"/>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3-15</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50" name="Rectangle: Rounded Corners 171">
            <a:extLst>
              <a:ext uri="{FF2B5EF4-FFF2-40B4-BE49-F238E27FC236}">
                <a16:creationId xmlns:a16="http://schemas.microsoft.com/office/drawing/2014/main" id="{BCCF728F-87C2-4697-897E-C48AE14D277A}"/>
              </a:ext>
            </a:extLst>
          </p:cNvPr>
          <p:cNvSpPr/>
          <p:nvPr/>
        </p:nvSpPr>
        <p:spPr>
          <a:xfrm>
            <a:off x="1557415" y="3311828"/>
            <a:ext cx="843888"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151" name="Rectangle: Rounded Corners 175">
            <a:extLst>
              <a:ext uri="{FF2B5EF4-FFF2-40B4-BE49-F238E27FC236}">
                <a16:creationId xmlns:a16="http://schemas.microsoft.com/office/drawing/2014/main" id="{77C4776C-2524-4CF8-A9CB-123E06F3C248}"/>
              </a:ext>
            </a:extLst>
          </p:cNvPr>
          <p:cNvSpPr/>
          <p:nvPr/>
        </p:nvSpPr>
        <p:spPr>
          <a:xfrm>
            <a:off x="2500141" y="3311256"/>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60-670</a:t>
            </a:r>
          </a:p>
        </p:txBody>
      </p:sp>
      <p:sp>
        <p:nvSpPr>
          <p:cNvPr id="158" name="Rectangle: Rounded Corners 153">
            <a:extLst>
              <a:ext uri="{FF2B5EF4-FFF2-40B4-BE49-F238E27FC236}">
                <a16:creationId xmlns:a16="http://schemas.microsoft.com/office/drawing/2014/main" id="{9BB787F0-B9D6-4205-8B24-74C120DEF1EF}"/>
              </a:ext>
            </a:extLst>
          </p:cNvPr>
          <p:cNvSpPr/>
          <p:nvPr/>
        </p:nvSpPr>
        <p:spPr>
          <a:xfrm>
            <a:off x="7235192" y="3621499"/>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13%</a:t>
            </a:r>
          </a:p>
        </p:txBody>
      </p:sp>
      <p:sp>
        <p:nvSpPr>
          <p:cNvPr id="159" name="Rectangle: Rounded Corners 149">
            <a:extLst>
              <a:ext uri="{FF2B5EF4-FFF2-40B4-BE49-F238E27FC236}">
                <a16:creationId xmlns:a16="http://schemas.microsoft.com/office/drawing/2014/main" id="{E06A603D-3CE3-4951-BB4F-CAD13F731FDF}"/>
              </a:ext>
            </a:extLst>
          </p:cNvPr>
          <p:cNvSpPr/>
          <p:nvPr/>
        </p:nvSpPr>
        <p:spPr>
          <a:xfrm>
            <a:off x="8832422" y="3627087"/>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65-475</a:t>
            </a:r>
          </a:p>
        </p:txBody>
      </p:sp>
      <p:sp>
        <p:nvSpPr>
          <p:cNvPr id="160" name="Rectangle: Rounded Corners 175">
            <a:extLst>
              <a:ext uri="{FF2B5EF4-FFF2-40B4-BE49-F238E27FC236}">
                <a16:creationId xmlns:a16="http://schemas.microsoft.com/office/drawing/2014/main" id="{4AEDE7B2-6CEF-40A0-9A1F-C6A5196A4330}"/>
              </a:ext>
            </a:extLst>
          </p:cNvPr>
          <p:cNvSpPr/>
          <p:nvPr/>
        </p:nvSpPr>
        <p:spPr>
          <a:xfrm>
            <a:off x="5667312" y="3636831"/>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85-395</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 name="Rectangle: Rounded Corners 179">
            <a:extLst>
              <a:ext uri="{FF2B5EF4-FFF2-40B4-BE49-F238E27FC236}">
                <a16:creationId xmlns:a16="http://schemas.microsoft.com/office/drawing/2014/main" id="{2480FEFC-3E75-46AB-B675-6BBDFBDC0D6F}"/>
              </a:ext>
            </a:extLst>
          </p:cNvPr>
          <p:cNvSpPr/>
          <p:nvPr/>
        </p:nvSpPr>
        <p:spPr>
          <a:xfrm>
            <a:off x="4041829" y="3628383"/>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14%</a:t>
            </a:r>
          </a:p>
        </p:txBody>
      </p:sp>
      <p:sp>
        <p:nvSpPr>
          <p:cNvPr id="162" name="Rectangle: Rounded Corners 171">
            <a:extLst>
              <a:ext uri="{FF2B5EF4-FFF2-40B4-BE49-F238E27FC236}">
                <a16:creationId xmlns:a16="http://schemas.microsoft.com/office/drawing/2014/main" id="{8B05EC64-0312-49D7-B737-DF85E74DDA71}"/>
              </a:ext>
            </a:extLst>
          </p:cNvPr>
          <p:cNvSpPr/>
          <p:nvPr/>
        </p:nvSpPr>
        <p:spPr>
          <a:xfrm>
            <a:off x="1555818" y="3630340"/>
            <a:ext cx="843888"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3</a:t>
            </a:r>
          </a:p>
        </p:txBody>
      </p:sp>
      <p:sp>
        <p:nvSpPr>
          <p:cNvPr id="163" name="Rectangle: Rounded Corners 175">
            <a:extLst>
              <a:ext uri="{FF2B5EF4-FFF2-40B4-BE49-F238E27FC236}">
                <a16:creationId xmlns:a16="http://schemas.microsoft.com/office/drawing/2014/main" id="{8D07128E-FC92-4086-A382-1CD550E1FB17}"/>
              </a:ext>
            </a:extLst>
          </p:cNvPr>
          <p:cNvSpPr/>
          <p:nvPr/>
        </p:nvSpPr>
        <p:spPr>
          <a:xfrm>
            <a:off x="2498544" y="3629768"/>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726</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5" name="Rectangle: Rounded Corners 175">
            <a:extLst>
              <a:ext uri="{FF2B5EF4-FFF2-40B4-BE49-F238E27FC236}">
                <a16:creationId xmlns:a16="http://schemas.microsoft.com/office/drawing/2014/main" id="{F1AA0AE4-87EE-4548-BFD2-676F11689332}"/>
              </a:ext>
            </a:extLst>
          </p:cNvPr>
          <p:cNvSpPr/>
          <p:nvPr/>
        </p:nvSpPr>
        <p:spPr>
          <a:xfrm>
            <a:off x="2498544" y="3629378"/>
            <a:ext cx="1471702" cy="24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855-865</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 name="Rectangle: Rounded Corners 145">
            <a:extLst>
              <a:ext uri="{FF2B5EF4-FFF2-40B4-BE49-F238E27FC236}">
                <a16:creationId xmlns:a16="http://schemas.microsoft.com/office/drawing/2014/main" id="{B557D877-D840-4FAD-B527-14F0DC269DA6}"/>
              </a:ext>
            </a:extLst>
          </p:cNvPr>
          <p:cNvSpPr/>
          <p:nvPr/>
        </p:nvSpPr>
        <p:spPr>
          <a:xfrm>
            <a:off x="1570675" y="3919981"/>
            <a:ext cx="843888"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152" name="Rectangle: Rounded Corners 149">
            <a:extLst>
              <a:ext uri="{FF2B5EF4-FFF2-40B4-BE49-F238E27FC236}">
                <a16:creationId xmlns:a16="http://schemas.microsoft.com/office/drawing/2014/main" id="{B6999CF1-C446-4A1E-A7C4-442FC4200F32}"/>
              </a:ext>
            </a:extLst>
          </p:cNvPr>
          <p:cNvSpPr/>
          <p:nvPr/>
        </p:nvSpPr>
        <p:spPr>
          <a:xfrm>
            <a:off x="2513401" y="3910466"/>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873-883</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Rectangle: Rounded Corners 153">
            <a:extLst>
              <a:ext uri="{FF2B5EF4-FFF2-40B4-BE49-F238E27FC236}">
                <a16:creationId xmlns:a16="http://schemas.microsoft.com/office/drawing/2014/main" id="{BFF50E39-CFA9-4305-BD27-25237FC74213}"/>
              </a:ext>
            </a:extLst>
          </p:cNvPr>
          <p:cNvSpPr/>
          <p:nvPr/>
        </p:nvSpPr>
        <p:spPr>
          <a:xfrm>
            <a:off x="4055061" y="3917809"/>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9-11</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57" name="Rectangle: Rounded Corners 149">
            <a:extLst>
              <a:ext uri="{FF2B5EF4-FFF2-40B4-BE49-F238E27FC236}">
                <a16:creationId xmlns:a16="http://schemas.microsoft.com/office/drawing/2014/main" id="{754339AE-DB38-4A08-ADB7-5601154F5783}"/>
              </a:ext>
            </a:extLst>
          </p:cNvPr>
          <p:cNvSpPr/>
          <p:nvPr/>
        </p:nvSpPr>
        <p:spPr>
          <a:xfrm>
            <a:off x="5678947" y="3917179"/>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92-402</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 name="Rectangle: Rounded Corners 153">
            <a:extLst>
              <a:ext uri="{FF2B5EF4-FFF2-40B4-BE49-F238E27FC236}">
                <a16:creationId xmlns:a16="http://schemas.microsoft.com/office/drawing/2014/main" id="{C68AB692-923B-437A-A61E-1BD39DB66D84}"/>
              </a:ext>
            </a:extLst>
          </p:cNvPr>
          <p:cNvSpPr/>
          <p:nvPr/>
        </p:nvSpPr>
        <p:spPr>
          <a:xfrm>
            <a:off x="7220607" y="3924521"/>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1</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6" name="Rectangle: Rounded Corners 149">
            <a:extLst>
              <a:ext uri="{FF2B5EF4-FFF2-40B4-BE49-F238E27FC236}">
                <a16:creationId xmlns:a16="http://schemas.microsoft.com/office/drawing/2014/main" id="{F168F478-517E-419D-A46E-4F23BB148E08}"/>
              </a:ext>
            </a:extLst>
          </p:cNvPr>
          <p:cNvSpPr/>
          <p:nvPr/>
        </p:nvSpPr>
        <p:spPr>
          <a:xfrm>
            <a:off x="8843334" y="3917822"/>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475-485</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7" name="Rectangle: Rounded Corners 153">
            <a:extLst>
              <a:ext uri="{FF2B5EF4-FFF2-40B4-BE49-F238E27FC236}">
                <a16:creationId xmlns:a16="http://schemas.microsoft.com/office/drawing/2014/main" id="{C568D48B-79EE-4CBA-AC2B-59D5CE974CC0}"/>
              </a:ext>
            </a:extLst>
          </p:cNvPr>
          <p:cNvSpPr/>
          <p:nvPr/>
        </p:nvSpPr>
        <p:spPr>
          <a:xfrm>
            <a:off x="10384994" y="3925165"/>
            <a:ext cx="1471702" cy="246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2%</a:t>
            </a:r>
          </a:p>
        </p:txBody>
      </p:sp>
    </p:spTree>
    <p:extLst>
      <p:ext uri="{BB962C8B-B14F-4D97-AF65-F5344CB8AC3E}">
        <p14:creationId xmlns:p14="http://schemas.microsoft.com/office/powerpoint/2010/main" val="30053814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065115" y="1168115"/>
            <a:ext cx="3716663" cy="4773948"/>
          </a:xfrm>
          <a:prstGeom prst="rect">
            <a:avLst/>
          </a:prstGeom>
          <a:solidFill>
            <a:schemeClr val="accent5"/>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496" tIns="2174076" rIns="99496" bIns="1136794" numCol="1" spcCol="1058" anchor="t" anchorCtr="1">
            <a:noAutofit/>
          </a:bodyPr>
          <a:lstStyle/>
          <a:p>
            <a:pPr defTabSz="621825">
              <a:lnSpc>
                <a:spcPct val="90000"/>
              </a:lnSpc>
              <a:spcBef>
                <a:spcPct val="0"/>
              </a:spcBef>
              <a:spcAft>
                <a:spcPct val="35000"/>
              </a:spcAft>
              <a:defRPr/>
            </a:pPr>
            <a:endParaRPr lang="en-IN" sz="1400" b="1"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12" name="Rectangle 11"/>
          <p:cNvSpPr/>
          <p:nvPr/>
        </p:nvSpPr>
        <p:spPr>
          <a:xfrm>
            <a:off x="4236954" y="1157531"/>
            <a:ext cx="3716663" cy="4773948"/>
          </a:xfrm>
          <a:prstGeom prst="rect">
            <a:avLst/>
          </a:prstGeom>
          <a:solidFill>
            <a:schemeClr val="accent4"/>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496" tIns="2174076" rIns="99496" bIns="1136794" numCol="1" spcCol="1058" anchor="t" anchorCtr="1">
            <a:noAutofit/>
          </a:bodyPr>
          <a:lstStyle/>
          <a:p>
            <a:pPr marL="114205" lvl="1" indent="-114205" algn="just" defTabSz="621825">
              <a:lnSpc>
                <a:spcPct val="90000"/>
              </a:lnSpc>
              <a:spcBef>
                <a:spcPct val="0"/>
              </a:spcBef>
              <a:spcAft>
                <a:spcPct val="15000"/>
              </a:spcAft>
              <a:buFontTx/>
              <a:buChar char="••"/>
              <a:defRPr/>
            </a:pPr>
            <a:endParaRPr lang="en-IN" sz="1400"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10" name="Rectangle 9"/>
          <p:cNvSpPr/>
          <p:nvPr/>
        </p:nvSpPr>
        <p:spPr>
          <a:xfrm>
            <a:off x="408789" y="1140234"/>
            <a:ext cx="3716663" cy="4773948"/>
          </a:xfrm>
          <a:prstGeom prst="rect">
            <a:avLst/>
          </a:prstGeom>
          <a:solidFill>
            <a:schemeClr val="tx2"/>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496" tIns="2174076" rIns="99496" bIns="1136794" numCol="1" spcCol="1058" anchor="t" anchorCtr="1">
            <a:noAutofit/>
          </a:bodyPr>
          <a:lstStyle/>
          <a:p>
            <a:pPr marL="114205" lvl="1" indent="-114205" defTabSz="621825">
              <a:lnSpc>
                <a:spcPct val="90000"/>
              </a:lnSpc>
              <a:spcBef>
                <a:spcPct val="0"/>
              </a:spcBef>
              <a:spcAft>
                <a:spcPct val="15000"/>
              </a:spcAft>
              <a:buFontTx/>
              <a:buChar char="••"/>
              <a:defRPr/>
            </a:pPr>
            <a:endParaRPr lang="en-IN" sz="1400"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4" name="TextBox 3"/>
          <p:cNvSpPr txBox="1"/>
          <p:nvPr/>
        </p:nvSpPr>
        <p:spPr>
          <a:xfrm>
            <a:off x="326602" y="5928096"/>
            <a:ext cx="2645507" cy="218012"/>
          </a:xfrm>
          <a:prstGeom prst="rect">
            <a:avLst/>
          </a:prstGeom>
          <a:noFill/>
        </p:spPr>
        <p:txBody>
          <a:bodyPr wrap="square" lIns="76146" tIns="38070" rIns="76146" bIns="38070" rtlCol="0">
            <a:spAutoFit/>
          </a:bodyPr>
          <a:lstStyle/>
          <a:p>
            <a:pPr defTabSz="913667">
              <a:defRPr/>
            </a:pPr>
            <a:r>
              <a:rPr lang="en-IN" sz="917" i="1" dirty="0">
                <a:solidFill>
                  <a:prstClr val="black"/>
                </a:solidFill>
                <a:latin typeface="Arial" panose="020B0604020202020204" pitchFamily="34" charset="0"/>
                <a:cs typeface="Arial" panose="020B0604020202020204" pitchFamily="34" charset="0"/>
              </a:rPr>
              <a:t>Source – Industry, CRISIL Research</a:t>
            </a:r>
          </a:p>
        </p:txBody>
      </p:sp>
      <p:sp>
        <p:nvSpPr>
          <p:cNvPr id="17" name="Rectangle 16"/>
          <p:cNvSpPr/>
          <p:nvPr/>
        </p:nvSpPr>
        <p:spPr>
          <a:xfrm>
            <a:off x="371552" y="1181333"/>
            <a:ext cx="3719051" cy="4406980"/>
          </a:xfrm>
          <a:prstGeom prst="rect">
            <a:avLst/>
          </a:prstGeom>
        </p:spPr>
        <p:txBody>
          <a:bodyPr wrap="square" lIns="76146" tIns="38070" rIns="76146" bIns="38070">
            <a:spAutoFit/>
          </a:bodyPr>
          <a:lstStyle/>
          <a:p>
            <a:pPr defTabSz="621825">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OEM/ Tier-I suppliers</a:t>
            </a:r>
          </a:p>
          <a:p>
            <a:pPr marL="137082" marR="0" lvl="1" indent="-137082" algn="l" defTabSz="746370" rtl="0" eaLnBrk="1" fontAlgn="auto" latinLnBrk="0" hangingPunct="1">
              <a:lnSpc>
                <a:spcPct val="100000"/>
              </a:lnSpc>
              <a:spcBef>
                <a:spcPct val="0"/>
              </a:spcBef>
              <a:spcAft>
                <a:spcPct val="15000"/>
              </a:spcAft>
              <a:buClrTx/>
              <a:buSzTx/>
              <a:buFontTx/>
              <a:buChar char="••"/>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miconductor supply was on a recovery path, </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m improvement in production levels till February; </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pply situation was expected to normalize by June 2022. Russia Ukraine crisis derailed overall recovery plan</a:t>
            </a:r>
          </a:p>
          <a:p>
            <a:pPr marL="0" marR="0" lvl="1" indent="0" algn="l" defTabSz="746370" rtl="0" eaLnBrk="1" fontAlgn="auto" latinLnBrk="0" hangingPunct="1">
              <a:lnSpc>
                <a:spcPct val="100000"/>
              </a:lnSpc>
              <a:spcBef>
                <a:spcPct val="0"/>
              </a:spcBef>
              <a:spcAft>
                <a:spcPct val="1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37082" marR="0" lvl="1" indent="-137082" algn="l" defTabSz="746370" rtl="0" eaLnBrk="1" fontAlgn="auto" latinLnBrk="0" hangingPunct="1">
              <a:lnSpc>
                <a:spcPct val="100000"/>
              </a:lnSpc>
              <a:spcBef>
                <a:spcPct val="0"/>
              </a:spcBef>
              <a:spcAft>
                <a:spcPct val="15000"/>
              </a:spcAft>
              <a:buClrTx/>
              <a:buSzTx/>
              <a:buFontTx/>
              <a:buChar char="••"/>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miconductor supply expected to take a hit, waiting periods to increase by 0.5-1 month, ~5% production loss expected during the next year</a:t>
            </a:r>
          </a:p>
          <a:p>
            <a:pPr marL="0" marR="0" lvl="1" indent="0" algn="l" defTabSz="746370" rtl="0" eaLnBrk="1" fontAlgn="auto" latinLnBrk="0" hangingPunct="1">
              <a:lnSpc>
                <a:spcPct val="100000"/>
              </a:lnSpc>
              <a:spcBef>
                <a:spcPct val="0"/>
              </a:spcBef>
              <a:spcAft>
                <a:spcPct val="1500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37082" marR="0" lvl="1" indent="-137082" algn="l" defTabSz="746370" rtl="0" eaLnBrk="1" fontAlgn="auto" latinLnBrk="0" hangingPunct="1">
              <a:lnSpc>
                <a:spcPct val="100000"/>
              </a:lnSpc>
              <a:spcBef>
                <a:spcPct val="0"/>
              </a:spcBef>
              <a:spcAft>
                <a:spcPct val="15000"/>
              </a:spcAft>
              <a:buClrTx/>
              <a:buSzTx/>
              <a:buFontTx/>
              <a:buChar char="••"/>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sening Covid situation in Asia &amp; Europe remains a key monitorable</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urther disruption in component supply will exacerbate the supply situation</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1" indent="0" algn="l" defTabSz="746370" rtl="0" eaLnBrk="1" fontAlgn="auto" latinLnBrk="0" hangingPunct="1">
              <a:lnSpc>
                <a:spcPct val="100000"/>
              </a:lnSpc>
              <a:spcBef>
                <a:spcPct val="0"/>
              </a:spcBef>
              <a:spcAft>
                <a:spcPct val="15000"/>
              </a:spcAft>
              <a:buClrTx/>
              <a:buSzTx/>
              <a:buFontTx/>
              <a:buNone/>
              <a:tabLst/>
              <a:defRPr/>
            </a:pPr>
            <a:endParaRPr kumimoji="0" lang="en-IN"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37082" marR="0" lvl="1" indent="-137082" algn="l" defTabSz="746370" rtl="0" eaLnBrk="1" fontAlgn="auto" latinLnBrk="0" hangingPunct="1">
              <a:lnSpc>
                <a:spcPct val="100000"/>
              </a:lnSpc>
              <a:spcBef>
                <a:spcPct val="0"/>
              </a:spcBef>
              <a:spcAft>
                <a:spcPct val="15000"/>
              </a:spcAft>
              <a:buClrTx/>
              <a:buSzTx/>
              <a:buFontTx/>
              <a:buChar char="••"/>
              <a:tabLst/>
              <a:defRPr/>
            </a:pPr>
            <a:r>
              <a:rPr kumimoji="0" lang="en-IN"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rp increase in commodity prices amidst crude oil price hike; will have to passed on to the end consumer; 3-5% vehicle price rise expected from April</a:t>
            </a:r>
          </a:p>
          <a:p>
            <a:pPr marL="137082" marR="0" lvl="1" indent="-137082" algn="l" defTabSz="746370" rtl="0" eaLnBrk="1" fontAlgn="auto" latinLnBrk="0" hangingPunct="1">
              <a:lnSpc>
                <a:spcPct val="100000"/>
              </a:lnSpc>
              <a:spcBef>
                <a:spcPct val="0"/>
              </a:spcBef>
              <a:spcAft>
                <a:spcPct val="15000"/>
              </a:spcAft>
              <a:buClrTx/>
              <a:buSzTx/>
              <a:buFontTx/>
              <a:buChar char="••"/>
              <a:tabLst/>
              <a:defRPr/>
            </a:pPr>
            <a:endParaRPr kumimoji="0" lang="en-IN"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37082" marR="0" lvl="1" indent="-137082" algn="l" defTabSz="746370" rtl="0" eaLnBrk="1" fontAlgn="auto" latinLnBrk="0" hangingPunct="1">
              <a:lnSpc>
                <a:spcPct val="100000"/>
              </a:lnSpc>
              <a:spcBef>
                <a:spcPct val="0"/>
              </a:spcBef>
              <a:spcAft>
                <a:spcPct val="15000"/>
              </a:spcAft>
              <a:buClrTx/>
              <a:buSzTx/>
              <a:buFontTx/>
              <a:buChar char="••"/>
              <a:tabLst/>
              <a:defRPr/>
            </a:pPr>
            <a:r>
              <a:rPr kumimoji="0" lang="en-IN"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tail demand expected to remain positive; supply remains the primary constraint; booking pipeline to provide an added cushioning</a:t>
            </a:r>
            <a:endParaRPr kumimoji="0" lang="en-IN"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14230" lvl="1" indent="-114230" defTabSz="621950">
              <a:spcBef>
                <a:spcPct val="0"/>
              </a:spcBef>
              <a:spcAft>
                <a:spcPct val="15000"/>
              </a:spcAft>
              <a:buFontTx/>
              <a:buChar char="••"/>
              <a:defRPr/>
            </a:pPr>
            <a:endParaRPr lang="en-US" sz="1200" dirty="0">
              <a:solidFill>
                <a:srgbClr val="000000"/>
              </a:solidFill>
              <a:latin typeface="Arial" panose="020B0604020202020204" pitchFamily="34" charset="0"/>
              <a:cs typeface="Arial" panose="020B0604020202020204" pitchFamily="34" charset="0"/>
            </a:endParaRPr>
          </a:p>
        </p:txBody>
      </p:sp>
      <p:sp>
        <p:nvSpPr>
          <p:cNvPr id="22" name="Rectangle 21"/>
          <p:cNvSpPr/>
          <p:nvPr/>
        </p:nvSpPr>
        <p:spPr>
          <a:xfrm>
            <a:off x="4271805" y="1163964"/>
            <a:ext cx="3719051" cy="4856205"/>
          </a:xfrm>
          <a:prstGeom prst="rect">
            <a:avLst/>
          </a:prstGeom>
        </p:spPr>
        <p:txBody>
          <a:bodyPr wrap="square" lIns="76146" tIns="38070" rIns="76146" bIns="38070">
            <a:spAutoFit/>
          </a:bodyPr>
          <a:lstStyle/>
          <a:p>
            <a:pPr algn="just" defTabSz="621825">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Dealer</a:t>
            </a:r>
            <a:endParaRPr lang="en-US" sz="1167" dirty="0">
              <a:latin typeface="Arial" panose="020B0604020202020204" pitchFamily="34" charset="0"/>
              <a:cs typeface="Arial" panose="020B0604020202020204" pitchFamily="34" charset="0"/>
            </a:endParaRP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lthy demand, good enquiries during Jan &amp; Feb; even March started on a positive note</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ussia Ukraine conflict and the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bsequent fear in customers’ mind</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egarding the estimated increase in fuel costs, inflation, drop in disposable incomes started impacting demand</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quiries got impacted in the second half, few customers postponed their purchases, some increase in cancellations; </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ew customers even delayed remaining payment and delivery of their vehicles </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fting of Covid restrictions &amp;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opening of public transport, office buses dampened the need for personal mobility</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me impact on retail demand expected in Q1,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inly for the price sensitive customers preferring below 6-7 lakh priced vehicle</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ventory levels have increased to 15-20 days </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Q4; however, most vehicles are </a:t>
            </a: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sic hatchbacks , manual transmission vehicles</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EMs are primarily dispatching only basic variants of vehicles- vehicles &amp; variants in actual demand are short in supply</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gh waiting periods for CNG, AT vehicles persist</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EMs curtailed orders in March; supply problem expected to worsen</a:t>
            </a:r>
          </a:p>
          <a:p>
            <a:pPr marL="171359" indent="-171359" defTabSz="913923">
              <a:buFont typeface="Arial" panose="020B0604020202020204" pitchFamily="34" charset="0"/>
              <a:buChar char="•"/>
              <a:defRPr/>
            </a:pPr>
            <a:endParaRPr lang="en-US" sz="1167" b="1" dirty="0">
              <a:latin typeface="Arial" panose="020B0604020202020204" pitchFamily="34" charset="0"/>
              <a:cs typeface="Arial" panose="020B0604020202020204" pitchFamily="34" charset="0"/>
            </a:endParaRPr>
          </a:p>
        </p:txBody>
      </p:sp>
      <p:sp>
        <p:nvSpPr>
          <p:cNvPr id="23" name="Rectangle 22"/>
          <p:cNvSpPr/>
          <p:nvPr/>
        </p:nvSpPr>
        <p:spPr>
          <a:xfrm>
            <a:off x="8085669" y="1163966"/>
            <a:ext cx="3589963" cy="4927892"/>
          </a:xfrm>
          <a:prstGeom prst="rect">
            <a:avLst/>
          </a:prstGeom>
        </p:spPr>
        <p:txBody>
          <a:bodyPr wrap="square" lIns="76146" tIns="38070" rIns="76146" bIns="38070">
            <a:spAutoFit/>
          </a:bodyPr>
          <a:lstStyle/>
          <a:p>
            <a:pPr marL="0" lvl="1" defTabSz="621825">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Financier</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lthy penetration, high LTV &amp; competitive interest rates being offered </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sizeable impact of global crisis witnessed in March, however, some pessimism amidst the hike in fuel prices during the second half of March</a:t>
            </a:r>
          </a:p>
          <a:p>
            <a:pPr marL="0" marR="0" lvl="0" indent="0" algn="l" defTabSz="109675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me moderation in disbursement demand expected in Q1</a:t>
            </a: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wever, more than the demand, supply expected to be the primary hurdle</a:t>
            </a:r>
          </a:p>
          <a:p>
            <a:pPr marL="0" marR="0" lvl="0" indent="0" algn="l" defTabSz="109675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unch of higher ticket compact UVs and premium vehicles to provide a kicker to the disbursement growth</a:t>
            </a:r>
          </a:p>
          <a:p>
            <a:pPr marL="0" marR="0" lvl="0" indent="0" algn="l" defTabSz="109675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05639" marR="0" lvl="0" indent="-205639" algn="l" defTabSz="109675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re cautious funding is expected going ahead amidst the possible impact on customer disposable incomes</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ill PV remains one of the best segment for financers</a:t>
            </a:r>
          </a:p>
          <a:p>
            <a:pPr marL="0" marR="0" lvl="0" indent="0" algn="l" defTabSz="1096752"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defTabSz="913923">
              <a:defRPr/>
            </a:pPr>
            <a:endParaRPr lang="en-US" sz="1333" dirty="0">
              <a:solidFill>
                <a:srgbClr val="000000"/>
              </a:solidFill>
              <a:latin typeface="Arial" panose="020B0604020202020204" pitchFamily="34" charset="0"/>
              <a:cs typeface="Arial" panose="020B0604020202020204" pitchFamily="34" charset="0"/>
            </a:endParaRPr>
          </a:p>
        </p:txBody>
      </p:sp>
      <p:sp>
        <p:nvSpPr>
          <p:cNvPr id="25" name="Title 1">
            <a:extLst>
              <a:ext uri="{FF2B5EF4-FFF2-40B4-BE49-F238E27FC236}">
                <a16:creationId xmlns:a16="http://schemas.microsoft.com/office/drawing/2014/main" id="{B4D66F93-F7D3-4652-81A5-36FAECAAFF48}"/>
              </a:ext>
            </a:extLst>
          </p:cNvPr>
          <p:cNvSpPr txBox="1">
            <a:spLocks/>
          </p:cNvSpPr>
          <p:nvPr/>
        </p:nvSpPr>
        <p:spPr>
          <a:xfrm>
            <a:off x="402737" y="211733"/>
            <a:ext cx="11602487" cy="469118"/>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defTabSz="913923">
              <a:defRPr/>
            </a:pPr>
            <a:r>
              <a:rPr lang="en-US" dirty="0">
                <a:solidFill>
                  <a:srgbClr val="000000"/>
                </a:solidFill>
              </a:rPr>
              <a:t>Stakeholder interactions</a:t>
            </a:r>
          </a:p>
        </p:txBody>
      </p:sp>
      <p:sp>
        <p:nvSpPr>
          <p:cNvPr id="18" name="Oval 17"/>
          <p:cNvSpPr/>
          <p:nvPr/>
        </p:nvSpPr>
        <p:spPr>
          <a:xfrm>
            <a:off x="3193448" y="777144"/>
            <a:ext cx="955085" cy="931550"/>
          </a:xfrm>
          <a:prstGeom prst="ellipse">
            <a:avLst/>
          </a:prstGeom>
          <a:solidFill>
            <a:schemeClr val="bg1"/>
          </a:solidFill>
          <a:ln w="38100">
            <a:solidFill>
              <a:schemeClr val="tx2"/>
            </a:solidFill>
          </a:ln>
        </p:spPr>
        <p:style>
          <a:lnRef idx="2">
            <a:schemeClr val="accent6"/>
          </a:lnRef>
          <a:fillRef idx="1">
            <a:schemeClr val="lt1"/>
          </a:fillRef>
          <a:effectRef idx="0">
            <a:schemeClr val="accent6"/>
          </a:effectRef>
          <a:fontRef idx="minor">
            <a:schemeClr val="lt1">
              <a:hueOff val="0"/>
              <a:satOff val="0"/>
              <a:lumOff val="0"/>
              <a:alphaOff val="0"/>
            </a:schemeClr>
          </a:fontRef>
        </p:style>
      </p:sp>
      <p:sp>
        <p:nvSpPr>
          <p:cNvPr id="19" name="Oval 18"/>
          <p:cNvSpPr/>
          <p:nvPr/>
        </p:nvSpPr>
        <p:spPr>
          <a:xfrm>
            <a:off x="7020870" y="747432"/>
            <a:ext cx="950976" cy="932688"/>
          </a:xfrm>
          <a:prstGeom prst="ellipse">
            <a:avLst/>
          </a:prstGeom>
          <a:solidFill>
            <a:schemeClr val="bg1"/>
          </a:solidFill>
          <a:ln w="38100">
            <a:solidFill>
              <a:schemeClr val="accent4"/>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sp>
        <p:nvSpPr>
          <p:cNvPr id="20" name="Oval 19"/>
          <p:cNvSpPr/>
          <p:nvPr/>
        </p:nvSpPr>
        <p:spPr>
          <a:xfrm>
            <a:off x="10838190" y="747432"/>
            <a:ext cx="950976" cy="932688"/>
          </a:xfrm>
          <a:prstGeom prst="ellipse">
            <a:avLst/>
          </a:prstGeom>
          <a:solidFill>
            <a:schemeClr val="bg1"/>
          </a:solidFill>
          <a:ln w="38100">
            <a:solidFill>
              <a:schemeClr val="accent5"/>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33510" y="902983"/>
            <a:ext cx="567311" cy="566707"/>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4974" y="882432"/>
            <a:ext cx="450093" cy="574361"/>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0636" y="986530"/>
            <a:ext cx="658744" cy="454496"/>
          </a:xfrm>
          <a:prstGeom prst="rect">
            <a:avLst/>
          </a:prstGeom>
        </p:spPr>
      </p:pic>
    </p:spTree>
    <p:extLst>
      <p:ext uri="{BB962C8B-B14F-4D97-AF65-F5344CB8AC3E}">
        <p14:creationId xmlns:p14="http://schemas.microsoft.com/office/powerpoint/2010/main" val="3454521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072" y="265209"/>
            <a:ext cx="11349218" cy="443198"/>
          </a:xfrm>
        </p:spPr>
        <p:txBody>
          <a:bodyPr/>
          <a:lstStyle/>
          <a:p>
            <a:r>
              <a:rPr lang="en-IN" dirty="0">
                <a:solidFill>
                  <a:schemeClr val="tx1"/>
                </a:solidFill>
              </a:rPr>
              <a:t>Covid-19 impacting economic activities in some countries</a:t>
            </a:r>
          </a:p>
        </p:txBody>
      </p:sp>
      <p:sp>
        <p:nvSpPr>
          <p:cNvPr id="4" name="Rectangle 3"/>
          <p:cNvSpPr/>
          <p:nvPr/>
        </p:nvSpPr>
        <p:spPr>
          <a:xfrm>
            <a:off x="1362807" y="6244106"/>
            <a:ext cx="8294078" cy="348685"/>
          </a:xfrm>
          <a:prstGeom prst="rect">
            <a:avLst/>
          </a:prstGeom>
        </p:spPr>
        <p:txBody>
          <a:bodyPr wrap="square">
            <a:spAutoFit/>
          </a:bodyPr>
          <a:lstStyle/>
          <a:p>
            <a:r>
              <a:rPr lang="en-IN" sz="833" i="1" dirty="0">
                <a:solidFill>
                  <a:srgbClr val="58595B"/>
                </a:solidFill>
                <a:latin typeface="Arial" panose="020B0604020202020204" pitchFamily="34" charset="0"/>
                <a:cs typeface="Arial" panose="020B0604020202020204" pitchFamily="34" charset="0"/>
              </a:rPr>
              <a:t>Note: Share of total population that have received all doses prescribed by the vaccination protocol.</a:t>
            </a:r>
          </a:p>
          <a:p>
            <a:r>
              <a:rPr lang="en-IN" sz="833" i="1" dirty="0">
                <a:solidFill>
                  <a:srgbClr val="58595B"/>
                </a:solidFill>
                <a:latin typeface="Arial" panose="020B0604020202020204" pitchFamily="34" charset="0"/>
                <a:cs typeface="Arial" panose="020B0604020202020204" pitchFamily="34" charset="0"/>
              </a:rPr>
              <a:t>Source: OurWorldinData.org, CEIC, CRISIL</a:t>
            </a:r>
            <a:endParaRPr lang="en-IN" sz="2333" dirty="0">
              <a:latin typeface="Arial" panose="020B0604020202020204" pitchFamily="34" charset="0"/>
              <a:cs typeface="Arial" panose="020B0604020202020204" pitchFamily="34" charset="0"/>
            </a:endParaRPr>
          </a:p>
        </p:txBody>
      </p:sp>
      <p:sp>
        <p:nvSpPr>
          <p:cNvPr id="6" name="Text Placeholder 4"/>
          <p:cNvSpPr txBox="1">
            <a:spLocks/>
          </p:cNvSpPr>
          <p:nvPr/>
        </p:nvSpPr>
        <p:spPr>
          <a:xfrm>
            <a:off x="1267927" y="1001603"/>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South Korea</a:t>
            </a:r>
          </a:p>
        </p:txBody>
      </p:sp>
      <p:sp>
        <p:nvSpPr>
          <p:cNvPr id="18" name="Text Placeholder 4"/>
          <p:cNvSpPr txBox="1">
            <a:spLocks/>
          </p:cNvSpPr>
          <p:nvPr/>
        </p:nvSpPr>
        <p:spPr>
          <a:xfrm>
            <a:off x="1267927" y="3597024"/>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Germany</a:t>
            </a:r>
          </a:p>
        </p:txBody>
      </p:sp>
      <p:sp>
        <p:nvSpPr>
          <p:cNvPr id="20" name="Text Placeholder 4"/>
          <p:cNvSpPr txBox="1">
            <a:spLocks/>
          </p:cNvSpPr>
          <p:nvPr/>
        </p:nvSpPr>
        <p:spPr>
          <a:xfrm>
            <a:off x="7124314" y="3597024"/>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Taiwan</a:t>
            </a:r>
          </a:p>
        </p:txBody>
      </p:sp>
      <p:pic>
        <p:nvPicPr>
          <p:cNvPr id="3" name="Picture 2">
            <a:extLst>
              <a:ext uri="{FF2B5EF4-FFF2-40B4-BE49-F238E27FC236}">
                <a16:creationId xmlns:a16="http://schemas.microsoft.com/office/drawing/2014/main" id="{DCD5C2C5-4D3B-49A7-BE08-3CC2FBFE4226}"/>
              </a:ext>
            </a:extLst>
          </p:cNvPr>
          <p:cNvPicPr>
            <a:picLocks noChangeAspect="1"/>
          </p:cNvPicPr>
          <p:nvPr/>
        </p:nvPicPr>
        <p:blipFill>
          <a:blip r:embed="rId2"/>
          <a:stretch>
            <a:fillRect/>
          </a:stretch>
        </p:blipFill>
        <p:spPr>
          <a:xfrm>
            <a:off x="1267928" y="1211421"/>
            <a:ext cx="3600000" cy="2205172"/>
          </a:xfrm>
          <a:prstGeom prst="rect">
            <a:avLst/>
          </a:prstGeom>
        </p:spPr>
      </p:pic>
      <p:pic>
        <p:nvPicPr>
          <p:cNvPr id="7" name="Picture 6">
            <a:extLst>
              <a:ext uri="{FF2B5EF4-FFF2-40B4-BE49-F238E27FC236}">
                <a16:creationId xmlns:a16="http://schemas.microsoft.com/office/drawing/2014/main" id="{896FE233-4BA5-4B6B-B5D6-1079881C6F4D}"/>
              </a:ext>
            </a:extLst>
          </p:cNvPr>
          <p:cNvPicPr>
            <a:picLocks noChangeAspect="1"/>
          </p:cNvPicPr>
          <p:nvPr/>
        </p:nvPicPr>
        <p:blipFill>
          <a:blip r:embed="rId3"/>
          <a:stretch>
            <a:fillRect/>
          </a:stretch>
        </p:blipFill>
        <p:spPr>
          <a:xfrm>
            <a:off x="1245917" y="3842990"/>
            <a:ext cx="3622011" cy="2368624"/>
          </a:xfrm>
          <a:prstGeom prst="rect">
            <a:avLst/>
          </a:prstGeom>
        </p:spPr>
      </p:pic>
      <p:pic>
        <p:nvPicPr>
          <p:cNvPr id="10" name="Picture 9">
            <a:extLst>
              <a:ext uri="{FF2B5EF4-FFF2-40B4-BE49-F238E27FC236}">
                <a16:creationId xmlns:a16="http://schemas.microsoft.com/office/drawing/2014/main" id="{37F3F6EA-DF24-44DC-B15E-4C4C92D54B7E}"/>
              </a:ext>
            </a:extLst>
          </p:cNvPr>
          <p:cNvPicPr>
            <a:picLocks noChangeAspect="1"/>
          </p:cNvPicPr>
          <p:nvPr/>
        </p:nvPicPr>
        <p:blipFill>
          <a:blip r:embed="rId4"/>
          <a:stretch>
            <a:fillRect/>
          </a:stretch>
        </p:blipFill>
        <p:spPr>
          <a:xfrm>
            <a:off x="7124314" y="3834840"/>
            <a:ext cx="3600000" cy="2368624"/>
          </a:xfrm>
          <a:prstGeom prst="rect">
            <a:avLst/>
          </a:prstGeom>
        </p:spPr>
      </p:pic>
      <p:sp>
        <p:nvSpPr>
          <p:cNvPr id="11" name="Text Placeholder 4">
            <a:extLst>
              <a:ext uri="{FF2B5EF4-FFF2-40B4-BE49-F238E27FC236}">
                <a16:creationId xmlns:a16="http://schemas.microsoft.com/office/drawing/2014/main" id="{E963D301-69E1-42B2-BAAE-3D7F6DA7A825}"/>
              </a:ext>
            </a:extLst>
          </p:cNvPr>
          <p:cNvSpPr txBox="1">
            <a:spLocks/>
          </p:cNvSpPr>
          <p:nvPr/>
        </p:nvSpPr>
        <p:spPr>
          <a:xfrm>
            <a:off x="7124314" y="966857"/>
            <a:ext cx="3600000" cy="205322"/>
          </a:xfrm>
          <a:prstGeom prst="rect">
            <a:avLst/>
          </a:prstGeom>
          <a:solidFill>
            <a:schemeClr val="accent1"/>
          </a:solidFill>
        </p:spPr>
        <p:txBody>
          <a:bodyPr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None/>
            </a:pPr>
            <a:r>
              <a:rPr lang="en-IN" sz="1167" b="1" dirty="0">
                <a:solidFill>
                  <a:prstClr val="white"/>
                </a:solidFill>
                <a:latin typeface="Arial" panose="020B0604020202020204" pitchFamily="34" charset="0"/>
                <a:cs typeface="Arial" panose="020B0604020202020204" pitchFamily="34" charset="0"/>
              </a:rPr>
              <a:t>Brazil</a:t>
            </a:r>
          </a:p>
        </p:txBody>
      </p:sp>
      <p:pic>
        <p:nvPicPr>
          <p:cNvPr id="12" name="Picture 11">
            <a:extLst>
              <a:ext uri="{FF2B5EF4-FFF2-40B4-BE49-F238E27FC236}">
                <a16:creationId xmlns:a16="http://schemas.microsoft.com/office/drawing/2014/main" id="{E1F7AB27-8443-43EB-8A58-6D417BB64A83}"/>
              </a:ext>
            </a:extLst>
          </p:cNvPr>
          <p:cNvPicPr>
            <a:picLocks noChangeAspect="1"/>
          </p:cNvPicPr>
          <p:nvPr/>
        </p:nvPicPr>
        <p:blipFill>
          <a:blip r:embed="rId5"/>
          <a:stretch>
            <a:fillRect/>
          </a:stretch>
        </p:blipFill>
        <p:spPr>
          <a:xfrm>
            <a:off x="7129164" y="1203351"/>
            <a:ext cx="3590298" cy="2261314"/>
          </a:xfrm>
          <a:prstGeom prst="rect">
            <a:avLst/>
          </a:prstGeom>
        </p:spPr>
      </p:pic>
    </p:spTree>
    <p:extLst>
      <p:ext uri="{BB962C8B-B14F-4D97-AF65-F5344CB8AC3E}">
        <p14:creationId xmlns:p14="http://schemas.microsoft.com/office/powerpoint/2010/main" val="3030132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V exports</a:t>
            </a:r>
            <a:endParaRPr lang="en-IN" dirty="0"/>
          </a:p>
        </p:txBody>
      </p:sp>
    </p:spTree>
    <p:extLst>
      <p:ext uri="{BB962C8B-B14F-4D97-AF65-F5344CB8AC3E}">
        <p14:creationId xmlns:p14="http://schemas.microsoft.com/office/powerpoint/2010/main" val="339796432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a:xfrm>
            <a:off x="376729" y="49634"/>
            <a:ext cx="11562328" cy="784702"/>
          </a:xfrm>
        </p:spPr>
        <p:txBody>
          <a:bodyPr vert="horz" lIns="0" tIns="0" rIns="0" bIns="0" rtlCol="0" anchor="ctr">
            <a:spAutoFit/>
          </a:bodyPr>
          <a:lstStyle/>
          <a:p>
            <a:r>
              <a:rPr lang="en-US" dirty="0"/>
              <a:t>UVs continue their forward march, </a:t>
            </a:r>
            <a:r>
              <a:rPr lang="en-US" dirty="0" err="1"/>
              <a:t>Maruti</a:t>
            </a:r>
            <a:r>
              <a:rPr lang="en-US" dirty="0"/>
              <a:t> expands its presence further</a:t>
            </a:r>
          </a:p>
        </p:txBody>
      </p:sp>
      <p:sp>
        <p:nvSpPr>
          <p:cNvPr id="2" name="TextBox 1"/>
          <p:cNvSpPr txBox="1"/>
          <p:nvPr/>
        </p:nvSpPr>
        <p:spPr>
          <a:xfrm>
            <a:off x="364855" y="5304981"/>
            <a:ext cx="11539045" cy="830981"/>
          </a:xfrm>
          <a:prstGeom prst="rect">
            <a:avLst/>
          </a:prstGeom>
          <a:solidFill>
            <a:schemeClr val="bg1">
              <a:lumMod val="85000"/>
            </a:schemeClr>
          </a:solidFill>
        </p:spPr>
        <p:txBody>
          <a:bodyPr wrap="square" lIns="91421" tIns="45712" rIns="91421" bIns="45712" rtlCol="0" anchor="ctr">
            <a:spAutoFit/>
          </a:bodyPr>
          <a:lstStyle/>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ssenger vehicle exports registered a growth of 43% in FY22</a:t>
            </a:r>
          </a:p>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0" dirty="0">
                <a:solidFill>
                  <a:prstClr val="black"/>
                </a:solidFill>
                <a:latin typeface="Arial" panose="020B0604020202020204" pitchFamily="34" charset="0"/>
                <a:cs typeface="Arial" panose="020B0604020202020204" pitchFamily="34" charset="0"/>
              </a:rPr>
              <a:t>After q-o-q drop in Q4 FY21, exports witnessed growth </a:t>
            </a:r>
            <a:r>
              <a:rPr lang="en-US" sz="1200" dirty="0">
                <a:solidFill>
                  <a:prstClr val="black"/>
                </a:solidFill>
                <a:latin typeface="Arial" panose="020B0604020202020204" pitchFamily="34" charset="0"/>
                <a:cs typeface="Arial" panose="020B0604020202020204" pitchFamily="34" charset="0"/>
              </a:rPr>
              <a:t>from</a:t>
            </a:r>
            <a:r>
              <a:rPr lang="en-US" sz="1200" noProof="0" dirty="0">
                <a:solidFill>
                  <a:prstClr val="black"/>
                </a:solidFill>
                <a:latin typeface="Arial" panose="020B0604020202020204" pitchFamily="34" charset="0"/>
                <a:cs typeface="Arial" panose="020B0604020202020204" pitchFamily="34" charset="0"/>
              </a:rPr>
              <a:t> Q1 FY22</a:t>
            </a:r>
          </a:p>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noProof="0" dirty="0">
                <a:solidFill>
                  <a:prstClr val="black"/>
                </a:solidFill>
                <a:latin typeface="Arial" panose="020B0604020202020204" pitchFamily="34" charset="0"/>
                <a:cs typeface="Arial" panose="020B0604020202020204" pitchFamily="34" charset="0"/>
              </a:rPr>
              <a:t>Maruti</a:t>
            </a:r>
            <a:r>
              <a:rPr lang="en-US" sz="1200" dirty="0">
                <a:solidFill>
                  <a:prstClr val="black"/>
                </a:solidFill>
                <a:latin typeface="Arial" panose="020B0604020202020204" pitchFamily="34" charset="0"/>
                <a:cs typeface="Arial" panose="020B0604020202020204" pitchFamily="34" charset="0"/>
              </a:rPr>
              <a:t>, Hyundai, Nissan and recent entrant Kia continued to dominate the exports market</a:t>
            </a:r>
          </a:p>
          <a:p>
            <a:pPr marL="171415" marR="0" lvl="0" indent="-17141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uti</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has extended its presence from 24% in FY21 to </a:t>
            </a:r>
            <a:r>
              <a:rPr lang="en-US" sz="1200" dirty="0">
                <a:solidFill>
                  <a:prstClr val="black"/>
                </a:solidFill>
                <a:latin typeface="Arial" panose="020B0604020202020204" pitchFamily="34" charset="0"/>
                <a:cs typeface="Arial" panose="020B0604020202020204" pitchFamily="34" charset="0"/>
              </a:rPr>
              <a:t>41</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during FY22 backed by healthy rise in its </a:t>
            </a:r>
            <a:r>
              <a:rPr kumimoji="0" lang="en-US" sz="12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rPr>
              <a:t>Brezza</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export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2"/>
          <p:cNvSpPr txBox="1"/>
          <p:nvPr/>
        </p:nvSpPr>
        <p:spPr>
          <a:xfrm>
            <a:off x="368782" y="4948610"/>
            <a:ext cx="5581172" cy="246205"/>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SIAM, CRISIL Research</a:t>
            </a:r>
          </a:p>
        </p:txBody>
      </p:sp>
      <p:grpSp>
        <p:nvGrpSpPr>
          <p:cNvPr id="3" name="Group 2"/>
          <p:cNvGrpSpPr/>
          <p:nvPr/>
        </p:nvGrpSpPr>
        <p:grpSpPr>
          <a:xfrm>
            <a:off x="376732" y="816056"/>
            <a:ext cx="11527167" cy="387408"/>
            <a:chOff x="376732" y="848382"/>
            <a:chExt cx="11527167" cy="368488"/>
          </a:xfrm>
        </p:grpSpPr>
        <p:sp>
          <p:nvSpPr>
            <p:cNvPr id="17" name="Rectangle 16"/>
            <p:cNvSpPr/>
            <p:nvPr/>
          </p:nvSpPr>
          <p:spPr>
            <a:xfrm rot="5400000">
              <a:off x="8903816" y="-1795086"/>
              <a:ext cx="356616" cy="5643551"/>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Hyundai tops the pole position, closely followed by MSIL</a:t>
              </a:r>
            </a:p>
          </p:txBody>
        </p:sp>
        <p:sp>
          <p:nvSpPr>
            <p:cNvPr id="27" name="Rectangle 26"/>
            <p:cNvSpPr/>
            <p:nvPr/>
          </p:nvSpPr>
          <p:spPr>
            <a:xfrm rot="5400000">
              <a:off x="2985035" y="-1748049"/>
              <a:ext cx="356616" cy="5573222"/>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Share of UVs on a rising trend</a:t>
              </a:r>
            </a:p>
          </p:txBody>
        </p:sp>
      </p:grpSp>
      <p:graphicFrame>
        <p:nvGraphicFramePr>
          <p:cNvPr id="12" name="Chart 11"/>
          <p:cNvGraphicFramePr>
            <a:graphicFrameLocks/>
          </p:cNvGraphicFramePr>
          <p:nvPr>
            <p:extLst>
              <p:ext uri="{D42A27DB-BD31-4B8C-83A1-F6EECF244321}">
                <p14:modId xmlns:p14="http://schemas.microsoft.com/office/powerpoint/2010/main" val="1111980399"/>
              </p:ext>
            </p:extLst>
          </p:nvPr>
        </p:nvGraphicFramePr>
        <p:xfrm>
          <a:off x="364855" y="1221298"/>
          <a:ext cx="5585100" cy="37094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525001948"/>
              </p:ext>
            </p:extLst>
          </p:nvPr>
        </p:nvGraphicFramePr>
        <p:xfrm>
          <a:off x="6353908" y="1134712"/>
          <a:ext cx="5549992" cy="37960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815218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1"/>
          <p:cNvSpPr>
            <a:spLocks noGrp="1"/>
          </p:cNvSpPr>
          <p:nvPr>
            <p:ph type="title"/>
          </p:nvPr>
        </p:nvSpPr>
        <p:spPr>
          <a:xfrm>
            <a:off x="373858" y="199793"/>
            <a:ext cx="10515600" cy="443198"/>
          </a:xfrm>
        </p:spPr>
        <p:txBody>
          <a:bodyPr vert="horz" lIns="0" tIns="0" rIns="0" bIns="0" rtlCol="0" anchor="ctr">
            <a:spAutoFit/>
          </a:bodyPr>
          <a:lstStyle/>
          <a:p>
            <a:r>
              <a:rPr lang="en-US" sz="3200" dirty="0"/>
              <a:t>Passenger Vehicle Exports</a:t>
            </a:r>
          </a:p>
        </p:txBody>
      </p:sp>
      <p:grpSp>
        <p:nvGrpSpPr>
          <p:cNvPr id="2" name="Group 1"/>
          <p:cNvGrpSpPr/>
          <p:nvPr/>
        </p:nvGrpSpPr>
        <p:grpSpPr>
          <a:xfrm>
            <a:off x="210942" y="766913"/>
            <a:ext cx="9406848" cy="5215535"/>
            <a:chOff x="1063746" y="824851"/>
            <a:chExt cx="10290368" cy="4586235"/>
          </a:xfrm>
        </p:grpSpPr>
        <p:grpSp>
          <p:nvGrpSpPr>
            <p:cNvPr id="61" name="Group 60"/>
            <p:cNvGrpSpPr/>
            <p:nvPr/>
          </p:nvGrpSpPr>
          <p:grpSpPr>
            <a:xfrm>
              <a:off x="1063746" y="824851"/>
              <a:ext cx="10290368" cy="4505915"/>
              <a:chOff x="2374534" y="912223"/>
              <a:chExt cx="9936480" cy="6652894"/>
            </a:xfrm>
          </p:grpSpPr>
          <p:grpSp>
            <p:nvGrpSpPr>
              <p:cNvPr id="62" name="Group 61"/>
              <p:cNvGrpSpPr/>
              <p:nvPr/>
            </p:nvGrpSpPr>
            <p:grpSpPr>
              <a:xfrm>
                <a:off x="2374534" y="2240665"/>
                <a:ext cx="9936480" cy="5311140"/>
                <a:chOff x="393700" y="1781243"/>
                <a:chExt cx="8280400" cy="4425950"/>
              </a:xfrm>
              <a:solidFill>
                <a:schemeClr val="bg1">
                  <a:lumMod val="85000"/>
                </a:schemeClr>
              </a:solidFill>
            </p:grpSpPr>
            <p:sp>
              <p:nvSpPr>
                <p:cNvPr id="84"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6"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7"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8"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0"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1"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2"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9"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0"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4"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5"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6"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7"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8"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0"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1"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2"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3"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4"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5"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6"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7"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8"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9"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1"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2"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3"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4"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5"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6"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7"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8"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9"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0"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1"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2"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3"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4"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5"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6"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7"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8"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9"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1"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2"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3"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4"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5"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7"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8"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0"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2"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3"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7"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8"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9"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0"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1"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2"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5"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7"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8"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9"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0"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1"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2"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3"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4"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5"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6"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7"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8"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9"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0"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1"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2"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3"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4"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5"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6"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7"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8"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9"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0"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1"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2"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3"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4"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5"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6"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7"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8"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9"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0"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1"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3"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4"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5"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6"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7"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8"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9"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0"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1"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2"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3"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4"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5"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6"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7"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8"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9"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0"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1"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2"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3"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4"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5"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6"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7"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8"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9"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1"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2"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3"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4"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5"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6"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7"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8"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9"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0"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1"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2"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3"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4"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5"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6"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7"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8"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9"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0"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1"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2"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3"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4"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5"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6"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7"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8"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9"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0"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1"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2"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3"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4"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5"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6"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7"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8"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9"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0"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1"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2"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3"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4"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5"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6"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7"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8"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9"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0"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1"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2"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3"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4"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5"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6"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7"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8"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9"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0"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1"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2"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3"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4"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5"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6"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7"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63" name="Freeform 367"/>
              <p:cNvSpPr>
                <a:spLocks/>
              </p:cNvSpPr>
              <p:nvPr>
                <p:custDataLst>
                  <p:tags r:id="rId1"/>
                </p:custDataLst>
              </p:nvPr>
            </p:nvSpPr>
            <p:spPr bwMode="gray">
              <a:xfrm>
                <a:off x="2459632" y="5461121"/>
                <a:ext cx="8899" cy="5340"/>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 name="Freeform 368"/>
              <p:cNvSpPr>
                <a:spLocks noEditPoints="1"/>
              </p:cNvSpPr>
              <p:nvPr>
                <p:custDataLst>
                  <p:tags r:id="rId2"/>
                </p:custDataLst>
              </p:nvPr>
            </p:nvSpPr>
            <p:spPr bwMode="gray">
              <a:xfrm>
                <a:off x="2530819" y="5249339"/>
                <a:ext cx="37374" cy="16018"/>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 name="Freeform 369"/>
              <p:cNvSpPr>
                <a:spLocks/>
              </p:cNvSpPr>
              <p:nvPr>
                <p:custDataLst>
                  <p:tags r:id="rId3"/>
                </p:custDataLst>
              </p:nvPr>
            </p:nvSpPr>
            <p:spPr bwMode="gray">
              <a:xfrm>
                <a:off x="2582429" y="5268916"/>
                <a:ext cx="5340" cy="5340"/>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Freeform 370"/>
              <p:cNvSpPr>
                <a:spLocks/>
              </p:cNvSpPr>
              <p:nvPr>
                <p:custDataLst>
                  <p:tags r:id="rId4"/>
                </p:custDataLst>
              </p:nvPr>
            </p:nvSpPr>
            <p:spPr bwMode="gray">
              <a:xfrm>
                <a:off x="2607345" y="5402390"/>
                <a:ext cx="3559" cy="5340"/>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 name="Rectangle 371"/>
              <p:cNvSpPr>
                <a:spLocks noChangeArrowheads="1"/>
              </p:cNvSpPr>
              <p:nvPr>
                <p:custDataLst>
                  <p:tags r:id="rId5"/>
                </p:custDataLst>
              </p:nvPr>
            </p:nvSpPr>
            <p:spPr bwMode="gray">
              <a:xfrm>
                <a:off x="2386665" y="5268916"/>
                <a:ext cx="3559" cy="355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Rectangle 372"/>
              <p:cNvSpPr>
                <a:spLocks noChangeArrowheads="1"/>
              </p:cNvSpPr>
              <p:nvPr>
                <p:custDataLst>
                  <p:tags r:id="rId6"/>
                </p:custDataLst>
              </p:nvPr>
            </p:nvSpPr>
            <p:spPr bwMode="gray">
              <a:xfrm>
                <a:off x="2938363" y="5470019"/>
                <a:ext cx="3559" cy="1781"/>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Freeform 373"/>
              <p:cNvSpPr>
                <a:spLocks/>
              </p:cNvSpPr>
              <p:nvPr>
                <p:custDataLst>
                  <p:tags r:id="rId7"/>
                </p:custDataLst>
              </p:nvPr>
            </p:nvSpPr>
            <p:spPr bwMode="gray">
              <a:xfrm>
                <a:off x="3178621" y="5345441"/>
                <a:ext cx="14238" cy="889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70" name="Straight Connector 69"/>
              <p:cNvCxnSpPr>
                <a:endCxn id="127" idx="23"/>
              </p:cNvCxnSpPr>
              <p:nvPr/>
            </p:nvCxnSpPr>
            <p:spPr>
              <a:xfrm flipH="1">
                <a:off x="9899284" y="1553734"/>
                <a:ext cx="3332" cy="3422511"/>
              </a:xfrm>
              <a:prstGeom prst="line">
                <a:avLst/>
              </a:prstGeom>
              <a:ln w="19050" cap="rnd">
                <a:solidFill>
                  <a:srgbClr val="496F92"/>
                </a:solidFill>
                <a:tailEnd type="oval" w="sm" len="sm"/>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7494336" y="2357852"/>
                <a:ext cx="0" cy="1411097"/>
              </a:xfrm>
              <a:prstGeom prst="line">
                <a:avLst/>
              </a:prstGeom>
              <a:ln w="19050" cap="rnd">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8430337" y="4848832"/>
                <a:ext cx="8791" cy="1543351"/>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endCxn id="227" idx="34"/>
              </p:cNvCxnSpPr>
              <p:nvPr/>
            </p:nvCxnSpPr>
            <p:spPr>
              <a:xfrm flipV="1">
                <a:off x="7149176" y="5079115"/>
                <a:ext cx="10718" cy="1891489"/>
              </a:xfrm>
              <a:prstGeom prst="line">
                <a:avLst/>
              </a:prstGeom>
              <a:ln w="19050">
                <a:solidFill>
                  <a:srgbClr val="8B3842"/>
                </a:solidFill>
                <a:tailEnd type="oval" w="lg" len="lg"/>
              </a:ln>
            </p:spPr>
            <p:style>
              <a:lnRef idx="1">
                <a:schemeClr val="accent1"/>
              </a:lnRef>
              <a:fillRef idx="0">
                <a:schemeClr val="accent1"/>
              </a:fillRef>
              <a:effectRef idx="0">
                <a:schemeClr val="accent1"/>
              </a:effectRef>
              <a:fontRef idx="minor">
                <a:schemeClr val="tx1"/>
              </a:fontRef>
            </p:style>
          </p:cxnSp>
          <p:sp>
            <p:nvSpPr>
              <p:cNvPr id="74" name="TextBox 73"/>
              <p:cNvSpPr txBox="1"/>
              <p:nvPr/>
            </p:nvSpPr>
            <p:spPr>
              <a:xfrm>
                <a:off x="6645194" y="7085602"/>
                <a:ext cx="1042333" cy="4795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Af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200" dirty="0">
                    <a:solidFill>
                      <a:srgbClr val="7B1E29"/>
                    </a:solidFill>
                    <a:latin typeface="Arial" panose="020B0604020202020204" pitchFamily="34" charset="0"/>
                    <a:cs typeface="Arial" panose="020B0604020202020204" pitchFamily="34" charset="0"/>
                  </a:rPr>
                  <a:t>33</a:t>
                </a:r>
                <a:r>
                  <a:rPr kumimoji="0" lang="en-GB" sz="1200" b="0"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a:t>
                </a:r>
              </a:p>
            </p:txBody>
          </p:sp>
          <p:sp>
            <p:nvSpPr>
              <p:cNvPr id="75" name="TextBox 74"/>
              <p:cNvSpPr txBox="1"/>
              <p:nvPr/>
            </p:nvSpPr>
            <p:spPr>
              <a:xfrm>
                <a:off x="9439025" y="912223"/>
                <a:ext cx="1042333" cy="4795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496F92"/>
                    </a:solidFill>
                    <a:effectLst/>
                    <a:uLnTx/>
                    <a:uFillTx/>
                    <a:latin typeface="Arial" panose="020B0604020202020204" pitchFamily="34" charset="0"/>
                    <a:ea typeface="+mn-ea"/>
                    <a:cs typeface="Arial" panose="020B0604020202020204" pitchFamily="34" charset="0"/>
                  </a:rPr>
                  <a:t>Asi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496F92"/>
                    </a:solidFill>
                    <a:effectLst/>
                    <a:uLnTx/>
                    <a:uFillTx/>
                    <a:latin typeface="Arial" panose="020B0604020202020204" pitchFamily="34" charset="0"/>
                    <a:ea typeface="+mn-ea"/>
                    <a:cs typeface="Arial" panose="020B0604020202020204" pitchFamily="34" charset="0"/>
                  </a:rPr>
                  <a:t>8%</a:t>
                </a:r>
              </a:p>
            </p:txBody>
          </p:sp>
          <p:sp>
            <p:nvSpPr>
              <p:cNvPr id="76" name="TextBox 75"/>
              <p:cNvSpPr txBox="1"/>
              <p:nvPr/>
            </p:nvSpPr>
            <p:spPr>
              <a:xfrm>
                <a:off x="6577866" y="1654032"/>
                <a:ext cx="1842521" cy="7192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European </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Union</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1%</a:t>
                </a:r>
              </a:p>
            </p:txBody>
          </p:sp>
          <p:sp>
            <p:nvSpPr>
              <p:cNvPr id="77" name="TextBox 76"/>
              <p:cNvSpPr txBox="1"/>
              <p:nvPr/>
            </p:nvSpPr>
            <p:spPr>
              <a:xfrm>
                <a:off x="7776561" y="6512557"/>
                <a:ext cx="1360585" cy="4795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Middle East</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14%</a:t>
                </a:r>
              </a:p>
            </p:txBody>
          </p:sp>
          <p:sp>
            <p:nvSpPr>
              <p:cNvPr id="78" name="Oval 77"/>
              <p:cNvSpPr/>
              <p:nvPr/>
            </p:nvSpPr>
            <p:spPr bwMode="gray">
              <a:xfrm>
                <a:off x="8296936" y="4595221"/>
                <a:ext cx="276012" cy="391415"/>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79" name="Straight Connector 78"/>
              <p:cNvCxnSpPr/>
              <p:nvPr/>
            </p:nvCxnSpPr>
            <p:spPr>
              <a:xfrm>
                <a:off x="4374027" y="6356667"/>
                <a:ext cx="1065929" cy="5216"/>
              </a:xfrm>
              <a:prstGeom prst="line">
                <a:avLst/>
              </a:prstGeom>
              <a:ln w="19050">
                <a:solidFill>
                  <a:schemeClr val="accent3">
                    <a:lumMod val="60000"/>
                    <a:lumOff val="4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451901" y="6045708"/>
                <a:ext cx="1432468" cy="7192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Latin </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38%</a:t>
                </a:r>
              </a:p>
            </p:txBody>
          </p:sp>
          <p:sp>
            <p:nvSpPr>
              <p:cNvPr id="81" name="Oval 80"/>
              <p:cNvSpPr/>
              <p:nvPr/>
            </p:nvSpPr>
            <p:spPr>
              <a:xfrm>
                <a:off x="9776564" y="4711778"/>
                <a:ext cx="263197" cy="342271"/>
              </a:xfrm>
              <a:prstGeom prst="ellipse">
                <a:avLst/>
              </a:prstGeom>
              <a:solidFill>
                <a:srgbClr val="496F92"/>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Oval 81"/>
              <p:cNvSpPr/>
              <p:nvPr/>
            </p:nvSpPr>
            <p:spPr>
              <a:xfrm>
                <a:off x="7008471" y="4951404"/>
                <a:ext cx="290229" cy="334099"/>
              </a:xfrm>
              <a:prstGeom prst="ellipse">
                <a:avLst/>
              </a:prstGeom>
              <a:solidFill>
                <a:srgbClr val="7B1E29"/>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Oval 82"/>
              <p:cNvSpPr/>
              <p:nvPr/>
            </p:nvSpPr>
            <p:spPr>
              <a:xfrm>
                <a:off x="7400357" y="3607781"/>
                <a:ext cx="199130" cy="292252"/>
              </a:xfrm>
              <a:prstGeom prst="ellipse">
                <a:avLst/>
              </a:prstGeom>
              <a:solidFill>
                <a:srgbClr val="D53814"/>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298" name="Freeform 297"/>
            <p:cNvSpPr/>
            <p:nvPr/>
          </p:nvSpPr>
          <p:spPr>
            <a:xfrm>
              <a:off x="6481191" y="2760437"/>
              <a:ext cx="1741445" cy="885107"/>
            </a:xfrm>
            <a:custGeom>
              <a:avLst/>
              <a:gdLst>
                <a:gd name="connsiteX0" fmla="*/ 2207172 w 2207172"/>
                <a:gd name="connsiteY0" fmla="*/ 974756 h 974756"/>
                <a:gd name="connsiteX1" fmla="*/ 1813034 w 2207172"/>
                <a:gd name="connsiteY1" fmla="*/ 233777 h 974756"/>
                <a:gd name="connsiteX2" fmla="*/ 709448 w 2207172"/>
                <a:gd name="connsiteY2" fmla="*/ 13060 h 974756"/>
                <a:gd name="connsiteX3" fmla="*/ 0 w 2207172"/>
                <a:gd name="connsiteY3" fmla="*/ 44591 h 974756"/>
              </a:gdLst>
              <a:ahLst/>
              <a:cxnLst>
                <a:cxn ang="0">
                  <a:pos x="connsiteX0" y="connsiteY0"/>
                </a:cxn>
                <a:cxn ang="0">
                  <a:pos x="connsiteX1" y="connsiteY1"/>
                </a:cxn>
                <a:cxn ang="0">
                  <a:pos x="connsiteX2" y="connsiteY2"/>
                </a:cxn>
                <a:cxn ang="0">
                  <a:pos x="connsiteX3" y="connsiteY3"/>
                </a:cxn>
              </a:cxnLst>
              <a:rect l="l" t="t" r="r" b="b"/>
              <a:pathLst>
                <a:path w="2207172" h="974756">
                  <a:moveTo>
                    <a:pt x="2207172" y="974756"/>
                  </a:moveTo>
                  <a:cubicBezTo>
                    <a:pt x="2134913" y="684408"/>
                    <a:pt x="2062655" y="394060"/>
                    <a:pt x="1813034" y="233777"/>
                  </a:cubicBezTo>
                  <a:cubicBezTo>
                    <a:pt x="1563413" y="73494"/>
                    <a:pt x="1011620" y="44591"/>
                    <a:pt x="709448" y="13060"/>
                  </a:cubicBezTo>
                  <a:cubicBezTo>
                    <a:pt x="407276" y="-18471"/>
                    <a:pt x="203638" y="13060"/>
                    <a:pt x="0" y="44591"/>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9" name="Freeform 298"/>
            <p:cNvSpPr/>
            <p:nvPr/>
          </p:nvSpPr>
          <p:spPr>
            <a:xfrm>
              <a:off x="6068016" y="3307788"/>
              <a:ext cx="2167759" cy="481129"/>
            </a:xfrm>
            <a:custGeom>
              <a:avLst/>
              <a:gdLst>
                <a:gd name="connsiteX0" fmla="*/ 2601311 w 2601311"/>
                <a:gd name="connsiteY0" fmla="*/ 307755 h 654596"/>
                <a:gd name="connsiteX1" fmla="*/ 1765738 w 2601311"/>
                <a:gd name="connsiteY1" fmla="*/ 23976 h 654596"/>
                <a:gd name="connsiteX2" fmla="*/ 993228 w 2601311"/>
                <a:gd name="connsiteY2" fmla="*/ 87038 h 654596"/>
                <a:gd name="connsiteX3" fmla="*/ 0 w 2601311"/>
                <a:gd name="connsiteY3" fmla="*/ 654596 h 654596"/>
                <a:gd name="connsiteX0" fmla="*/ 2601311 w 2601311"/>
                <a:gd name="connsiteY0" fmla="*/ 365729 h 712570"/>
                <a:gd name="connsiteX1" fmla="*/ 1746487 w 2601311"/>
                <a:gd name="connsiteY1" fmla="*/ 10229 h 712570"/>
                <a:gd name="connsiteX2" fmla="*/ 993228 w 2601311"/>
                <a:gd name="connsiteY2" fmla="*/ 145012 h 712570"/>
                <a:gd name="connsiteX3" fmla="*/ 0 w 2601311"/>
                <a:gd name="connsiteY3" fmla="*/ 712570 h 712570"/>
                <a:gd name="connsiteX0" fmla="*/ 2601311 w 2601311"/>
                <a:gd name="connsiteY0" fmla="*/ 370167 h 717008"/>
                <a:gd name="connsiteX1" fmla="*/ 1746487 w 2601311"/>
                <a:gd name="connsiteY1" fmla="*/ 14667 h 717008"/>
                <a:gd name="connsiteX2" fmla="*/ 896976 w 2601311"/>
                <a:gd name="connsiteY2" fmla="*/ 125543 h 717008"/>
                <a:gd name="connsiteX3" fmla="*/ 0 w 2601311"/>
                <a:gd name="connsiteY3" fmla="*/ 717008 h 717008"/>
              </a:gdLst>
              <a:ahLst/>
              <a:cxnLst>
                <a:cxn ang="0">
                  <a:pos x="connsiteX0" y="connsiteY0"/>
                </a:cxn>
                <a:cxn ang="0">
                  <a:pos x="connsiteX1" y="connsiteY1"/>
                </a:cxn>
                <a:cxn ang="0">
                  <a:pos x="connsiteX2" y="connsiteY2"/>
                </a:cxn>
                <a:cxn ang="0">
                  <a:pos x="connsiteX3" y="connsiteY3"/>
                </a:cxn>
              </a:cxnLst>
              <a:rect l="l" t="t" r="r" b="b"/>
              <a:pathLst>
                <a:path w="2601311" h="717008">
                  <a:moveTo>
                    <a:pt x="2601311" y="370167"/>
                  </a:moveTo>
                  <a:cubicBezTo>
                    <a:pt x="2317531" y="246670"/>
                    <a:pt x="2030543" y="55438"/>
                    <a:pt x="1746487" y="14667"/>
                  </a:cubicBezTo>
                  <a:cubicBezTo>
                    <a:pt x="1462431" y="-26104"/>
                    <a:pt x="1191266" y="20440"/>
                    <a:pt x="896976" y="125543"/>
                  </a:cubicBezTo>
                  <a:cubicBezTo>
                    <a:pt x="602686" y="230646"/>
                    <a:pt x="144517" y="590884"/>
                    <a:pt x="0" y="717008"/>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0" name="Freeform 299"/>
            <p:cNvSpPr/>
            <p:nvPr/>
          </p:nvSpPr>
          <p:spPr>
            <a:xfrm>
              <a:off x="7444234" y="3511356"/>
              <a:ext cx="778403" cy="147089"/>
            </a:xfrm>
            <a:custGeom>
              <a:avLst/>
              <a:gdLst>
                <a:gd name="connsiteX0" fmla="*/ 6463862 w 6463862"/>
                <a:gd name="connsiteY0" fmla="*/ 699764 h 699764"/>
                <a:gd name="connsiteX1" fmla="*/ 5596759 w 6463862"/>
                <a:gd name="connsiteY1" fmla="*/ 84909 h 699764"/>
                <a:gd name="connsiteX2" fmla="*/ 3972911 w 6463862"/>
                <a:gd name="connsiteY2" fmla="*/ 132205 h 699764"/>
                <a:gd name="connsiteX3" fmla="*/ 2207173 w 6463862"/>
                <a:gd name="connsiteY3" fmla="*/ 53378 h 699764"/>
                <a:gd name="connsiteX4" fmla="*/ 0 w 6463862"/>
                <a:gd name="connsiteY4" fmla="*/ 84909 h 699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862" h="699764">
                  <a:moveTo>
                    <a:pt x="6463862" y="699764"/>
                  </a:moveTo>
                  <a:cubicBezTo>
                    <a:pt x="6237890" y="439633"/>
                    <a:pt x="6011918" y="179502"/>
                    <a:pt x="5596759" y="84909"/>
                  </a:cubicBezTo>
                  <a:cubicBezTo>
                    <a:pt x="5181600" y="-9684"/>
                    <a:pt x="4537842" y="137460"/>
                    <a:pt x="3972911" y="132205"/>
                  </a:cubicBezTo>
                  <a:cubicBezTo>
                    <a:pt x="3407980" y="126950"/>
                    <a:pt x="2207173" y="53378"/>
                    <a:pt x="2207173" y="53378"/>
                  </a:cubicBezTo>
                  <a:cubicBezTo>
                    <a:pt x="1545021" y="45495"/>
                    <a:pt x="152400" y="-80629"/>
                    <a:pt x="0" y="84909"/>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1" name="Freeform 300"/>
            <p:cNvSpPr/>
            <p:nvPr/>
          </p:nvSpPr>
          <p:spPr>
            <a:xfrm>
              <a:off x="4316500" y="3141310"/>
              <a:ext cx="3879861" cy="1382872"/>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Lst>
              <a:ahLst/>
              <a:cxnLst>
                <a:cxn ang="0">
                  <a:pos x="connsiteX0" y="connsiteY0"/>
                </a:cxn>
                <a:cxn ang="0">
                  <a:pos x="connsiteX1" y="connsiteY1"/>
                </a:cxn>
                <a:cxn ang="0">
                  <a:pos x="connsiteX2" y="connsiteY2"/>
                </a:cxn>
                <a:cxn ang="0">
                  <a:pos x="connsiteX3" y="connsiteY3"/>
                </a:cxn>
              </a:cxnLst>
              <a:rect l="l" t="t" r="r" b="b"/>
              <a:pathLst>
                <a:path w="4713889" h="2008212">
                  <a:moveTo>
                    <a:pt x="4713889" y="557784"/>
                  </a:moveTo>
                  <a:cubicBezTo>
                    <a:pt x="4306613" y="255611"/>
                    <a:pt x="3899337" y="-46561"/>
                    <a:pt x="3279227" y="5991"/>
                  </a:cubicBezTo>
                  <a:cubicBezTo>
                    <a:pt x="2659117" y="58543"/>
                    <a:pt x="1539765" y="539391"/>
                    <a:pt x="993227" y="873094"/>
                  </a:cubicBezTo>
                  <a:cubicBezTo>
                    <a:pt x="446689" y="1206797"/>
                    <a:pt x="73572" y="1845302"/>
                    <a:pt x="0" y="2008212"/>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2" name="Freeform 301"/>
            <p:cNvSpPr/>
            <p:nvPr/>
          </p:nvSpPr>
          <p:spPr>
            <a:xfrm>
              <a:off x="8235775" y="3343268"/>
              <a:ext cx="617483" cy="289138"/>
            </a:xfrm>
            <a:custGeom>
              <a:avLst/>
              <a:gdLst>
                <a:gd name="connsiteX0" fmla="*/ 0 w 740979"/>
                <a:gd name="connsiteY0" fmla="*/ 315435 h 346966"/>
                <a:gd name="connsiteX1" fmla="*/ 346841 w 740979"/>
                <a:gd name="connsiteY1" fmla="*/ 125 h 346966"/>
                <a:gd name="connsiteX2" fmla="*/ 740979 w 740979"/>
                <a:gd name="connsiteY2" fmla="*/ 346966 h 346966"/>
              </a:gdLst>
              <a:ahLst/>
              <a:cxnLst>
                <a:cxn ang="0">
                  <a:pos x="connsiteX0" y="connsiteY0"/>
                </a:cxn>
                <a:cxn ang="0">
                  <a:pos x="connsiteX1" y="connsiteY1"/>
                </a:cxn>
                <a:cxn ang="0">
                  <a:pos x="connsiteX2" y="connsiteY2"/>
                </a:cxn>
              </a:cxnLst>
              <a:rect l="l" t="t" r="r" b="b"/>
              <a:pathLst>
                <a:path w="740979" h="346966">
                  <a:moveTo>
                    <a:pt x="0" y="315435"/>
                  </a:moveTo>
                  <a:cubicBezTo>
                    <a:pt x="111672" y="155152"/>
                    <a:pt x="223345" y="-5130"/>
                    <a:pt x="346841" y="125"/>
                  </a:cubicBezTo>
                  <a:cubicBezTo>
                    <a:pt x="470338" y="5380"/>
                    <a:pt x="605658" y="176173"/>
                    <a:pt x="740979" y="346966"/>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3" name="Oval 302"/>
            <p:cNvSpPr/>
            <p:nvPr/>
          </p:nvSpPr>
          <p:spPr>
            <a:xfrm>
              <a:off x="2796573" y="2879226"/>
              <a:ext cx="311655" cy="255619"/>
            </a:xfrm>
            <a:prstGeom prst="ellipse">
              <a:avLst/>
            </a:prstGeom>
            <a:solidFill>
              <a:srgbClr val="00B050"/>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04" name="Straight Connector 303"/>
            <p:cNvCxnSpPr/>
            <p:nvPr/>
          </p:nvCxnSpPr>
          <p:spPr>
            <a:xfrm>
              <a:off x="1938757" y="3016472"/>
              <a:ext cx="1014639" cy="1297"/>
            </a:xfrm>
            <a:prstGeom prst="line">
              <a:avLst/>
            </a:prstGeom>
            <a:ln w="19050">
              <a:solidFill>
                <a:srgbClr val="00B050"/>
              </a:solidFill>
              <a:tailEnd type="oval" w="lg" len="lg"/>
            </a:ln>
          </p:spPr>
          <p:style>
            <a:lnRef idx="1">
              <a:schemeClr val="accent1"/>
            </a:lnRef>
            <a:fillRef idx="0">
              <a:schemeClr val="accent1"/>
            </a:fillRef>
            <a:effectRef idx="0">
              <a:schemeClr val="accent1"/>
            </a:effectRef>
            <a:fontRef idx="minor">
              <a:schemeClr val="tx1"/>
            </a:fontRef>
          </p:style>
        </p:cxnSp>
        <p:sp>
          <p:nvSpPr>
            <p:cNvPr id="306" name="TextBox 305"/>
            <p:cNvSpPr txBox="1"/>
            <p:nvPr/>
          </p:nvSpPr>
          <p:spPr>
            <a:xfrm>
              <a:off x="1089429" y="2758813"/>
              <a:ext cx="928192" cy="4871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North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200" noProof="0" dirty="0">
                  <a:solidFill>
                    <a:srgbClr val="00B050"/>
                  </a:solidFill>
                  <a:latin typeface="Arial" panose="020B0604020202020204" pitchFamily="34" charset="0"/>
                  <a:cs typeface="Arial" panose="020B0604020202020204" pitchFamily="34" charset="0"/>
                </a:rPr>
                <a:t>5</a:t>
              </a:r>
              <a:r>
                <a:rPr kumimoji="0" lang="en-GB" sz="12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t>
              </a:r>
            </a:p>
          </p:txBody>
        </p:sp>
        <p:sp>
          <p:nvSpPr>
            <p:cNvPr id="307" name="Freeform 306"/>
            <p:cNvSpPr/>
            <p:nvPr/>
          </p:nvSpPr>
          <p:spPr>
            <a:xfrm>
              <a:off x="3095441" y="2676707"/>
              <a:ext cx="5083892" cy="867439"/>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 name="connsiteX0" fmla="*/ 5349156 w 5349156"/>
                <a:gd name="connsiteY0" fmla="*/ 1785683 h 2023327"/>
                <a:gd name="connsiteX1" fmla="*/ 3279227 w 5349156"/>
                <a:gd name="connsiteY1" fmla="*/ 21106 h 2023327"/>
                <a:gd name="connsiteX2" fmla="*/ 993227 w 5349156"/>
                <a:gd name="connsiteY2" fmla="*/ 888209 h 2023327"/>
                <a:gd name="connsiteX3" fmla="*/ 0 w 5349156"/>
                <a:gd name="connsiteY3" fmla="*/ 2023327 h 2023327"/>
                <a:gd name="connsiteX0" fmla="*/ 5349156 w 5349156"/>
                <a:gd name="connsiteY0" fmla="*/ 1031611 h 1269255"/>
                <a:gd name="connsiteX1" fmla="*/ 4338006 w 5349156"/>
                <a:gd name="connsiteY1" fmla="*/ 325811 h 1269255"/>
                <a:gd name="connsiteX2" fmla="*/ 993227 w 5349156"/>
                <a:gd name="connsiteY2" fmla="*/ 134137 h 1269255"/>
                <a:gd name="connsiteX3" fmla="*/ 0 w 5349156"/>
                <a:gd name="connsiteY3" fmla="*/ 1269255 h 1269255"/>
                <a:gd name="connsiteX0" fmla="*/ 5820474 w 5820474"/>
                <a:gd name="connsiteY0" fmla="*/ 869961 h 1107605"/>
                <a:gd name="connsiteX1" fmla="*/ 4809324 w 5820474"/>
                <a:gd name="connsiteY1" fmla="*/ 164161 h 1107605"/>
                <a:gd name="connsiteX2" fmla="*/ 174760 w 5820474"/>
                <a:gd name="connsiteY2" fmla="*/ 184243 h 1107605"/>
                <a:gd name="connsiteX3" fmla="*/ 471318 w 5820474"/>
                <a:gd name="connsiteY3" fmla="*/ 1107605 h 1107605"/>
                <a:gd name="connsiteX0" fmla="*/ 5925646 w 5925646"/>
                <a:gd name="connsiteY0" fmla="*/ 869961 h 869961"/>
                <a:gd name="connsiteX1" fmla="*/ 4914496 w 5925646"/>
                <a:gd name="connsiteY1" fmla="*/ 164161 h 869961"/>
                <a:gd name="connsiteX2" fmla="*/ 279932 w 5925646"/>
                <a:gd name="connsiteY2" fmla="*/ 184243 h 869961"/>
                <a:gd name="connsiteX3" fmla="*/ 95228 w 5925646"/>
                <a:gd name="connsiteY3" fmla="*/ 145079 h 869961"/>
                <a:gd name="connsiteX0" fmla="*/ 5932574 w 5932574"/>
                <a:gd name="connsiteY0" fmla="*/ 869961 h 869961"/>
                <a:gd name="connsiteX1" fmla="*/ 4921424 w 5932574"/>
                <a:gd name="connsiteY1" fmla="*/ 164161 h 869961"/>
                <a:gd name="connsiteX2" fmla="*/ 286860 w 5932574"/>
                <a:gd name="connsiteY2" fmla="*/ 184243 h 869961"/>
                <a:gd name="connsiteX3" fmla="*/ 82906 w 5932574"/>
                <a:gd name="connsiteY3" fmla="*/ 222081 h 869961"/>
                <a:gd name="connsiteX0" fmla="*/ 5849668 w 5849668"/>
                <a:gd name="connsiteY0" fmla="*/ 954477 h 954477"/>
                <a:gd name="connsiteX1" fmla="*/ 4838518 w 5849668"/>
                <a:gd name="connsiteY1" fmla="*/ 248677 h 954477"/>
                <a:gd name="connsiteX2" fmla="*/ 954725 w 5849668"/>
                <a:gd name="connsiteY2" fmla="*/ 153257 h 954477"/>
                <a:gd name="connsiteX3" fmla="*/ 0 w 5849668"/>
                <a:gd name="connsiteY3" fmla="*/ 306597 h 954477"/>
                <a:gd name="connsiteX0" fmla="*/ 5522410 w 5522410"/>
                <a:gd name="connsiteY0" fmla="*/ 954477 h 954477"/>
                <a:gd name="connsiteX1" fmla="*/ 4511260 w 5522410"/>
                <a:gd name="connsiteY1" fmla="*/ 248677 h 954477"/>
                <a:gd name="connsiteX2" fmla="*/ 627467 w 5522410"/>
                <a:gd name="connsiteY2" fmla="*/ 153257 h 954477"/>
                <a:gd name="connsiteX3" fmla="*/ 0 w 5522410"/>
                <a:gd name="connsiteY3" fmla="*/ 826361 h 954477"/>
                <a:gd name="connsiteX0" fmla="*/ 5522410 w 5522410"/>
                <a:gd name="connsiteY0" fmla="*/ 984739 h 984739"/>
                <a:gd name="connsiteX1" fmla="*/ 4511260 w 5522410"/>
                <a:gd name="connsiteY1" fmla="*/ 278939 h 984739"/>
                <a:gd name="connsiteX2" fmla="*/ 550464 w 5522410"/>
                <a:gd name="connsiteY2" fmla="*/ 145017 h 984739"/>
                <a:gd name="connsiteX3" fmla="*/ 0 w 5522410"/>
                <a:gd name="connsiteY3" fmla="*/ 856623 h 984739"/>
                <a:gd name="connsiteX0" fmla="*/ 5907420 w 5907420"/>
                <a:gd name="connsiteY0" fmla="*/ 984739 h 984739"/>
                <a:gd name="connsiteX1" fmla="*/ 4896270 w 5907420"/>
                <a:gd name="connsiteY1" fmla="*/ 278939 h 984739"/>
                <a:gd name="connsiteX2" fmla="*/ 935474 w 5907420"/>
                <a:gd name="connsiteY2" fmla="*/ 145017 h 984739"/>
                <a:gd name="connsiteX3" fmla="*/ 0 w 5907420"/>
                <a:gd name="connsiteY3" fmla="*/ 394610 h 984739"/>
                <a:gd name="connsiteX0" fmla="*/ 5955634 w 5955634"/>
                <a:gd name="connsiteY0" fmla="*/ 1015806 h 1015806"/>
                <a:gd name="connsiteX1" fmla="*/ 4944484 w 5955634"/>
                <a:gd name="connsiteY1" fmla="*/ 310006 h 1015806"/>
                <a:gd name="connsiteX2" fmla="*/ 309920 w 5955634"/>
                <a:gd name="connsiteY2" fmla="*/ 137584 h 1015806"/>
                <a:gd name="connsiteX3" fmla="*/ 48214 w 5955634"/>
                <a:gd name="connsiteY3" fmla="*/ 425677 h 1015806"/>
                <a:gd name="connsiteX0" fmla="*/ 10373542 w 10373542"/>
                <a:gd name="connsiteY0" fmla="*/ 1015806 h 1015806"/>
                <a:gd name="connsiteX1" fmla="*/ 9362392 w 10373542"/>
                <a:gd name="connsiteY1" fmla="*/ 310006 h 1015806"/>
                <a:gd name="connsiteX2" fmla="*/ 4727828 w 10373542"/>
                <a:gd name="connsiteY2" fmla="*/ 137584 h 1015806"/>
                <a:gd name="connsiteX3" fmla="*/ 0 w 10373542"/>
                <a:gd name="connsiteY3" fmla="*/ 98418 h 1015806"/>
                <a:gd name="connsiteX0" fmla="*/ 5947537 w 5947537"/>
                <a:gd name="connsiteY0" fmla="*/ 1015806 h 1015806"/>
                <a:gd name="connsiteX1" fmla="*/ 4936387 w 5947537"/>
                <a:gd name="connsiteY1" fmla="*/ 310006 h 1015806"/>
                <a:gd name="connsiteX2" fmla="*/ 301823 w 5947537"/>
                <a:gd name="connsiteY2" fmla="*/ 137584 h 1015806"/>
                <a:gd name="connsiteX3" fmla="*/ 59367 w 5947537"/>
                <a:gd name="connsiteY3" fmla="*/ 329425 h 1015806"/>
              </a:gdLst>
              <a:ahLst/>
              <a:cxnLst>
                <a:cxn ang="0">
                  <a:pos x="connsiteX0" y="connsiteY0"/>
                </a:cxn>
                <a:cxn ang="0">
                  <a:pos x="connsiteX1" y="connsiteY1"/>
                </a:cxn>
                <a:cxn ang="0">
                  <a:pos x="connsiteX2" y="connsiteY2"/>
                </a:cxn>
                <a:cxn ang="0">
                  <a:pos x="connsiteX3" y="connsiteY3"/>
                </a:cxn>
              </a:cxnLst>
              <a:rect l="l" t="t" r="r" b="b"/>
              <a:pathLst>
                <a:path w="5947537" h="1015806">
                  <a:moveTo>
                    <a:pt x="5947537" y="1015806"/>
                  </a:moveTo>
                  <a:cubicBezTo>
                    <a:pt x="5540261" y="713633"/>
                    <a:pt x="5877339" y="456376"/>
                    <a:pt x="4936387" y="310006"/>
                  </a:cubicBezTo>
                  <a:cubicBezTo>
                    <a:pt x="3995435" y="163636"/>
                    <a:pt x="848361" y="-196119"/>
                    <a:pt x="301823" y="137584"/>
                  </a:cubicBezTo>
                  <a:cubicBezTo>
                    <a:pt x="-244715" y="471287"/>
                    <a:pt x="132939" y="166515"/>
                    <a:pt x="59367" y="329425"/>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Straight Connector 10"/>
            <p:cNvCxnSpPr>
              <a:cxnSpLocks/>
              <a:stCxn id="308" idx="4"/>
            </p:cNvCxnSpPr>
            <p:nvPr/>
          </p:nvCxnSpPr>
          <p:spPr>
            <a:xfrm flipH="1">
              <a:off x="9745019" y="4656785"/>
              <a:ext cx="1" cy="297744"/>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266673" y="5005125"/>
              <a:ext cx="980813" cy="4059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rPr>
                <a:t>Oth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rPr>
                <a:t>1%</a:t>
              </a:r>
              <a:endParaRPr kumimoji="0" lang="en-IN" sz="1600" b="0"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endParaRPr>
            </a:p>
          </p:txBody>
        </p:sp>
        <p:sp>
          <p:nvSpPr>
            <p:cNvPr id="308" name="Oval 307"/>
            <p:cNvSpPr/>
            <p:nvPr/>
          </p:nvSpPr>
          <p:spPr>
            <a:xfrm>
              <a:off x="9608734" y="4424969"/>
              <a:ext cx="272571" cy="231816"/>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9" name="Arc 8"/>
          <p:cNvSpPr/>
          <p:nvPr/>
        </p:nvSpPr>
        <p:spPr>
          <a:xfrm>
            <a:off x="5263559" y="3898284"/>
            <a:ext cx="2883293" cy="1982566"/>
          </a:xfrm>
          <a:prstGeom prst="arc">
            <a:avLst>
              <a:gd name="adj1" fmla="val 16235939"/>
              <a:gd name="adj2" fmla="val 21516866"/>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Rounded Rectangle 304"/>
          <p:cNvSpPr/>
          <p:nvPr/>
        </p:nvSpPr>
        <p:spPr>
          <a:xfrm>
            <a:off x="9675831" y="618292"/>
            <a:ext cx="2355129" cy="5002319"/>
          </a:xfrm>
          <a:prstGeom prst="roundRect">
            <a:avLst/>
          </a:prstGeom>
          <a:solidFill>
            <a:schemeClr val="accent6">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TAM and Africa has aided the exports</a:t>
            </a:r>
            <a:r>
              <a:rPr lang="en-US" sz="1200" dirty="0">
                <a:solidFill>
                  <a:prstClr val="black"/>
                </a:solidFill>
                <a:latin typeface="Arial" panose="020B0604020202020204" pitchFamily="34" charset="0"/>
                <a:cs typeface="Arial" panose="020B0604020202020204" pitchFamily="34" charset="0"/>
              </a:rPr>
              <a:t> in the first half of FY22</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Preference towards </a:t>
            </a:r>
            <a:r>
              <a:rPr lang="en-US" sz="1200" dirty="0" err="1">
                <a:solidFill>
                  <a:prstClr val="black"/>
                </a:solidFill>
                <a:latin typeface="Arial" panose="020B0604020202020204" pitchFamily="34" charset="0"/>
                <a:cs typeface="Arial" panose="020B0604020202020204" pitchFamily="34" charset="0"/>
              </a:rPr>
              <a:t>Evs</a:t>
            </a:r>
            <a:r>
              <a:rPr lang="en-US" sz="1200" dirty="0">
                <a:solidFill>
                  <a:prstClr val="black"/>
                </a:solidFill>
                <a:latin typeface="Arial" panose="020B0604020202020204" pitchFamily="34" charset="0"/>
                <a:cs typeface="Arial" panose="020B0604020202020204" pitchFamily="34" charset="0"/>
              </a:rPr>
              <a:t> and stringent emission norms limited exports to EU</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hare of exports to North America sees marginal drop. </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err="1">
                <a:solidFill>
                  <a:prstClr val="black"/>
                </a:solidFill>
                <a:latin typeface="Arial" panose="020B0604020202020204" pitchFamily="34" charset="0"/>
                <a:cs typeface="Arial" panose="020B0604020202020204" pitchFamily="34" charset="0"/>
              </a:rPr>
              <a:t>Covid</a:t>
            </a:r>
            <a:r>
              <a:rPr lang="en-US" sz="1200" dirty="0">
                <a:solidFill>
                  <a:prstClr val="black"/>
                </a:solidFill>
                <a:latin typeface="Arial" panose="020B0604020202020204" pitchFamily="34" charset="0"/>
                <a:cs typeface="Arial" panose="020B0604020202020204" pitchFamily="34" charset="0"/>
              </a:rPr>
              <a:t> situation has improved across most geographies</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Pace of vaccination in developing countries remains a key </a:t>
            </a:r>
            <a:r>
              <a:rPr lang="en-US" sz="1200" dirty="0" err="1">
                <a:solidFill>
                  <a:prstClr val="black"/>
                </a:solidFill>
                <a:latin typeface="Arial" panose="020B0604020202020204" pitchFamily="34" charset="0"/>
                <a:cs typeface="Arial" panose="020B0604020202020204" pitchFamily="34" charset="0"/>
              </a:rPr>
              <a:t>monitorable</a:t>
            </a:r>
            <a:endParaRPr lang="en-US" sz="1200" dirty="0">
              <a:solidFill>
                <a:prstClr val="black"/>
              </a:solidFill>
              <a:latin typeface="Arial" panose="020B0604020202020204" pitchFamily="34" charset="0"/>
              <a:cs typeface="Arial" panose="020B0604020202020204" pitchFamily="34" charset="0"/>
            </a:endParaRP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Chip shortage continues to remain a hurdle for the industry</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Spread of Delta variant is a concern</a:t>
            </a:r>
          </a:p>
        </p:txBody>
      </p:sp>
      <p:grpSp>
        <p:nvGrpSpPr>
          <p:cNvPr id="311" name="Group 310"/>
          <p:cNvGrpSpPr/>
          <p:nvPr/>
        </p:nvGrpSpPr>
        <p:grpSpPr>
          <a:xfrm>
            <a:off x="4947304" y="5544172"/>
            <a:ext cx="693039" cy="326275"/>
            <a:chOff x="5161883" y="5513596"/>
            <a:chExt cx="693039" cy="326275"/>
          </a:xfrm>
        </p:grpSpPr>
        <p:sp>
          <p:nvSpPr>
            <p:cNvPr id="312" name="TextBox 311"/>
            <p:cNvSpPr txBox="1"/>
            <p:nvPr/>
          </p:nvSpPr>
          <p:spPr>
            <a:xfrm>
              <a:off x="5161883" y="5549221"/>
              <a:ext cx="449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9</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313" name="Isosceles Triangle 312"/>
            <p:cNvSpPr/>
            <p:nvPr/>
          </p:nvSpPr>
          <p:spPr>
            <a:xfrm>
              <a:off x="5627778" y="5579877"/>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4" name="Rounded Rectangle 313"/>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15" name="Group 314"/>
          <p:cNvGrpSpPr/>
          <p:nvPr/>
        </p:nvGrpSpPr>
        <p:grpSpPr>
          <a:xfrm>
            <a:off x="1323695" y="4856924"/>
            <a:ext cx="640451" cy="326275"/>
            <a:chOff x="5143221" y="5525471"/>
            <a:chExt cx="640451" cy="326275"/>
          </a:xfrm>
        </p:grpSpPr>
        <p:sp>
          <p:nvSpPr>
            <p:cNvPr id="316" name="TextBox 315"/>
            <p:cNvSpPr txBox="1"/>
            <p:nvPr/>
          </p:nvSpPr>
          <p:spPr>
            <a:xfrm>
              <a:off x="5161883" y="5549221"/>
              <a:ext cx="405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dirty="0">
                  <a:solidFill>
                    <a:prstClr val="black"/>
                  </a:solidFill>
                  <a:latin typeface="Arial" panose="020B0604020202020204" pitchFamily="34" charset="0"/>
                  <a:cs typeface="Arial" panose="020B0604020202020204" pitchFamily="34" charset="0"/>
                </a:rPr>
                <a:t>1</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317" name="Isosceles Triangle 316"/>
            <p:cNvSpPr/>
            <p:nvPr/>
          </p:nvSpPr>
          <p:spPr>
            <a:xfrm flipH="1">
              <a:off x="5520903" y="5591752"/>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8" name="Rounded Rectangle 317"/>
            <p:cNvSpPr/>
            <p:nvPr/>
          </p:nvSpPr>
          <p:spPr>
            <a:xfrm>
              <a:off x="5143221" y="5525471"/>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3" name="Group 322"/>
          <p:cNvGrpSpPr/>
          <p:nvPr/>
        </p:nvGrpSpPr>
        <p:grpSpPr>
          <a:xfrm>
            <a:off x="5422778" y="1412222"/>
            <a:ext cx="681164" cy="326275"/>
            <a:chOff x="5161883" y="5513596"/>
            <a:chExt cx="681164" cy="326275"/>
          </a:xfrm>
        </p:grpSpPr>
        <p:sp>
          <p:nvSpPr>
            <p:cNvPr id="324" name="TextBox 323"/>
            <p:cNvSpPr txBox="1"/>
            <p:nvPr/>
          </p:nvSpPr>
          <p:spPr>
            <a:xfrm>
              <a:off x="5161883" y="5549221"/>
              <a:ext cx="5341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0.3</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325" name="Isosceles Triangle 324"/>
            <p:cNvSpPr/>
            <p:nvPr/>
          </p:nvSpPr>
          <p:spPr>
            <a:xfrm flipV="1">
              <a:off x="5568403" y="5603627"/>
              <a:ext cx="167156"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6" name="Rounded Rectangle 325"/>
            <p:cNvSpPr/>
            <p:nvPr/>
          </p:nvSpPr>
          <p:spPr>
            <a:xfrm>
              <a:off x="5202596"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27" name="Group 326"/>
          <p:cNvGrpSpPr/>
          <p:nvPr/>
        </p:nvGrpSpPr>
        <p:grpSpPr>
          <a:xfrm>
            <a:off x="6418555" y="5072342"/>
            <a:ext cx="693039" cy="326275"/>
            <a:chOff x="5161883" y="5513596"/>
            <a:chExt cx="693039" cy="326275"/>
          </a:xfrm>
        </p:grpSpPr>
        <p:sp>
          <p:nvSpPr>
            <p:cNvPr id="328" name="TextBox 327"/>
            <p:cNvSpPr txBox="1"/>
            <p:nvPr/>
          </p:nvSpPr>
          <p:spPr>
            <a:xfrm>
              <a:off x="5161883" y="5549221"/>
              <a:ext cx="449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a:t>
              </a:r>
            </a:p>
          </p:txBody>
        </p:sp>
        <p:sp>
          <p:nvSpPr>
            <p:cNvPr id="329" name="Isosceles Triangle 328"/>
            <p:cNvSpPr/>
            <p:nvPr/>
          </p:nvSpPr>
          <p:spPr>
            <a:xfrm flipV="1">
              <a:off x="5592153" y="5603627"/>
              <a:ext cx="167156"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0" name="Rounded Rectangle 329"/>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37" name="TextBox 336">
            <a:extLst>
              <a:ext uri="{FF2B5EF4-FFF2-40B4-BE49-F238E27FC236}">
                <a16:creationId xmlns:a16="http://schemas.microsoft.com/office/drawing/2014/main" id="{D061B491-9398-4CBF-A9F0-9BA8A5C4692C}"/>
              </a:ext>
            </a:extLst>
          </p:cNvPr>
          <p:cNvSpPr txBox="1"/>
          <p:nvPr/>
        </p:nvSpPr>
        <p:spPr>
          <a:xfrm>
            <a:off x="1144034" y="6409997"/>
            <a:ext cx="9341878" cy="430871"/>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Represents volume data for FY21 exports, % in dotted boxes indicates change in share from FY20 to FY 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DGFT, CRISIL Research</a:t>
            </a:r>
          </a:p>
        </p:txBody>
      </p:sp>
      <p:grpSp>
        <p:nvGrpSpPr>
          <p:cNvPr id="310" name="Group 309"/>
          <p:cNvGrpSpPr/>
          <p:nvPr/>
        </p:nvGrpSpPr>
        <p:grpSpPr>
          <a:xfrm>
            <a:off x="1026236" y="3548745"/>
            <a:ext cx="693039" cy="326275"/>
            <a:chOff x="5161883" y="5513596"/>
            <a:chExt cx="693039" cy="326275"/>
          </a:xfrm>
        </p:grpSpPr>
        <p:sp>
          <p:nvSpPr>
            <p:cNvPr id="319" name="TextBox 318"/>
            <p:cNvSpPr txBox="1"/>
            <p:nvPr/>
          </p:nvSpPr>
          <p:spPr>
            <a:xfrm>
              <a:off x="5161883" y="5549221"/>
              <a:ext cx="449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a:t>
              </a:r>
            </a:p>
          </p:txBody>
        </p:sp>
        <p:sp>
          <p:nvSpPr>
            <p:cNvPr id="320" name="Isosceles Triangle 319"/>
            <p:cNvSpPr/>
            <p:nvPr/>
          </p:nvSpPr>
          <p:spPr>
            <a:xfrm flipV="1">
              <a:off x="5592153" y="5603627"/>
              <a:ext cx="167156"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2" name="Rounded Rectangle 321"/>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82392075"/>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60717-90A0-4E54-8C47-8E1ACE6EE2EC}"/>
              </a:ext>
            </a:extLst>
          </p:cNvPr>
          <p:cNvSpPr>
            <a:spLocks noGrp="1"/>
          </p:cNvSpPr>
          <p:nvPr>
            <p:ph type="title"/>
          </p:nvPr>
        </p:nvSpPr>
        <p:spPr/>
        <p:txBody>
          <a:bodyPr>
            <a:noAutofit/>
          </a:bodyPr>
          <a:lstStyle/>
          <a:p>
            <a:r>
              <a:rPr lang="en-US" sz="3600" dirty="0"/>
              <a:t>Two-wheelers</a:t>
            </a:r>
          </a:p>
        </p:txBody>
      </p:sp>
      <p:sp>
        <p:nvSpPr>
          <p:cNvPr id="4" name="Rectangle 3">
            <a:hlinkClick r:id="rId2" action="ppaction://hlinksldjump"/>
            <a:extLst>
              <a:ext uri="{FF2B5EF4-FFF2-40B4-BE49-F238E27FC236}">
                <a16:creationId xmlns:a16="http://schemas.microsoft.com/office/drawing/2014/main" id="{18C4512E-1AC7-4536-A6FA-30BB92002169}"/>
              </a:ext>
            </a:extLst>
          </p:cNvPr>
          <p:cNvSpPr/>
          <p:nvPr/>
        </p:nvSpPr>
        <p:spPr>
          <a:xfrm>
            <a:off x="7949525" y="6400518"/>
            <a:ext cx="3094687"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ction="ppaction://hlinksldjump"/>
              </a:rPr>
              <a:t>Back to Summary Forecast Slide</a:t>
            </a:r>
            <a:endPar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07145000"/>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633" y="311396"/>
            <a:ext cx="11615087" cy="443198"/>
          </a:xfrm>
        </p:spPr>
        <p:txBody>
          <a:bodyPr vert="horz" lIns="0" tIns="0" rIns="0" bIns="0" rtlCol="0" anchor="ctr">
            <a:noAutofit/>
          </a:bodyPr>
          <a:lstStyle/>
          <a:p>
            <a:r>
              <a:rPr lang="en-US" altLang="en-US" sz="2800" b="1" dirty="0">
                <a:solidFill>
                  <a:schemeClr val="tx1"/>
                </a:solidFill>
                <a:latin typeface="Arial" panose="020B0604020202020204" pitchFamily="34" charset="0"/>
                <a:cs typeface="Arial" panose="020B0604020202020204" pitchFamily="34" charset="0"/>
              </a:rPr>
              <a:t>Two-wheeler sales to remain sluggish in fiscal 2023 as well</a:t>
            </a:r>
            <a:endParaRPr lang="en-US" sz="2800" b="1" dirty="0">
              <a:solidFill>
                <a:schemeClr val="tx1"/>
              </a:solidFill>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04382064"/>
              </p:ext>
            </p:extLst>
          </p:nvPr>
        </p:nvGraphicFramePr>
        <p:xfrm>
          <a:off x="928898" y="1059434"/>
          <a:ext cx="4619639" cy="822564"/>
        </p:xfrm>
        <a:graphic>
          <a:graphicData uri="http://schemas.openxmlformats.org/drawingml/2006/table">
            <a:tbl>
              <a:tblPr firstRow="1" bandRow="1">
                <a:tableStyleId>{D27102A9-8310-4765-A935-A1911B00CA55}</a:tableStyleId>
              </a:tblPr>
              <a:tblGrid>
                <a:gridCol w="3280085">
                  <a:extLst>
                    <a:ext uri="{9D8B030D-6E8A-4147-A177-3AD203B41FA5}">
                      <a16:colId xmlns:a16="http://schemas.microsoft.com/office/drawing/2014/main" val="20000"/>
                    </a:ext>
                  </a:extLst>
                </a:gridCol>
                <a:gridCol w="1339554">
                  <a:extLst>
                    <a:ext uri="{9D8B030D-6E8A-4147-A177-3AD203B41FA5}">
                      <a16:colId xmlns:a16="http://schemas.microsoft.com/office/drawing/2014/main" val="20003"/>
                    </a:ext>
                  </a:extLst>
                </a:gridCol>
              </a:tblGrid>
              <a:tr h="393398">
                <a:tc>
                  <a:txBody>
                    <a:bodyPr/>
                    <a:lstStyle/>
                    <a:p>
                      <a:pPr algn="ctr" rtl="0" fontAlgn="b"/>
                      <a:r>
                        <a:rPr lang="en-US" sz="1300" u="none" strike="noStrike" dirty="0">
                          <a:solidFill>
                            <a:schemeClr val="bg1"/>
                          </a:solidFill>
                          <a:latin typeface="Arial" panose="020B0604020202020204" pitchFamily="34" charset="0"/>
                          <a:cs typeface="Arial" panose="020B0604020202020204" pitchFamily="34" charset="0"/>
                        </a:rPr>
                        <a:t>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71450" marR="9525" marT="9525" marB="0" anchor="ctr">
                    <a:solidFill>
                      <a:schemeClr val="accent2"/>
                    </a:solidFill>
                  </a:tcPr>
                </a:tc>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19</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10000"/>
                  </a:ext>
                </a:extLst>
              </a:tr>
              <a:tr h="429166">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Income for</a:t>
                      </a:r>
                      <a:r>
                        <a:rPr lang="en-US" sz="1300" u="none" strike="noStrike" baseline="0" dirty="0">
                          <a:latin typeface="Arial" panose="020B0604020202020204" pitchFamily="34" charset="0"/>
                          <a:cs typeface="Arial" panose="020B0604020202020204" pitchFamily="34" charset="0"/>
                        </a:rPr>
                        <a:t> discretionary spending</a:t>
                      </a:r>
                      <a:endParaRPr lang="en-US" sz="1300" b="1" i="0" u="none" strike="noStrike" dirty="0">
                        <a:solidFill>
                          <a:srgbClr val="404040"/>
                        </a:solidFill>
                        <a:latin typeface="Arial" panose="020B0604020202020204" pitchFamily="34" charset="0"/>
                        <a:cs typeface="Arial" panose="020B0604020202020204" pitchFamily="34" charset="0"/>
                      </a:endParaRPr>
                    </a:p>
                  </a:txBody>
                  <a:tcPr marL="0" marR="0" marT="0" marB="0">
                    <a:noFill/>
                  </a:tcPr>
                </a:tc>
                <a:tc>
                  <a:txBody>
                    <a:bodyPr/>
                    <a:lstStyle/>
                    <a:p>
                      <a:pPr algn="ctr" rtl="0" fontAlgn="t"/>
                      <a:r>
                        <a:rPr lang="en-US" sz="1300" u="none" strike="noStrike" dirty="0">
                          <a:solidFill>
                            <a:schemeClr val="bg1"/>
                          </a:solidFill>
                          <a:effectLst/>
                          <a:latin typeface="Arial" panose="020B0604020202020204" pitchFamily="34" charset="0"/>
                          <a:cs typeface="Arial" panose="020B0604020202020204" pitchFamily="34" charset="0"/>
                        </a:rPr>
                        <a:t>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00B050"/>
                    </a:solidFill>
                  </a:tcPr>
                </a:tc>
                <a:extLst>
                  <a:ext uri="{0D108BD9-81ED-4DB2-BD59-A6C34878D82A}">
                    <a16:rowId xmlns:a16="http://schemas.microsoft.com/office/drawing/2014/main" val="10001"/>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610597585"/>
              </p:ext>
            </p:extLst>
          </p:nvPr>
        </p:nvGraphicFramePr>
        <p:xfrm>
          <a:off x="928304" y="1957230"/>
          <a:ext cx="4606332" cy="1180194"/>
        </p:xfrm>
        <a:graphic>
          <a:graphicData uri="http://schemas.openxmlformats.org/drawingml/2006/table">
            <a:tbl>
              <a:tblPr firstRow="1" bandRow="1">
                <a:tableStyleId>{9D7B26C5-4107-4FEC-AEDC-1716B250A1EF}</a:tableStyleId>
              </a:tblPr>
              <a:tblGrid>
                <a:gridCol w="3270636">
                  <a:extLst>
                    <a:ext uri="{9D8B030D-6E8A-4147-A177-3AD203B41FA5}">
                      <a16:colId xmlns:a16="http://schemas.microsoft.com/office/drawing/2014/main" val="20000"/>
                    </a:ext>
                  </a:extLst>
                </a:gridCol>
                <a:gridCol w="1335696">
                  <a:extLst>
                    <a:ext uri="{9D8B030D-6E8A-4147-A177-3AD203B41FA5}">
                      <a16:colId xmlns:a16="http://schemas.microsoft.com/office/drawing/2014/main" val="20003"/>
                    </a:ext>
                  </a:extLst>
                </a:gridCol>
              </a:tblGrid>
              <a:tr h="393398">
                <a:tc>
                  <a:txBody>
                    <a:bodyPr/>
                    <a:lstStyle/>
                    <a:p>
                      <a:pPr algn="ctr" rtl="0" fontAlgn="b"/>
                      <a:r>
                        <a:rPr lang="en-US" sz="1300" u="none" strike="noStrike" dirty="0">
                          <a:solidFill>
                            <a:schemeClr val="bg1"/>
                          </a:solidFill>
                          <a:latin typeface="Arial" panose="020B0604020202020204" pitchFamily="34" charset="0"/>
                          <a:cs typeface="Arial" panose="020B0604020202020204" pitchFamily="34" charset="0"/>
                        </a:rPr>
                        <a:t>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71450" marR="9525" marT="9525" marB="0" anchor="ctr">
                    <a:solidFill>
                      <a:schemeClr val="accent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u="none" strike="noStrike" kern="1200" dirty="0">
                          <a:solidFill>
                            <a:schemeClr val="bg1"/>
                          </a:solidFill>
                          <a:latin typeface="Arial" panose="020B0604020202020204" pitchFamily="34" charset="0"/>
                          <a:cs typeface="Arial" panose="020B0604020202020204" pitchFamily="34" charset="0"/>
                        </a:rPr>
                        <a:t>FY 2019</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10000"/>
                  </a:ext>
                </a:extLst>
              </a:tr>
              <a:tr h="393398">
                <a:tc>
                  <a:txBody>
                    <a:bodyPr/>
                    <a:lstStyle/>
                    <a:p>
                      <a:pPr algn="l" fontAlgn="t">
                        <a:lnSpc>
                          <a:spcPct val="150000"/>
                        </a:lnSpc>
                      </a:pPr>
                      <a:r>
                        <a:rPr lang="en-US" sz="1300" u="none" strike="noStrike" kern="1200" dirty="0">
                          <a:latin typeface="Arial" panose="020B0604020202020204" pitchFamily="34" charset="0"/>
                          <a:cs typeface="Arial" panose="020B0604020202020204" pitchFamily="34" charset="0"/>
                        </a:rPr>
                        <a:t>Cost of ownership</a:t>
                      </a:r>
                      <a:endParaRPr lang="en-US" sz="1300" b="1" i="0" u="none" strike="noStrike" kern="1200" dirty="0">
                        <a:solidFill>
                          <a:srgbClr val="404040"/>
                        </a:solidFill>
                        <a:latin typeface="Arial" panose="020B0604020202020204" pitchFamily="34" charset="0"/>
                        <a:ea typeface="+mn-ea"/>
                        <a:cs typeface="Arial" panose="020B0604020202020204" pitchFamily="34" charset="0"/>
                      </a:endParaRPr>
                    </a:p>
                  </a:txBody>
                  <a:tcPr marL="0" marR="0" marT="0" marB="0"/>
                </a:tc>
                <a:tc>
                  <a:txBody>
                    <a:bodyPr/>
                    <a:lstStyle/>
                    <a:p>
                      <a:pPr algn="ctr" rtl="0" fontAlgn="t"/>
                      <a:r>
                        <a:rPr lang="en-US" sz="1300" dirty="0">
                          <a:solidFill>
                            <a:schemeClr val="bg1"/>
                          </a:solidFill>
                          <a:latin typeface="Arial" panose="020B0604020202020204" pitchFamily="34" charset="0"/>
                          <a:cs typeface="Arial" panose="020B0604020202020204" pitchFamily="34" charset="0"/>
                        </a:rPr>
                        <a:t>NF</a:t>
                      </a:r>
                    </a:p>
                  </a:txBody>
                  <a:tcPr marL="9525" marR="9525" marT="9525" marB="0" anchor="ctr">
                    <a:solidFill>
                      <a:srgbClr val="FF0000"/>
                    </a:solidFill>
                  </a:tcPr>
                </a:tc>
                <a:extLst>
                  <a:ext uri="{0D108BD9-81ED-4DB2-BD59-A6C34878D82A}">
                    <a16:rowId xmlns:a16="http://schemas.microsoft.com/office/drawing/2014/main" val="10001"/>
                  </a:ext>
                </a:extLst>
              </a:tr>
              <a:tr h="393398">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            Interest rates</a:t>
                      </a:r>
                      <a:endParaRPr lang="en-US" sz="1300" b="1" i="0" u="none" strike="noStrike" dirty="0">
                        <a:solidFill>
                          <a:srgbClr val="404040"/>
                        </a:solidFill>
                        <a:latin typeface="Arial" panose="020B0604020202020204" pitchFamily="34" charset="0"/>
                        <a:cs typeface="Arial" panose="020B0604020202020204" pitchFamily="34" charset="0"/>
                      </a:endParaRPr>
                    </a:p>
                  </a:txBody>
                  <a:tcPr marL="0" marR="0" marT="0" marB="0"/>
                </a:tc>
                <a:tc>
                  <a:txBody>
                    <a:bodyPr/>
                    <a:lstStyle/>
                    <a:p>
                      <a:pPr marL="0" algn="ctr" defTabSz="457200"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solidFill>
                      <a:srgbClr val="FFC000"/>
                    </a:solidFill>
                  </a:tcPr>
                </a:tc>
                <a:extLst>
                  <a:ext uri="{0D108BD9-81ED-4DB2-BD59-A6C34878D82A}">
                    <a16:rowId xmlns:a16="http://schemas.microsoft.com/office/drawing/2014/main" val="10003"/>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054391642"/>
              </p:ext>
            </p:extLst>
          </p:nvPr>
        </p:nvGraphicFramePr>
        <p:xfrm>
          <a:off x="944856" y="4472677"/>
          <a:ext cx="4613754" cy="766121"/>
        </p:xfrm>
        <a:graphic>
          <a:graphicData uri="http://schemas.openxmlformats.org/drawingml/2006/table">
            <a:tbl>
              <a:tblPr firstRow="1" bandRow="1">
                <a:tableStyleId>{9D7B26C5-4107-4FEC-AEDC-1716B250A1EF}</a:tableStyleId>
              </a:tblPr>
              <a:tblGrid>
                <a:gridCol w="3275906">
                  <a:extLst>
                    <a:ext uri="{9D8B030D-6E8A-4147-A177-3AD203B41FA5}">
                      <a16:colId xmlns:a16="http://schemas.microsoft.com/office/drawing/2014/main" val="20000"/>
                    </a:ext>
                  </a:extLst>
                </a:gridCol>
                <a:gridCol w="1337848">
                  <a:extLst>
                    <a:ext uri="{9D8B030D-6E8A-4147-A177-3AD203B41FA5}">
                      <a16:colId xmlns:a16="http://schemas.microsoft.com/office/drawing/2014/main" val="20003"/>
                    </a:ext>
                  </a:extLst>
                </a:gridCol>
              </a:tblGrid>
              <a:tr h="372723">
                <a:tc>
                  <a:txBody>
                    <a:bodyPr/>
                    <a:lstStyle/>
                    <a:p>
                      <a:pPr algn="ctr" rtl="0" fontAlgn="b"/>
                      <a:r>
                        <a:rPr lang="en-US" sz="1300" u="none" strike="noStrike" dirty="0">
                          <a:solidFill>
                            <a:schemeClr val="bg1"/>
                          </a:solidFill>
                          <a:latin typeface="Arial" panose="020B0604020202020204" pitchFamily="34" charset="0"/>
                          <a:cs typeface="Arial" panose="020B0604020202020204" pitchFamily="34" charset="0"/>
                        </a:rPr>
                        <a:t>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71450" marR="9525" marT="9525" marB="0" anchor="ctr">
                    <a:solidFill>
                      <a:schemeClr val="accent2"/>
                    </a:solidFill>
                  </a:tcPr>
                </a:tc>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19</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10000"/>
                  </a:ext>
                </a:extLst>
              </a:tr>
              <a:tr h="393398">
                <a:tc>
                  <a:txBody>
                    <a:bodyPr/>
                    <a:lstStyle/>
                    <a:p>
                      <a:pPr marL="0" algn="l" defTabSz="457200" rtl="0" eaLnBrk="1" fontAlgn="b" latinLnBrk="0" hangingPunct="1">
                        <a:lnSpc>
                          <a:spcPct val="150000"/>
                        </a:lnSpc>
                      </a:pPr>
                      <a:r>
                        <a:rPr lang="en-US" sz="1300" u="none" strike="noStrike" kern="1200" dirty="0">
                          <a:latin typeface="Arial" panose="020B0604020202020204" pitchFamily="34" charset="0"/>
                          <a:cs typeface="Arial" panose="020B0604020202020204" pitchFamily="34" charset="0"/>
                        </a:rPr>
                        <a:t>    Regulations – 2 wheelers</a:t>
                      </a:r>
                      <a:endParaRPr lang="en-US" sz="1300" b="1" i="0" u="none" strike="noStrike" kern="1200" dirty="0">
                        <a:solidFill>
                          <a:srgbClr val="404040"/>
                        </a:solidFill>
                        <a:latin typeface="Arial" panose="020B0604020202020204" pitchFamily="34" charset="0"/>
                        <a:ea typeface="+mn-ea"/>
                        <a:cs typeface="Arial" panose="020B0604020202020204" pitchFamily="34" charset="0"/>
                      </a:endParaRPr>
                    </a:p>
                  </a:txBody>
                  <a:tcPr marL="0" marR="0" marT="0" marB="0"/>
                </a:tc>
                <a:tc>
                  <a:txBody>
                    <a:bodyPr/>
                    <a:lstStyle/>
                    <a:p>
                      <a:pPr marL="0" algn="ctr" defTabSz="457200" rtl="0" eaLnBrk="1" fontAlgn="ctr" latinLnBrk="0" hangingPunct="1"/>
                      <a:r>
                        <a:rPr lang="en-US" sz="1300" u="none" strike="noStrike" kern="1200" dirty="0">
                          <a:solidFill>
                            <a:schemeClr val="bg1"/>
                          </a:solidFill>
                          <a:effectLst/>
                          <a:latin typeface="Arial" panose="020B0604020202020204" pitchFamily="34" charset="0"/>
                          <a:cs typeface="Arial" panose="020B0604020202020204" pitchFamily="34" charset="0"/>
                        </a:rPr>
                        <a:t>NF</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10001"/>
                  </a:ext>
                </a:extLst>
              </a:tr>
            </a:tbl>
          </a:graphicData>
        </a:graphic>
      </p:graphicFrame>
      <p:graphicFrame>
        <p:nvGraphicFramePr>
          <p:cNvPr id="8" name="Table 7">
            <a:extLst>
              <a:ext uri="{FF2B5EF4-FFF2-40B4-BE49-F238E27FC236}">
                <a16:creationId xmlns:a16="http://schemas.microsoft.com/office/drawing/2014/main" id="{0FA70A4E-C312-444E-A3C2-B46E0A80F6CA}"/>
              </a:ext>
            </a:extLst>
          </p:cNvPr>
          <p:cNvGraphicFramePr>
            <a:graphicFrameLocks noGrp="1"/>
          </p:cNvGraphicFramePr>
          <p:nvPr>
            <p:extLst>
              <p:ext uri="{D42A27DB-BD31-4B8C-83A1-F6EECF244321}">
                <p14:modId xmlns:p14="http://schemas.microsoft.com/office/powerpoint/2010/main" val="3236144150"/>
              </p:ext>
            </p:extLst>
          </p:nvPr>
        </p:nvGraphicFramePr>
        <p:xfrm>
          <a:off x="5606955" y="1059434"/>
          <a:ext cx="1289813" cy="822564"/>
        </p:xfrm>
        <a:graphic>
          <a:graphicData uri="http://schemas.openxmlformats.org/drawingml/2006/table">
            <a:tbl>
              <a:tblPr firstRow="1" bandRow="1">
                <a:tableStyleId>{9D7B26C5-4107-4FEC-AEDC-1716B250A1EF}</a:tableStyleId>
              </a:tblPr>
              <a:tblGrid>
                <a:gridCol w="1289813">
                  <a:extLst>
                    <a:ext uri="{9D8B030D-6E8A-4147-A177-3AD203B41FA5}">
                      <a16:colId xmlns:a16="http://schemas.microsoft.com/office/drawing/2014/main" val="2066203713"/>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0</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1503440779"/>
                  </a:ext>
                </a:extLst>
              </a:tr>
              <a:tr h="429166">
                <a:tc>
                  <a:txBody>
                    <a:bodyPr/>
                    <a:lstStyle/>
                    <a:p>
                      <a:pPr algn="ctr" rtl="0" fontAlgn="t"/>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590881403"/>
                  </a:ext>
                </a:extLst>
              </a:tr>
            </a:tbl>
          </a:graphicData>
        </a:graphic>
      </p:graphicFrame>
      <p:graphicFrame>
        <p:nvGraphicFramePr>
          <p:cNvPr id="9" name="Table 8">
            <a:extLst>
              <a:ext uri="{FF2B5EF4-FFF2-40B4-BE49-F238E27FC236}">
                <a16:creationId xmlns:a16="http://schemas.microsoft.com/office/drawing/2014/main" id="{76A822D3-585D-4D23-955E-6DF6A726211E}"/>
              </a:ext>
            </a:extLst>
          </p:cNvPr>
          <p:cNvGraphicFramePr>
            <a:graphicFrameLocks noGrp="1"/>
          </p:cNvGraphicFramePr>
          <p:nvPr>
            <p:extLst>
              <p:ext uri="{D42A27DB-BD31-4B8C-83A1-F6EECF244321}">
                <p14:modId xmlns:p14="http://schemas.microsoft.com/office/powerpoint/2010/main" val="2911507785"/>
              </p:ext>
            </p:extLst>
          </p:nvPr>
        </p:nvGraphicFramePr>
        <p:xfrm>
          <a:off x="5591880" y="1954099"/>
          <a:ext cx="1304886" cy="1180194"/>
        </p:xfrm>
        <a:graphic>
          <a:graphicData uri="http://schemas.openxmlformats.org/drawingml/2006/table">
            <a:tbl>
              <a:tblPr firstRow="1" bandRow="1">
                <a:tableStyleId>{9D7B26C5-4107-4FEC-AEDC-1716B250A1EF}</a:tableStyleId>
              </a:tblPr>
              <a:tblGrid>
                <a:gridCol w="1304886">
                  <a:extLst>
                    <a:ext uri="{9D8B030D-6E8A-4147-A177-3AD203B41FA5}">
                      <a16:colId xmlns:a16="http://schemas.microsoft.com/office/drawing/2014/main" val="2098157944"/>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0</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2655500846"/>
                  </a:ext>
                </a:extLst>
              </a:tr>
              <a:tr h="393398">
                <a:tc>
                  <a:txBody>
                    <a:bodyPr/>
                    <a:lstStyle/>
                    <a:p>
                      <a:pPr algn="ctr" rtl="0" fontAlgn="t"/>
                      <a:r>
                        <a:rPr lang="en-US" sz="1300" u="none" strike="noStrike" dirty="0">
                          <a:effectLst/>
                          <a:latin typeface="Arial" panose="020B0604020202020204" pitchFamily="34" charset="0"/>
                          <a:cs typeface="Arial" panose="020B0604020202020204" pitchFamily="34" charset="0"/>
                        </a:rPr>
                        <a:t>N</a:t>
                      </a:r>
                      <a:endParaRPr lang="en-US" sz="13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solidFill>
                      <a:srgbClr val="FFC000"/>
                    </a:solidFill>
                  </a:tcPr>
                </a:tc>
                <a:extLst>
                  <a:ext uri="{0D108BD9-81ED-4DB2-BD59-A6C34878D82A}">
                    <a16:rowId xmlns:a16="http://schemas.microsoft.com/office/drawing/2014/main" val="4283901365"/>
                  </a:ext>
                </a:extLst>
              </a:tr>
              <a:tr h="393398">
                <a:tc>
                  <a:txBody>
                    <a:bodyPr/>
                    <a:lstStyle/>
                    <a:p>
                      <a:pPr marL="0" algn="ctr" defTabSz="1097280" rtl="0" eaLnBrk="1" fontAlgn="t"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solidFill>
                      <a:srgbClr val="FFC000"/>
                    </a:solidFill>
                  </a:tcPr>
                </a:tc>
                <a:extLst>
                  <a:ext uri="{0D108BD9-81ED-4DB2-BD59-A6C34878D82A}">
                    <a16:rowId xmlns:a16="http://schemas.microsoft.com/office/drawing/2014/main" val="1520048342"/>
                  </a:ext>
                </a:extLst>
              </a:tr>
            </a:tbl>
          </a:graphicData>
        </a:graphic>
      </p:graphicFrame>
      <p:graphicFrame>
        <p:nvGraphicFramePr>
          <p:cNvPr id="10" name="Table 9">
            <a:extLst>
              <a:ext uri="{FF2B5EF4-FFF2-40B4-BE49-F238E27FC236}">
                <a16:creationId xmlns:a16="http://schemas.microsoft.com/office/drawing/2014/main" id="{3997271C-B01A-4BD8-A67B-C97367694AC4}"/>
              </a:ext>
            </a:extLst>
          </p:cNvPr>
          <p:cNvGraphicFramePr>
            <a:graphicFrameLocks noGrp="1"/>
          </p:cNvGraphicFramePr>
          <p:nvPr>
            <p:extLst>
              <p:ext uri="{D42A27DB-BD31-4B8C-83A1-F6EECF244321}">
                <p14:modId xmlns:p14="http://schemas.microsoft.com/office/powerpoint/2010/main" val="2662046867"/>
              </p:ext>
            </p:extLst>
          </p:nvPr>
        </p:nvGraphicFramePr>
        <p:xfrm>
          <a:off x="5606954" y="4479446"/>
          <a:ext cx="1308235" cy="752565"/>
        </p:xfrm>
        <a:graphic>
          <a:graphicData uri="http://schemas.openxmlformats.org/drawingml/2006/table">
            <a:tbl>
              <a:tblPr firstRow="1" bandRow="1">
                <a:tableStyleId>{9D7B26C5-4107-4FEC-AEDC-1716B250A1EF}</a:tableStyleId>
              </a:tblPr>
              <a:tblGrid>
                <a:gridCol w="1308235">
                  <a:extLst>
                    <a:ext uri="{9D8B030D-6E8A-4147-A177-3AD203B41FA5}">
                      <a16:colId xmlns:a16="http://schemas.microsoft.com/office/drawing/2014/main" val="3468808665"/>
                    </a:ext>
                  </a:extLst>
                </a:gridCol>
              </a:tblGrid>
              <a:tr h="356511">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0</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2163484585"/>
                  </a:ext>
                </a:extLst>
              </a:tr>
              <a:tr h="396054">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kumimoji="0" lang="en-US" sz="1300" u="none" strike="noStrike" kern="1200" cap="none" spc="0" normalizeH="0" baseline="0" noProof="0" dirty="0">
                          <a:ln>
                            <a:noFill/>
                          </a:ln>
                          <a:effectLst/>
                          <a:uLnTx/>
                          <a:uFillTx/>
                          <a:latin typeface="Arial" panose="020B0604020202020204" pitchFamily="34" charset="0"/>
                          <a:cs typeface="Arial" panose="020B0604020202020204" pitchFamily="34" charset="0"/>
                        </a:rPr>
                        <a:t>N</a:t>
                      </a:r>
                      <a:endParaRPr kumimoji="0" lang="en-US" sz="13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txBody>
                  <a:tcPr marL="9525" marR="9525" marT="9525" marB="0" anchor="ctr">
                    <a:solidFill>
                      <a:srgbClr val="FFC000"/>
                    </a:solidFill>
                  </a:tcPr>
                </a:tc>
                <a:extLst>
                  <a:ext uri="{0D108BD9-81ED-4DB2-BD59-A6C34878D82A}">
                    <a16:rowId xmlns:a16="http://schemas.microsoft.com/office/drawing/2014/main" val="754503825"/>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632113502"/>
              </p:ext>
            </p:extLst>
          </p:nvPr>
        </p:nvGraphicFramePr>
        <p:xfrm>
          <a:off x="929531" y="5422517"/>
          <a:ext cx="4615770" cy="393398"/>
        </p:xfrm>
        <a:graphic>
          <a:graphicData uri="http://schemas.openxmlformats.org/drawingml/2006/table">
            <a:tbl>
              <a:tblPr firstRow="1" bandRow="1">
                <a:tableStyleId>{9D7B26C5-4107-4FEC-AEDC-1716B250A1EF}</a:tableStyleId>
              </a:tblPr>
              <a:tblGrid>
                <a:gridCol w="3281156">
                  <a:extLst>
                    <a:ext uri="{9D8B030D-6E8A-4147-A177-3AD203B41FA5}">
                      <a16:colId xmlns:a16="http://schemas.microsoft.com/office/drawing/2014/main" val="20000"/>
                    </a:ext>
                  </a:extLst>
                </a:gridCol>
                <a:gridCol w="1334614">
                  <a:extLst>
                    <a:ext uri="{9D8B030D-6E8A-4147-A177-3AD203B41FA5}">
                      <a16:colId xmlns:a16="http://schemas.microsoft.com/office/drawing/2014/main" val="20003"/>
                    </a:ext>
                  </a:extLst>
                </a:gridCol>
              </a:tblGrid>
              <a:tr h="393398">
                <a:tc>
                  <a:txBody>
                    <a:bodyPr/>
                    <a:lstStyle/>
                    <a:p>
                      <a:pPr algn="l" rtl="0" fontAlgn="b"/>
                      <a:r>
                        <a:rPr lang="en-US" sz="1500" u="none" strike="noStrike" dirty="0">
                          <a:latin typeface="Arial" panose="020B0604020202020204" pitchFamily="34" charset="0"/>
                          <a:cs typeface="Arial" panose="020B0604020202020204" pitchFamily="34" charset="0"/>
                        </a:rPr>
                        <a:t>Impact</a:t>
                      </a:r>
                      <a:r>
                        <a:rPr lang="en-US" sz="1500" u="none" strike="noStrike" baseline="0" dirty="0">
                          <a:latin typeface="Arial" panose="020B0604020202020204" pitchFamily="34" charset="0"/>
                          <a:cs typeface="Arial" panose="020B0604020202020204" pitchFamily="34" charset="0"/>
                        </a:rPr>
                        <a:t> on Overall Sales Growth</a:t>
                      </a:r>
                      <a:endParaRPr lang="en-US" sz="1500" b="1" i="0" u="none" strike="noStrike" dirty="0">
                        <a:solidFill>
                          <a:schemeClr val="tx1"/>
                        </a:solidFill>
                        <a:latin typeface="Arial" panose="020B0604020202020204" pitchFamily="34" charset="0"/>
                        <a:cs typeface="Arial" panose="020B0604020202020204" pitchFamily="34" charset="0"/>
                      </a:endParaRPr>
                    </a:p>
                  </a:txBody>
                  <a:tcPr marL="171450" marR="9525" marT="9525" marB="0" anchor="ctr">
                    <a:noFill/>
                  </a:tcPr>
                </a:tc>
                <a:tc>
                  <a:txBody>
                    <a:bodyPr/>
                    <a:lstStyle/>
                    <a:p>
                      <a:pPr marL="0" marR="0" algn="ctr" defTabSz="457200" rtl="0" eaLnBrk="1" latinLnBrk="0" hangingPunct="1">
                        <a:spcBef>
                          <a:spcPts val="0"/>
                        </a:spcBef>
                        <a:spcAft>
                          <a:spcPts val="0"/>
                        </a:spcAft>
                      </a:pPr>
                      <a:r>
                        <a:rPr lang="en-US" sz="1500" u="none" strike="noStrike" kern="1200" dirty="0">
                          <a:latin typeface="Arial" panose="020B0604020202020204" pitchFamily="34" charset="0"/>
                          <a:cs typeface="Arial" panose="020B0604020202020204" pitchFamily="34" charset="0"/>
                        </a:rPr>
                        <a:t>  N</a:t>
                      </a:r>
                      <a:endParaRPr lang="en-US" sz="1500" b="1" u="none" strike="noStrike" kern="1200" dirty="0">
                        <a:solidFill>
                          <a:schemeClr val="tx1"/>
                        </a:solidFill>
                        <a:latin typeface="Arial" panose="020B0604020202020204" pitchFamily="34" charset="0"/>
                        <a:ea typeface="+mn-ea"/>
                        <a:cs typeface="Arial" panose="020B0604020202020204" pitchFamily="34" charset="0"/>
                      </a:endParaRPr>
                    </a:p>
                  </a:txBody>
                  <a:tcPr marL="9525" marR="171450" marT="9525" marB="0" anchor="ctr">
                    <a:solidFill>
                      <a:srgbClr val="FFC000"/>
                    </a:solidFill>
                  </a:tcPr>
                </a:tc>
                <a:extLst>
                  <a:ext uri="{0D108BD9-81ED-4DB2-BD59-A6C34878D82A}">
                    <a16:rowId xmlns:a16="http://schemas.microsoft.com/office/drawing/2014/main" val="10000"/>
                  </a:ext>
                </a:extLst>
              </a:tr>
            </a:tbl>
          </a:graphicData>
        </a:graphic>
      </p:graphicFrame>
      <p:graphicFrame>
        <p:nvGraphicFramePr>
          <p:cNvPr id="12" name="Table 11">
            <a:extLst>
              <a:ext uri="{FF2B5EF4-FFF2-40B4-BE49-F238E27FC236}">
                <a16:creationId xmlns:a16="http://schemas.microsoft.com/office/drawing/2014/main" id="{3997271C-B01A-4BD8-A67B-C97367694AC4}"/>
              </a:ext>
            </a:extLst>
          </p:cNvPr>
          <p:cNvGraphicFramePr>
            <a:graphicFrameLocks noGrp="1"/>
          </p:cNvGraphicFramePr>
          <p:nvPr>
            <p:extLst>
              <p:ext uri="{D42A27DB-BD31-4B8C-83A1-F6EECF244321}">
                <p14:modId xmlns:p14="http://schemas.microsoft.com/office/powerpoint/2010/main" val="2925032305"/>
              </p:ext>
            </p:extLst>
          </p:nvPr>
        </p:nvGraphicFramePr>
        <p:xfrm>
          <a:off x="5588534" y="5422532"/>
          <a:ext cx="1308235" cy="393382"/>
        </p:xfrm>
        <a:graphic>
          <a:graphicData uri="http://schemas.openxmlformats.org/drawingml/2006/table">
            <a:tbl>
              <a:tblPr firstRow="1" bandRow="1">
                <a:tableStyleId>{9D7B26C5-4107-4FEC-AEDC-1716B250A1EF}</a:tableStyleId>
              </a:tblPr>
              <a:tblGrid>
                <a:gridCol w="1308235">
                  <a:extLst>
                    <a:ext uri="{9D8B030D-6E8A-4147-A177-3AD203B41FA5}">
                      <a16:colId xmlns:a16="http://schemas.microsoft.com/office/drawing/2014/main" val="3468808665"/>
                    </a:ext>
                  </a:extLst>
                </a:gridCol>
              </a:tblGrid>
              <a:tr h="393382">
                <a:tc>
                  <a:txBody>
                    <a:bodyPr/>
                    <a:lstStyle/>
                    <a:p>
                      <a:pPr marL="0" algn="ctr" defTabSz="457200" rtl="0" eaLnBrk="1" fontAlgn="ctr" latinLnBrk="0" hangingPunct="1"/>
                      <a:r>
                        <a:rPr lang="en-US" sz="1500" u="none" strike="noStrike" kern="1200" dirty="0">
                          <a:solidFill>
                            <a:schemeClr val="bg1"/>
                          </a:solidFill>
                          <a:effectLst/>
                          <a:latin typeface="Arial" panose="020B0604020202020204" pitchFamily="34" charset="0"/>
                          <a:cs typeface="Arial" panose="020B0604020202020204" pitchFamily="34" charset="0"/>
                        </a:rPr>
                        <a:t>NF</a:t>
                      </a:r>
                      <a:endParaRPr lang="en-US" sz="15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1479979544"/>
                  </a:ext>
                </a:extLst>
              </a:tr>
            </a:tbl>
          </a:graphicData>
        </a:graphic>
      </p:graphicFrame>
      <p:graphicFrame>
        <p:nvGraphicFramePr>
          <p:cNvPr id="13" name="Table 12">
            <a:extLst>
              <a:ext uri="{FF2B5EF4-FFF2-40B4-BE49-F238E27FC236}">
                <a16:creationId xmlns:a16="http://schemas.microsoft.com/office/drawing/2014/main" id="{0FA70A4E-C312-444E-A3C2-B46E0A80F6CA}"/>
              </a:ext>
            </a:extLst>
          </p:cNvPr>
          <p:cNvGraphicFramePr>
            <a:graphicFrameLocks noGrp="1"/>
          </p:cNvGraphicFramePr>
          <p:nvPr>
            <p:extLst>
              <p:ext uri="{D42A27DB-BD31-4B8C-83A1-F6EECF244321}">
                <p14:modId xmlns:p14="http://schemas.microsoft.com/office/powerpoint/2010/main" val="3589728050"/>
              </p:ext>
            </p:extLst>
          </p:nvPr>
        </p:nvGraphicFramePr>
        <p:xfrm>
          <a:off x="6970825" y="1059434"/>
          <a:ext cx="1289813" cy="822564"/>
        </p:xfrm>
        <a:graphic>
          <a:graphicData uri="http://schemas.openxmlformats.org/drawingml/2006/table">
            <a:tbl>
              <a:tblPr firstRow="1" bandRow="1">
                <a:tableStyleId>{9D7B26C5-4107-4FEC-AEDC-1716B250A1EF}</a:tableStyleId>
              </a:tblPr>
              <a:tblGrid>
                <a:gridCol w="1289813">
                  <a:extLst>
                    <a:ext uri="{9D8B030D-6E8A-4147-A177-3AD203B41FA5}">
                      <a16:colId xmlns:a16="http://schemas.microsoft.com/office/drawing/2014/main" val="2066203713"/>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1503440779"/>
                  </a:ext>
                </a:extLst>
              </a:tr>
              <a:tr h="429166">
                <a:tc>
                  <a:txBody>
                    <a:bodyPr/>
                    <a:lstStyle/>
                    <a:p>
                      <a:pPr marL="0" algn="ctr" defTabSz="914363" rtl="0" eaLnBrk="1" fontAlgn="t" latinLnBrk="0" hangingPunct="1"/>
                      <a:r>
                        <a:rPr lang="en-US" sz="1300" u="none" strike="noStrike" kern="1200" dirty="0">
                          <a:solidFill>
                            <a:schemeClr val="bg1"/>
                          </a:solidFill>
                          <a:effectLst/>
                          <a:latin typeface="Arial" panose="020B0604020202020204" pitchFamily="34" charset="0"/>
                          <a:ea typeface="+mn-ea"/>
                          <a:cs typeface="Arial" panose="020B0604020202020204" pitchFamily="34" charset="0"/>
                        </a:rPr>
                        <a:t>NF</a:t>
                      </a:r>
                    </a:p>
                  </a:txBody>
                  <a:tcPr marL="9525" marR="9525" marT="9525" marB="0" anchor="ctr">
                    <a:solidFill>
                      <a:srgbClr val="FF0000"/>
                    </a:solidFill>
                  </a:tcPr>
                </a:tc>
                <a:extLst>
                  <a:ext uri="{0D108BD9-81ED-4DB2-BD59-A6C34878D82A}">
                    <a16:rowId xmlns:a16="http://schemas.microsoft.com/office/drawing/2014/main" val="590881403"/>
                  </a:ext>
                </a:extLst>
              </a:tr>
            </a:tbl>
          </a:graphicData>
        </a:graphic>
      </p:graphicFrame>
      <p:graphicFrame>
        <p:nvGraphicFramePr>
          <p:cNvPr id="14" name="Table 13">
            <a:extLst>
              <a:ext uri="{FF2B5EF4-FFF2-40B4-BE49-F238E27FC236}">
                <a16:creationId xmlns:a16="http://schemas.microsoft.com/office/drawing/2014/main" id="{76A822D3-585D-4D23-955E-6DF6A726211E}"/>
              </a:ext>
            </a:extLst>
          </p:cNvPr>
          <p:cNvGraphicFramePr>
            <a:graphicFrameLocks noGrp="1"/>
          </p:cNvGraphicFramePr>
          <p:nvPr>
            <p:extLst>
              <p:ext uri="{D42A27DB-BD31-4B8C-83A1-F6EECF244321}">
                <p14:modId xmlns:p14="http://schemas.microsoft.com/office/powerpoint/2010/main" val="3776882001"/>
              </p:ext>
            </p:extLst>
          </p:nvPr>
        </p:nvGraphicFramePr>
        <p:xfrm>
          <a:off x="6955751" y="1957228"/>
          <a:ext cx="1304886" cy="1180194"/>
        </p:xfrm>
        <a:graphic>
          <a:graphicData uri="http://schemas.openxmlformats.org/drawingml/2006/table">
            <a:tbl>
              <a:tblPr firstRow="1" bandRow="1">
                <a:tableStyleId>{9D7B26C5-4107-4FEC-AEDC-1716B250A1EF}</a:tableStyleId>
              </a:tblPr>
              <a:tblGrid>
                <a:gridCol w="1304886">
                  <a:extLst>
                    <a:ext uri="{9D8B030D-6E8A-4147-A177-3AD203B41FA5}">
                      <a16:colId xmlns:a16="http://schemas.microsoft.com/office/drawing/2014/main" val="2098157944"/>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2655500846"/>
                  </a:ext>
                </a:extLst>
              </a:tr>
              <a:tr h="393398">
                <a:tc>
                  <a:txBody>
                    <a:bodyPr/>
                    <a:lstStyle/>
                    <a:p>
                      <a:pPr algn="ctr" rtl="0" fontAlgn="t"/>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4283901365"/>
                  </a:ext>
                </a:extLst>
              </a:tr>
              <a:tr h="393398">
                <a:tc>
                  <a:txBody>
                    <a:bodyPr/>
                    <a:lstStyle/>
                    <a:p>
                      <a:pPr marL="0" algn="ctr" defTabSz="1097280" rtl="0" eaLnBrk="1" fontAlgn="t" latinLnBrk="0" hangingPunct="1"/>
                      <a:r>
                        <a:rPr lang="en-US" sz="1300" b="0" i="0" u="none" strike="noStrike" kern="1200" dirty="0">
                          <a:solidFill>
                            <a:schemeClr val="bg1"/>
                          </a:solidFill>
                          <a:effectLst/>
                          <a:latin typeface="Arial" panose="020B0604020202020204" pitchFamily="34" charset="0"/>
                          <a:ea typeface="+mn-ea"/>
                          <a:cs typeface="Arial" panose="020B0604020202020204" pitchFamily="34" charset="0"/>
                        </a:rPr>
                        <a:t>F</a:t>
                      </a:r>
                    </a:p>
                  </a:txBody>
                  <a:tcPr marL="9525" marR="9525" marT="9525" marB="0" anchor="ctr">
                    <a:solidFill>
                      <a:srgbClr val="00B050"/>
                    </a:solidFill>
                  </a:tcPr>
                </a:tc>
                <a:extLst>
                  <a:ext uri="{0D108BD9-81ED-4DB2-BD59-A6C34878D82A}">
                    <a16:rowId xmlns:a16="http://schemas.microsoft.com/office/drawing/2014/main" val="2931027550"/>
                  </a:ext>
                </a:extLst>
              </a:tr>
            </a:tbl>
          </a:graphicData>
        </a:graphic>
      </p:graphicFrame>
      <p:graphicFrame>
        <p:nvGraphicFramePr>
          <p:cNvPr id="15" name="Table 14">
            <a:extLst>
              <a:ext uri="{FF2B5EF4-FFF2-40B4-BE49-F238E27FC236}">
                <a16:creationId xmlns:a16="http://schemas.microsoft.com/office/drawing/2014/main" id="{3997271C-B01A-4BD8-A67B-C97367694AC4}"/>
              </a:ext>
            </a:extLst>
          </p:cNvPr>
          <p:cNvGraphicFramePr>
            <a:graphicFrameLocks noGrp="1"/>
          </p:cNvGraphicFramePr>
          <p:nvPr>
            <p:extLst>
              <p:ext uri="{D42A27DB-BD31-4B8C-83A1-F6EECF244321}">
                <p14:modId xmlns:p14="http://schemas.microsoft.com/office/powerpoint/2010/main" val="3208815621"/>
              </p:ext>
            </p:extLst>
          </p:nvPr>
        </p:nvGraphicFramePr>
        <p:xfrm>
          <a:off x="6968614" y="4472666"/>
          <a:ext cx="1308235" cy="752565"/>
        </p:xfrm>
        <a:graphic>
          <a:graphicData uri="http://schemas.openxmlformats.org/drawingml/2006/table">
            <a:tbl>
              <a:tblPr firstRow="1" bandRow="1">
                <a:tableStyleId>{9D7B26C5-4107-4FEC-AEDC-1716B250A1EF}</a:tableStyleId>
              </a:tblPr>
              <a:tblGrid>
                <a:gridCol w="1308235">
                  <a:extLst>
                    <a:ext uri="{9D8B030D-6E8A-4147-A177-3AD203B41FA5}">
                      <a16:colId xmlns:a16="http://schemas.microsoft.com/office/drawing/2014/main" val="3468808665"/>
                    </a:ext>
                  </a:extLst>
                </a:gridCol>
              </a:tblGrid>
              <a:tr h="356511">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2163484585"/>
                  </a:ext>
                </a:extLst>
              </a:tr>
              <a:tr h="396054">
                <a:tc>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kumimoji="0" lang="en-US" sz="130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NF</a:t>
                      </a:r>
                      <a:endParaRPr kumimoji="0" lang="en-US" sz="13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754503825"/>
                  </a:ext>
                </a:extLst>
              </a:tr>
            </a:tbl>
          </a:graphicData>
        </a:graphic>
      </p:graphicFrame>
      <p:graphicFrame>
        <p:nvGraphicFramePr>
          <p:cNvPr id="16" name="Table 15">
            <a:extLst>
              <a:ext uri="{FF2B5EF4-FFF2-40B4-BE49-F238E27FC236}">
                <a16:creationId xmlns:a16="http://schemas.microsoft.com/office/drawing/2014/main" id="{3997271C-B01A-4BD8-A67B-C97367694AC4}"/>
              </a:ext>
            </a:extLst>
          </p:cNvPr>
          <p:cNvGraphicFramePr>
            <a:graphicFrameLocks noGrp="1"/>
          </p:cNvGraphicFramePr>
          <p:nvPr>
            <p:extLst>
              <p:ext uri="{D42A27DB-BD31-4B8C-83A1-F6EECF244321}">
                <p14:modId xmlns:p14="http://schemas.microsoft.com/office/powerpoint/2010/main" val="4215415611"/>
              </p:ext>
            </p:extLst>
          </p:nvPr>
        </p:nvGraphicFramePr>
        <p:xfrm>
          <a:off x="6987035" y="5422532"/>
          <a:ext cx="1308235" cy="393382"/>
        </p:xfrm>
        <a:graphic>
          <a:graphicData uri="http://schemas.openxmlformats.org/drawingml/2006/table">
            <a:tbl>
              <a:tblPr firstRow="1" bandRow="1">
                <a:tableStyleId>{9D7B26C5-4107-4FEC-AEDC-1716B250A1EF}</a:tableStyleId>
              </a:tblPr>
              <a:tblGrid>
                <a:gridCol w="1308235">
                  <a:extLst>
                    <a:ext uri="{9D8B030D-6E8A-4147-A177-3AD203B41FA5}">
                      <a16:colId xmlns:a16="http://schemas.microsoft.com/office/drawing/2014/main" val="3468808665"/>
                    </a:ext>
                  </a:extLst>
                </a:gridCol>
              </a:tblGrid>
              <a:tr h="393382">
                <a:tc>
                  <a:txBody>
                    <a:bodyPr/>
                    <a:lstStyle/>
                    <a:p>
                      <a:pPr marL="0" algn="ctr" defTabSz="457200" rtl="0" eaLnBrk="1" fontAlgn="ctr" latinLnBrk="0" hangingPunct="1"/>
                      <a:r>
                        <a:rPr lang="en-US" sz="1500" u="none" strike="noStrike" kern="1200" dirty="0">
                          <a:solidFill>
                            <a:schemeClr val="bg1"/>
                          </a:solidFill>
                          <a:effectLst/>
                          <a:latin typeface="Arial" panose="020B0604020202020204" pitchFamily="34" charset="0"/>
                          <a:cs typeface="Arial" panose="020B0604020202020204" pitchFamily="34" charset="0"/>
                        </a:rPr>
                        <a:t>NF</a:t>
                      </a:r>
                      <a:endParaRPr lang="en-US" sz="15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1479979544"/>
                  </a:ext>
                </a:extLst>
              </a:tr>
            </a:tbl>
          </a:graphicData>
        </a:graphic>
      </p:graphicFrame>
      <p:sp>
        <p:nvSpPr>
          <p:cNvPr id="17" name="TextBox 16"/>
          <p:cNvSpPr txBox="1">
            <a:spLocks noChangeArrowheads="1"/>
          </p:cNvSpPr>
          <p:nvPr/>
        </p:nvSpPr>
        <p:spPr bwMode="auto">
          <a:xfrm>
            <a:off x="951075" y="5950172"/>
            <a:ext cx="41148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US" altLang="en-US" sz="1000" b="0" i="1" u="none" strike="noStrike" kern="1200" cap="none" spc="0" normalizeH="0" baseline="0" noProof="0" dirty="0">
                <a:ln>
                  <a:noFill/>
                </a:ln>
                <a:solidFill>
                  <a:srgbClr val="282828"/>
                </a:solidFill>
                <a:effectLst/>
                <a:uLnTx/>
                <a:uFillTx/>
                <a:latin typeface="Arial" pitchFamily="34" charset="0"/>
                <a:ea typeface="+mn-ea"/>
                <a:cs typeface="Arial" pitchFamily="34" charset="0"/>
              </a:rPr>
              <a:t>NF: Not Favorable, F: Favorable; N: Neutral</a:t>
            </a:r>
          </a:p>
        </p:txBody>
      </p:sp>
      <p:sp>
        <p:nvSpPr>
          <p:cNvPr id="19" name="TextBox 18"/>
          <p:cNvSpPr txBox="1">
            <a:spLocks noChangeArrowheads="1"/>
          </p:cNvSpPr>
          <p:nvPr/>
        </p:nvSpPr>
        <p:spPr bwMode="auto">
          <a:xfrm>
            <a:off x="925105" y="6150363"/>
            <a:ext cx="41148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US" altLang="en-US" sz="1000" b="0" i="1" u="none" strike="noStrike" kern="1200" cap="none" spc="0" normalizeH="0" baseline="0" noProof="0" dirty="0">
                <a:ln>
                  <a:noFill/>
                </a:ln>
                <a:solidFill>
                  <a:srgbClr val="282828"/>
                </a:solidFill>
                <a:effectLst/>
                <a:uLnTx/>
                <a:uFillTx/>
                <a:latin typeface="Arial" pitchFamily="34" charset="0"/>
                <a:ea typeface="+mn-ea"/>
                <a:cs typeface="Arial" pitchFamily="34" charset="0"/>
              </a:rPr>
              <a:t>E: Estimates P: Projected</a:t>
            </a:r>
          </a:p>
        </p:txBody>
      </p:sp>
      <p:graphicFrame>
        <p:nvGraphicFramePr>
          <p:cNvPr id="21" name="Table 20"/>
          <p:cNvGraphicFramePr>
            <a:graphicFrameLocks noGrp="1"/>
          </p:cNvGraphicFramePr>
          <p:nvPr>
            <p:extLst>
              <p:ext uri="{D42A27DB-BD31-4B8C-83A1-F6EECF244321}">
                <p14:modId xmlns:p14="http://schemas.microsoft.com/office/powerpoint/2010/main" val="4101515975"/>
              </p:ext>
            </p:extLst>
          </p:nvPr>
        </p:nvGraphicFramePr>
        <p:xfrm>
          <a:off x="969417" y="3247999"/>
          <a:ext cx="5923164" cy="1180194"/>
        </p:xfrm>
        <a:graphic>
          <a:graphicData uri="http://schemas.openxmlformats.org/drawingml/2006/table">
            <a:tbl>
              <a:tblPr firstRow="1" bandRow="1">
                <a:tableStyleId>{9D7B26C5-4107-4FEC-AEDC-1716B250A1EF}</a:tableStyleId>
              </a:tblPr>
              <a:tblGrid>
                <a:gridCol w="5923164">
                  <a:extLst>
                    <a:ext uri="{9D8B030D-6E8A-4147-A177-3AD203B41FA5}">
                      <a16:colId xmlns:a16="http://schemas.microsoft.com/office/drawing/2014/main" val="20000"/>
                    </a:ext>
                  </a:extLst>
                </a:gridCol>
              </a:tblGrid>
              <a:tr h="393398">
                <a:tc>
                  <a:txBody>
                    <a:bodyPr/>
                    <a:lstStyle/>
                    <a:p>
                      <a:pPr algn="l" rtl="0" fontAlgn="b"/>
                      <a:r>
                        <a:rPr lang="en-US" sz="1300" u="none" strike="noStrike" dirty="0">
                          <a:solidFill>
                            <a:schemeClr val="bg1"/>
                          </a:solidFill>
                          <a:latin typeface="Arial" panose="020B0604020202020204" pitchFamily="34" charset="0"/>
                          <a:cs typeface="Arial" panose="020B0604020202020204" pitchFamily="34" charset="0"/>
                        </a:rPr>
                        <a:t>                         Variables</a:t>
                      </a:r>
                      <a:endParaRPr lang="en-US" sz="1300" b="1" i="0" u="none" strike="noStrike" dirty="0">
                        <a:solidFill>
                          <a:schemeClr val="bg1"/>
                        </a:solidFill>
                        <a:latin typeface="Arial" panose="020B0604020202020204" pitchFamily="34" charset="0"/>
                        <a:cs typeface="Arial" panose="020B0604020202020204" pitchFamily="34" charset="0"/>
                      </a:endParaRPr>
                    </a:p>
                  </a:txBody>
                  <a:tcPr marL="171450" marR="9525" marT="9525" marB="0" anchor="ctr">
                    <a:solidFill>
                      <a:schemeClr val="accent2"/>
                    </a:solidFill>
                  </a:tcPr>
                </a:tc>
                <a:extLst>
                  <a:ext uri="{0D108BD9-81ED-4DB2-BD59-A6C34878D82A}">
                    <a16:rowId xmlns:a16="http://schemas.microsoft.com/office/drawing/2014/main" val="10000"/>
                  </a:ext>
                </a:extLst>
              </a:tr>
              <a:tr h="393398">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            Fuel injector vehicle</a:t>
                      </a:r>
                      <a:endParaRPr lang="en-US" sz="1300" b="1" i="0" u="none" strike="noStrike" dirty="0">
                        <a:solidFill>
                          <a:srgbClr val="404040"/>
                        </a:solidFill>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1"/>
                  </a:ext>
                </a:extLst>
              </a:tr>
              <a:tr h="393398">
                <a:tc>
                  <a:txBody>
                    <a:bodyPr/>
                    <a:lstStyle/>
                    <a:p>
                      <a:pPr algn="l" fontAlgn="t">
                        <a:lnSpc>
                          <a:spcPct val="150000"/>
                        </a:lnSpc>
                      </a:pPr>
                      <a:r>
                        <a:rPr lang="en-US" sz="1300" u="none" strike="noStrike" dirty="0">
                          <a:latin typeface="Arial" panose="020B0604020202020204" pitchFamily="34" charset="0"/>
                          <a:cs typeface="Arial" panose="020B0604020202020204" pitchFamily="34" charset="0"/>
                        </a:rPr>
                        <a:t>            E- Carburetor vehicle</a:t>
                      </a:r>
                      <a:endParaRPr lang="en-US" sz="1300" b="1" i="0" u="none" strike="noStrike" dirty="0">
                        <a:solidFill>
                          <a:srgbClr val="404040"/>
                        </a:solidFill>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10003"/>
                  </a:ext>
                </a:extLst>
              </a:tr>
            </a:tbl>
          </a:graphicData>
        </a:graphic>
      </p:graphicFrame>
      <p:graphicFrame>
        <p:nvGraphicFramePr>
          <p:cNvPr id="22" name="Table 21">
            <a:extLst>
              <a:ext uri="{FF2B5EF4-FFF2-40B4-BE49-F238E27FC236}">
                <a16:creationId xmlns:a16="http://schemas.microsoft.com/office/drawing/2014/main" id="{76A822D3-585D-4D23-955E-6DF6A726211E}"/>
              </a:ext>
            </a:extLst>
          </p:cNvPr>
          <p:cNvGraphicFramePr>
            <a:graphicFrameLocks noGrp="1"/>
          </p:cNvGraphicFramePr>
          <p:nvPr>
            <p:extLst>
              <p:ext uri="{D42A27DB-BD31-4B8C-83A1-F6EECF244321}">
                <p14:modId xmlns:p14="http://schemas.microsoft.com/office/powerpoint/2010/main" val="387428875"/>
              </p:ext>
            </p:extLst>
          </p:nvPr>
        </p:nvGraphicFramePr>
        <p:xfrm>
          <a:off x="6952826" y="3231434"/>
          <a:ext cx="1304886" cy="1180194"/>
        </p:xfrm>
        <a:graphic>
          <a:graphicData uri="http://schemas.openxmlformats.org/drawingml/2006/table">
            <a:tbl>
              <a:tblPr firstRow="1" bandRow="1">
                <a:tableStyleId>{9D7B26C5-4107-4FEC-AEDC-1716B250A1EF}</a:tableStyleId>
              </a:tblPr>
              <a:tblGrid>
                <a:gridCol w="1304886">
                  <a:extLst>
                    <a:ext uri="{9D8B030D-6E8A-4147-A177-3AD203B41FA5}">
                      <a16:colId xmlns:a16="http://schemas.microsoft.com/office/drawing/2014/main" val="2098157944"/>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1</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9525" marR="171450" marT="9525" marB="0" anchor="ctr">
                    <a:solidFill>
                      <a:schemeClr val="accent2"/>
                    </a:solidFill>
                  </a:tcPr>
                </a:tc>
                <a:extLst>
                  <a:ext uri="{0D108BD9-81ED-4DB2-BD59-A6C34878D82A}">
                    <a16:rowId xmlns:a16="http://schemas.microsoft.com/office/drawing/2014/main" val="2655500846"/>
                  </a:ext>
                </a:extLst>
              </a:tr>
              <a:tr h="393398">
                <a:tc>
                  <a:txBody>
                    <a:bodyPr/>
                    <a:lstStyle/>
                    <a:p>
                      <a:pPr algn="ctr" rtl="0" fontAlgn="t"/>
                      <a:r>
                        <a:rPr lang="en-US" sz="130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solidFill>
                      <a:srgbClr val="FF0000"/>
                    </a:solidFill>
                  </a:tcPr>
                </a:tc>
                <a:extLst>
                  <a:ext uri="{0D108BD9-81ED-4DB2-BD59-A6C34878D82A}">
                    <a16:rowId xmlns:a16="http://schemas.microsoft.com/office/drawing/2014/main" val="4283901365"/>
                  </a:ext>
                </a:extLst>
              </a:tr>
              <a:tr h="393398">
                <a:tc>
                  <a:txBody>
                    <a:bodyPr/>
                    <a:lstStyle/>
                    <a:p>
                      <a:pPr marL="0" algn="ctr" defTabSz="1097280"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marB="0" anchor="ctr">
                    <a:solidFill>
                      <a:srgbClr val="FFC000"/>
                    </a:solidFill>
                  </a:tcPr>
                </a:tc>
                <a:extLst>
                  <a:ext uri="{0D108BD9-81ED-4DB2-BD59-A6C34878D82A}">
                    <a16:rowId xmlns:a16="http://schemas.microsoft.com/office/drawing/2014/main" val="2931027550"/>
                  </a:ext>
                </a:extLst>
              </a:tr>
            </a:tbl>
          </a:graphicData>
        </a:graphic>
      </p:graphicFrame>
      <p:graphicFrame>
        <p:nvGraphicFramePr>
          <p:cNvPr id="20" name="Table 19">
            <a:extLst>
              <a:ext uri="{FF2B5EF4-FFF2-40B4-BE49-F238E27FC236}">
                <a16:creationId xmlns:a16="http://schemas.microsoft.com/office/drawing/2014/main" id="{0FA70A4E-C312-444E-A3C2-B46E0A80F6CA}"/>
              </a:ext>
            </a:extLst>
          </p:cNvPr>
          <p:cNvGraphicFramePr>
            <a:graphicFrameLocks noGrp="1"/>
          </p:cNvGraphicFramePr>
          <p:nvPr>
            <p:extLst>
              <p:ext uri="{D42A27DB-BD31-4B8C-83A1-F6EECF244321}">
                <p14:modId xmlns:p14="http://schemas.microsoft.com/office/powerpoint/2010/main" val="117238549"/>
              </p:ext>
            </p:extLst>
          </p:nvPr>
        </p:nvGraphicFramePr>
        <p:xfrm>
          <a:off x="8318368" y="1059431"/>
          <a:ext cx="1074844" cy="812140"/>
        </p:xfrm>
        <a:graphic>
          <a:graphicData uri="http://schemas.openxmlformats.org/drawingml/2006/table">
            <a:tbl>
              <a:tblPr firstRow="1" bandRow="1">
                <a:tableStyleId>{9D7B26C5-4107-4FEC-AEDC-1716B250A1EF}</a:tableStyleId>
              </a:tblPr>
              <a:tblGrid>
                <a:gridCol w="1074844">
                  <a:extLst>
                    <a:ext uri="{9D8B030D-6E8A-4147-A177-3AD203B41FA5}">
                      <a16:colId xmlns:a16="http://schemas.microsoft.com/office/drawing/2014/main" val="2066203713"/>
                    </a:ext>
                  </a:extLst>
                </a:gridCol>
              </a:tblGrid>
              <a:tr h="38841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2</a:t>
                      </a:r>
                      <a:r>
                        <a:rPr lang="en-US" sz="1300" u="none" strike="noStrike" kern="1200" baseline="0" dirty="0">
                          <a:solidFill>
                            <a:schemeClr val="bg1"/>
                          </a:solidFill>
                          <a:latin typeface="Arial" panose="020B0604020202020204" pitchFamily="34" charset="0"/>
                          <a:cs typeface="Arial" panose="020B0604020202020204" pitchFamily="34" charset="0"/>
                        </a:rPr>
                        <a:t>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423727">
                <a:tc>
                  <a:txBody>
                    <a:bodyPr/>
                    <a:lstStyle/>
                    <a:p>
                      <a:pPr marL="0" algn="ctr" defTabSz="914363"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590881403"/>
                  </a:ext>
                </a:extLst>
              </a:tr>
            </a:tbl>
          </a:graphicData>
        </a:graphic>
      </p:graphicFrame>
      <p:graphicFrame>
        <p:nvGraphicFramePr>
          <p:cNvPr id="24" name="Table 23">
            <a:extLst>
              <a:ext uri="{FF2B5EF4-FFF2-40B4-BE49-F238E27FC236}">
                <a16:creationId xmlns:a16="http://schemas.microsoft.com/office/drawing/2014/main" id="{76A822D3-585D-4D23-955E-6DF6A726211E}"/>
              </a:ext>
            </a:extLst>
          </p:cNvPr>
          <p:cNvGraphicFramePr>
            <a:graphicFrameLocks noGrp="1"/>
          </p:cNvGraphicFramePr>
          <p:nvPr>
            <p:extLst>
              <p:ext uri="{D42A27DB-BD31-4B8C-83A1-F6EECF244321}">
                <p14:modId xmlns:p14="http://schemas.microsoft.com/office/powerpoint/2010/main" val="2728871797"/>
              </p:ext>
            </p:extLst>
          </p:nvPr>
        </p:nvGraphicFramePr>
        <p:xfrm>
          <a:off x="8320749" y="1954095"/>
          <a:ext cx="1087405" cy="1180194"/>
        </p:xfrm>
        <a:graphic>
          <a:graphicData uri="http://schemas.openxmlformats.org/drawingml/2006/table">
            <a:tbl>
              <a:tblPr firstRow="1" bandRow="1">
                <a:tableStyleId>{9D7B26C5-4107-4FEC-AEDC-1716B250A1EF}</a:tableStyleId>
              </a:tblPr>
              <a:tblGrid>
                <a:gridCol w="1087405">
                  <a:extLst>
                    <a:ext uri="{9D8B030D-6E8A-4147-A177-3AD203B41FA5}">
                      <a16:colId xmlns:a16="http://schemas.microsoft.com/office/drawing/2014/main" val="2098157944"/>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2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655500846"/>
                  </a:ext>
                </a:extLst>
              </a:tr>
              <a:tr h="393398">
                <a:tc>
                  <a:txBody>
                    <a:bodyPr/>
                    <a:lstStyle/>
                    <a:p>
                      <a:pPr algn="ctr" rtl="0" fontAlgn="t"/>
                      <a:r>
                        <a:rPr lang="en-US" sz="1300" b="0" i="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4283901365"/>
                  </a:ext>
                </a:extLst>
              </a:tr>
              <a:tr h="393398">
                <a:tc>
                  <a:txBody>
                    <a:bodyPr/>
                    <a:lstStyle/>
                    <a:p>
                      <a:pPr algn="ctr" rtl="0" fontAlgn="b"/>
                      <a:r>
                        <a:rPr lang="en-US" sz="1300" b="0" i="0" u="none" strike="noStrike" dirty="0">
                          <a:solidFill>
                            <a:schemeClr val="tx1"/>
                          </a:solidFill>
                          <a:effectLst/>
                          <a:latin typeface="Arial" panose="020B0604020202020204" pitchFamily="34" charset="0"/>
                          <a:cs typeface="Arial" panose="020B0604020202020204" pitchFamily="34" charset="0"/>
                        </a:rPr>
                        <a:t>N</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252197383"/>
                  </a:ext>
                </a:extLst>
              </a:tr>
            </a:tbl>
          </a:graphicData>
        </a:graphic>
      </p:graphicFrame>
      <p:graphicFrame>
        <p:nvGraphicFramePr>
          <p:cNvPr id="25" name="Table 24">
            <a:extLst>
              <a:ext uri="{FF2B5EF4-FFF2-40B4-BE49-F238E27FC236}">
                <a16:creationId xmlns:a16="http://schemas.microsoft.com/office/drawing/2014/main" id="{3997271C-B01A-4BD8-A67B-C97367694AC4}"/>
              </a:ext>
            </a:extLst>
          </p:cNvPr>
          <p:cNvGraphicFramePr>
            <a:graphicFrameLocks noGrp="1"/>
          </p:cNvGraphicFramePr>
          <p:nvPr>
            <p:extLst>
              <p:ext uri="{D42A27DB-BD31-4B8C-83A1-F6EECF244321}">
                <p14:modId xmlns:p14="http://schemas.microsoft.com/office/powerpoint/2010/main" val="48946113"/>
              </p:ext>
            </p:extLst>
          </p:nvPr>
        </p:nvGraphicFramePr>
        <p:xfrm>
          <a:off x="8317957" y="3235118"/>
          <a:ext cx="1090196" cy="1163628"/>
        </p:xfrm>
        <a:graphic>
          <a:graphicData uri="http://schemas.openxmlformats.org/drawingml/2006/table">
            <a:tbl>
              <a:tblPr firstRow="1" bandRow="1">
                <a:tableStyleId>{9D7B26C5-4107-4FEC-AEDC-1716B250A1EF}</a:tableStyleId>
              </a:tblPr>
              <a:tblGrid>
                <a:gridCol w="1090196">
                  <a:extLst>
                    <a:ext uri="{9D8B030D-6E8A-4147-A177-3AD203B41FA5}">
                      <a16:colId xmlns:a16="http://schemas.microsoft.com/office/drawing/2014/main" val="3468808665"/>
                    </a:ext>
                  </a:extLst>
                </a:gridCol>
              </a:tblGrid>
              <a:tr h="387876">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2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163484585"/>
                  </a:ext>
                </a:extLst>
              </a:tr>
              <a:tr h="387876">
                <a:tc>
                  <a:txBody>
                    <a:bodyPr/>
                    <a:lstStyle/>
                    <a:p>
                      <a:pPr marL="0" algn="ctr" defTabSz="457200" rtl="0" eaLnBrk="1" fontAlgn="ctr"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10001"/>
                  </a:ext>
                </a:extLst>
              </a:tr>
              <a:tr h="387876">
                <a:tc>
                  <a:txBody>
                    <a:bodyPr/>
                    <a:lstStyle/>
                    <a:p>
                      <a:pPr marL="0" algn="ctr" defTabSz="457200" rtl="0" eaLnBrk="1" fontAlgn="ctr"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479979544"/>
                  </a:ext>
                </a:extLst>
              </a:tr>
            </a:tbl>
          </a:graphicData>
        </a:graphic>
      </p:graphicFrame>
      <p:graphicFrame>
        <p:nvGraphicFramePr>
          <p:cNvPr id="31" name="Table 30">
            <a:extLst>
              <a:ext uri="{FF2B5EF4-FFF2-40B4-BE49-F238E27FC236}">
                <a16:creationId xmlns:a16="http://schemas.microsoft.com/office/drawing/2014/main" id="{0FA70A4E-C312-444E-A3C2-B46E0A80F6CA}"/>
              </a:ext>
            </a:extLst>
          </p:cNvPr>
          <p:cNvGraphicFramePr>
            <a:graphicFrameLocks noGrp="1"/>
          </p:cNvGraphicFramePr>
          <p:nvPr>
            <p:extLst>
              <p:ext uri="{D42A27DB-BD31-4B8C-83A1-F6EECF244321}">
                <p14:modId xmlns:p14="http://schemas.microsoft.com/office/powerpoint/2010/main" val="958008224"/>
              </p:ext>
            </p:extLst>
          </p:nvPr>
        </p:nvGraphicFramePr>
        <p:xfrm>
          <a:off x="8317957" y="4459784"/>
          <a:ext cx="1076400" cy="752566"/>
        </p:xfrm>
        <a:graphic>
          <a:graphicData uri="http://schemas.openxmlformats.org/drawingml/2006/table">
            <a:tbl>
              <a:tblPr firstRow="1" bandRow="1">
                <a:tableStyleId>{9D7B26C5-4107-4FEC-AEDC-1716B250A1EF}</a:tableStyleId>
              </a:tblPr>
              <a:tblGrid>
                <a:gridCol w="1076400">
                  <a:extLst>
                    <a:ext uri="{9D8B030D-6E8A-4147-A177-3AD203B41FA5}">
                      <a16:colId xmlns:a16="http://schemas.microsoft.com/office/drawing/2014/main" val="2066203713"/>
                    </a:ext>
                  </a:extLst>
                </a:gridCol>
              </a:tblGrid>
              <a:tr h="37628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2</a:t>
                      </a:r>
                      <a:r>
                        <a:rPr lang="en-US" sz="1300" u="none" strike="noStrike" kern="1200" baseline="0" dirty="0">
                          <a:solidFill>
                            <a:schemeClr val="bg1"/>
                          </a:solidFill>
                          <a:latin typeface="Arial" panose="020B0604020202020204" pitchFamily="34" charset="0"/>
                          <a:cs typeface="Arial" panose="020B0604020202020204" pitchFamily="34" charset="0"/>
                        </a:rPr>
                        <a:t> E</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376283">
                <a:tc>
                  <a:txBody>
                    <a:bodyPr/>
                    <a:lstStyle/>
                    <a:p>
                      <a:pPr marL="0" algn="ctr" defTabSz="914363"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590881403"/>
                  </a:ext>
                </a:extLst>
              </a:tr>
            </a:tbl>
          </a:graphicData>
        </a:graphic>
      </p:graphicFrame>
      <p:graphicFrame>
        <p:nvGraphicFramePr>
          <p:cNvPr id="32" name="Table 31">
            <a:extLst>
              <a:ext uri="{FF2B5EF4-FFF2-40B4-BE49-F238E27FC236}">
                <a16:creationId xmlns:a16="http://schemas.microsoft.com/office/drawing/2014/main" id="{3997271C-B01A-4BD8-A67B-C97367694AC4}"/>
              </a:ext>
            </a:extLst>
          </p:cNvPr>
          <p:cNvGraphicFramePr>
            <a:graphicFrameLocks noGrp="1"/>
          </p:cNvGraphicFramePr>
          <p:nvPr>
            <p:extLst>
              <p:ext uri="{D42A27DB-BD31-4B8C-83A1-F6EECF244321}">
                <p14:modId xmlns:p14="http://schemas.microsoft.com/office/powerpoint/2010/main" val="4219469931"/>
              </p:ext>
            </p:extLst>
          </p:nvPr>
        </p:nvGraphicFramePr>
        <p:xfrm>
          <a:off x="8317958" y="5422517"/>
          <a:ext cx="1074844" cy="393382"/>
        </p:xfrm>
        <a:graphic>
          <a:graphicData uri="http://schemas.openxmlformats.org/drawingml/2006/table">
            <a:tbl>
              <a:tblPr firstRow="1" bandRow="1">
                <a:tableStyleId>{9D7B26C5-4107-4FEC-AEDC-1716B250A1EF}</a:tableStyleId>
              </a:tblPr>
              <a:tblGrid>
                <a:gridCol w="1074844">
                  <a:extLst>
                    <a:ext uri="{9D8B030D-6E8A-4147-A177-3AD203B41FA5}">
                      <a16:colId xmlns:a16="http://schemas.microsoft.com/office/drawing/2014/main" val="3468808665"/>
                    </a:ext>
                  </a:extLst>
                </a:gridCol>
              </a:tblGrid>
              <a:tr h="393382">
                <a:tc>
                  <a:txBody>
                    <a:bodyPr/>
                    <a:lstStyle/>
                    <a:p>
                      <a:pPr marL="0" algn="ctr" defTabSz="457200" rtl="0" eaLnBrk="1" fontAlgn="ctr" latinLnBrk="0" hangingPunct="1"/>
                      <a:r>
                        <a:rPr lang="en-US" sz="1500" b="1"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9525" marR="9525" marT="9525" marB="0" anchor="ctr">
                    <a:solidFill>
                      <a:srgbClr val="FFC000"/>
                    </a:solidFill>
                  </a:tcPr>
                </a:tc>
                <a:extLst>
                  <a:ext uri="{0D108BD9-81ED-4DB2-BD59-A6C34878D82A}">
                    <a16:rowId xmlns:a16="http://schemas.microsoft.com/office/drawing/2014/main" val="1479979544"/>
                  </a:ext>
                </a:extLst>
              </a:tr>
            </a:tbl>
          </a:graphicData>
        </a:graphic>
      </p:graphicFrame>
      <p:graphicFrame>
        <p:nvGraphicFramePr>
          <p:cNvPr id="26" name="Table 25">
            <a:extLst>
              <a:ext uri="{FF2B5EF4-FFF2-40B4-BE49-F238E27FC236}">
                <a16:creationId xmlns:a16="http://schemas.microsoft.com/office/drawing/2014/main" id="{CCB9BC5B-F1A3-4F98-8BD4-80E3CEC866C1}"/>
              </a:ext>
            </a:extLst>
          </p:cNvPr>
          <p:cNvGraphicFramePr>
            <a:graphicFrameLocks noGrp="1"/>
          </p:cNvGraphicFramePr>
          <p:nvPr>
            <p:extLst>
              <p:ext uri="{D42A27DB-BD31-4B8C-83A1-F6EECF244321}">
                <p14:modId xmlns:p14="http://schemas.microsoft.com/office/powerpoint/2010/main" val="3354866003"/>
              </p:ext>
            </p:extLst>
          </p:nvPr>
        </p:nvGraphicFramePr>
        <p:xfrm>
          <a:off x="9475105" y="1061931"/>
          <a:ext cx="1074844" cy="812140"/>
        </p:xfrm>
        <a:graphic>
          <a:graphicData uri="http://schemas.openxmlformats.org/drawingml/2006/table">
            <a:tbl>
              <a:tblPr firstRow="1" bandRow="1">
                <a:tableStyleId>{9D7B26C5-4107-4FEC-AEDC-1716B250A1EF}</a:tableStyleId>
              </a:tblPr>
              <a:tblGrid>
                <a:gridCol w="1074844">
                  <a:extLst>
                    <a:ext uri="{9D8B030D-6E8A-4147-A177-3AD203B41FA5}">
                      <a16:colId xmlns:a16="http://schemas.microsoft.com/office/drawing/2014/main" val="2066203713"/>
                    </a:ext>
                  </a:extLst>
                </a:gridCol>
              </a:tblGrid>
              <a:tr h="38841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3</a:t>
                      </a:r>
                      <a:r>
                        <a:rPr lang="en-US" sz="1300" u="none" strike="noStrike" kern="1200" baseline="0" dirty="0">
                          <a:solidFill>
                            <a:schemeClr val="bg1"/>
                          </a:solidFill>
                          <a:latin typeface="Arial" panose="020B0604020202020204" pitchFamily="34" charset="0"/>
                          <a:cs typeface="Arial" panose="020B0604020202020204" pitchFamily="34" charset="0"/>
                        </a:rPr>
                        <a:t> P</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423727">
                <a:tc>
                  <a:txBody>
                    <a:bodyPr/>
                    <a:lstStyle/>
                    <a:p>
                      <a:pPr marL="0" algn="ctr" defTabSz="914363"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590881403"/>
                  </a:ext>
                </a:extLst>
              </a:tr>
            </a:tbl>
          </a:graphicData>
        </a:graphic>
      </p:graphicFrame>
      <p:graphicFrame>
        <p:nvGraphicFramePr>
          <p:cNvPr id="27" name="Table 26">
            <a:extLst>
              <a:ext uri="{FF2B5EF4-FFF2-40B4-BE49-F238E27FC236}">
                <a16:creationId xmlns:a16="http://schemas.microsoft.com/office/drawing/2014/main" id="{919F5CAB-70B1-4469-B03E-045D2DCCFD0D}"/>
              </a:ext>
            </a:extLst>
          </p:cNvPr>
          <p:cNvGraphicFramePr>
            <a:graphicFrameLocks noGrp="1"/>
          </p:cNvGraphicFramePr>
          <p:nvPr>
            <p:extLst>
              <p:ext uri="{D42A27DB-BD31-4B8C-83A1-F6EECF244321}">
                <p14:modId xmlns:p14="http://schemas.microsoft.com/office/powerpoint/2010/main" val="2497649964"/>
              </p:ext>
            </p:extLst>
          </p:nvPr>
        </p:nvGraphicFramePr>
        <p:xfrm>
          <a:off x="9477486" y="1956595"/>
          <a:ext cx="1087405" cy="1180194"/>
        </p:xfrm>
        <a:graphic>
          <a:graphicData uri="http://schemas.openxmlformats.org/drawingml/2006/table">
            <a:tbl>
              <a:tblPr firstRow="1" bandRow="1">
                <a:tableStyleId>{9D7B26C5-4107-4FEC-AEDC-1716B250A1EF}</a:tableStyleId>
              </a:tblPr>
              <a:tblGrid>
                <a:gridCol w="1087405">
                  <a:extLst>
                    <a:ext uri="{9D8B030D-6E8A-4147-A177-3AD203B41FA5}">
                      <a16:colId xmlns:a16="http://schemas.microsoft.com/office/drawing/2014/main" val="2098157944"/>
                    </a:ext>
                  </a:extLst>
                </a:gridCol>
              </a:tblGrid>
              <a:tr h="393398">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3 P</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655500846"/>
                  </a:ext>
                </a:extLst>
              </a:tr>
              <a:tr h="393398">
                <a:tc>
                  <a:txBody>
                    <a:bodyPr/>
                    <a:lstStyle/>
                    <a:p>
                      <a:pPr algn="ctr" rtl="0" fontAlgn="t"/>
                      <a:r>
                        <a:rPr lang="en-US" sz="1300" b="0" i="0" u="none" strike="noStrike" dirty="0">
                          <a:solidFill>
                            <a:schemeClr val="bg1"/>
                          </a:solidFill>
                          <a:effectLst/>
                          <a:latin typeface="Arial" panose="020B0604020202020204" pitchFamily="34" charset="0"/>
                          <a:cs typeface="Arial" panose="020B0604020202020204" pitchFamily="34" charset="0"/>
                        </a:rPr>
                        <a:t>NF</a:t>
                      </a:r>
                      <a:endParaRPr lang="en-US"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rgbClr val="FF0000"/>
                    </a:solidFill>
                  </a:tcPr>
                </a:tc>
                <a:extLst>
                  <a:ext uri="{0D108BD9-81ED-4DB2-BD59-A6C34878D82A}">
                    <a16:rowId xmlns:a16="http://schemas.microsoft.com/office/drawing/2014/main" val="4283901365"/>
                  </a:ext>
                </a:extLst>
              </a:tr>
              <a:tr h="393398">
                <a:tc>
                  <a:txBody>
                    <a:bodyPr/>
                    <a:lstStyle/>
                    <a:p>
                      <a:pPr algn="ctr" rtl="0" fontAlgn="b"/>
                      <a:r>
                        <a:rPr lang="en-US" sz="1300" b="0" i="0" u="none" strike="noStrike" dirty="0">
                          <a:solidFill>
                            <a:schemeClr val="tx1"/>
                          </a:solidFill>
                          <a:effectLst/>
                          <a:latin typeface="Arial" panose="020B0604020202020204" pitchFamily="34" charset="0"/>
                          <a:cs typeface="Arial" panose="020B0604020202020204" pitchFamily="34" charset="0"/>
                        </a:rPr>
                        <a:t>N</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252197383"/>
                  </a:ext>
                </a:extLst>
              </a:tr>
            </a:tbl>
          </a:graphicData>
        </a:graphic>
      </p:graphicFrame>
      <p:graphicFrame>
        <p:nvGraphicFramePr>
          <p:cNvPr id="28" name="Table 27">
            <a:extLst>
              <a:ext uri="{FF2B5EF4-FFF2-40B4-BE49-F238E27FC236}">
                <a16:creationId xmlns:a16="http://schemas.microsoft.com/office/drawing/2014/main" id="{E01487E3-CE5C-4FC9-A7EE-06258DFCCD60}"/>
              </a:ext>
            </a:extLst>
          </p:cNvPr>
          <p:cNvGraphicFramePr>
            <a:graphicFrameLocks noGrp="1"/>
          </p:cNvGraphicFramePr>
          <p:nvPr>
            <p:extLst>
              <p:ext uri="{D42A27DB-BD31-4B8C-83A1-F6EECF244321}">
                <p14:modId xmlns:p14="http://schemas.microsoft.com/office/powerpoint/2010/main" val="3300715664"/>
              </p:ext>
            </p:extLst>
          </p:nvPr>
        </p:nvGraphicFramePr>
        <p:xfrm>
          <a:off x="9474694" y="3237618"/>
          <a:ext cx="1090196" cy="1163628"/>
        </p:xfrm>
        <a:graphic>
          <a:graphicData uri="http://schemas.openxmlformats.org/drawingml/2006/table">
            <a:tbl>
              <a:tblPr firstRow="1" bandRow="1">
                <a:tableStyleId>{9D7B26C5-4107-4FEC-AEDC-1716B250A1EF}</a:tableStyleId>
              </a:tblPr>
              <a:tblGrid>
                <a:gridCol w="1090196">
                  <a:extLst>
                    <a:ext uri="{9D8B030D-6E8A-4147-A177-3AD203B41FA5}">
                      <a16:colId xmlns:a16="http://schemas.microsoft.com/office/drawing/2014/main" val="3468808665"/>
                    </a:ext>
                  </a:extLst>
                </a:gridCol>
              </a:tblGrid>
              <a:tr h="387876">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3 P</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2163484585"/>
                  </a:ext>
                </a:extLst>
              </a:tr>
              <a:tr h="387876">
                <a:tc>
                  <a:txBody>
                    <a:bodyPr/>
                    <a:lstStyle/>
                    <a:p>
                      <a:pPr marL="0" algn="ctr" defTabSz="457200" rtl="0" eaLnBrk="1" fontAlgn="ctr"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10001"/>
                  </a:ext>
                </a:extLst>
              </a:tr>
              <a:tr h="387876">
                <a:tc>
                  <a:txBody>
                    <a:bodyPr/>
                    <a:lstStyle/>
                    <a:p>
                      <a:pPr marL="0" algn="ctr" defTabSz="457200" rtl="0" eaLnBrk="1" fontAlgn="ctr" latinLnBrk="0" hangingPunct="1"/>
                      <a:r>
                        <a:rPr lang="en-US" sz="1300" u="none" strike="noStrike" kern="1200" dirty="0">
                          <a:effectLst/>
                          <a:latin typeface="Arial" panose="020B0604020202020204" pitchFamily="34" charset="0"/>
                          <a:cs typeface="Arial" panose="020B0604020202020204" pitchFamily="34" charset="0"/>
                        </a:rPr>
                        <a:t>N</a:t>
                      </a:r>
                      <a:endParaRPr lang="en-US" sz="13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7938" marR="7938" marT="7938" marB="0" anchor="ctr">
                    <a:solidFill>
                      <a:srgbClr val="FFC000"/>
                    </a:solidFill>
                  </a:tcPr>
                </a:tc>
                <a:extLst>
                  <a:ext uri="{0D108BD9-81ED-4DB2-BD59-A6C34878D82A}">
                    <a16:rowId xmlns:a16="http://schemas.microsoft.com/office/drawing/2014/main" val="1479979544"/>
                  </a:ext>
                </a:extLst>
              </a:tr>
            </a:tbl>
          </a:graphicData>
        </a:graphic>
      </p:graphicFrame>
      <p:graphicFrame>
        <p:nvGraphicFramePr>
          <p:cNvPr id="29" name="Table 28">
            <a:extLst>
              <a:ext uri="{FF2B5EF4-FFF2-40B4-BE49-F238E27FC236}">
                <a16:creationId xmlns:a16="http://schemas.microsoft.com/office/drawing/2014/main" id="{C8EC5642-243E-48D0-9247-7B2E04694FD2}"/>
              </a:ext>
            </a:extLst>
          </p:cNvPr>
          <p:cNvGraphicFramePr>
            <a:graphicFrameLocks noGrp="1"/>
          </p:cNvGraphicFramePr>
          <p:nvPr>
            <p:extLst>
              <p:ext uri="{D42A27DB-BD31-4B8C-83A1-F6EECF244321}">
                <p14:modId xmlns:p14="http://schemas.microsoft.com/office/powerpoint/2010/main" val="3480756741"/>
              </p:ext>
            </p:extLst>
          </p:nvPr>
        </p:nvGraphicFramePr>
        <p:xfrm>
          <a:off x="9474694" y="4462284"/>
          <a:ext cx="1076400" cy="752566"/>
        </p:xfrm>
        <a:graphic>
          <a:graphicData uri="http://schemas.openxmlformats.org/drawingml/2006/table">
            <a:tbl>
              <a:tblPr firstRow="1" bandRow="1">
                <a:tableStyleId>{9D7B26C5-4107-4FEC-AEDC-1716B250A1EF}</a:tableStyleId>
              </a:tblPr>
              <a:tblGrid>
                <a:gridCol w="1076400">
                  <a:extLst>
                    <a:ext uri="{9D8B030D-6E8A-4147-A177-3AD203B41FA5}">
                      <a16:colId xmlns:a16="http://schemas.microsoft.com/office/drawing/2014/main" val="2066203713"/>
                    </a:ext>
                  </a:extLst>
                </a:gridCol>
              </a:tblGrid>
              <a:tr h="376283">
                <a:tc>
                  <a:txBody>
                    <a:bodyPr/>
                    <a:lstStyle/>
                    <a:p>
                      <a:pPr marL="0" marR="0" algn="ctr" defTabSz="457200" rtl="0" eaLnBrk="1" latinLnBrk="0" hangingPunct="1">
                        <a:spcBef>
                          <a:spcPts val="0"/>
                        </a:spcBef>
                        <a:spcAft>
                          <a:spcPts val="0"/>
                        </a:spcAft>
                      </a:pPr>
                      <a:r>
                        <a:rPr lang="en-US" sz="1300" u="none" strike="noStrike" kern="1200" dirty="0">
                          <a:solidFill>
                            <a:schemeClr val="bg1"/>
                          </a:solidFill>
                          <a:latin typeface="Arial" panose="020B0604020202020204" pitchFamily="34" charset="0"/>
                          <a:cs typeface="Arial" panose="020B0604020202020204" pitchFamily="34" charset="0"/>
                        </a:rPr>
                        <a:t>FY 2023</a:t>
                      </a:r>
                      <a:r>
                        <a:rPr lang="en-US" sz="1300" u="none" strike="noStrike" kern="1200" baseline="0" dirty="0">
                          <a:solidFill>
                            <a:schemeClr val="bg1"/>
                          </a:solidFill>
                          <a:latin typeface="Arial" panose="020B0604020202020204" pitchFamily="34" charset="0"/>
                          <a:cs typeface="Arial" panose="020B0604020202020204" pitchFamily="34" charset="0"/>
                        </a:rPr>
                        <a:t> P</a:t>
                      </a:r>
                      <a:endParaRPr lang="en-US" sz="1300" b="1" u="none" strike="noStrike" kern="1200" dirty="0">
                        <a:solidFill>
                          <a:schemeClr val="bg1"/>
                        </a:solidFill>
                        <a:latin typeface="Arial" panose="020B0604020202020204" pitchFamily="34" charset="0"/>
                        <a:ea typeface="+mn-ea"/>
                        <a:cs typeface="Arial" panose="020B0604020202020204" pitchFamily="34" charset="0"/>
                      </a:endParaRPr>
                    </a:p>
                  </a:txBody>
                  <a:tcPr marL="7938" marR="142875" marT="7938" marB="0" anchor="ctr">
                    <a:solidFill>
                      <a:schemeClr val="accent2"/>
                    </a:solidFill>
                  </a:tcPr>
                </a:tc>
                <a:extLst>
                  <a:ext uri="{0D108BD9-81ED-4DB2-BD59-A6C34878D82A}">
                    <a16:rowId xmlns:a16="http://schemas.microsoft.com/office/drawing/2014/main" val="1503440779"/>
                  </a:ext>
                </a:extLst>
              </a:tr>
              <a:tr h="376283">
                <a:tc>
                  <a:txBody>
                    <a:bodyPr/>
                    <a:lstStyle/>
                    <a:p>
                      <a:pPr marL="0" algn="ctr" defTabSz="914363" rtl="0" eaLnBrk="1" fontAlgn="t" latinLnBrk="0" hangingPunct="1"/>
                      <a:r>
                        <a:rPr lang="en-US" sz="1300" b="0"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7938" marR="7938" marT="7938" marB="0" anchor="ctr">
                    <a:solidFill>
                      <a:srgbClr val="FFC000"/>
                    </a:solidFill>
                  </a:tcPr>
                </a:tc>
                <a:extLst>
                  <a:ext uri="{0D108BD9-81ED-4DB2-BD59-A6C34878D82A}">
                    <a16:rowId xmlns:a16="http://schemas.microsoft.com/office/drawing/2014/main" val="590881403"/>
                  </a:ext>
                </a:extLst>
              </a:tr>
            </a:tbl>
          </a:graphicData>
        </a:graphic>
      </p:graphicFrame>
      <p:graphicFrame>
        <p:nvGraphicFramePr>
          <p:cNvPr id="30" name="Table 29">
            <a:extLst>
              <a:ext uri="{FF2B5EF4-FFF2-40B4-BE49-F238E27FC236}">
                <a16:creationId xmlns:a16="http://schemas.microsoft.com/office/drawing/2014/main" id="{CEF9764D-A922-4C6A-9D82-F524DEC63CC3}"/>
              </a:ext>
            </a:extLst>
          </p:cNvPr>
          <p:cNvGraphicFramePr>
            <a:graphicFrameLocks noGrp="1"/>
          </p:cNvGraphicFramePr>
          <p:nvPr>
            <p:extLst>
              <p:ext uri="{D42A27DB-BD31-4B8C-83A1-F6EECF244321}">
                <p14:modId xmlns:p14="http://schemas.microsoft.com/office/powerpoint/2010/main" val="3687082567"/>
              </p:ext>
            </p:extLst>
          </p:nvPr>
        </p:nvGraphicFramePr>
        <p:xfrm>
          <a:off x="9474695" y="5425017"/>
          <a:ext cx="1074844" cy="393382"/>
        </p:xfrm>
        <a:graphic>
          <a:graphicData uri="http://schemas.openxmlformats.org/drawingml/2006/table">
            <a:tbl>
              <a:tblPr firstRow="1" bandRow="1">
                <a:tableStyleId>{9D7B26C5-4107-4FEC-AEDC-1716B250A1EF}</a:tableStyleId>
              </a:tblPr>
              <a:tblGrid>
                <a:gridCol w="1074844">
                  <a:extLst>
                    <a:ext uri="{9D8B030D-6E8A-4147-A177-3AD203B41FA5}">
                      <a16:colId xmlns:a16="http://schemas.microsoft.com/office/drawing/2014/main" val="3468808665"/>
                    </a:ext>
                  </a:extLst>
                </a:gridCol>
              </a:tblGrid>
              <a:tr h="393382">
                <a:tc>
                  <a:txBody>
                    <a:bodyPr/>
                    <a:lstStyle/>
                    <a:p>
                      <a:pPr marL="0" algn="ctr" defTabSz="457200" rtl="0" eaLnBrk="1" fontAlgn="ctr" latinLnBrk="0" hangingPunct="1"/>
                      <a:r>
                        <a:rPr lang="en-US" sz="1500" b="1" i="0" u="none" strike="noStrike" kern="1200" dirty="0">
                          <a:solidFill>
                            <a:schemeClr val="tx1"/>
                          </a:solidFill>
                          <a:effectLst/>
                          <a:latin typeface="Arial" panose="020B0604020202020204" pitchFamily="34" charset="0"/>
                          <a:ea typeface="+mn-ea"/>
                          <a:cs typeface="Arial" panose="020B0604020202020204" pitchFamily="34" charset="0"/>
                        </a:rPr>
                        <a:t>N</a:t>
                      </a:r>
                    </a:p>
                  </a:txBody>
                  <a:tcPr marL="9525" marR="9525" marT="9525" marB="0" anchor="ctr">
                    <a:solidFill>
                      <a:srgbClr val="FFC000"/>
                    </a:solidFill>
                  </a:tcPr>
                </a:tc>
                <a:extLst>
                  <a:ext uri="{0D108BD9-81ED-4DB2-BD59-A6C34878D82A}">
                    <a16:rowId xmlns:a16="http://schemas.microsoft.com/office/drawing/2014/main" val="1479979544"/>
                  </a:ext>
                </a:extLst>
              </a:tr>
            </a:tbl>
          </a:graphicData>
        </a:graphic>
      </p:graphicFrame>
    </p:spTree>
    <p:extLst>
      <p:ext uri="{BB962C8B-B14F-4D97-AF65-F5344CB8AC3E}">
        <p14:creationId xmlns:p14="http://schemas.microsoft.com/office/powerpoint/2010/main" val="148401929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0D77BAE8-E9E6-4BF7-BB74-9E7F61CFFDCF}"/>
              </a:ext>
            </a:extLst>
          </p:cNvPr>
          <p:cNvSpPr txBox="1"/>
          <p:nvPr/>
        </p:nvSpPr>
        <p:spPr>
          <a:xfrm>
            <a:off x="390780" y="4846616"/>
            <a:ext cx="11628154" cy="1200288"/>
          </a:xfrm>
          <a:prstGeom prst="rect">
            <a:avLst/>
          </a:prstGeom>
          <a:solidFill>
            <a:schemeClr val="bg1">
              <a:lumMod val="85000"/>
            </a:schemeClr>
          </a:solidFill>
        </p:spPr>
        <p:txBody>
          <a:bodyPr wrap="square" lIns="91395" tIns="45700" rIns="91395" bIns="45700" rtlCol="0" anchor="ctr">
            <a:spAutoFit/>
          </a:bodyPr>
          <a:lstStyle/>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The southwest monsoon seasonal rainfall during June to September for the country as a  whole has been normal.</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After excess rainfall in June, deficit  rainfall was recorded in July and  August respectively, rainfall showers during September were aggressive and refused to quit well into October.</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The wide fluctuations in the rainfall during this monsoon season had only marginal impact on the reservoir levels.</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Erratic rainfall in many states, delayed harvesting, lower cash in hands of the farmers coupled with lower commercial demand have impacted sales negatively.</a:t>
            </a:r>
          </a:p>
          <a:p>
            <a:pPr marL="171443" indent="-171443">
              <a:buFont typeface="Arial" panose="020B0604020202020204" pitchFamily="34" charset="0"/>
              <a:buChar char="•"/>
            </a:pPr>
            <a:r>
              <a:rPr lang="en-US" sz="1200" dirty="0">
                <a:latin typeface="Arial" panose="020B0604020202020204" pitchFamily="34" charset="0"/>
                <a:cs typeface="Arial" panose="020B0604020202020204" pitchFamily="34" charset="0"/>
              </a:rPr>
              <a:t>Crop prices received in the market have been a marginal relief for farm income however not sufficient to improve cash flow significantly. </a:t>
            </a:r>
          </a:p>
        </p:txBody>
      </p:sp>
      <p:sp>
        <p:nvSpPr>
          <p:cNvPr id="78" name="Title 1">
            <a:extLst>
              <a:ext uri="{FF2B5EF4-FFF2-40B4-BE49-F238E27FC236}">
                <a16:creationId xmlns:a16="http://schemas.microsoft.com/office/drawing/2014/main" id="{B4D66F93-F7D3-4652-81A5-36FAECAAFF48}"/>
              </a:ext>
            </a:extLst>
          </p:cNvPr>
          <p:cNvSpPr>
            <a:spLocks noGrp="1"/>
          </p:cNvSpPr>
          <p:nvPr>
            <p:ph type="title"/>
          </p:nvPr>
        </p:nvSpPr>
        <p:spPr>
          <a:xfrm>
            <a:off x="397163" y="206758"/>
            <a:ext cx="11542576" cy="600160"/>
          </a:xfrm>
        </p:spPr>
        <p:txBody>
          <a:bodyPr vert="horz" lIns="0" tIns="0" rIns="0" bIns="0" rtlCol="0" anchor="ctr">
            <a:noAutofit/>
          </a:bodyPr>
          <a:lstStyle/>
          <a:p>
            <a:r>
              <a:rPr lang="en-US" sz="2800" b="1" dirty="0">
                <a:solidFill>
                  <a:prstClr val="black"/>
                </a:solidFill>
                <a:latin typeface="Arial" panose="020B0604020202020204" pitchFamily="34" charset="0"/>
                <a:cs typeface="Arial" panose="020B0604020202020204" pitchFamily="34" charset="0"/>
              </a:rPr>
              <a:t>Southwest Monsoon has been normal in fiscal 2022</a:t>
            </a:r>
            <a:endParaRPr lang="en-IN" sz="2800" b="1" dirty="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87AE953-5CE3-47C5-891D-EC8AFE4717B1}"/>
              </a:ext>
            </a:extLst>
          </p:cNvPr>
          <p:cNvSpPr txBox="1"/>
          <p:nvPr/>
        </p:nvSpPr>
        <p:spPr>
          <a:xfrm>
            <a:off x="380966" y="3982968"/>
            <a:ext cx="9198463" cy="600160"/>
          </a:xfrm>
          <a:prstGeom prst="rect">
            <a:avLst/>
          </a:prstGeom>
          <a:noFill/>
        </p:spPr>
        <p:txBody>
          <a:bodyPr wrap="square" lIns="91395" tIns="45700" rIns="91395" bIns="45700" rtlCol="0">
            <a:spAutoFit/>
          </a:bodyPr>
          <a:lstStyle/>
          <a:p>
            <a:pPr defTabSz="913960">
              <a:defRPr/>
            </a:pPr>
            <a:r>
              <a:rPr lang="en-IN" sz="1100" i="1" dirty="0">
                <a:solidFill>
                  <a:srgbClr val="000000"/>
                </a:solidFill>
                <a:latin typeface="Arial" panose="020B0604020202020204" pitchFamily="34" charset="0"/>
                <a:cs typeface="Arial" panose="020B0604020202020204" pitchFamily="34" charset="0"/>
              </a:rPr>
              <a:t>NOTE: </a:t>
            </a:r>
            <a:r>
              <a:rPr lang="en-US" sz="1100" i="1" dirty="0">
                <a:solidFill>
                  <a:srgbClr val="000000"/>
                </a:solidFill>
                <a:latin typeface="Arial" panose="020B0604020202020204" pitchFamily="34" charset="0"/>
                <a:cs typeface="Arial" panose="020B0604020202020204" pitchFamily="34" charset="0"/>
              </a:rPr>
              <a:t>Rainfall deficiency in the range of -10% to 10% of the long period average is </a:t>
            </a:r>
          </a:p>
          <a:p>
            <a:pPr defTabSz="913960">
              <a:defRPr/>
            </a:pPr>
            <a:r>
              <a:rPr lang="en-US" sz="1100" i="1" dirty="0">
                <a:solidFill>
                  <a:srgbClr val="000000"/>
                </a:solidFill>
                <a:latin typeface="Arial" panose="020B0604020202020204" pitchFamily="34" charset="0"/>
                <a:cs typeface="Arial" panose="020B0604020202020204" pitchFamily="34" charset="0"/>
              </a:rPr>
              <a:t>considered as normal as per IMD</a:t>
            </a:r>
          </a:p>
          <a:p>
            <a:pPr defTabSz="913960">
              <a:defRPr/>
            </a:pPr>
            <a:r>
              <a:rPr lang="en-US" sz="1100" i="1" dirty="0">
                <a:solidFill>
                  <a:srgbClr val="000000"/>
                </a:solidFill>
                <a:latin typeface="Arial" panose="020B0604020202020204" pitchFamily="34" charset="0"/>
                <a:cs typeface="Arial" panose="020B0604020202020204" pitchFamily="34" charset="0"/>
              </a:rPr>
              <a:t>Source : IMD, CRISIL Research</a:t>
            </a:r>
            <a:endParaRPr lang="en-IN" sz="1100" i="1" dirty="0">
              <a:solidFill>
                <a:srgbClr val="000000"/>
              </a:solidFill>
              <a:latin typeface="Arial" panose="020B0604020202020204" pitchFamily="34" charset="0"/>
              <a:cs typeface="Arial" panose="020B0604020202020204" pitchFamily="34" charset="0"/>
            </a:endParaRPr>
          </a:p>
        </p:txBody>
      </p:sp>
      <p:sp>
        <p:nvSpPr>
          <p:cNvPr id="14" name="Rectangle 13"/>
          <p:cNvSpPr/>
          <p:nvPr/>
        </p:nvSpPr>
        <p:spPr>
          <a:xfrm rot="5400000">
            <a:off x="2940099" y="-1438801"/>
            <a:ext cx="401156" cy="5499795"/>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a:r>
              <a:rPr lang="en-US" sz="1600" b="1" dirty="0">
                <a:solidFill>
                  <a:prstClr val="white"/>
                </a:solidFill>
                <a:latin typeface="Arial" panose="020B0604020202020204" pitchFamily="34" charset="0"/>
                <a:cs typeface="Arial" panose="020B0604020202020204" pitchFamily="34" charset="0"/>
              </a:rPr>
              <a:t>Normal rainfall in fiscal 2022</a:t>
            </a:r>
          </a:p>
        </p:txBody>
      </p:sp>
      <p:sp>
        <p:nvSpPr>
          <p:cNvPr id="15" name="Rectangle 14"/>
          <p:cNvSpPr/>
          <p:nvPr/>
        </p:nvSpPr>
        <p:spPr>
          <a:xfrm rot="5400000">
            <a:off x="8947424" y="-1580818"/>
            <a:ext cx="401156" cy="5783826"/>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defTabSz="913960">
              <a:defRPr/>
            </a:pPr>
            <a:r>
              <a:rPr lang="en-US" sz="1600" b="1" dirty="0">
                <a:solidFill>
                  <a:srgbClr val="FFFFFF"/>
                </a:solidFill>
                <a:latin typeface="Arial" panose="020B0604020202020204" pitchFamily="34" charset="0"/>
                <a:cs typeface="Arial" panose="020B0604020202020204" pitchFamily="34" charset="0"/>
              </a:rPr>
              <a:t>Positive boost from high crop production </a:t>
            </a:r>
          </a:p>
        </p:txBody>
      </p:sp>
      <p:sp>
        <p:nvSpPr>
          <p:cNvPr id="20" name="TextBox 19"/>
          <p:cNvSpPr txBox="1"/>
          <p:nvPr/>
        </p:nvSpPr>
        <p:spPr>
          <a:xfrm>
            <a:off x="6239661" y="4384078"/>
            <a:ext cx="5683881" cy="246221"/>
          </a:xfrm>
          <a:prstGeom prst="rect">
            <a:avLst/>
          </a:prstGeom>
          <a:noFill/>
        </p:spPr>
        <p:txBody>
          <a:bodyPr wrap="square" lIns="91395" tIns="45700" rIns="91395" bIns="45700" rtlCol="0">
            <a:spAutoFit/>
          </a:bodyPr>
          <a:lstStyle/>
          <a:p>
            <a:pPr defTabSz="913960">
              <a:defRPr/>
            </a:pPr>
            <a:r>
              <a:rPr lang="en-IN" sz="1000" i="1" dirty="0">
                <a:solidFill>
                  <a:srgbClr val="000000"/>
                </a:solidFill>
                <a:latin typeface="Arial" panose="020B0604020202020204" pitchFamily="34" charset="0"/>
                <a:cs typeface="Arial" panose="020B0604020202020204" pitchFamily="34" charset="0"/>
              </a:rPr>
              <a:t>Source: </a:t>
            </a:r>
            <a:r>
              <a:rPr lang="en-US" sz="1000" i="1" dirty="0">
                <a:solidFill>
                  <a:srgbClr val="000000"/>
                </a:solidFill>
                <a:latin typeface="Arial" panose="020B0604020202020204" pitchFamily="34" charset="0"/>
                <a:cs typeface="Arial" panose="020B0604020202020204" pitchFamily="34" charset="0"/>
              </a:rPr>
              <a:t>Ministry of Agriculture, CRISIL Research</a:t>
            </a:r>
            <a:endParaRPr lang="en-US" sz="1000" i="1" dirty="0">
              <a:solidFill>
                <a:prstClr val="black"/>
              </a:solidFill>
              <a:latin typeface="Arial" panose="020B0604020202020204" pitchFamily="34" charset="0"/>
              <a:cs typeface="Arial" panose="020B0604020202020204" pitchFamily="34" charset="0"/>
            </a:endParaRPr>
          </a:p>
        </p:txBody>
      </p:sp>
      <p:sp>
        <p:nvSpPr>
          <p:cNvPr id="2" name="Rectangle 1"/>
          <p:cNvSpPr/>
          <p:nvPr/>
        </p:nvSpPr>
        <p:spPr>
          <a:xfrm>
            <a:off x="5976257" y="3510644"/>
            <a:ext cx="2286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defTabSz="913960">
              <a:defRPr/>
            </a:pPr>
            <a:endParaRPr lang="en-US">
              <a:solidFill>
                <a:srgbClr val="FFFFFF"/>
              </a:solidFill>
            </a:endParaRPr>
          </a:p>
        </p:txBody>
      </p:sp>
      <p:sp>
        <p:nvSpPr>
          <p:cNvPr id="21" name="TextBox 20"/>
          <p:cNvSpPr txBox="1"/>
          <p:nvPr/>
        </p:nvSpPr>
        <p:spPr>
          <a:xfrm>
            <a:off x="6263755" y="4061264"/>
            <a:ext cx="5482718" cy="400110"/>
          </a:xfrm>
          <a:prstGeom prst="rect">
            <a:avLst/>
          </a:prstGeom>
          <a:noFill/>
        </p:spPr>
        <p:txBody>
          <a:bodyPr wrap="square" lIns="91440" tIns="45720" rIns="91440" bIns="45720" rtlCol="0">
            <a:spAutoFit/>
          </a:bodyPr>
          <a:lstStyle/>
          <a:p>
            <a:pPr defTabSz="913960">
              <a:defRPr/>
            </a:pPr>
            <a:r>
              <a:rPr lang="en-IN" sz="1000" i="1" dirty="0">
                <a:solidFill>
                  <a:srgbClr val="000000"/>
                </a:solidFill>
                <a:latin typeface="Arial" panose="020B0604020202020204" pitchFamily="34" charset="0"/>
                <a:cs typeface="Arial" panose="020B0604020202020204" pitchFamily="34" charset="0"/>
              </a:rPr>
              <a:t>MY: Marketing year, P: Projected</a:t>
            </a:r>
          </a:p>
          <a:p>
            <a:pPr defTabSz="913960">
              <a:defRPr/>
            </a:pPr>
            <a:r>
              <a:rPr lang="en-IN" sz="1000" i="1" dirty="0">
                <a:solidFill>
                  <a:srgbClr val="000000"/>
                </a:solidFill>
                <a:latin typeface="Arial" panose="020B0604020202020204" pitchFamily="34" charset="0"/>
                <a:cs typeface="Arial" panose="020B0604020202020204" pitchFamily="34" charset="0"/>
              </a:rPr>
              <a:t>Notes: 1) Base of 100 for Index (kharif and </a:t>
            </a:r>
            <a:r>
              <a:rPr lang="en-IN" sz="1000" i="1" dirty="0" err="1">
                <a:solidFill>
                  <a:srgbClr val="000000"/>
                </a:solidFill>
                <a:latin typeface="Arial" panose="020B0604020202020204" pitchFamily="34" charset="0"/>
                <a:cs typeface="Arial" panose="020B0604020202020204" pitchFamily="34" charset="0"/>
              </a:rPr>
              <a:t>rabi</a:t>
            </a:r>
            <a:r>
              <a:rPr lang="en-IN" sz="1000" i="1" dirty="0">
                <a:solidFill>
                  <a:srgbClr val="000000"/>
                </a:solidFill>
                <a:latin typeface="Arial" panose="020B0604020202020204" pitchFamily="34" charset="0"/>
                <a:cs typeface="Arial" panose="020B0604020202020204" pitchFamily="34" charset="0"/>
              </a:rPr>
              <a:t>) taken in MY Jan-Dec 2015 </a:t>
            </a:r>
          </a:p>
        </p:txBody>
      </p:sp>
      <p:graphicFrame>
        <p:nvGraphicFramePr>
          <p:cNvPr id="13" name="Chart 12">
            <a:extLst>
              <a:ext uri="{FF2B5EF4-FFF2-40B4-BE49-F238E27FC236}">
                <a16:creationId xmlns:a16="http://schemas.microsoft.com/office/drawing/2014/main" id="{2CEC3A5E-12AB-481B-B4C9-EE938194C183}"/>
              </a:ext>
            </a:extLst>
          </p:cNvPr>
          <p:cNvGraphicFramePr>
            <a:graphicFrameLocks/>
          </p:cNvGraphicFramePr>
          <p:nvPr>
            <p:extLst>
              <p:ext uri="{D42A27DB-BD31-4B8C-83A1-F6EECF244321}">
                <p14:modId xmlns:p14="http://schemas.microsoft.com/office/powerpoint/2010/main" val="2855164438"/>
              </p:ext>
            </p:extLst>
          </p:nvPr>
        </p:nvGraphicFramePr>
        <p:xfrm>
          <a:off x="397163" y="1511675"/>
          <a:ext cx="5486400" cy="24927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1CF456D8-89C5-418E-8DA8-4CDE055CA898}"/>
              </a:ext>
            </a:extLst>
          </p:cNvPr>
          <p:cNvGraphicFramePr>
            <a:graphicFrameLocks/>
          </p:cNvGraphicFramePr>
          <p:nvPr/>
        </p:nvGraphicFramePr>
        <p:xfrm>
          <a:off x="6239661" y="1411240"/>
          <a:ext cx="5783826" cy="25566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753937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7" y="74522"/>
            <a:ext cx="11818143" cy="782594"/>
          </a:xfrm>
        </p:spPr>
        <p:txBody>
          <a:bodyPr vert="horz" lIns="0" tIns="0" rIns="0" bIns="0" rtlCol="0" anchor="ctr">
            <a:noAutofit/>
          </a:bodyPr>
          <a:lstStyle/>
          <a:p>
            <a:r>
              <a:rPr lang="en-US" sz="2800" b="1" dirty="0">
                <a:solidFill>
                  <a:srgbClr val="272727"/>
                </a:solidFill>
                <a:latin typeface="Akkurat-Bold"/>
              </a:rPr>
              <a:t>Pandemic slowed down the fast-paced growth of the two-wheeler finance; Festive demand remained muted</a:t>
            </a:r>
            <a:endParaRPr lang="en-US" sz="2800" b="1" i="0" dirty="0">
              <a:solidFill>
                <a:srgbClr val="272727"/>
              </a:solidFill>
              <a:effectLst/>
              <a:latin typeface="Akkurat-Bold"/>
            </a:endParaRPr>
          </a:p>
        </p:txBody>
      </p:sp>
      <p:sp>
        <p:nvSpPr>
          <p:cNvPr id="18" name="Rectangle 17"/>
          <p:cNvSpPr/>
          <p:nvPr/>
        </p:nvSpPr>
        <p:spPr>
          <a:xfrm rot="5400000">
            <a:off x="9985477" y="-678112"/>
            <a:ext cx="360000" cy="3748244"/>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defTabSz="913960">
              <a:defRPr/>
            </a:pPr>
            <a:r>
              <a:rPr lang="en-US" sz="1600" b="1" dirty="0">
                <a:solidFill>
                  <a:srgbClr val="FFFFFF"/>
                </a:solidFill>
                <a:latin typeface="Arial" panose="020B0604020202020204" pitchFamily="34" charset="0"/>
                <a:cs typeface="Arial" panose="020B0604020202020204" pitchFamily="34" charset="0"/>
              </a:rPr>
              <a:t>Loan-to-value</a:t>
            </a:r>
          </a:p>
        </p:txBody>
      </p:sp>
      <p:sp>
        <p:nvSpPr>
          <p:cNvPr id="12" name="Rectangle 11"/>
          <p:cNvSpPr/>
          <p:nvPr/>
        </p:nvSpPr>
        <p:spPr>
          <a:xfrm rot="5400000">
            <a:off x="6076019" y="-701371"/>
            <a:ext cx="360000" cy="3794761"/>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defTabSz="913960">
              <a:defRPr/>
            </a:pPr>
            <a:r>
              <a:rPr lang="en-US" sz="1600" b="1" dirty="0">
                <a:solidFill>
                  <a:srgbClr val="FFFFFF"/>
                </a:solidFill>
                <a:latin typeface="Arial" panose="020B0604020202020204" pitchFamily="34" charset="0"/>
                <a:cs typeface="Arial" panose="020B0604020202020204" pitchFamily="34" charset="0"/>
              </a:rPr>
              <a:t>Auto finance penetration</a:t>
            </a:r>
          </a:p>
        </p:txBody>
      </p:sp>
      <p:sp>
        <p:nvSpPr>
          <p:cNvPr id="9" name="TextBox 8"/>
          <p:cNvSpPr txBox="1"/>
          <p:nvPr/>
        </p:nvSpPr>
        <p:spPr>
          <a:xfrm>
            <a:off x="407988" y="5331992"/>
            <a:ext cx="11661775" cy="830956"/>
          </a:xfrm>
          <a:prstGeom prst="rect">
            <a:avLst/>
          </a:prstGeom>
          <a:solidFill>
            <a:schemeClr val="bg1">
              <a:lumMod val="85000"/>
            </a:schemeClr>
          </a:solidFill>
        </p:spPr>
        <p:txBody>
          <a:bodyPr wrap="square" lIns="91395" tIns="45700" rIns="91395" bIns="45700" rtlCol="0" anchor="ctr">
            <a:spAutoFit/>
          </a:bodyPr>
          <a:lstStyle/>
          <a:p>
            <a:pPr marL="285615" indent="-285615" defTabSz="913960">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The disbursements are on the road to getting back on track and is expected to get better in the coming year considering the slight recovery in two-wheeler segment.</a:t>
            </a:r>
          </a:p>
          <a:p>
            <a:pPr marL="285615" indent="-285615" defTabSz="913960">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The festive seasons in India have always been the hype for Auto Markets, but due to rise in prices of petrol and vehicles, the demand remains sluggish as people are refraining from buying a brand new two-wheeler with their income levels staying intact.</a:t>
            </a:r>
          </a:p>
          <a:p>
            <a:pPr marL="285615" indent="-285615" defTabSz="913960">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As economic condition of India is slowly but surely improving, the LTV levels are supposed to be restored by the players in the coming financial year</a:t>
            </a:r>
            <a:endParaRPr lang="en-IN" sz="1200" dirty="0">
              <a:solidFill>
                <a:srgbClr val="000000"/>
              </a:solidFill>
              <a:latin typeface="Arial" panose="020B0604020202020204" pitchFamily="34" charset="0"/>
              <a:cs typeface="Arial" panose="020B0604020202020204" pitchFamily="34" charset="0"/>
            </a:endParaRPr>
          </a:p>
        </p:txBody>
      </p:sp>
      <p:sp>
        <p:nvSpPr>
          <p:cNvPr id="13" name="Rectangle 12"/>
          <p:cNvSpPr/>
          <p:nvPr/>
        </p:nvSpPr>
        <p:spPr>
          <a:xfrm rot="5400000">
            <a:off x="2136559" y="-693671"/>
            <a:ext cx="360000" cy="3779362"/>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defTabSz="913960">
              <a:defRPr/>
            </a:pPr>
            <a:r>
              <a:rPr lang="en-US" sz="1600" b="1" dirty="0">
                <a:solidFill>
                  <a:srgbClr val="FFFFFF"/>
                </a:solidFill>
                <a:latin typeface="Arial" panose="020B0604020202020204" pitchFamily="34" charset="0"/>
                <a:cs typeface="Arial" panose="020B0604020202020204" pitchFamily="34" charset="0"/>
              </a:rPr>
              <a:t>Disbursement</a:t>
            </a:r>
          </a:p>
        </p:txBody>
      </p:sp>
      <p:sp>
        <p:nvSpPr>
          <p:cNvPr id="14" name="TextBox 13">
            <a:extLst>
              <a:ext uri="{FF2B5EF4-FFF2-40B4-BE49-F238E27FC236}">
                <a16:creationId xmlns:a16="http://schemas.microsoft.com/office/drawing/2014/main" id="{531E04AD-6392-40B8-AC69-936B602E0EF5}"/>
              </a:ext>
            </a:extLst>
          </p:cNvPr>
          <p:cNvSpPr txBox="1"/>
          <p:nvPr/>
        </p:nvSpPr>
        <p:spPr>
          <a:xfrm>
            <a:off x="347944" y="4826710"/>
            <a:ext cx="5683881" cy="246221"/>
          </a:xfrm>
          <a:prstGeom prst="rect">
            <a:avLst/>
          </a:prstGeom>
          <a:noFill/>
        </p:spPr>
        <p:txBody>
          <a:bodyPr wrap="square" lIns="91395" tIns="45700" rIns="91395" bIns="45700" rtlCol="0">
            <a:spAutoFit/>
          </a:bodyPr>
          <a:lstStyle/>
          <a:p>
            <a:pPr defTabSz="913960">
              <a:defRPr/>
            </a:pPr>
            <a:r>
              <a:rPr lang="en-IN" sz="1000" i="1" dirty="0">
                <a:solidFill>
                  <a:prstClr val="black"/>
                </a:solidFill>
                <a:latin typeface="Arial" panose="020B0604020202020204" pitchFamily="34" charset="0"/>
                <a:cs typeface="Arial" panose="020B0604020202020204" pitchFamily="34" charset="0"/>
              </a:rPr>
              <a:t>Source: </a:t>
            </a:r>
            <a:r>
              <a:rPr lang="en-US" sz="1000" i="1" dirty="0">
                <a:solidFill>
                  <a:prstClr val="black"/>
                </a:solidFill>
                <a:latin typeface="Arial" panose="020B0604020202020204" pitchFamily="34" charset="0"/>
                <a:cs typeface="Arial" panose="020B0604020202020204" pitchFamily="34" charset="0"/>
              </a:rPr>
              <a:t> Experian Credit Bureau, Company Reports, CRISIL Research</a:t>
            </a:r>
            <a:endParaRPr lang="en-IN" sz="1000" i="1" dirty="0">
              <a:solidFill>
                <a:prstClr val="black"/>
              </a:solidFill>
              <a:latin typeface="Arial" panose="020B0604020202020204" pitchFamily="34" charset="0"/>
              <a:cs typeface="Arial" panose="020B0604020202020204" pitchFamily="34" charset="0"/>
            </a:endParaRPr>
          </a:p>
        </p:txBody>
      </p:sp>
      <p:graphicFrame>
        <p:nvGraphicFramePr>
          <p:cNvPr id="15" name="Chart 14">
            <a:extLst>
              <a:ext uri="{FF2B5EF4-FFF2-40B4-BE49-F238E27FC236}">
                <a16:creationId xmlns:a16="http://schemas.microsoft.com/office/drawing/2014/main" id="{9C83FD2C-267F-41B5-8F52-D1EB47D574A3}"/>
              </a:ext>
            </a:extLst>
          </p:cNvPr>
          <p:cNvGraphicFramePr>
            <a:graphicFrameLocks/>
          </p:cNvGraphicFramePr>
          <p:nvPr/>
        </p:nvGraphicFramePr>
        <p:xfrm>
          <a:off x="373857" y="1709023"/>
          <a:ext cx="3917951" cy="29698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AA1B4232-687D-424D-8EA5-DC69FAFF2489}"/>
              </a:ext>
            </a:extLst>
          </p:cNvPr>
          <p:cNvGraphicFramePr>
            <a:graphicFrameLocks/>
          </p:cNvGraphicFramePr>
          <p:nvPr/>
        </p:nvGraphicFramePr>
        <p:xfrm>
          <a:off x="4417459" y="1709023"/>
          <a:ext cx="3749040" cy="29260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0CAF016E-41E0-40BF-9409-058C674C8CD3}"/>
              </a:ext>
            </a:extLst>
          </p:cNvPr>
          <p:cNvGraphicFramePr>
            <a:graphicFrameLocks/>
          </p:cNvGraphicFramePr>
          <p:nvPr/>
        </p:nvGraphicFramePr>
        <p:xfrm>
          <a:off x="8291355" y="1709023"/>
          <a:ext cx="3748244" cy="292608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6243058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0939" y="4113425"/>
            <a:ext cx="3416967" cy="400069"/>
          </a:xfrm>
          <a:prstGeom prst="rect">
            <a:avLst/>
          </a:prstGeom>
          <a:noFill/>
        </p:spPr>
        <p:txBody>
          <a:bodyPr wrap="square" lIns="91395" tIns="45700" rIns="91395" bIns="45700" rtlCol="0">
            <a:spAutoFit/>
          </a:body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Retail numbers are estimated</a:t>
            </a:r>
          </a:p>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a:t>
            </a:r>
            <a:r>
              <a:rPr kumimoji="0" lang="en-IN" sz="10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RTH</a:t>
            </a: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IAM, CRISIL Research</a:t>
            </a:r>
            <a:endParaRPr kumimoji="0" lang="en-IN"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Title 1"/>
          <p:cNvSpPr txBox="1">
            <a:spLocks/>
          </p:cNvSpPr>
          <p:nvPr/>
        </p:nvSpPr>
        <p:spPr>
          <a:xfrm>
            <a:off x="408216" y="200667"/>
            <a:ext cx="11567217" cy="709150"/>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defTabSz="913960">
              <a:defRPr/>
            </a:pPr>
            <a:r>
              <a:rPr lang="en-US" sz="2800" dirty="0">
                <a:solidFill>
                  <a:srgbClr val="000000"/>
                </a:solidFill>
              </a:rPr>
              <a:t>Two-wheeler retail volumes witnessed a huge decline on year in fiscal 2022</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6" name="TextBox 15">
            <a:extLst>
              <a:ext uri="{FF2B5EF4-FFF2-40B4-BE49-F238E27FC236}">
                <a16:creationId xmlns:a16="http://schemas.microsoft.com/office/drawing/2014/main" id="{7513A8EC-6F85-44D9-856C-91BF87DAEC78}"/>
              </a:ext>
            </a:extLst>
          </p:cNvPr>
          <p:cNvSpPr txBox="1"/>
          <p:nvPr/>
        </p:nvSpPr>
        <p:spPr>
          <a:xfrm>
            <a:off x="406400" y="4559982"/>
            <a:ext cx="11624913" cy="1015622"/>
          </a:xfrm>
          <a:prstGeom prst="rect">
            <a:avLst/>
          </a:prstGeom>
          <a:solidFill>
            <a:schemeClr val="bg1">
              <a:lumMod val="85000"/>
            </a:schemeClr>
          </a:solidFill>
        </p:spPr>
        <p:txBody>
          <a:bodyPr wrap="square" lIns="91395" tIns="45700" rIns="91395" bIns="45700" rtlCol="0" anchor="ctr">
            <a:spAutoFit/>
          </a:bodyPr>
          <a:lstStyle>
            <a:defPPr>
              <a:defRPr lang="en-US"/>
            </a:defPPr>
            <a:lvl1pPr marL="171450" indent="-171450">
              <a:buSzPct val="150000"/>
              <a:buFont typeface="Arial" panose="020B0604020202020204" pitchFamily="34" charset="0"/>
              <a:buChar char="•"/>
              <a:defRPr sz="1200">
                <a:latin typeface="Arial" panose="020B0604020202020204" pitchFamily="34" charset="0"/>
                <a:cs typeface="Arial" panose="020B0604020202020204" pitchFamily="34" charset="0"/>
              </a:defRPr>
            </a:lvl1pPr>
          </a:lstStyle>
          <a:p>
            <a:pPr lvl="0" defTabSz="913960">
              <a:defRPr/>
            </a:pPr>
            <a:r>
              <a:rPr lang="en-US" dirty="0">
                <a:solidFill>
                  <a:srgbClr val="000000"/>
                </a:solidFill>
              </a:rPr>
              <a:t>Wholesale offtake of leading two-wheeler manufacturers, declined in FY22 as compared to the previous year. Whereas sequential demand also witnessed a significant decline due to weak demand sentiments.</a:t>
            </a:r>
          </a:p>
          <a:p>
            <a:pPr lvl="0" defTabSz="913960">
              <a:defRPr/>
            </a:pPr>
            <a:r>
              <a:rPr lang="en-US" dirty="0">
                <a:solidFill>
                  <a:srgbClr val="000000"/>
                </a:solidFill>
              </a:rPr>
              <a:t>D</a:t>
            </a: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aler</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evel inventory stood higher during the month. This higher dealer inventory led to major OEMs </a:t>
            </a:r>
            <a:r>
              <a:rPr lang="en-US" dirty="0">
                <a:solidFill>
                  <a:srgbClr val="000000"/>
                </a:solidFill>
              </a:rPr>
              <a:t>announcing production cuts in Dec 2021, however overall offtake was higher than retail in Q4 FY22</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lvl="0" defTabSz="913960">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gher dealer inventory, production cuts by OEMs and semiconductor shortage kept the two-wheeler wholesales under pressure in FY22.</a:t>
            </a:r>
          </a:p>
        </p:txBody>
      </p:sp>
      <p:sp>
        <p:nvSpPr>
          <p:cNvPr id="17" name="Rectangle 16">
            <a:extLst>
              <a:ext uri="{FF2B5EF4-FFF2-40B4-BE49-F238E27FC236}">
                <a16:creationId xmlns:a16="http://schemas.microsoft.com/office/drawing/2014/main" id="{3103428D-6329-46DC-ABD9-EBDEA0B35476}"/>
              </a:ext>
            </a:extLst>
          </p:cNvPr>
          <p:cNvSpPr/>
          <p:nvPr/>
        </p:nvSpPr>
        <p:spPr>
          <a:xfrm rot="5400000">
            <a:off x="6044692" y="-4557657"/>
            <a:ext cx="356616" cy="11633200"/>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tail vs off-take sales trend</a:t>
            </a:r>
          </a:p>
        </p:txBody>
      </p:sp>
      <p:graphicFrame>
        <p:nvGraphicFramePr>
          <p:cNvPr id="9" name="Chart 8">
            <a:extLst>
              <a:ext uri="{FF2B5EF4-FFF2-40B4-BE49-F238E27FC236}">
                <a16:creationId xmlns:a16="http://schemas.microsoft.com/office/drawing/2014/main" id="{EC9FCDC7-05D0-42FB-AC44-EEC62E2234C6}"/>
              </a:ext>
            </a:extLst>
          </p:cNvPr>
          <p:cNvGraphicFramePr>
            <a:graphicFrameLocks/>
          </p:cNvGraphicFramePr>
          <p:nvPr>
            <p:extLst>
              <p:ext uri="{D42A27DB-BD31-4B8C-83A1-F6EECF244321}">
                <p14:modId xmlns:p14="http://schemas.microsoft.com/office/powerpoint/2010/main" val="197124775"/>
              </p:ext>
            </p:extLst>
          </p:nvPr>
        </p:nvGraphicFramePr>
        <p:xfrm>
          <a:off x="406400" y="1576072"/>
          <a:ext cx="11633200" cy="25468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420223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7" y="0"/>
            <a:ext cx="11665743" cy="640855"/>
          </a:xfrm>
        </p:spPr>
        <p:txBody>
          <a:bodyPr vert="horz" lIns="0" tIns="0" rIns="0" bIns="0" rtlCol="0" anchor="ctr">
            <a:noAutofit/>
          </a:bodyPr>
          <a:lstStyle/>
          <a:p>
            <a:r>
              <a:rPr lang="en-US" sz="2400" b="1" dirty="0">
                <a:solidFill>
                  <a:schemeClr val="tx1"/>
                </a:solidFill>
                <a:latin typeface="Arial" panose="020B0604020202020204" pitchFamily="34" charset="0"/>
                <a:cs typeface="Arial" panose="020B0604020202020204" pitchFamily="34" charset="0"/>
              </a:rPr>
              <a:t>Capacity utilization levels to remain stable in FY23</a:t>
            </a:r>
          </a:p>
        </p:txBody>
      </p:sp>
      <p:sp>
        <p:nvSpPr>
          <p:cNvPr id="6" name="Rectangle 5"/>
          <p:cNvSpPr/>
          <p:nvPr/>
        </p:nvSpPr>
        <p:spPr>
          <a:xfrm rot="5400000">
            <a:off x="3026095" y="-1820651"/>
            <a:ext cx="356616" cy="5616575"/>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defTabSz="913960">
              <a:defRPr/>
            </a:pPr>
            <a:r>
              <a:rPr lang="en-US" sz="1400" b="1" dirty="0">
                <a:solidFill>
                  <a:srgbClr val="FFFFFF"/>
                </a:solidFill>
                <a:latin typeface="Arial" panose="020B0604020202020204" pitchFamily="34" charset="0"/>
                <a:cs typeface="Arial" panose="020B0604020202020204" pitchFamily="34" charset="0"/>
              </a:rPr>
              <a:t>Utilisation rates to jump to pre-</a:t>
            </a:r>
            <a:r>
              <a:rPr lang="en-US" sz="1400" b="1" dirty="0" err="1">
                <a:solidFill>
                  <a:srgbClr val="FFFFFF"/>
                </a:solidFill>
                <a:latin typeface="Arial" panose="020B0604020202020204" pitchFamily="34" charset="0"/>
                <a:cs typeface="Arial" panose="020B0604020202020204" pitchFamily="34" charset="0"/>
              </a:rPr>
              <a:t>covid</a:t>
            </a:r>
            <a:r>
              <a:rPr lang="en-US" sz="1400" b="1" dirty="0">
                <a:solidFill>
                  <a:srgbClr val="FFFFFF"/>
                </a:solidFill>
                <a:latin typeface="Arial" panose="020B0604020202020204" pitchFamily="34" charset="0"/>
                <a:cs typeface="Arial" panose="020B0604020202020204" pitchFamily="34" charset="0"/>
              </a:rPr>
              <a:t> levels</a:t>
            </a:r>
          </a:p>
        </p:txBody>
      </p:sp>
      <p:sp>
        <p:nvSpPr>
          <p:cNvPr id="18" name="Rectangle 17"/>
          <p:cNvSpPr/>
          <p:nvPr/>
        </p:nvSpPr>
        <p:spPr>
          <a:xfrm rot="5400000">
            <a:off x="8977605" y="-1905278"/>
            <a:ext cx="356616" cy="5767375"/>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algn="ctr" defTabSz="913960">
              <a:defRPr/>
            </a:pPr>
            <a:r>
              <a:rPr lang="en-US" sz="1400" b="1" dirty="0" err="1">
                <a:solidFill>
                  <a:srgbClr val="FFFFFF"/>
                </a:solidFill>
                <a:latin typeface="Arial" panose="020B0604020202020204" pitchFamily="34" charset="0"/>
                <a:cs typeface="Arial" panose="020B0604020202020204" pitchFamily="34" charset="0"/>
              </a:rPr>
              <a:t>Utilisation</a:t>
            </a:r>
            <a:r>
              <a:rPr lang="en-US" sz="1400" b="1" dirty="0">
                <a:solidFill>
                  <a:srgbClr val="FFFFFF"/>
                </a:solidFill>
                <a:latin typeface="Arial" panose="020B0604020202020204" pitchFamily="34" charset="0"/>
                <a:cs typeface="Arial" panose="020B0604020202020204" pitchFamily="34" charset="0"/>
              </a:rPr>
              <a:t> levels </a:t>
            </a:r>
          </a:p>
        </p:txBody>
      </p:sp>
      <p:graphicFrame>
        <p:nvGraphicFramePr>
          <p:cNvPr id="5" name="Table 4"/>
          <p:cNvGraphicFramePr>
            <a:graphicFrameLocks noGrp="1"/>
          </p:cNvGraphicFramePr>
          <p:nvPr>
            <p:extLst>
              <p:ext uri="{D42A27DB-BD31-4B8C-83A1-F6EECF244321}">
                <p14:modId xmlns:p14="http://schemas.microsoft.com/office/powerpoint/2010/main" val="1859379088"/>
              </p:ext>
            </p:extLst>
          </p:nvPr>
        </p:nvGraphicFramePr>
        <p:xfrm>
          <a:off x="6272225" y="1277224"/>
          <a:ext cx="5767376" cy="4283322"/>
        </p:xfrm>
        <a:graphic>
          <a:graphicData uri="http://schemas.openxmlformats.org/drawingml/2006/table">
            <a:tbl>
              <a:tblPr firstRow="1" bandRow="1">
                <a:tableStyleId>{74C1A8A3-306A-4EB7-A6B1-4F7E0EB9C5D6}</a:tableStyleId>
              </a:tblPr>
              <a:tblGrid>
                <a:gridCol w="1290760">
                  <a:extLst>
                    <a:ext uri="{9D8B030D-6E8A-4147-A177-3AD203B41FA5}">
                      <a16:colId xmlns:a16="http://schemas.microsoft.com/office/drawing/2014/main" val="20000"/>
                    </a:ext>
                  </a:extLst>
                </a:gridCol>
                <a:gridCol w="1110343">
                  <a:extLst>
                    <a:ext uri="{9D8B030D-6E8A-4147-A177-3AD203B41FA5}">
                      <a16:colId xmlns:a16="http://schemas.microsoft.com/office/drawing/2014/main" val="20001"/>
                    </a:ext>
                  </a:extLst>
                </a:gridCol>
                <a:gridCol w="1059321">
                  <a:extLst>
                    <a:ext uri="{9D8B030D-6E8A-4147-A177-3AD203B41FA5}">
                      <a16:colId xmlns:a16="http://schemas.microsoft.com/office/drawing/2014/main" val="20002"/>
                    </a:ext>
                  </a:extLst>
                </a:gridCol>
                <a:gridCol w="1153476">
                  <a:extLst>
                    <a:ext uri="{9D8B030D-6E8A-4147-A177-3AD203B41FA5}">
                      <a16:colId xmlns:a16="http://schemas.microsoft.com/office/drawing/2014/main" val="20003"/>
                    </a:ext>
                  </a:extLst>
                </a:gridCol>
                <a:gridCol w="1153476">
                  <a:extLst>
                    <a:ext uri="{9D8B030D-6E8A-4147-A177-3AD203B41FA5}">
                      <a16:colId xmlns:a16="http://schemas.microsoft.com/office/drawing/2014/main" val="20004"/>
                    </a:ext>
                  </a:extLst>
                </a:gridCol>
              </a:tblGrid>
              <a:tr h="977484">
                <a:tc>
                  <a:txBody>
                    <a:bodyPr/>
                    <a:lstStyle/>
                    <a:p>
                      <a:pPr algn="ctr" rtl="0" fontAlgn="ctr"/>
                      <a:r>
                        <a:rPr lang="en-US" sz="1100" u="none" strike="noStrike" dirty="0">
                          <a:effectLst/>
                          <a:latin typeface="Arial" panose="020B0604020202020204" pitchFamily="34" charset="0"/>
                          <a:cs typeface="Arial" panose="020B0604020202020204" pitchFamily="34" charset="0"/>
                        </a:rPr>
                        <a:t>Player</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u="none" strike="noStrike" dirty="0">
                          <a:effectLst/>
                          <a:latin typeface="Arial" panose="020B0604020202020204" pitchFamily="34" charset="0"/>
                          <a:cs typeface="Arial" panose="020B0604020202020204" pitchFamily="34" charset="0"/>
                        </a:rPr>
                        <a:t>Effective Capacity*</a:t>
                      </a:r>
                    </a:p>
                    <a:p>
                      <a:pPr algn="ctr" rtl="0" fontAlgn="ctr"/>
                      <a:r>
                        <a:rPr lang="en-US" sz="1100" u="none" strike="noStrike" dirty="0">
                          <a:effectLst/>
                          <a:latin typeface="Arial" panose="020B0604020202020204" pitchFamily="34" charset="0"/>
                          <a:cs typeface="Arial" panose="020B0604020202020204" pitchFamily="34" charset="0"/>
                        </a:rPr>
                        <a:t>in </a:t>
                      </a:r>
                      <a:r>
                        <a:rPr lang="en-US" sz="1100" u="none" strike="noStrike" dirty="0" err="1">
                          <a:effectLst/>
                          <a:latin typeface="Arial" panose="020B0604020202020204" pitchFamily="34" charset="0"/>
                          <a:cs typeface="Arial" panose="020B0604020202020204" pitchFamily="34" charset="0"/>
                        </a:rPr>
                        <a:t>mn</a:t>
                      </a:r>
                      <a:r>
                        <a:rPr lang="en-US" sz="1100" u="none" strike="noStrike" dirty="0">
                          <a:effectLst/>
                          <a:latin typeface="Arial" panose="020B0604020202020204" pitchFamily="34" charset="0"/>
                          <a:cs typeface="Arial" panose="020B0604020202020204" pitchFamily="34" charset="0"/>
                        </a:rPr>
                        <a:t> </a:t>
                      </a:r>
                    </a:p>
                    <a:p>
                      <a:pPr algn="ctr" rtl="0" fontAlgn="ctr"/>
                      <a:r>
                        <a:rPr lang="en-US" sz="1100" u="none" strike="noStrike" dirty="0">
                          <a:effectLst/>
                          <a:latin typeface="Arial" panose="020B0604020202020204" pitchFamily="34" charset="0"/>
                          <a:cs typeface="Arial" panose="020B0604020202020204" pitchFamily="34" charset="0"/>
                        </a:rPr>
                        <a:t>(as on 31st Mar 2022)</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u="none" strike="noStrike" dirty="0">
                          <a:effectLst/>
                          <a:latin typeface="Arial" panose="020B0604020202020204" pitchFamily="34" charset="0"/>
                          <a:cs typeface="Arial" panose="020B0604020202020204" pitchFamily="34" charset="0"/>
                        </a:rPr>
                        <a:t>Production </a:t>
                      </a:r>
                    </a:p>
                    <a:p>
                      <a:pPr algn="ctr" rtl="0" fontAlgn="ctr"/>
                      <a:r>
                        <a:rPr lang="en-US" sz="1100" u="none" strike="noStrike" dirty="0">
                          <a:effectLst/>
                          <a:latin typeface="Arial" panose="020B0604020202020204" pitchFamily="34" charset="0"/>
                          <a:cs typeface="Arial" panose="020B0604020202020204" pitchFamily="34" charset="0"/>
                        </a:rPr>
                        <a:t>(in </a:t>
                      </a:r>
                      <a:r>
                        <a:rPr lang="en-US" sz="1100" u="none" strike="noStrike" dirty="0" err="1">
                          <a:effectLst/>
                          <a:latin typeface="Arial" panose="020B0604020202020204" pitchFamily="34" charset="0"/>
                          <a:cs typeface="Arial" panose="020B0604020202020204" pitchFamily="34" charset="0"/>
                        </a:rPr>
                        <a:t>mn</a:t>
                      </a:r>
                      <a:r>
                        <a:rPr lang="en-US" sz="1100" u="none" strike="noStrike" dirty="0">
                          <a:effectLst/>
                          <a:latin typeface="Arial" panose="020B0604020202020204" pitchFamily="34" charset="0"/>
                          <a:cs typeface="Arial" panose="020B0604020202020204" pitchFamily="34" charset="0"/>
                        </a:rPr>
                        <a:t>)</a:t>
                      </a:r>
                    </a:p>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FY22</a:t>
                      </a: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u="none" strike="noStrike" dirty="0">
                          <a:effectLst/>
                          <a:latin typeface="Arial" panose="020B0604020202020204" pitchFamily="34" charset="0"/>
                          <a:cs typeface="Arial" panose="020B0604020202020204" pitchFamily="34" charset="0"/>
                        </a:rPr>
                        <a:t>Capacity utilization </a:t>
                      </a:r>
                    </a:p>
                    <a:p>
                      <a:pPr algn="ctr" rtl="0" fontAlgn="ctr"/>
                      <a:r>
                        <a:rPr lang="en-US" sz="1100" u="none" strike="noStrike" dirty="0">
                          <a:effectLst/>
                          <a:latin typeface="Arial" panose="020B0604020202020204" pitchFamily="34" charset="0"/>
                          <a:cs typeface="Arial" panose="020B0604020202020204" pitchFamily="34" charset="0"/>
                        </a:rPr>
                        <a:t>FY22</a:t>
                      </a: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Capacity Utilization </a:t>
                      </a:r>
                    </a:p>
                    <a:p>
                      <a:pPr algn="ctr" rtl="0" fontAlgn="ctr"/>
                      <a:r>
                        <a:rPr lang="en-US" sz="1100" b="1" i="0" u="none" strike="noStrike" dirty="0">
                          <a:solidFill>
                            <a:schemeClr val="bg1"/>
                          </a:solidFill>
                          <a:effectLst/>
                          <a:latin typeface="Arial" panose="020B0604020202020204" pitchFamily="34" charset="0"/>
                          <a:cs typeface="Arial" panose="020B0604020202020204" pitchFamily="34" charset="0"/>
                        </a:rPr>
                        <a:t>Q4 FY22</a:t>
                      </a: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408485">
                <a:tc>
                  <a:txBody>
                    <a:bodyPr/>
                    <a:lstStyle/>
                    <a:p>
                      <a:pPr algn="ctr" rtl="0" fontAlgn="ctr"/>
                      <a:r>
                        <a:rPr lang="en-US" sz="1100" u="none" strike="noStrike" dirty="0">
                          <a:effectLst/>
                          <a:latin typeface="Arial" panose="020B0604020202020204" pitchFamily="34" charset="0"/>
                          <a:cs typeface="Arial" panose="020B0604020202020204" pitchFamily="34" charset="0"/>
                        </a:rPr>
                        <a:t>  Hero</a:t>
                      </a:r>
                      <a:r>
                        <a:rPr lang="en-US" sz="1100" u="none" strike="noStrike" baseline="0" dirty="0">
                          <a:effectLst/>
                          <a:latin typeface="Arial" panose="020B0604020202020204" pitchFamily="34" charset="0"/>
                          <a:cs typeface="Arial" panose="020B0604020202020204" pitchFamily="34" charset="0"/>
                        </a:rPr>
                        <a:t> </a:t>
                      </a:r>
                      <a:r>
                        <a:rPr lang="en-US" sz="1100" u="none" strike="noStrike" baseline="0" dirty="0" err="1">
                          <a:effectLst/>
                          <a:latin typeface="Arial" panose="020B0604020202020204" pitchFamily="34" charset="0"/>
                          <a:cs typeface="Arial" panose="020B0604020202020204" pitchFamily="34" charset="0"/>
                        </a:rPr>
                        <a:t>Motocorp</a:t>
                      </a:r>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marL="0" algn="ctr" defTabSz="1097280" rtl="0" eaLnBrk="1" fontAlgn="ctr" latinLnBrk="0" hangingPunct="1"/>
                      <a:r>
                        <a:rPr lang="en-US" sz="1100" u="none" strike="noStrike" kern="1200" dirty="0">
                          <a:effectLst/>
                          <a:latin typeface="Arial" panose="020B0604020202020204" pitchFamily="34" charset="0"/>
                          <a:cs typeface="Arial" panose="020B0604020202020204" pitchFamily="34" charset="0"/>
                        </a:rPr>
                        <a:t>11.0</a:t>
                      </a:r>
                      <a:endParaRPr lang="en-US" sz="11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b="0" i="0" u="none" strike="noStrike">
                          <a:solidFill>
                            <a:srgbClr val="000000"/>
                          </a:solidFill>
                          <a:effectLst/>
                          <a:latin typeface="Arial" panose="020B0604020202020204" pitchFamily="34" charset="0"/>
                        </a:rPr>
                        <a:t>4.82</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b"/>
                      <a:r>
                        <a:rPr lang="en-US" sz="1100" b="0" i="0" u="none" strike="noStrike">
                          <a:solidFill>
                            <a:srgbClr val="000000"/>
                          </a:solidFill>
                          <a:effectLst/>
                          <a:latin typeface="Arial" panose="020B0604020202020204" pitchFamily="34" charset="0"/>
                        </a:rPr>
                        <a:t>53%</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US" sz="1400" b="0" i="0" u="none" strike="noStrike">
                          <a:solidFill>
                            <a:srgbClr val="000000"/>
                          </a:solidFill>
                          <a:effectLst/>
                          <a:latin typeface="Calibri" panose="020F0502020204030204" pitchFamily="34" charset="0"/>
                        </a:rPr>
                        <a:t>4%</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1"/>
                  </a:ext>
                </a:extLst>
              </a:tr>
              <a:tr h="290061">
                <a:tc>
                  <a:txBody>
                    <a:bodyPr/>
                    <a:lstStyle/>
                    <a:p>
                      <a:pPr algn="ctr" rtl="0" fontAlgn="ctr"/>
                      <a:r>
                        <a:rPr lang="en-US" sz="1200" u="none" strike="noStrike" dirty="0">
                          <a:effectLst/>
                          <a:latin typeface="Arial" panose="020B0604020202020204" pitchFamily="34" charset="0"/>
                          <a:cs typeface="Arial" panose="020B0604020202020204" pitchFamily="34" charset="0"/>
                        </a:rPr>
                        <a:t>  Bajaj</a:t>
                      </a:r>
                      <a:r>
                        <a:rPr lang="en-US" sz="1200" u="none" strike="noStrike" baseline="0" dirty="0">
                          <a:effectLst/>
                          <a:latin typeface="Arial" panose="020B0604020202020204" pitchFamily="34" charset="0"/>
                          <a:cs typeface="Arial" panose="020B0604020202020204" pitchFamily="34" charset="0"/>
                        </a:rPr>
                        <a:t> Auto</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u="none" strike="noStrike" dirty="0">
                          <a:effectLst/>
                          <a:latin typeface="Arial" panose="020B0604020202020204" pitchFamily="34" charset="0"/>
                          <a:cs typeface="Arial" panose="020B0604020202020204" pitchFamily="34" charset="0"/>
                        </a:rPr>
                        <a:t>5.4</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b="0" i="0" u="none" strike="noStrike">
                          <a:solidFill>
                            <a:srgbClr val="000000"/>
                          </a:solidFill>
                          <a:effectLst/>
                          <a:latin typeface="Arial" panose="020B0604020202020204" pitchFamily="34" charset="0"/>
                        </a:rPr>
                        <a:t>3.80</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b"/>
                      <a:r>
                        <a:rPr lang="en-US" sz="1200" b="0" i="0" u="none" strike="noStrike">
                          <a:solidFill>
                            <a:srgbClr val="000000"/>
                          </a:solidFill>
                          <a:effectLst/>
                          <a:latin typeface="Arial" panose="020B0604020202020204" pitchFamily="34" charset="0"/>
                        </a:rPr>
                        <a:t>67%</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5%</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45304">
                <a:tc>
                  <a:txBody>
                    <a:bodyPr/>
                    <a:lstStyle/>
                    <a:p>
                      <a:pPr algn="ctr" rtl="0" fontAlgn="ctr"/>
                      <a:r>
                        <a:rPr lang="en-US" sz="1200" u="none" strike="noStrike" dirty="0">
                          <a:effectLst/>
                          <a:latin typeface="Arial" panose="020B0604020202020204" pitchFamily="34" charset="0"/>
                          <a:cs typeface="Arial" panose="020B0604020202020204" pitchFamily="34" charset="0"/>
                        </a:rPr>
                        <a:t>  HMSI</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u="none" strike="noStrike" dirty="0">
                          <a:effectLst/>
                          <a:latin typeface="Arial" panose="020B0604020202020204" pitchFamily="34" charset="0"/>
                          <a:cs typeface="Arial" panose="020B0604020202020204" pitchFamily="34" charset="0"/>
                        </a:rPr>
                        <a:t>7</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b="0" i="0" u="none" strike="noStrike">
                          <a:solidFill>
                            <a:srgbClr val="000000"/>
                          </a:solidFill>
                          <a:effectLst/>
                          <a:latin typeface="Arial" panose="020B0604020202020204" pitchFamily="34" charset="0"/>
                        </a:rPr>
                        <a:t>3.79</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b"/>
                      <a:r>
                        <a:rPr lang="en-US" sz="1200" b="0" i="0" u="none" strike="noStrike">
                          <a:solidFill>
                            <a:srgbClr val="000000"/>
                          </a:solidFill>
                          <a:effectLst/>
                          <a:latin typeface="Arial" panose="020B0604020202020204" pitchFamily="34" charset="0"/>
                        </a:rPr>
                        <a:t>61%</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US" sz="1200" b="0" i="0" u="none" strike="noStrike">
                          <a:solidFill>
                            <a:srgbClr val="000000"/>
                          </a:solidFill>
                          <a:effectLst/>
                          <a:latin typeface="Calibri" panose="020F0502020204030204" pitchFamily="34" charset="0"/>
                        </a:rPr>
                        <a:t>5%</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3"/>
                  </a:ext>
                </a:extLst>
              </a:tr>
              <a:tr h="450606">
                <a:tc>
                  <a:txBody>
                    <a:bodyPr/>
                    <a:lstStyle/>
                    <a:p>
                      <a:pPr algn="ctr" rtl="0" fontAlgn="ctr"/>
                      <a:r>
                        <a:rPr lang="en-US" sz="1200" u="none" strike="noStrike" dirty="0">
                          <a:effectLst/>
                          <a:latin typeface="Arial" panose="020B0604020202020204" pitchFamily="34" charset="0"/>
                          <a:cs typeface="Arial" panose="020B0604020202020204" pitchFamily="34" charset="0"/>
                        </a:rPr>
                        <a:t>  TVS</a:t>
                      </a:r>
                      <a:r>
                        <a:rPr lang="en-US" sz="1200" u="none" strike="noStrike" baseline="0" dirty="0">
                          <a:effectLst/>
                          <a:latin typeface="Arial" panose="020B0604020202020204" pitchFamily="34" charset="0"/>
                          <a:cs typeface="Arial" panose="020B0604020202020204" pitchFamily="34" charset="0"/>
                        </a:rPr>
                        <a:t> Motor   Company</a:t>
                      </a:r>
                      <a:endParaRPr lang="en-US" sz="1200" b="0" i="0" u="none" strike="noStrike" baseline="0"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cs typeface="Arial" panose="020B0604020202020204" pitchFamily="34" charset="0"/>
                        </a:rPr>
                        <a:t>4.5</a:t>
                      </a: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3.13</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b"/>
                      <a:r>
                        <a:rPr lang="en-US" sz="1200" b="0" i="0" u="none" strike="noStrike">
                          <a:solidFill>
                            <a:srgbClr val="000000"/>
                          </a:solidFill>
                          <a:effectLst/>
                          <a:latin typeface="Arial" panose="020B0604020202020204" pitchFamily="34" charset="0"/>
                        </a:rPr>
                        <a:t>65%</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6%</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85927">
                <a:tc>
                  <a:txBody>
                    <a:bodyPr/>
                    <a:lstStyle/>
                    <a:p>
                      <a:pPr algn="ctr" rtl="0" fontAlgn="ctr"/>
                      <a:r>
                        <a:rPr lang="en-US" sz="1200" u="none" strike="noStrike" dirty="0">
                          <a:effectLst/>
                          <a:latin typeface="Arial" panose="020B0604020202020204" pitchFamily="34" charset="0"/>
                          <a:cs typeface="Arial" panose="020B0604020202020204" pitchFamily="34" charset="0"/>
                        </a:rPr>
                        <a:t>  India Yamaha Motor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u="none" strike="noStrike" dirty="0">
                          <a:effectLst/>
                          <a:latin typeface="Arial" panose="020B0604020202020204" pitchFamily="34" charset="0"/>
                          <a:cs typeface="Arial" panose="020B0604020202020204" pitchFamily="34" charset="0"/>
                        </a:rPr>
                        <a:t>1.6</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b="0" i="0" u="none" strike="noStrike" dirty="0">
                          <a:solidFill>
                            <a:srgbClr val="000000"/>
                          </a:solidFill>
                          <a:effectLst/>
                          <a:latin typeface="Arial" panose="020B0604020202020204" pitchFamily="34" charset="0"/>
                        </a:rPr>
                        <a:t>0.74</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b"/>
                      <a:r>
                        <a:rPr lang="en-US" sz="1200" b="0" i="0" u="none" strike="noStrike" dirty="0">
                          <a:solidFill>
                            <a:srgbClr val="000000"/>
                          </a:solidFill>
                          <a:effectLst/>
                          <a:latin typeface="Arial" panose="020B0604020202020204" pitchFamily="34" charset="0"/>
                        </a:rPr>
                        <a:t>46%</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US" sz="1200" b="0" i="0" u="none" strike="noStrike">
                          <a:solidFill>
                            <a:srgbClr val="000000"/>
                          </a:solidFill>
                          <a:effectLst/>
                          <a:latin typeface="Calibri" panose="020F0502020204030204" pitchFamily="34" charset="0"/>
                        </a:rPr>
                        <a:t>5%</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5"/>
                  </a:ext>
                </a:extLst>
              </a:tr>
              <a:tr h="408485">
                <a:tc>
                  <a:txBody>
                    <a:bodyPr/>
                    <a:lstStyle/>
                    <a:p>
                      <a:pPr algn="ctr" rtl="0" fontAlgn="ctr"/>
                      <a:r>
                        <a:rPr lang="en-US" sz="1200" u="none" strike="noStrike" dirty="0">
                          <a:effectLst/>
                          <a:latin typeface="Arial" panose="020B0604020202020204" pitchFamily="34" charset="0"/>
                          <a:cs typeface="Arial" panose="020B0604020202020204" pitchFamily="34" charset="0"/>
                        </a:rPr>
                        <a:t>  Suzuki Motor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u="none" strike="noStrike" dirty="0">
                          <a:effectLst/>
                          <a:latin typeface="Arial" panose="020B0604020202020204" pitchFamily="34" charset="0"/>
                          <a:cs typeface="Arial" panose="020B0604020202020204" pitchFamily="34" charset="0"/>
                        </a:rPr>
                        <a:t>1.1</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b="0" i="0" u="none" strike="noStrike">
                          <a:solidFill>
                            <a:srgbClr val="000000"/>
                          </a:solidFill>
                          <a:effectLst/>
                          <a:latin typeface="Arial" panose="020B0604020202020204" pitchFamily="34" charset="0"/>
                        </a:rPr>
                        <a:t>0.75</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b"/>
                      <a:r>
                        <a:rPr lang="en-US" sz="1200" b="0" i="0" u="none" strike="noStrike" dirty="0">
                          <a:solidFill>
                            <a:srgbClr val="000000"/>
                          </a:solidFill>
                          <a:effectLst/>
                          <a:latin typeface="Arial" panose="020B0604020202020204" pitchFamily="34" charset="0"/>
                        </a:rPr>
                        <a:t>58%</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US" sz="1200" b="0" i="0" u="none" strike="noStrike">
                          <a:solidFill>
                            <a:srgbClr val="000000"/>
                          </a:solidFill>
                          <a:effectLst/>
                          <a:latin typeface="Calibri" panose="020F0502020204030204" pitchFamily="34" charset="0"/>
                        </a:rPr>
                        <a:t>6%</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08485">
                <a:tc>
                  <a:txBody>
                    <a:bodyPr/>
                    <a:lstStyle/>
                    <a:p>
                      <a:pPr algn="ctr" rtl="0" fontAlgn="ctr"/>
                      <a:r>
                        <a:rPr lang="en-US" sz="1200" u="none" strike="noStrike" dirty="0">
                          <a:effectLst/>
                          <a:latin typeface="Arial" panose="020B0604020202020204" pitchFamily="34" charset="0"/>
                          <a:cs typeface="Arial" panose="020B0604020202020204" pitchFamily="34" charset="0"/>
                        </a:rPr>
                        <a:t>  Royal</a:t>
                      </a:r>
                      <a:r>
                        <a:rPr lang="en-US" sz="1200" u="none" strike="noStrike" baseline="0" dirty="0">
                          <a:effectLst/>
                          <a:latin typeface="Arial" panose="020B0604020202020204" pitchFamily="34" charset="0"/>
                          <a:cs typeface="Arial" panose="020B0604020202020204" pitchFamily="34" charset="0"/>
                        </a:rPr>
                        <a:t> Enfield</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u="none" strike="noStrike" dirty="0">
                          <a:effectLst/>
                          <a:latin typeface="Arial" panose="020B0604020202020204" pitchFamily="34" charset="0"/>
                          <a:cs typeface="Arial" panose="020B0604020202020204" pitchFamily="34" charset="0"/>
                        </a:rPr>
                        <a:t>0.95</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ctr"/>
                      <a:r>
                        <a:rPr lang="en-US" sz="1200" b="0" i="0" u="none" strike="noStrike" dirty="0">
                          <a:solidFill>
                            <a:srgbClr val="000000"/>
                          </a:solidFill>
                          <a:effectLst/>
                          <a:latin typeface="Arial" panose="020B0604020202020204" pitchFamily="34" charset="0"/>
                        </a:rPr>
                        <a:t>0.60</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rtl="0" fontAlgn="b"/>
                      <a:r>
                        <a:rPr lang="en-US" sz="1200" b="0" i="0" u="none" strike="noStrike" dirty="0">
                          <a:solidFill>
                            <a:srgbClr val="000000"/>
                          </a:solidFill>
                          <a:effectLst/>
                          <a:latin typeface="Arial" panose="020B0604020202020204" pitchFamily="34" charset="0"/>
                        </a:rPr>
                        <a:t>66%</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US" sz="1200" b="0" i="0" u="none" strike="noStrike" dirty="0">
                          <a:solidFill>
                            <a:srgbClr val="000000"/>
                          </a:solidFill>
                          <a:effectLst/>
                          <a:latin typeface="Calibri" panose="020F0502020204030204" pitchFamily="34" charset="0"/>
                        </a:rPr>
                        <a:t>8%</a:t>
                      </a:r>
                    </a:p>
                  </a:txBody>
                  <a:tcPr marL="6350" marR="6350" marT="635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7"/>
                  </a:ext>
                </a:extLst>
              </a:tr>
              <a:tr h="408485">
                <a:tc>
                  <a:txBody>
                    <a:bodyPr/>
                    <a:lstStyle/>
                    <a:p>
                      <a:pPr algn="ctr" rtl="0" fontAlgn="ctr"/>
                      <a:r>
                        <a:rPr lang="en-US" sz="1200" b="1" u="none" strike="noStrike" dirty="0">
                          <a:effectLst/>
                          <a:latin typeface="Arial" panose="020B0604020202020204" pitchFamily="34" charset="0"/>
                          <a:cs typeface="Arial" panose="020B0604020202020204" pitchFamily="34" charset="0"/>
                        </a:rPr>
                        <a:t>  Industry Tota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rtl="0" fontAlgn="ctr"/>
                      <a:r>
                        <a:rPr lang="en-US" sz="1200" b="1" u="none" strike="noStrike" dirty="0">
                          <a:effectLst/>
                          <a:latin typeface="Arial" panose="020B0604020202020204" pitchFamily="34" charset="0"/>
                          <a:cs typeface="Arial" panose="020B0604020202020204" pitchFamily="34" charset="0"/>
                        </a:rPr>
                        <a:t>33.2</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marL="0" algn="ctr" defTabSz="913960" rtl="0" eaLnBrk="1" fontAlgn="ctr" latinLnBrk="0" hangingPunct="1"/>
                      <a:r>
                        <a:rPr lang="en-US" sz="1200" b="1" u="none" strike="noStrike" kern="1200" dirty="0">
                          <a:solidFill>
                            <a:schemeClr val="dk1"/>
                          </a:solidFill>
                          <a:effectLst/>
                          <a:latin typeface="Arial" panose="020B0604020202020204" pitchFamily="34" charset="0"/>
                          <a:ea typeface="+mn-ea"/>
                          <a:cs typeface="Arial" panose="020B0604020202020204" pitchFamily="34" charset="0"/>
                        </a:rPr>
                        <a:t>17.7</a:t>
                      </a:r>
                    </a:p>
                  </a:txBody>
                  <a:tcPr marL="0" marR="0" marT="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marL="0" algn="ctr" defTabSz="913960" rtl="0" eaLnBrk="1" fontAlgn="ctr" latinLnBrk="0" hangingPunct="1"/>
                      <a:r>
                        <a:rPr lang="en-US" sz="1200" b="1" u="none" strike="noStrike" kern="1200" dirty="0">
                          <a:solidFill>
                            <a:schemeClr val="dk1"/>
                          </a:solidFill>
                          <a:effectLst/>
                          <a:latin typeface="Arial" panose="020B0604020202020204" pitchFamily="34" charset="0"/>
                          <a:ea typeface="+mn-ea"/>
                          <a:cs typeface="Arial" panose="020B0604020202020204" pitchFamily="34" charset="0"/>
                        </a:rPr>
                        <a:t>53%</a:t>
                      </a:r>
                    </a:p>
                  </a:txBody>
                  <a:tcPr marL="0" marR="0" marT="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marL="0" algn="ctr" defTabSz="913960" rtl="0" eaLnBrk="1" fontAlgn="ctr" latinLnBrk="0" hangingPunct="1"/>
                      <a:r>
                        <a:rPr lang="en-US" sz="1200" b="1" u="none" strike="noStrike" kern="1200" dirty="0">
                          <a:solidFill>
                            <a:schemeClr val="dk1"/>
                          </a:solidFill>
                          <a:effectLst/>
                          <a:latin typeface="Arial" panose="020B0604020202020204" pitchFamily="34" charset="0"/>
                          <a:ea typeface="+mn-ea"/>
                          <a:cs typeface="Arial" panose="020B0604020202020204" pitchFamily="34" charset="0"/>
                        </a:rPr>
                        <a:t>5%</a:t>
                      </a:r>
                    </a:p>
                  </a:txBody>
                  <a:tcPr marL="0" marR="0" marT="0" marB="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23" name="Rectangle 22">
            <a:extLst>
              <a:ext uri="{FF2B5EF4-FFF2-40B4-BE49-F238E27FC236}">
                <a16:creationId xmlns:a16="http://schemas.microsoft.com/office/drawing/2014/main" id="{CEBB9B0E-1C91-4B5C-8C70-00F417720F8E}"/>
              </a:ext>
            </a:extLst>
          </p:cNvPr>
          <p:cNvSpPr/>
          <p:nvPr/>
        </p:nvSpPr>
        <p:spPr>
          <a:xfrm>
            <a:off x="6272225" y="5750822"/>
            <a:ext cx="5619000" cy="246181"/>
          </a:xfrm>
          <a:prstGeom prst="rect">
            <a:avLst/>
          </a:prstGeom>
        </p:spPr>
        <p:txBody>
          <a:bodyPr wrap="square" lIns="91395" tIns="45700" rIns="91395" bIns="45700">
            <a:spAutoFit/>
          </a:bodyPr>
          <a:lstStyle/>
          <a:p>
            <a:pPr defTabSz="913960">
              <a:defRPr/>
            </a:pPr>
            <a:r>
              <a:rPr lang="en-US" sz="1000" i="1" dirty="0">
                <a:solidFill>
                  <a:srgbClr val="000000"/>
                </a:solidFill>
                <a:latin typeface="Arial" panose="020B0604020202020204" pitchFamily="34" charset="0"/>
                <a:cs typeface="Arial" panose="020B0604020202020204" pitchFamily="34" charset="0"/>
              </a:rPr>
              <a:t>Capacity utilization estimates of Bajaj Auto and TVS Motor Co Ltd exclude three-wheelers</a:t>
            </a:r>
          </a:p>
        </p:txBody>
      </p:sp>
      <p:sp>
        <p:nvSpPr>
          <p:cNvPr id="3" name="TextBox 2"/>
          <p:cNvSpPr txBox="1"/>
          <p:nvPr/>
        </p:nvSpPr>
        <p:spPr>
          <a:xfrm>
            <a:off x="407990" y="5750782"/>
            <a:ext cx="3642360" cy="246221"/>
          </a:xfrm>
          <a:prstGeom prst="rect">
            <a:avLst/>
          </a:prstGeom>
          <a:noFill/>
        </p:spPr>
        <p:txBody>
          <a:bodyPr wrap="square" lIns="91395" tIns="45700" rIns="91395" bIns="45700" rtlCol="0">
            <a:spAutoFit/>
          </a:bodyPr>
          <a:lstStyle/>
          <a:p>
            <a:pPr defTabSz="913960">
              <a:defRPr/>
            </a:pPr>
            <a:r>
              <a:rPr lang="en-US" sz="1000" i="1" dirty="0">
                <a:solidFill>
                  <a:srgbClr val="000000"/>
                </a:solidFill>
                <a:latin typeface="Arial" panose="020B0604020202020204" pitchFamily="34" charset="0"/>
                <a:cs typeface="Arial" panose="020B0604020202020204" pitchFamily="34" charset="0"/>
              </a:rPr>
              <a:t>SOURCE: Industry, SIAM, CRISIL Research</a:t>
            </a:r>
          </a:p>
        </p:txBody>
      </p:sp>
      <p:graphicFrame>
        <p:nvGraphicFramePr>
          <p:cNvPr id="10" name="Chart 9">
            <a:extLst>
              <a:ext uri="{FF2B5EF4-FFF2-40B4-BE49-F238E27FC236}">
                <a16:creationId xmlns:a16="http://schemas.microsoft.com/office/drawing/2014/main" id="{CE8517DA-2056-4A5A-8208-835B3040EA31}"/>
              </a:ext>
            </a:extLst>
          </p:cNvPr>
          <p:cNvGraphicFramePr>
            <a:graphicFrameLocks/>
          </p:cNvGraphicFramePr>
          <p:nvPr>
            <p:extLst>
              <p:ext uri="{D42A27DB-BD31-4B8C-83A1-F6EECF244321}">
                <p14:modId xmlns:p14="http://schemas.microsoft.com/office/powerpoint/2010/main" val="229539809"/>
              </p:ext>
            </p:extLst>
          </p:nvPr>
        </p:nvGraphicFramePr>
        <p:xfrm>
          <a:off x="407990" y="1272584"/>
          <a:ext cx="5604701" cy="42833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5808075"/>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31577" y="4659605"/>
            <a:ext cx="2045370" cy="233398"/>
          </a:xfrm>
          <a:prstGeom prst="rect">
            <a:avLst/>
          </a:prstGeom>
          <a:noFill/>
        </p:spPr>
        <p:txBody>
          <a:bodyPr wrap="square" lIns="91395" tIns="45700" rIns="91395" bIns="45700" rtlCol="0">
            <a:spAutoFit/>
          </a:bodyPr>
          <a:lstStyle/>
          <a:p>
            <a:pPr defTabSz="913960">
              <a:defRPr/>
            </a:pPr>
            <a:r>
              <a:rPr lang="en-IN" sz="900" i="1" dirty="0">
                <a:solidFill>
                  <a:srgbClr val="000000"/>
                </a:solidFill>
                <a:latin typeface="Arial" panose="020B0604020202020204" pitchFamily="34" charset="0"/>
                <a:cs typeface="Arial" panose="020B0604020202020204" pitchFamily="34" charset="0"/>
              </a:rPr>
              <a:t>Source: SIAM, CRISIL Research</a:t>
            </a:r>
          </a:p>
        </p:txBody>
      </p:sp>
      <p:sp>
        <p:nvSpPr>
          <p:cNvPr id="14" name="Rectangle 13"/>
          <p:cNvSpPr/>
          <p:nvPr/>
        </p:nvSpPr>
        <p:spPr>
          <a:xfrm rot="5400000">
            <a:off x="2074191" y="-811340"/>
            <a:ext cx="294774" cy="378000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12699" algn="ctr" defTabSz="913960">
              <a:defRPr/>
            </a:pPr>
            <a:r>
              <a:rPr lang="en-US" sz="1600" b="1" dirty="0">
                <a:solidFill>
                  <a:prstClr val="white"/>
                </a:solidFill>
                <a:latin typeface="Arial" panose="020B0604020202020204" pitchFamily="34" charset="0"/>
                <a:cs typeface="Arial" panose="020B0604020202020204" pitchFamily="34" charset="0"/>
              </a:rPr>
              <a:t>Motorcycles</a:t>
            </a:r>
          </a:p>
        </p:txBody>
      </p:sp>
      <p:sp>
        <p:nvSpPr>
          <p:cNvPr id="15" name="Rectangle 14"/>
          <p:cNvSpPr/>
          <p:nvPr/>
        </p:nvSpPr>
        <p:spPr>
          <a:xfrm rot="5400000">
            <a:off x="5969711" y="-811340"/>
            <a:ext cx="294774" cy="3780000"/>
          </a:xfrm>
          <a:prstGeom prst="rect">
            <a:avLst/>
          </a:prstGeom>
          <a:solidFill>
            <a:srgbClr val="3C3C3B"/>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12699" algn="ctr" defTabSz="913960">
              <a:defRPr/>
            </a:pPr>
            <a:r>
              <a:rPr lang="en-US" sz="1600" b="1" dirty="0">
                <a:solidFill>
                  <a:prstClr val="white"/>
                </a:solidFill>
                <a:latin typeface="Arial" panose="020B0604020202020204" pitchFamily="34" charset="0"/>
                <a:cs typeface="Arial" panose="020B0604020202020204" pitchFamily="34" charset="0"/>
              </a:rPr>
              <a:t>Scooters</a:t>
            </a:r>
          </a:p>
        </p:txBody>
      </p:sp>
      <p:sp>
        <p:nvSpPr>
          <p:cNvPr id="16" name="Rectangle 15"/>
          <p:cNvSpPr/>
          <p:nvPr/>
        </p:nvSpPr>
        <p:spPr>
          <a:xfrm rot="5400000">
            <a:off x="9806586" y="-882590"/>
            <a:ext cx="412054" cy="3780000"/>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12699" algn="ctr" defTabSz="913960">
              <a:defRPr/>
            </a:pPr>
            <a:r>
              <a:rPr lang="en-US" sz="1600" b="1" dirty="0">
                <a:solidFill>
                  <a:prstClr val="white"/>
                </a:solidFill>
                <a:latin typeface="Arial" panose="020B0604020202020204" pitchFamily="34" charset="0"/>
                <a:cs typeface="Arial" panose="020B0604020202020204" pitchFamily="34" charset="0"/>
              </a:rPr>
              <a:t>Mopeds </a:t>
            </a:r>
          </a:p>
          <a:p>
            <a:pPr marL="12699" algn="ctr" defTabSz="913960">
              <a:defRPr/>
            </a:pPr>
            <a:r>
              <a:rPr lang="en-US" sz="1200" b="1" dirty="0">
                <a:solidFill>
                  <a:prstClr val="white"/>
                </a:solidFill>
                <a:latin typeface="Arial" panose="020B0604020202020204" pitchFamily="34" charset="0"/>
                <a:cs typeface="Arial" panose="020B0604020202020204" pitchFamily="34" charset="0"/>
              </a:rPr>
              <a:t>(in million units)</a:t>
            </a:r>
            <a:endParaRPr lang="en-US" sz="1600" b="1" dirty="0">
              <a:solidFill>
                <a:prstClr val="white"/>
              </a:solidFill>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B4D66F93-F7D3-4652-81A5-36FAECAAFF48}"/>
              </a:ext>
            </a:extLst>
          </p:cNvPr>
          <p:cNvSpPr txBox="1">
            <a:spLocks/>
          </p:cNvSpPr>
          <p:nvPr/>
        </p:nvSpPr>
        <p:spPr>
          <a:xfrm>
            <a:off x="250737" y="165619"/>
            <a:ext cx="11602487" cy="859031"/>
          </a:xfrm>
          <a:prstGeom prst="rect">
            <a:avLst/>
          </a:prstGeom>
        </p:spPr>
        <p:txBody>
          <a:bodyPr lIns="91395" tIns="45700" rIns="91395" bIns="45700"/>
          <a:lstStyle>
            <a:lvl1pPr algn="l" defTabSz="914363"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400" b="1" dirty="0">
                <a:solidFill>
                  <a:srgbClr val="000000"/>
                </a:solidFill>
                <a:latin typeface="Arial" panose="020B0604020202020204" pitchFamily="34" charset="0"/>
                <a:cs typeface="Arial" panose="020B0604020202020204" pitchFamily="34" charset="0"/>
              </a:rPr>
              <a:t>OEMs increased stock levels for motorcycles anticipating good demand</a:t>
            </a:r>
          </a:p>
        </p:txBody>
      </p:sp>
      <p:sp>
        <p:nvSpPr>
          <p:cNvPr id="18" name="TextBox 17"/>
          <p:cNvSpPr txBox="1"/>
          <p:nvPr/>
        </p:nvSpPr>
        <p:spPr>
          <a:xfrm>
            <a:off x="331577" y="5076146"/>
            <a:ext cx="11521647" cy="646290"/>
          </a:xfrm>
          <a:prstGeom prst="rect">
            <a:avLst/>
          </a:prstGeom>
          <a:solidFill>
            <a:schemeClr val="bg1">
              <a:lumMod val="85000"/>
            </a:schemeClr>
          </a:solidFill>
        </p:spPr>
        <p:txBody>
          <a:bodyPr wrap="square" lIns="91395" tIns="45700" rIns="91395" bIns="45700" rtlCol="0" anchor="ctr">
            <a:spAutoFit/>
          </a:bodyPr>
          <a:lstStyle/>
          <a:p>
            <a:pPr marL="285615" indent="-285615"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Muted consumer sentiments have led to dealer inventory being above normal since H2 FY21.</a:t>
            </a:r>
          </a:p>
          <a:p>
            <a:pPr marL="285615" indent="-285615"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With high stock levels prevailing in the market, OEMs are expected to liquidate inventory by end of FY23 before BS VI-B comes into play by 1</a:t>
            </a:r>
            <a:r>
              <a:rPr lang="en-US" sz="1200" baseline="30000" dirty="0">
                <a:solidFill>
                  <a:srgbClr val="000000"/>
                </a:solidFill>
                <a:latin typeface="Arial" panose="020B0604020202020204" pitchFamily="34" charset="0"/>
                <a:cs typeface="Arial" panose="020B0604020202020204" pitchFamily="34" charset="0"/>
              </a:rPr>
              <a:t>st</a:t>
            </a:r>
            <a:r>
              <a:rPr lang="en-US" sz="1200" dirty="0">
                <a:solidFill>
                  <a:srgbClr val="000000"/>
                </a:solidFill>
                <a:latin typeface="Arial" panose="020B0604020202020204" pitchFamily="34" charset="0"/>
                <a:cs typeface="Arial" panose="020B0604020202020204" pitchFamily="34" charset="0"/>
              </a:rPr>
              <a:t> April,2024</a:t>
            </a:r>
          </a:p>
          <a:p>
            <a:pPr marL="285615" indent="-285615"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Production cuts might be announced during H2 FY23</a:t>
            </a:r>
            <a:endParaRPr lang="en-IN" sz="1200" dirty="0">
              <a:solidFill>
                <a:srgbClr val="000000"/>
              </a:solidFill>
              <a:latin typeface="Arial" panose="020B0604020202020204" pitchFamily="34" charset="0"/>
              <a:cs typeface="Arial" panose="020B0604020202020204" pitchFamily="34" charset="0"/>
            </a:endParaRPr>
          </a:p>
        </p:txBody>
      </p:sp>
      <p:graphicFrame>
        <p:nvGraphicFramePr>
          <p:cNvPr id="20" name="Chart 19">
            <a:extLst>
              <a:ext uri="{FF2B5EF4-FFF2-40B4-BE49-F238E27FC236}">
                <a16:creationId xmlns:a16="http://schemas.microsoft.com/office/drawing/2014/main" id="{F39B2E9D-8D90-4935-BE97-14B5059BBB50}"/>
              </a:ext>
            </a:extLst>
          </p:cNvPr>
          <p:cNvGraphicFramePr>
            <a:graphicFrameLocks/>
          </p:cNvGraphicFramePr>
          <p:nvPr>
            <p:extLst>
              <p:ext uri="{D42A27DB-BD31-4B8C-83A1-F6EECF244321}">
                <p14:modId xmlns:p14="http://schemas.microsoft.com/office/powerpoint/2010/main" val="2567428458"/>
              </p:ext>
            </p:extLst>
          </p:nvPr>
        </p:nvGraphicFramePr>
        <p:xfrm>
          <a:off x="356271" y="1339715"/>
          <a:ext cx="3755306" cy="32327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0000000-0008-0000-0B00-000002000000}"/>
              </a:ext>
            </a:extLst>
          </p:cNvPr>
          <p:cNvGraphicFramePr>
            <a:graphicFrameLocks/>
          </p:cNvGraphicFramePr>
          <p:nvPr>
            <p:extLst>
              <p:ext uri="{D42A27DB-BD31-4B8C-83A1-F6EECF244321}">
                <p14:modId xmlns:p14="http://schemas.microsoft.com/office/powerpoint/2010/main" val="3670787921"/>
              </p:ext>
            </p:extLst>
          </p:nvPr>
        </p:nvGraphicFramePr>
        <p:xfrm>
          <a:off x="250737" y="1131246"/>
          <a:ext cx="3860829" cy="3122256"/>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a:extLst>
              <a:ext uri="{FF2B5EF4-FFF2-40B4-BE49-F238E27FC236}">
                <a16:creationId xmlns:a16="http://schemas.microsoft.com/office/drawing/2014/main" id="{7616D73A-C2DD-4BB6-A5AD-5DE4387C02FE}"/>
              </a:ext>
            </a:extLst>
          </p:cNvPr>
          <p:cNvSpPr/>
          <p:nvPr/>
        </p:nvSpPr>
        <p:spPr>
          <a:xfrm rot="5400000">
            <a:off x="2009247" y="-876285"/>
            <a:ext cx="424664" cy="3780000"/>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12699" algn="ctr" defTabSz="913960">
              <a:defRPr/>
            </a:pPr>
            <a:r>
              <a:rPr lang="en-US" sz="1600" b="1" dirty="0">
                <a:solidFill>
                  <a:prstClr val="white"/>
                </a:solidFill>
                <a:latin typeface="Arial" panose="020B0604020202020204" pitchFamily="34" charset="0"/>
                <a:cs typeface="Arial" panose="020B0604020202020204" pitchFamily="34" charset="0"/>
              </a:rPr>
              <a:t>Motorcycles</a:t>
            </a:r>
          </a:p>
          <a:p>
            <a:pPr marL="12699" algn="ctr" defTabSz="913960">
              <a:defRPr/>
            </a:pPr>
            <a:r>
              <a:rPr lang="en-US" sz="1200" b="1" dirty="0">
                <a:solidFill>
                  <a:prstClr val="white"/>
                </a:solidFill>
                <a:latin typeface="Arial" panose="020B0604020202020204" pitchFamily="34" charset="0"/>
                <a:cs typeface="Arial" panose="020B0604020202020204" pitchFamily="34" charset="0"/>
              </a:rPr>
              <a:t>(in million units)</a:t>
            </a:r>
          </a:p>
        </p:txBody>
      </p:sp>
      <p:sp>
        <p:nvSpPr>
          <p:cNvPr id="21" name="Rectangle 20">
            <a:extLst>
              <a:ext uri="{FF2B5EF4-FFF2-40B4-BE49-F238E27FC236}">
                <a16:creationId xmlns:a16="http://schemas.microsoft.com/office/drawing/2014/main" id="{ED862DE7-6298-452F-B54B-25D6FD2735B0}"/>
              </a:ext>
            </a:extLst>
          </p:cNvPr>
          <p:cNvSpPr/>
          <p:nvPr/>
        </p:nvSpPr>
        <p:spPr>
          <a:xfrm rot="5400000">
            <a:off x="5904767" y="-876285"/>
            <a:ext cx="424664" cy="3780000"/>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95" tIns="45700" rIns="91395" bIns="45700" rtlCol="0" anchor="ctr"/>
          <a:lstStyle/>
          <a:p>
            <a:pPr marL="12699" algn="ctr" defTabSz="913960">
              <a:defRPr/>
            </a:pPr>
            <a:r>
              <a:rPr lang="en-US" sz="1600" b="1" dirty="0">
                <a:solidFill>
                  <a:prstClr val="white"/>
                </a:solidFill>
                <a:latin typeface="Arial" panose="020B0604020202020204" pitchFamily="34" charset="0"/>
                <a:cs typeface="Arial" panose="020B0604020202020204" pitchFamily="34" charset="0"/>
              </a:rPr>
              <a:t>Scooters</a:t>
            </a:r>
          </a:p>
          <a:p>
            <a:pPr marL="12699" algn="ctr" defTabSz="913960">
              <a:defRPr/>
            </a:pPr>
            <a:r>
              <a:rPr lang="en-US" sz="1200" b="1" dirty="0">
                <a:solidFill>
                  <a:prstClr val="white"/>
                </a:solidFill>
                <a:latin typeface="Arial" panose="020B0604020202020204" pitchFamily="34" charset="0"/>
                <a:cs typeface="Arial" panose="020B0604020202020204" pitchFamily="34" charset="0"/>
              </a:rPr>
              <a:t>(in million units)</a:t>
            </a:r>
          </a:p>
        </p:txBody>
      </p:sp>
      <p:graphicFrame>
        <p:nvGraphicFramePr>
          <p:cNvPr id="23" name="Chart 22">
            <a:extLst>
              <a:ext uri="{FF2B5EF4-FFF2-40B4-BE49-F238E27FC236}">
                <a16:creationId xmlns:a16="http://schemas.microsoft.com/office/drawing/2014/main" id="{E4505E50-1376-4464-9158-2E3F0F21F9C8}"/>
              </a:ext>
            </a:extLst>
          </p:cNvPr>
          <p:cNvGraphicFramePr>
            <a:graphicFrameLocks/>
          </p:cNvGraphicFramePr>
          <p:nvPr>
            <p:extLst>
              <p:ext uri="{D42A27DB-BD31-4B8C-83A1-F6EECF244321}">
                <p14:modId xmlns:p14="http://schemas.microsoft.com/office/powerpoint/2010/main" val="4001776238"/>
              </p:ext>
            </p:extLst>
          </p:nvPr>
        </p:nvGraphicFramePr>
        <p:xfrm>
          <a:off x="356271" y="1233985"/>
          <a:ext cx="3755295" cy="34256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Chart 23">
            <a:extLst>
              <a:ext uri="{FF2B5EF4-FFF2-40B4-BE49-F238E27FC236}">
                <a16:creationId xmlns:a16="http://schemas.microsoft.com/office/drawing/2014/main" id="{3E2B7BE4-E5E9-4965-B938-D1C6A5189676}"/>
              </a:ext>
            </a:extLst>
          </p:cNvPr>
          <p:cNvGraphicFramePr>
            <a:graphicFrameLocks/>
          </p:cNvGraphicFramePr>
          <p:nvPr>
            <p:extLst>
              <p:ext uri="{D42A27DB-BD31-4B8C-83A1-F6EECF244321}">
                <p14:modId xmlns:p14="http://schemas.microsoft.com/office/powerpoint/2010/main" val="3033458753"/>
              </p:ext>
            </p:extLst>
          </p:nvPr>
        </p:nvGraphicFramePr>
        <p:xfrm>
          <a:off x="4227067" y="1233985"/>
          <a:ext cx="3780001" cy="34256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hart 24">
            <a:extLst>
              <a:ext uri="{FF2B5EF4-FFF2-40B4-BE49-F238E27FC236}">
                <a16:creationId xmlns:a16="http://schemas.microsoft.com/office/drawing/2014/main" id="{AB351CEC-4ECF-4A22-9EB6-446E1384A4A6}"/>
              </a:ext>
            </a:extLst>
          </p:cNvPr>
          <p:cNvGraphicFramePr>
            <a:graphicFrameLocks/>
          </p:cNvGraphicFramePr>
          <p:nvPr>
            <p:extLst>
              <p:ext uri="{D42A27DB-BD31-4B8C-83A1-F6EECF244321}">
                <p14:modId xmlns:p14="http://schemas.microsoft.com/office/powerpoint/2010/main" val="351161238"/>
              </p:ext>
            </p:extLst>
          </p:nvPr>
        </p:nvGraphicFramePr>
        <p:xfrm>
          <a:off x="8122558" y="1233179"/>
          <a:ext cx="3780001" cy="342562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083315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0999" y="233981"/>
            <a:ext cx="11468100" cy="342900"/>
          </a:xfrm>
        </p:spPr>
        <p:txBody>
          <a:bodyPr>
            <a:noAutofit/>
          </a:bodyPr>
          <a:lstStyle/>
          <a:p>
            <a:r>
              <a:rPr lang="en-IN" sz="2800" b="1" dirty="0">
                <a:solidFill>
                  <a:schemeClr val="tx1"/>
                </a:solidFill>
                <a:latin typeface="Arial" panose="020B0604020202020204" pitchFamily="34" charset="0"/>
                <a:cs typeface="Arial" panose="020B0604020202020204" pitchFamily="34" charset="0"/>
              </a:rPr>
              <a:t>CRISIL estimates FY23 real GDP growth at 7.8%.</a:t>
            </a:r>
          </a:p>
        </p:txBody>
      </p:sp>
      <p:sp>
        <p:nvSpPr>
          <p:cNvPr id="7" name="Text Placeholder 11">
            <a:extLst>
              <a:ext uri="{FF2B5EF4-FFF2-40B4-BE49-F238E27FC236}">
                <a16:creationId xmlns:a16="http://schemas.microsoft.com/office/drawing/2014/main" id="{2763471E-2988-4506-888A-B130E795A6F8}"/>
              </a:ext>
            </a:extLst>
          </p:cNvPr>
          <p:cNvSpPr txBox="1">
            <a:spLocks/>
          </p:cNvSpPr>
          <p:nvPr/>
        </p:nvSpPr>
        <p:spPr>
          <a:xfrm>
            <a:off x="381000" y="762000"/>
            <a:ext cx="7834279" cy="428525"/>
          </a:xfrm>
          <a:prstGeom prst="rect">
            <a:avLst/>
          </a:prstGeom>
          <a:solidFill>
            <a:schemeClr val="accent6">
              <a:lumMod val="50000"/>
            </a:schemeClr>
          </a:solidFill>
        </p:spPr>
        <p:txBody>
          <a:bodyPr vert="horz" lIns="76200" tIns="38100" rIns="76200" bIns="38100" rtlCol="0" anchor="ctr">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defTabSz="761970">
              <a:lnSpc>
                <a:spcPts val="1100"/>
              </a:lnSpc>
              <a:spcBef>
                <a:spcPts val="0"/>
              </a:spcBef>
              <a:buNone/>
              <a:defRPr/>
            </a:pPr>
            <a:r>
              <a:rPr lang="en-US" sz="1333" b="1" dirty="0">
                <a:solidFill>
                  <a:prstClr val="white"/>
                </a:solidFill>
                <a:latin typeface="Arial" panose="020B0604020202020204" pitchFamily="34" charset="0"/>
                <a:ea typeface="MS PGothic" charset="0"/>
                <a:cs typeface="Arial" panose="020B0604020202020204" pitchFamily="34" charset="0"/>
              </a:rPr>
              <a:t>GDP Real (Growth Rate) </a:t>
            </a:r>
          </a:p>
        </p:txBody>
      </p:sp>
      <p:sp>
        <p:nvSpPr>
          <p:cNvPr id="14" name="Rectangle 13"/>
          <p:cNvSpPr/>
          <p:nvPr/>
        </p:nvSpPr>
        <p:spPr>
          <a:xfrm>
            <a:off x="8958734" y="1335027"/>
            <a:ext cx="3106153" cy="389033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sz="1167" dirty="0">
              <a:solidFill>
                <a:srgbClr val="272727"/>
              </a:solidFill>
              <a:latin typeface="Akkurat-Regular"/>
            </a:endParaRPr>
          </a:p>
          <a:p>
            <a:endParaRPr lang="en-IN" sz="1167" b="1" dirty="0">
              <a:solidFill>
                <a:prstClr val="black"/>
              </a:solidFill>
              <a:latin typeface="Arial" panose="020B0604020202020204" pitchFamily="34" charset="0"/>
              <a:cs typeface="Arial" panose="020B0604020202020204" pitchFamily="34" charset="0"/>
            </a:endParaRPr>
          </a:p>
          <a:p>
            <a:endParaRPr lang="en-IN" sz="1167" b="1" dirty="0">
              <a:solidFill>
                <a:prstClr val="black"/>
              </a:solidFill>
              <a:latin typeface="Arial" panose="020B0604020202020204" pitchFamily="34" charset="0"/>
              <a:cs typeface="Arial" panose="020B0604020202020204" pitchFamily="34" charset="0"/>
            </a:endParaRPr>
          </a:p>
          <a:p>
            <a:r>
              <a:rPr lang="en-IN" sz="1167" b="1" dirty="0">
                <a:solidFill>
                  <a:prstClr val="black"/>
                </a:solidFill>
                <a:latin typeface="Arial" panose="020B0604020202020204" pitchFamily="34" charset="0"/>
                <a:cs typeface="Arial" panose="020B0604020202020204" pitchFamily="34" charset="0"/>
              </a:rPr>
              <a:t>India learning to live with virus:</a:t>
            </a:r>
          </a:p>
          <a:p>
            <a:r>
              <a:rPr lang="en-US" sz="1167" dirty="0">
                <a:solidFill>
                  <a:srgbClr val="272727"/>
                </a:solidFill>
                <a:latin typeface="Arial" panose="020B0604020202020204" pitchFamily="34" charset="0"/>
                <a:cs typeface="Arial" panose="020B0604020202020204" pitchFamily="34" charset="0"/>
              </a:rPr>
              <a:t>Real GDP grew 8.4% on-year in Q2 FY22, as the economy came out of the clutches of the second Covid-19 wave</a:t>
            </a:r>
          </a:p>
          <a:p>
            <a:endParaRPr lang="en-US" sz="1167" dirty="0">
              <a:solidFill>
                <a:srgbClr val="272727"/>
              </a:solidFill>
              <a:latin typeface="Arial" panose="020B0604020202020204" pitchFamily="34" charset="0"/>
              <a:cs typeface="Arial" panose="020B0604020202020204" pitchFamily="34" charset="0"/>
            </a:endParaRPr>
          </a:p>
          <a:p>
            <a:r>
              <a:rPr lang="en-US" sz="1167" dirty="0">
                <a:solidFill>
                  <a:srgbClr val="272727"/>
                </a:solidFill>
                <a:latin typeface="Arial" panose="020B0604020202020204" pitchFamily="34" charset="0"/>
                <a:cs typeface="Arial" panose="020B0604020202020204" pitchFamily="34" charset="0"/>
              </a:rPr>
              <a:t>Though the recovery is yet to become broad-based and continues to hinge on government investments and exports, with consumption remaining weak</a:t>
            </a:r>
          </a:p>
          <a:p>
            <a:endParaRPr lang="en-US" sz="1167" dirty="0">
              <a:solidFill>
                <a:srgbClr val="272727"/>
              </a:solidFill>
              <a:latin typeface="Arial" panose="020B0604020202020204" pitchFamily="34" charset="0"/>
              <a:cs typeface="Arial" panose="020B0604020202020204" pitchFamily="34" charset="0"/>
            </a:endParaRPr>
          </a:p>
          <a:p>
            <a:r>
              <a:rPr lang="en-US" sz="1167" dirty="0">
                <a:solidFill>
                  <a:srgbClr val="272727"/>
                </a:solidFill>
                <a:latin typeface="Arial" panose="020B0604020202020204" pitchFamily="34" charset="0"/>
                <a:cs typeface="Arial" panose="020B0604020202020204" pitchFamily="34" charset="0"/>
              </a:rPr>
              <a:t>With possible challenges to economic recovery on account of the Omicron variant, CRISIL’s FY22 real GDP growth estimate of 9.5% may face marginal downside risks</a:t>
            </a:r>
          </a:p>
          <a:p>
            <a:endParaRPr lang="en-US" sz="1167" dirty="0">
              <a:solidFill>
                <a:srgbClr val="272727"/>
              </a:solidFill>
              <a:latin typeface="Arial" panose="020B0604020202020204" pitchFamily="34" charset="0"/>
              <a:cs typeface="Arial" panose="020B0604020202020204" pitchFamily="34" charset="0"/>
            </a:endParaRPr>
          </a:p>
          <a:p>
            <a:r>
              <a:rPr lang="en-US" sz="1167" dirty="0">
                <a:solidFill>
                  <a:srgbClr val="272727"/>
                </a:solidFill>
                <a:latin typeface="Arial" panose="020B0604020202020204" pitchFamily="34" charset="0"/>
                <a:cs typeface="Arial" panose="020B0604020202020204" pitchFamily="34" charset="0"/>
              </a:rPr>
              <a:t>FY23 growth is currently forecast at 7.8%. The Covid trajectory and the upcoming budget will remain key monitorable.</a:t>
            </a:r>
            <a:endParaRPr lang="en-IN" sz="1167" dirty="0">
              <a:solidFill>
                <a:srgbClr val="272727"/>
              </a:solidFill>
              <a:latin typeface="Arial" panose="020B0604020202020204" pitchFamily="34" charset="0"/>
              <a:cs typeface="Arial" panose="020B0604020202020204" pitchFamily="34" charset="0"/>
            </a:endParaRPr>
          </a:p>
          <a:p>
            <a:endParaRPr lang="en-IN" sz="1167" dirty="0">
              <a:solidFill>
                <a:prstClr val="black"/>
              </a:solidFill>
              <a:latin typeface="Arial" panose="020B0604020202020204" pitchFamily="34" charset="0"/>
              <a:cs typeface="Arial" panose="020B0604020202020204" pitchFamily="34" charset="0"/>
            </a:endParaRPr>
          </a:p>
          <a:p>
            <a:endParaRPr lang="en-IN" sz="1167" dirty="0">
              <a:solidFill>
                <a:prstClr val="black"/>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1"/>
          </p:nvPr>
        </p:nvSpPr>
        <p:spPr/>
        <p:txBody>
          <a:bodyPr/>
          <a:lstStyle/>
          <a:p>
            <a:endParaRPr lang="en-US" dirty="0">
              <a:solidFill>
                <a:prstClr val="black">
                  <a:tint val="75000"/>
                </a:prstClr>
              </a:solidFill>
            </a:endParaRPr>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20461" t="14317" r="20923" b="35256"/>
          <a:stretch/>
        </p:blipFill>
        <p:spPr>
          <a:xfrm>
            <a:off x="8195115" y="2508888"/>
            <a:ext cx="687251" cy="771305"/>
          </a:xfrm>
          <a:prstGeom prst="rect">
            <a:avLst/>
          </a:prstGeom>
        </p:spPr>
      </p:pic>
      <p:sp>
        <p:nvSpPr>
          <p:cNvPr id="21" name="TextBox 5">
            <a:extLst>
              <a:ext uri="{FF2B5EF4-FFF2-40B4-BE49-F238E27FC236}">
                <a16:creationId xmlns:a16="http://schemas.microsoft.com/office/drawing/2014/main" id="{23F50443-E2E5-458B-B14C-5BAFDE9D50FC}"/>
              </a:ext>
            </a:extLst>
          </p:cNvPr>
          <p:cNvSpPr txBox="1">
            <a:spLocks noChangeArrowheads="1"/>
          </p:cNvSpPr>
          <p:nvPr/>
        </p:nvSpPr>
        <p:spPr bwMode="auto">
          <a:xfrm>
            <a:off x="147573" y="5978003"/>
            <a:ext cx="11468100" cy="307777"/>
          </a:xfrm>
          <a:prstGeom prst="rect">
            <a:avLst/>
          </a:prstGeom>
          <a:noFill/>
          <a:ln w="9525">
            <a:noFill/>
            <a:miter lim="800000"/>
            <a:headEnd/>
            <a:tailEnd/>
          </a:ln>
        </p:spPr>
        <p:txBody>
          <a:bodyPr wrap="square" lIns="0" tIns="0" rIns="0" bIns="0">
            <a:spAutoFit/>
          </a:bodyPr>
          <a:lstStyle/>
          <a:p>
            <a:pPr defTabSz="548618" fontAlgn="base">
              <a:spcBef>
                <a:spcPct val="0"/>
              </a:spcBef>
              <a:spcAft>
                <a:spcPct val="0"/>
              </a:spcAft>
            </a:pPr>
            <a:r>
              <a:rPr lang="en-US" sz="1000" i="1" dirty="0">
                <a:solidFill>
                  <a:prstClr val="black"/>
                </a:solidFill>
                <a:latin typeface="Arial"/>
                <a:ea typeface="MS PGothic" charset="0"/>
              </a:rPr>
              <a:t>GDP – Gross domestic product; Data on 2011-12 base, P=Projected</a:t>
            </a:r>
          </a:p>
          <a:p>
            <a:pPr defTabSz="548618" fontAlgn="base">
              <a:spcBef>
                <a:spcPct val="0"/>
              </a:spcBef>
              <a:spcAft>
                <a:spcPct val="0"/>
              </a:spcAft>
            </a:pPr>
            <a:r>
              <a:rPr lang="en-US" sz="1000" i="1" dirty="0">
                <a:solidFill>
                  <a:prstClr val="black"/>
                </a:solidFill>
                <a:latin typeface="Arial"/>
                <a:ea typeface="MS PGothic" charset="0"/>
              </a:rPr>
              <a:t>Source: Central Statistical Office, MOSPI, CRISIL Research</a:t>
            </a:r>
          </a:p>
        </p:txBody>
      </p:sp>
      <p:graphicFrame>
        <p:nvGraphicFramePr>
          <p:cNvPr id="12" name="Chart 11">
            <a:extLst>
              <a:ext uri="{FF2B5EF4-FFF2-40B4-BE49-F238E27FC236}">
                <a16:creationId xmlns:a16="http://schemas.microsoft.com/office/drawing/2014/main" id="{00000000-0008-0000-0000-000003000000}"/>
              </a:ext>
            </a:extLst>
          </p:cNvPr>
          <p:cNvGraphicFramePr>
            <a:graphicFrameLocks/>
          </p:cNvGraphicFramePr>
          <p:nvPr/>
        </p:nvGraphicFramePr>
        <p:xfrm>
          <a:off x="380999" y="1222400"/>
          <a:ext cx="7814115" cy="46608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827203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B4D66F93-F7D3-4652-81A5-36FAECAAFF48}"/>
              </a:ext>
            </a:extLst>
          </p:cNvPr>
          <p:cNvSpPr txBox="1">
            <a:spLocks/>
          </p:cNvSpPr>
          <p:nvPr/>
        </p:nvSpPr>
        <p:spPr>
          <a:xfrm>
            <a:off x="426687" y="175318"/>
            <a:ext cx="11602487" cy="464765"/>
          </a:xfrm>
          <a:prstGeom prst="rect">
            <a:avLst/>
          </a:prstGeom>
        </p:spPr>
        <p:txBody>
          <a:bodyPr vert="horz" lIns="0" tIns="0" rIns="0" bIns="0" rtlCol="0" anchor="ctr">
            <a:noAutofit/>
          </a:bodyPr>
          <a:lstStyle>
            <a:lvl1pPr defTabSz="914363">
              <a:lnSpc>
                <a:spcPct val="90000"/>
              </a:lnSpc>
              <a:spcBef>
                <a:spcPct val="0"/>
              </a:spcBef>
              <a:buNone/>
              <a:defRPr lang="en-US" sz="3200" b="1" dirty="0">
                <a:latin typeface="Arial" panose="020B0604020202020204" pitchFamily="34" charset="0"/>
                <a:ea typeface="+mj-ea"/>
                <a:cs typeface="Arial" panose="020B0604020202020204" pitchFamily="34"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omestic – annual forecast</a:t>
            </a:r>
          </a:p>
        </p:txBody>
      </p:sp>
      <p:grpSp>
        <p:nvGrpSpPr>
          <p:cNvPr id="4" name="Group 3"/>
          <p:cNvGrpSpPr/>
          <p:nvPr/>
        </p:nvGrpSpPr>
        <p:grpSpPr>
          <a:xfrm>
            <a:off x="1316579" y="810067"/>
            <a:ext cx="9492617" cy="3334633"/>
            <a:chOff x="2206953" y="1361935"/>
            <a:chExt cx="9492617" cy="3334633"/>
          </a:xfrm>
        </p:grpSpPr>
        <p:sp>
          <p:nvSpPr>
            <p:cNvPr id="2" name="Flowchart: Process 1"/>
            <p:cNvSpPr/>
            <p:nvPr/>
          </p:nvSpPr>
          <p:spPr>
            <a:xfrm>
              <a:off x="2206953" y="1885849"/>
              <a:ext cx="1692000" cy="3403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0 volumes</a:t>
              </a:r>
            </a:p>
          </p:txBody>
        </p:sp>
        <p:sp>
          <p:nvSpPr>
            <p:cNvPr id="3" name="Flowchart: Process 2"/>
            <p:cNvSpPr/>
            <p:nvPr/>
          </p:nvSpPr>
          <p:spPr>
            <a:xfrm>
              <a:off x="2206953" y="2865287"/>
              <a:ext cx="1692000" cy="3403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1 volumes</a:t>
              </a:r>
            </a:p>
          </p:txBody>
        </p:sp>
        <p:sp>
          <p:nvSpPr>
            <p:cNvPr id="6" name="Rectangle: Rounded Corners 5"/>
            <p:cNvSpPr/>
            <p:nvPr/>
          </p:nvSpPr>
          <p:spPr>
            <a:xfrm>
              <a:off x="4100580" y="1361935"/>
              <a:ext cx="1737360" cy="38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o-wheelers</a:t>
              </a:r>
            </a:p>
          </p:txBody>
        </p:sp>
        <p:sp>
          <p:nvSpPr>
            <p:cNvPr id="7" name="Rectangle: Rounded Corners 6"/>
            <p:cNvSpPr/>
            <p:nvPr/>
          </p:nvSpPr>
          <p:spPr>
            <a:xfrm>
              <a:off x="6063630" y="1375674"/>
              <a:ext cx="1737360" cy="38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torcycles</a:t>
              </a:r>
            </a:p>
          </p:txBody>
        </p:sp>
        <p:sp>
          <p:nvSpPr>
            <p:cNvPr id="8" name="Rectangle: Rounded Corners 7"/>
            <p:cNvSpPr/>
            <p:nvPr/>
          </p:nvSpPr>
          <p:spPr>
            <a:xfrm>
              <a:off x="8012920" y="1375674"/>
              <a:ext cx="1737360" cy="38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ooters</a:t>
              </a:r>
            </a:p>
          </p:txBody>
        </p:sp>
        <p:sp>
          <p:nvSpPr>
            <p:cNvPr id="13" name="Rectangle 12"/>
            <p:cNvSpPr/>
            <p:nvPr/>
          </p:nvSpPr>
          <p:spPr>
            <a:xfrm>
              <a:off x="6183852" y="1897720"/>
              <a:ext cx="1584000" cy="3403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2</a:t>
              </a:r>
            </a:p>
          </p:txBody>
        </p:sp>
        <p:sp>
          <p:nvSpPr>
            <p:cNvPr id="14" name="Oval 13"/>
            <p:cNvSpPr/>
            <p:nvPr/>
          </p:nvSpPr>
          <p:spPr>
            <a:xfrm>
              <a:off x="8133142" y="1897720"/>
              <a:ext cx="1584000" cy="3403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6</a:t>
              </a:r>
            </a:p>
          </p:txBody>
        </p:sp>
        <p:sp>
          <p:nvSpPr>
            <p:cNvPr id="16" name="Rectangle 15"/>
            <p:cNvSpPr/>
            <p:nvPr/>
          </p:nvSpPr>
          <p:spPr>
            <a:xfrm>
              <a:off x="4177260" y="1897720"/>
              <a:ext cx="1584000" cy="3403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4</a:t>
              </a:r>
            </a:p>
          </p:txBody>
        </p:sp>
        <p:sp>
          <p:nvSpPr>
            <p:cNvPr id="18" name="Flowchart: Process 17"/>
            <p:cNvSpPr/>
            <p:nvPr/>
          </p:nvSpPr>
          <p:spPr>
            <a:xfrm>
              <a:off x="2206953" y="2324768"/>
              <a:ext cx="1692000" cy="3403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0</a:t>
              </a:r>
            </a:p>
          </p:txBody>
        </p:sp>
        <p:sp>
          <p:nvSpPr>
            <p:cNvPr id="24" name="Oval 23"/>
            <p:cNvSpPr/>
            <p:nvPr/>
          </p:nvSpPr>
          <p:spPr>
            <a:xfrm>
              <a:off x="6183852" y="23353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8%</a:t>
              </a:r>
            </a:p>
          </p:txBody>
        </p:sp>
        <p:sp>
          <p:nvSpPr>
            <p:cNvPr id="25" name="Oval 24"/>
            <p:cNvSpPr/>
            <p:nvPr/>
          </p:nvSpPr>
          <p:spPr>
            <a:xfrm>
              <a:off x="8133142" y="23353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7%</a:t>
              </a:r>
            </a:p>
          </p:txBody>
        </p:sp>
        <p:sp>
          <p:nvSpPr>
            <p:cNvPr id="27" name="Oval 26"/>
            <p:cNvSpPr/>
            <p:nvPr/>
          </p:nvSpPr>
          <p:spPr>
            <a:xfrm>
              <a:off x="4177260" y="23353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8%</a:t>
              </a:r>
            </a:p>
          </p:txBody>
        </p:sp>
        <p:sp>
          <p:nvSpPr>
            <p:cNvPr id="28" name="Oval 27"/>
            <p:cNvSpPr/>
            <p:nvPr/>
          </p:nvSpPr>
          <p:spPr>
            <a:xfrm>
              <a:off x="6183852" y="2874520"/>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02</a:t>
              </a:r>
            </a:p>
          </p:txBody>
        </p:sp>
        <p:sp>
          <p:nvSpPr>
            <p:cNvPr id="29" name="Oval 28"/>
            <p:cNvSpPr/>
            <p:nvPr/>
          </p:nvSpPr>
          <p:spPr>
            <a:xfrm>
              <a:off x="8133142" y="2874520"/>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48</a:t>
              </a:r>
            </a:p>
          </p:txBody>
        </p:sp>
        <p:sp>
          <p:nvSpPr>
            <p:cNvPr id="31" name="Oval 30"/>
            <p:cNvSpPr/>
            <p:nvPr/>
          </p:nvSpPr>
          <p:spPr>
            <a:xfrm>
              <a:off x="4177260" y="2874520"/>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12</a:t>
              </a:r>
            </a:p>
          </p:txBody>
        </p:sp>
        <p:sp>
          <p:nvSpPr>
            <p:cNvPr id="32" name="Oval 31"/>
            <p:cNvSpPr/>
            <p:nvPr/>
          </p:nvSpPr>
          <p:spPr>
            <a:xfrm>
              <a:off x="6183852" y="33121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a:t>
              </a:r>
            </a:p>
          </p:txBody>
        </p:sp>
        <p:sp>
          <p:nvSpPr>
            <p:cNvPr id="33" name="Oval 32"/>
            <p:cNvSpPr/>
            <p:nvPr/>
          </p:nvSpPr>
          <p:spPr>
            <a:xfrm>
              <a:off x="8133142" y="33121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a:t>
              </a:r>
            </a:p>
          </p:txBody>
        </p:sp>
        <p:sp>
          <p:nvSpPr>
            <p:cNvPr id="35" name="Oval 34"/>
            <p:cNvSpPr/>
            <p:nvPr/>
          </p:nvSpPr>
          <p:spPr>
            <a:xfrm>
              <a:off x="4177260" y="33121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3%</a:t>
              </a:r>
            </a:p>
          </p:txBody>
        </p:sp>
        <p:sp>
          <p:nvSpPr>
            <p:cNvPr id="36" name="Flowchart: Process 35"/>
            <p:cNvSpPr/>
            <p:nvPr/>
          </p:nvSpPr>
          <p:spPr>
            <a:xfrm>
              <a:off x="2206953" y="3304206"/>
              <a:ext cx="1692000" cy="34037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1</a:t>
              </a:r>
            </a:p>
          </p:txBody>
        </p:sp>
        <p:sp>
          <p:nvSpPr>
            <p:cNvPr id="48" name="Rounded Rectangle 2">
              <a:extLst>
                <a:ext uri="{FF2B5EF4-FFF2-40B4-BE49-F238E27FC236}">
                  <a16:creationId xmlns:a16="http://schemas.microsoft.com/office/drawing/2014/main" id="{F940DDEC-566B-43EC-A331-15E9BFF2C6B1}"/>
                </a:ext>
              </a:extLst>
            </p:cNvPr>
            <p:cNvSpPr/>
            <p:nvPr/>
          </p:nvSpPr>
          <p:spPr>
            <a:xfrm>
              <a:off x="2206953" y="3909763"/>
              <a:ext cx="1692000" cy="34037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2E volumes</a:t>
              </a:r>
            </a:p>
          </p:txBody>
        </p:sp>
        <p:sp>
          <p:nvSpPr>
            <p:cNvPr id="49" name="Oval 48">
              <a:extLst>
                <a:ext uri="{FF2B5EF4-FFF2-40B4-BE49-F238E27FC236}">
                  <a16:creationId xmlns:a16="http://schemas.microsoft.com/office/drawing/2014/main" id="{EC7500AC-E0E9-4780-B021-D450A9CA7E28}"/>
                </a:ext>
              </a:extLst>
            </p:cNvPr>
            <p:cNvSpPr/>
            <p:nvPr/>
          </p:nvSpPr>
          <p:spPr>
            <a:xfrm>
              <a:off x="6183852" y="3909763"/>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9.0</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 name="Oval 49">
              <a:extLst>
                <a:ext uri="{FF2B5EF4-FFF2-40B4-BE49-F238E27FC236}">
                  <a16:creationId xmlns:a16="http://schemas.microsoft.com/office/drawing/2014/main" id="{11F3ABA0-AD3B-44E0-BED4-40CE6F3FB3A8}"/>
                </a:ext>
              </a:extLst>
            </p:cNvPr>
            <p:cNvSpPr/>
            <p:nvPr/>
          </p:nvSpPr>
          <p:spPr>
            <a:xfrm>
              <a:off x="8133142" y="3913720"/>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a:t>
              </a:r>
            </a:p>
          </p:txBody>
        </p:sp>
        <p:sp>
          <p:nvSpPr>
            <p:cNvPr id="52" name="Oval 51">
              <a:extLst>
                <a:ext uri="{FF2B5EF4-FFF2-40B4-BE49-F238E27FC236}">
                  <a16:creationId xmlns:a16="http://schemas.microsoft.com/office/drawing/2014/main" id="{0FD79363-1830-4A49-8D26-BC41F41767DD}"/>
                </a:ext>
              </a:extLst>
            </p:cNvPr>
            <p:cNvSpPr/>
            <p:nvPr/>
          </p:nvSpPr>
          <p:spPr>
            <a:xfrm>
              <a:off x="4177260" y="3913720"/>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46</a:t>
              </a:r>
            </a:p>
          </p:txBody>
        </p:sp>
        <p:sp>
          <p:nvSpPr>
            <p:cNvPr id="56" name="Oval 55">
              <a:extLst>
                <a:ext uri="{FF2B5EF4-FFF2-40B4-BE49-F238E27FC236}">
                  <a16:creationId xmlns:a16="http://schemas.microsoft.com/office/drawing/2014/main" id="{E36B3314-59CD-4EE2-98C8-593F7362463B}"/>
                </a:ext>
              </a:extLst>
            </p:cNvPr>
            <p:cNvSpPr/>
            <p:nvPr/>
          </p:nvSpPr>
          <p:spPr>
            <a:xfrm>
              <a:off x="6183852" y="43513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0%</a:t>
              </a:r>
            </a:p>
          </p:txBody>
        </p:sp>
        <p:sp>
          <p:nvSpPr>
            <p:cNvPr id="57" name="Oval 56">
              <a:extLst>
                <a:ext uri="{FF2B5EF4-FFF2-40B4-BE49-F238E27FC236}">
                  <a16:creationId xmlns:a16="http://schemas.microsoft.com/office/drawing/2014/main" id="{68426FAA-A716-4871-9319-FC8B3CAA5F72}"/>
                </a:ext>
              </a:extLst>
            </p:cNvPr>
            <p:cNvSpPr/>
            <p:nvPr/>
          </p:nvSpPr>
          <p:spPr>
            <a:xfrm>
              <a:off x="8133142" y="43513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11</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8" name="Oval 57">
              <a:extLst>
                <a:ext uri="{FF2B5EF4-FFF2-40B4-BE49-F238E27FC236}">
                  <a16:creationId xmlns:a16="http://schemas.microsoft.com/office/drawing/2014/main" id="{4497DB71-CB65-4FA8-8692-A35840066D68}"/>
                </a:ext>
              </a:extLst>
            </p:cNvPr>
            <p:cNvSpPr/>
            <p:nvPr/>
          </p:nvSpPr>
          <p:spPr>
            <a:xfrm>
              <a:off x="4177260" y="4351320"/>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a:t>
              </a:r>
            </a:p>
          </p:txBody>
        </p:sp>
        <p:sp>
          <p:nvSpPr>
            <p:cNvPr id="59" name="Rounded Rectangle 35">
              <a:extLst>
                <a:ext uri="{FF2B5EF4-FFF2-40B4-BE49-F238E27FC236}">
                  <a16:creationId xmlns:a16="http://schemas.microsoft.com/office/drawing/2014/main" id="{D56680F8-C910-4979-8362-0AA3C17B6161}"/>
                </a:ext>
              </a:extLst>
            </p:cNvPr>
            <p:cNvSpPr/>
            <p:nvPr/>
          </p:nvSpPr>
          <p:spPr>
            <a:xfrm>
              <a:off x="2206953" y="4348682"/>
              <a:ext cx="1692000" cy="34037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2E</a:t>
              </a:r>
            </a:p>
          </p:txBody>
        </p:sp>
        <p:sp>
          <p:nvSpPr>
            <p:cNvPr id="77" name="Rectangle: Rounded Corners 7"/>
            <p:cNvSpPr/>
            <p:nvPr/>
          </p:nvSpPr>
          <p:spPr>
            <a:xfrm>
              <a:off x="9962210" y="1361935"/>
              <a:ext cx="1737360" cy="38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peds</a:t>
              </a:r>
            </a:p>
          </p:txBody>
        </p:sp>
        <p:sp>
          <p:nvSpPr>
            <p:cNvPr id="79" name="Oval 78"/>
            <p:cNvSpPr/>
            <p:nvPr/>
          </p:nvSpPr>
          <p:spPr>
            <a:xfrm>
              <a:off x="10047911" y="1919691"/>
              <a:ext cx="1584000" cy="3403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4</a:t>
              </a:r>
            </a:p>
          </p:txBody>
        </p:sp>
        <p:sp>
          <p:nvSpPr>
            <p:cNvPr id="80" name="Oval 79"/>
            <p:cNvSpPr/>
            <p:nvPr/>
          </p:nvSpPr>
          <p:spPr>
            <a:xfrm>
              <a:off x="10047911" y="2354849"/>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8%</a:t>
              </a:r>
            </a:p>
          </p:txBody>
        </p:sp>
        <p:sp>
          <p:nvSpPr>
            <p:cNvPr id="81" name="Oval 80"/>
            <p:cNvSpPr/>
            <p:nvPr/>
          </p:nvSpPr>
          <p:spPr>
            <a:xfrm>
              <a:off x="10047911" y="2891607"/>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2</a:t>
              </a:r>
            </a:p>
          </p:txBody>
        </p:sp>
        <p:sp>
          <p:nvSpPr>
            <p:cNvPr id="82" name="Oval 81"/>
            <p:cNvSpPr/>
            <p:nvPr/>
          </p:nvSpPr>
          <p:spPr>
            <a:xfrm>
              <a:off x="10047911" y="3326765"/>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a:t>
              </a:r>
            </a:p>
          </p:txBody>
        </p:sp>
        <p:sp>
          <p:nvSpPr>
            <p:cNvPr id="85" name="Oval 84">
              <a:extLst>
                <a:ext uri="{FF2B5EF4-FFF2-40B4-BE49-F238E27FC236}">
                  <a16:creationId xmlns:a16="http://schemas.microsoft.com/office/drawing/2014/main" id="{11F3ABA0-AD3B-44E0-BED4-40CE6F3FB3A8}"/>
                </a:ext>
              </a:extLst>
            </p:cNvPr>
            <p:cNvSpPr/>
            <p:nvPr/>
          </p:nvSpPr>
          <p:spPr>
            <a:xfrm>
              <a:off x="10047911" y="3921039"/>
              <a:ext cx="1584000" cy="3403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0.47</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 name="Oval 85">
              <a:extLst>
                <a:ext uri="{FF2B5EF4-FFF2-40B4-BE49-F238E27FC236}">
                  <a16:creationId xmlns:a16="http://schemas.microsoft.com/office/drawing/2014/main" id="{68426FAA-A716-4871-9319-FC8B3CAA5F72}"/>
                </a:ext>
              </a:extLst>
            </p:cNvPr>
            <p:cNvSpPr/>
            <p:nvPr/>
          </p:nvSpPr>
          <p:spPr>
            <a:xfrm>
              <a:off x="10047911" y="4356197"/>
              <a:ext cx="1584000" cy="34037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23</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grpSp>
      <p:sp>
        <p:nvSpPr>
          <p:cNvPr id="99" name="TextBox 98"/>
          <p:cNvSpPr txBox="1"/>
          <p:nvPr/>
        </p:nvSpPr>
        <p:spPr>
          <a:xfrm>
            <a:off x="332342" y="5524499"/>
            <a:ext cx="4420690" cy="553998"/>
          </a:xfrm>
          <a:prstGeom prst="rect">
            <a:avLst/>
          </a:prstGeom>
          <a:noFill/>
        </p:spPr>
        <p:txBody>
          <a:bodyPr wrap="square" lIns="91395" tIns="45700" rIns="91395" bIns="45700" rtlCol="0">
            <a:spAutoFit/>
          </a:body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Volumes in million units; </a:t>
            </a:r>
          </a:p>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YoY Growth in red indicates a negative growth</a:t>
            </a:r>
          </a:p>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YoY Growth in green indicates a positive growth</a:t>
            </a:r>
          </a:p>
        </p:txBody>
      </p:sp>
      <p:sp>
        <p:nvSpPr>
          <p:cNvPr id="100" name="TextBox 99"/>
          <p:cNvSpPr txBox="1"/>
          <p:nvPr/>
        </p:nvSpPr>
        <p:spPr>
          <a:xfrm>
            <a:off x="301600" y="6036415"/>
            <a:ext cx="2738346" cy="246221"/>
          </a:xfrm>
          <a:prstGeom prst="rect">
            <a:avLst/>
          </a:prstGeom>
          <a:noFill/>
        </p:spPr>
        <p:txBody>
          <a:bodyPr wrap="square" lIns="91395" tIns="45700" rIns="91395" bIns="45700" rtlCol="0">
            <a:spAutoFit/>
          </a:body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40" name="Rounded Rectangle 2">
            <a:extLst>
              <a:ext uri="{FF2B5EF4-FFF2-40B4-BE49-F238E27FC236}">
                <a16:creationId xmlns:a16="http://schemas.microsoft.com/office/drawing/2014/main" id="{ECF78892-A15B-4150-9519-207BBDD8A9A3}"/>
              </a:ext>
            </a:extLst>
          </p:cNvPr>
          <p:cNvSpPr/>
          <p:nvPr/>
        </p:nvSpPr>
        <p:spPr>
          <a:xfrm>
            <a:off x="1338914" y="4357062"/>
            <a:ext cx="169200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3 volumes</a:t>
            </a:r>
          </a:p>
        </p:txBody>
      </p:sp>
      <p:sp>
        <p:nvSpPr>
          <p:cNvPr id="41" name="Rectangle 40">
            <a:extLst>
              <a:ext uri="{FF2B5EF4-FFF2-40B4-BE49-F238E27FC236}">
                <a16:creationId xmlns:a16="http://schemas.microsoft.com/office/drawing/2014/main" id="{1A1320E0-A029-4529-8724-5AFEF76AA813}"/>
              </a:ext>
            </a:extLst>
          </p:cNvPr>
          <p:cNvSpPr/>
          <p:nvPr/>
        </p:nvSpPr>
        <p:spPr>
          <a:xfrm>
            <a:off x="5285648" y="4357062"/>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8.90-8.95</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2" name="Rectangle 41">
            <a:extLst>
              <a:ext uri="{FF2B5EF4-FFF2-40B4-BE49-F238E27FC236}">
                <a16:creationId xmlns:a16="http://schemas.microsoft.com/office/drawing/2014/main" id="{D93DED4D-6301-45F6-A0F7-3C7D8AA56C3A}"/>
              </a:ext>
            </a:extLst>
          </p:cNvPr>
          <p:cNvSpPr/>
          <p:nvPr/>
        </p:nvSpPr>
        <p:spPr>
          <a:xfrm>
            <a:off x="7291391" y="4343194"/>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3-4.08</a:t>
            </a:r>
          </a:p>
        </p:txBody>
      </p:sp>
      <p:sp>
        <p:nvSpPr>
          <p:cNvPr id="43" name="Rectangle 42">
            <a:extLst>
              <a:ext uri="{FF2B5EF4-FFF2-40B4-BE49-F238E27FC236}">
                <a16:creationId xmlns:a16="http://schemas.microsoft.com/office/drawing/2014/main" id="{98A25690-516E-406C-9AE6-DC54C335A698}"/>
              </a:ext>
            </a:extLst>
          </p:cNvPr>
          <p:cNvSpPr/>
          <p:nvPr/>
        </p:nvSpPr>
        <p:spPr>
          <a:xfrm>
            <a:off x="3293156" y="4343194"/>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13.2-13.7</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CF30CEB5-7C6B-4E15-B511-4EBF6452DE52}"/>
              </a:ext>
            </a:extLst>
          </p:cNvPr>
          <p:cNvSpPr/>
          <p:nvPr/>
        </p:nvSpPr>
        <p:spPr>
          <a:xfrm>
            <a:off x="5285648" y="4775278"/>
            <a:ext cx="1554480" cy="365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0%</a:t>
            </a:r>
          </a:p>
        </p:txBody>
      </p:sp>
      <p:sp>
        <p:nvSpPr>
          <p:cNvPr id="45" name="Rectangle 44">
            <a:extLst>
              <a:ext uri="{FF2B5EF4-FFF2-40B4-BE49-F238E27FC236}">
                <a16:creationId xmlns:a16="http://schemas.microsoft.com/office/drawing/2014/main" id="{024154DA-40B3-4665-9911-52AFB5764747}"/>
              </a:ext>
            </a:extLst>
          </p:cNvPr>
          <p:cNvSpPr/>
          <p:nvPr/>
        </p:nvSpPr>
        <p:spPr>
          <a:xfrm>
            <a:off x="7291391" y="4775278"/>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0-2</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46" name="Rectangle 45">
            <a:extLst>
              <a:ext uri="{FF2B5EF4-FFF2-40B4-BE49-F238E27FC236}">
                <a16:creationId xmlns:a16="http://schemas.microsoft.com/office/drawing/2014/main" id="{E30B75DE-C8A2-47FA-855A-85E16CFABBBB}"/>
              </a:ext>
            </a:extLst>
          </p:cNvPr>
          <p:cNvSpPr/>
          <p:nvPr/>
        </p:nvSpPr>
        <p:spPr>
          <a:xfrm>
            <a:off x="3293156" y="4761751"/>
            <a:ext cx="1554480" cy="365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1)-1</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1" name="Rounded Rectangle 35">
            <a:extLst>
              <a:ext uri="{FF2B5EF4-FFF2-40B4-BE49-F238E27FC236}">
                <a16:creationId xmlns:a16="http://schemas.microsoft.com/office/drawing/2014/main" id="{4A63346F-3A3B-41C3-B7CE-BC72EE23ED39}"/>
              </a:ext>
            </a:extLst>
          </p:cNvPr>
          <p:cNvSpPr/>
          <p:nvPr/>
        </p:nvSpPr>
        <p:spPr>
          <a:xfrm>
            <a:off x="1338914" y="4783777"/>
            <a:ext cx="169200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3P</a:t>
            </a:r>
          </a:p>
        </p:txBody>
      </p:sp>
      <p:sp>
        <p:nvSpPr>
          <p:cNvPr id="53" name="Rectangle 52">
            <a:extLst>
              <a:ext uri="{FF2B5EF4-FFF2-40B4-BE49-F238E27FC236}">
                <a16:creationId xmlns:a16="http://schemas.microsoft.com/office/drawing/2014/main" id="{08DA6821-2E44-4331-BEE9-148D387F3743}"/>
              </a:ext>
            </a:extLst>
          </p:cNvPr>
          <p:cNvSpPr/>
          <p:nvPr/>
        </p:nvSpPr>
        <p:spPr>
          <a:xfrm>
            <a:off x="9235861" y="4366804"/>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0.45-0.50</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41EB4731-6F50-41AC-84B0-2CEE7BD19469}"/>
              </a:ext>
            </a:extLst>
          </p:cNvPr>
          <p:cNvSpPr/>
          <p:nvPr/>
        </p:nvSpPr>
        <p:spPr>
          <a:xfrm>
            <a:off x="9235861" y="4798888"/>
            <a:ext cx="1554480" cy="365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2)-0</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70938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a:extLst>
              <a:ext uri="{FF2B5EF4-FFF2-40B4-BE49-F238E27FC236}">
                <a16:creationId xmlns:a16="http://schemas.microsoft.com/office/drawing/2014/main" id="{B4D66F93-F7D3-4652-81A5-36FAECAAFF48}"/>
              </a:ext>
            </a:extLst>
          </p:cNvPr>
          <p:cNvSpPr txBox="1">
            <a:spLocks/>
          </p:cNvSpPr>
          <p:nvPr/>
        </p:nvSpPr>
        <p:spPr>
          <a:xfrm>
            <a:off x="396206" y="200841"/>
            <a:ext cx="11602487" cy="449530"/>
          </a:xfrm>
          <a:prstGeom prst="rect">
            <a:avLst/>
          </a:prstGeom>
        </p:spPr>
        <p:txBody>
          <a:bodyPr vert="horz" lIns="0" tIns="0" rIns="0" bIns="0" rtlCol="0" anchor="ctr">
            <a:noAutofit/>
          </a:bodyPr>
          <a:lstStyle>
            <a:lvl1pPr defTabSz="914363">
              <a:lnSpc>
                <a:spcPct val="90000"/>
              </a:lnSpc>
              <a:spcBef>
                <a:spcPct val="0"/>
              </a:spcBef>
              <a:buNone/>
              <a:defRPr lang="en-US" sz="3200" b="1" dirty="0">
                <a:latin typeface="Arial" panose="020B0604020202020204" pitchFamily="34" charset="0"/>
                <a:ea typeface="+mj-ea"/>
                <a:cs typeface="Arial" panose="020B0604020202020204" pitchFamily="34" charset="0"/>
              </a:defRPr>
            </a:lvl1p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omestic – quarterly forecast</a:t>
            </a:r>
          </a:p>
        </p:txBody>
      </p:sp>
      <p:sp>
        <p:nvSpPr>
          <p:cNvPr id="156" name="TextBox 155"/>
          <p:cNvSpPr txBox="1"/>
          <p:nvPr/>
        </p:nvSpPr>
        <p:spPr>
          <a:xfrm>
            <a:off x="432511" y="4968571"/>
            <a:ext cx="11424539" cy="1200288"/>
          </a:xfrm>
          <a:prstGeom prst="rect">
            <a:avLst/>
          </a:prstGeom>
          <a:solidFill>
            <a:schemeClr val="bg1">
              <a:lumMod val="85000"/>
            </a:schemeClr>
          </a:solidFill>
        </p:spPr>
        <p:txBody>
          <a:bodyPr wrap="square" lIns="91395" tIns="45700" rIns="91395" bIns="45700" rtlCol="0" anchor="ctr">
            <a:spAutoFit/>
          </a:bodyPr>
          <a:lstStyle/>
          <a:p>
            <a:pPr marL="285615" marR="0" lvl="0" indent="-285615" algn="l" defTabSz="913960"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After clocking some traction in Q2, scooters segment registered near comparable numbers in Q4FY22; improvement in economy, pent up demand, opening-up of offices backed this demand</a:t>
            </a:r>
          </a:p>
          <a:p>
            <a:pPr marL="285615" marR="0" lvl="0" indent="-285615" algn="l" defTabSz="913960"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However, motorcycle demand was significantly impacted on account of sluggish rural sentiments</a:t>
            </a:r>
          </a:p>
          <a:p>
            <a:pPr marL="285615" marR="0" lvl="0" indent="-285615" algn="l" defTabSz="913960"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Economy has started reviving with offices and schools opening up, but increase in fuel prices is a major concern for growth going forward</a:t>
            </a:r>
          </a:p>
          <a:p>
            <a:pPr marL="285615" marR="0" lvl="0" indent="-285615" algn="l" defTabSz="913960" rtl="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Going ahead in FY23, uncertainty revolves around increasing fuel prices, increasing vehicle prices and uneven rainfall spread dampening rural sentiments in certain states. Further, inventory liquidation in Q4 FY23 on account of BS VI-B regulation to be implemented from 1</a:t>
            </a:r>
            <a:r>
              <a:rPr lang="en-US" sz="1200" baseline="30000" dirty="0">
                <a:solidFill>
                  <a:srgbClr val="000000"/>
                </a:solidFill>
                <a:latin typeface="Arial" panose="020B0604020202020204" pitchFamily="34" charset="0"/>
                <a:cs typeface="Arial" panose="020B0604020202020204" pitchFamily="34" charset="0"/>
              </a:rPr>
              <a:t>st</a:t>
            </a:r>
            <a:r>
              <a:rPr lang="en-US" sz="1200" dirty="0">
                <a:solidFill>
                  <a:srgbClr val="000000"/>
                </a:solidFill>
                <a:latin typeface="Arial" panose="020B0604020202020204" pitchFamily="34" charset="0"/>
                <a:cs typeface="Arial" panose="020B0604020202020204" pitchFamily="34" charset="0"/>
              </a:rPr>
              <a:t> April 2023 to negatively impact industry.</a:t>
            </a:r>
          </a:p>
        </p:txBody>
      </p:sp>
      <p:sp>
        <p:nvSpPr>
          <p:cNvPr id="15" name="Rectangle: Rounded Corners 157">
            <a:extLst>
              <a:ext uri="{FF2B5EF4-FFF2-40B4-BE49-F238E27FC236}">
                <a16:creationId xmlns:a16="http://schemas.microsoft.com/office/drawing/2014/main" id="{715A8F26-4A7A-4685-A004-FB0603859007}"/>
              </a:ext>
            </a:extLst>
          </p:cNvPr>
          <p:cNvSpPr/>
          <p:nvPr/>
        </p:nvSpPr>
        <p:spPr>
          <a:xfrm>
            <a:off x="4545832" y="125954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mn)</a:t>
            </a:r>
          </a:p>
        </p:txBody>
      </p:sp>
      <p:sp>
        <p:nvSpPr>
          <p:cNvPr id="16" name="Rectangle: Rounded Corners 158">
            <a:extLst>
              <a:ext uri="{FF2B5EF4-FFF2-40B4-BE49-F238E27FC236}">
                <a16:creationId xmlns:a16="http://schemas.microsoft.com/office/drawing/2014/main" id="{44A46C80-5A88-4EAB-ADB6-FA569F11B069}"/>
              </a:ext>
            </a:extLst>
          </p:cNvPr>
          <p:cNvSpPr/>
          <p:nvPr/>
        </p:nvSpPr>
        <p:spPr>
          <a:xfrm>
            <a:off x="5768079" y="1254701"/>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41" name="Rectangle: Rounded Corners 72">
            <a:extLst>
              <a:ext uri="{FF2B5EF4-FFF2-40B4-BE49-F238E27FC236}">
                <a16:creationId xmlns:a16="http://schemas.microsoft.com/office/drawing/2014/main" id="{A738871E-9F78-4346-A0D4-4AA58AA59FED}"/>
              </a:ext>
            </a:extLst>
          </p:cNvPr>
          <p:cNvSpPr/>
          <p:nvPr/>
        </p:nvSpPr>
        <p:spPr>
          <a:xfrm>
            <a:off x="432501" y="863600"/>
            <a:ext cx="1572208" cy="810713"/>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iod</a:t>
            </a:r>
          </a:p>
        </p:txBody>
      </p:sp>
      <p:sp>
        <p:nvSpPr>
          <p:cNvPr id="42" name="Rectangle: Rounded Corners 145">
            <a:extLst>
              <a:ext uri="{FF2B5EF4-FFF2-40B4-BE49-F238E27FC236}">
                <a16:creationId xmlns:a16="http://schemas.microsoft.com/office/drawing/2014/main" id="{DD7CFA8E-7CDC-4A6C-AB95-FCC0A15833EF}"/>
              </a:ext>
            </a:extLst>
          </p:cNvPr>
          <p:cNvSpPr/>
          <p:nvPr/>
        </p:nvSpPr>
        <p:spPr>
          <a:xfrm>
            <a:off x="1339501" y="1778042"/>
            <a:ext cx="665208"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43" name="Rectangle: Rounded Corners 149">
            <a:extLst>
              <a:ext uri="{FF2B5EF4-FFF2-40B4-BE49-F238E27FC236}">
                <a16:creationId xmlns:a16="http://schemas.microsoft.com/office/drawing/2014/main" id="{D101FBB6-7D7E-483C-B6E3-AB9308D1F50F}"/>
              </a:ext>
            </a:extLst>
          </p:cNvPr>
          <p:cNvSpPr/>
          <p:nvPr/>
        </p:nvSpPr>
        <p:spPr>
          <a:xfrm>
            <a:off x="4545831" y="1782288"/>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sp>
        <p:nvSpPr>
          <p:cNvPr id="44" name="Rectangle: Rounded Corners 153">
            <a:extLst>
              <a:ext uri="{FF2B5EF4-FFF2-40B4-BE49-F238E27FC236}">
                <a16:creationId xmlns:a16="http://schemas.microsoft.com/office/drawing/2014/main" id="{670A388E-8574-483D-9CBA-C4807A34A062}"/>
              </a:ext>
            </a:extLst>
          </p:cNvPr>
          <p:cNvSpPr/>
          <p:nvPr/>
        </p:nvSpPr>
        <p:spPr>
          <a:xfrm>
            <a:off x="5761240" y="1789367"/>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46" name="Rectangle: Rounded Corners 168">
            <a:extLst>
              <a:ext uri="{FF2B5EF4-FFF2-40B4-BE49-F238E27FC236}">
                <a16:creationId xmlns:a16="http://schemas.microsoft.com/office/drawing/2014/main" id="{29DF9AF3-A9C6-4EC2-8010-653D056EFE62}"/>
              </a:ext>
            </a:extLst>
          </p:cNvPr>
          <p:cNvSpPr/>
          <p:nvPr/>
        </p:nvSpPr>
        <p:spPr>
          <a:xfrm>
            <a:off x="432499" y="1730132"/>
            <a:ext cx="843703" cy="3207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1</a:t>
            </a:r>
          </a:p>
        </p:txBody>
      </p:sp>
      <p:sp>
        <p:nvSpPr>
          <p:cNvPr id="97" name="Rectangle 96"/>
          <p:cNvSpPr/>
          <p:nvPr/>
        </p:nvSpPr>
        <p:spPr>
          <a:xfrm>
            <a:off x="4545820" y="877880"/>
            <a:ext cx="2375328" cy="3239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torcycles</a:t>
            </a:r>
          </a:p>
        </p:txBody>
      </p:sp>
      <p:sp>
        <p:nvSpPr>
          <p:cNvPr id="100" name="Rectangle: Rounded Corners 157">
            <a:extLst>
              <a:ext uri="{FF2B5EF4-FFF2-40B4-BE49-F238E27FC236}">
                <a16:creationId xmlns:a16="http://schemas.microsoft.com/office/drawing/2014/main" id="{715A8F26-4A7A-4685-A004-FB0603859007}"/>
              </a:ext>
            </a:extLst>
          </p:cNvPr>
          <p:cNvSpPr/>
          <p:nvPr/>
        </p:nvSpPr>
        <p:spPr>
          <a:xfrm>
            <a:off x="7017228" y="126662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mn)</a:t>
            </a:r>
          </a:p>
        </p:txBody>
      </p:sp>
      <p:sp>
        <p:nvSpPr>
          <p:cNvPr id="101" name="Rectangle: Rounded Corners 158">
            <a:extLst>
              <a:ext uri="{FF2B5EF4-FFF2-40B4-BE49-F238E27FC236}">
                <a16:creationId xmlns:a16="http://schemas.microsoft.com/office/drawing/2014/main" id="{44A46C80-5A88-4EAB-ADB6-FA569F11B069}"/>
              </a:ext>
            </a:extLst>
          </p:cNvPr>
          <p:cNvSpPr/>
          <p:nvPr/>
        </p:nvSpPr>
        <p:spPr>
          <a:xfrm>
            <a:off x="8239475" y="126192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13" name="Rectangle: Rounded Corners 149">
            <a:extLst>
              <a:ext uri="{FF2B5EF4-FFF2-40B4-BE49-F238E27FC236}">
                <a16:creationId xmlns:a16="http://schemas.microsoft.com/office/drawing/2014/main" id="{D101FBB6-7D7E-483C-B6E3-AB9308D1F50F}"/>
              </a:ext>
            </a:extLst>
          </p:cNvPr>
          <p:cNvSpPr/>
          <p:nvPr/>
        </p:nvSpPr>
        <p:spPr>
          <a:xfrm>
            <a:off x="7017055" y="1788976"/>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a:t>
            </a:r>
          </a:p>
        </p:txBody>
      </p:sp>
      <p:sp>
        <p:nvSpPr>
          <p:cNvPr id="114" name="Rectangle: Rounded Corners 153">
            <a:extLst>
              <a:ext uri="{FF2B5EF4-FFF2-40B4-BE49-F238E27FC236}">
                <a16:creationId xmlns:a16="http://schemas.microsoft.com/office/drawing/2014/main" id="{670A388E-8574-483D-9CBA-C4807A34A062}"/>
              </a:ext>
            </a:extLst>
          </p:cNvPr>
          <p:cNvSpPr/>
          <p:nvPr/>
        </p:nvSpPr>
        <p:spPr>
          <a:xfrm>
            <a:off x="8226150" y="1796694"/>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118" name="Rectangle: Rounded Corners 176">
            <a:extLst>
              <a:ext uri="{FF2B5EF4-FFF2-40B4-BE49-F238E27FC236}">
                <a16:creationId xmlns:a16="http://schemas.microsoft.com/office/drawing/2014/main" id="{59D18927-4AF5-46EC-803A-A7443AC551C6}"/>
              </a:ext>
            </a:extLst>
          </p:cNvPr>
          <p:cNvSpPr/>
          <p:nvPr/>
        </p:nvSpPr>
        <p:spPr>
          <a:xfrm>
            <a:off x="7015550" y="4067025"/>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0.97</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3</a:t>
            </a:r>
          </a:p>
        </p:txBody>
      </p:sp>
      <p:sp>
        <p:nvSpPr>
          <p:cNvPr id="121" name="Rectangle: Rounded Corners 180">
            <a:extLst>
              <a:ext uri="{FF2B5EF4-FFF2-40B4-BE49-F238E27FC236}">
                <a16:creationId xmlns:a16="http://schemas.microsoft.com/office/drawing/2014/main" id="{5133D946-867C-4BC5-B546-C260BE43596E}"/>
              </a:ext>
            </a:extLst>
          </p:cNvPr>
          <p:cNvSpPr/>
          <p:nvPr/>
        </p:nvSpPr>
        <p:spPr>
          <a:xfrm>
            <a:off x="8232464" y="4063757"/>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lang="en-US" sz="1200" dirty="0">
                <a:solidFill>
                  <a:srgbClr val="000000"/>
                </a:solidFill>
                <a:latin typeface="Arial" panose="020B0604020202020204" pitchFamily="34" charset="0"/>
                <a:cs typeface="Arial" panose="020B0604020202020204" pitchFamily="34" charset="0"/>
              </a:rPr>
              <a:t>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25" name="Rectangle 124"/>
          <p:cNvSpPr/>
          <p:nvPr/>
        </p:nvSpPr>
        <p:spPr>
          <a:xfrm>
            <a:off x="7017219" y="884971"/>
            <a:ext cx="2375326" cy="3162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cooters</a:t>
            </a:r>
          </a:p>
        </p:txBody>
      </p:sp>
      <p:sp>
        <p:nvSpPr>
          <p:cNvPr id="128" name="Rectangle: Rounded Corners 157">
            <a:extLst>
              <a:ext uri="{FF2B5EF4-FFF2-40B4-BE49-F238E27FC236}">
                <a16:creationId xmlns:a16="http://schemas.microsoft.com/office/drawing/2014/main" id="{715A8F26-4A7A-4685-A004-FB0603859007}"/>
              </a:ext>
            </a:extLst>
          </p:cNvPr>
          <p:cNvSpPr/>
          <p:nvPr/>
        </p:nvSpPr>
        <p:spPr>
          <a:xfrm>
            <a:off x="9474703" y="126730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29" name="Rectangle: Rounded Corners 158">
            <a:extLst>
              <a:ext uri="{FF2B5EF4-FFF2-40B4-BE49-F238E27FC236}">
                <a16:creationId xmlns:a16="http://schemas.microsoft.com/office/drawing/2014/main" id="{44A46C80-5A88-4EAB-ADB6-FA569F11B069}"/>
              </a:ext>
            </a:extLst>
          </p:cNvPr>
          <p:cNvSpPr/>
          <p:nvPr/>
        </p:nvSpPr>
        <p:spPr>
          <a:xfrm>
            <a:off x="10696959" y="126245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41" name="Rectangle: Rounded Corners 149">
            <a:extLst>
              <a:ext uri="{FF2B5EF4-FFF2-40B4-BE49-F238E27FC236}">
                <a16:creationId xmlns:a16="http://schemas.microsoft.com/office/drawing/2014/main" id="{D101FBB6-7D7E-483C-B6E3-AB9308D1F50F}"/>
              </a:ext>
            </a:extLst>
          </p:cNvPr>
          <p:cNvSpPr/>
          <p:nvPr/>
        </p:nvSpPr>
        <p:spPr>
          <a:xfrm>
            <a:off x="9474701" y="1790045"/>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2</a:t>
            </a:r>
          </a:p>
        </p:txBody>
      </p:sp>
      <p:sp>
        <p:nvSpPr>
          <p:cNvPr id="142" name="Rectangle: Rounded Corners 153">
            <a:extLst>
              <a:ext uri="{FF2B5EF4-FFF2-40B4-BE49-F238E27FC236}">
                <a16:creationId xmlns:a16="http://schemas.microsoft.com/office/drawing/2014/main" id="{670A388E-8574-483D-9CBA-C4807A34A062}"/>
              </a:ext>
            </a:extLst>
          </p:cNvPr>
          <p:cNvSpPr/>
          <p:nvPr/>
        </p:nvSpPr>
        <p:spPr>
          <a:xfrm>
            <a:off x="10689938" y="1797788"/>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146" name="Rectangle: Rounded Corners 176">
            <a:extLst>
              <a:ext uri="{FF2B5EF4-FFF2-40B4-BE49-F238E27FC236}">
                <a16:creationId xmlns:a16="http://schemas.microsoft.com/office/drawing/2014/main" id="{59D18927-4AF5-46EC-803A-A7443AC551C6}"/>
              </a:ext>
            </a:extLst>
          </p:cNvPr>
          <p:cNvSpPr/>
          <p:nvPr/>
        </p:nvSpPr>
        <p:spPr>
          <a:xfrm>
            <a:off x="9474691" y="4070358"/>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0-135</a:t>
            </a:r>
          </a:p>
        </p:txBody>
      </p:sp>
      <p:sp>
        <p:nvSpPr>
          <p:cNvPr id="149" name="Rectangle: Rounded Corners 180">
            <a:extLst>
              <a:ext uri="{FF2B5EF4-FFF2-40B4-BE49-F238E27FC236}">
                <a16:creationId xmlns:a16="http://schemas.microsoft.com/office/drawing/2014/main" id="{5133D946-867C-4BC5-B546-C260BE43596E}"/>
              </a:ext>
            </a:extLst>
          </p:cNvPr>
          <p:cNvSpPr/>
          <p:nvPr/>
        </p:nvSpPr>
        <p:spPr>
          <a:xfrm>
            <a:off x="10689938" y="4064435"/>
            <a:ext cx="1160091" cy="2492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0-2</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53" name="Rectangle 152"/>
          <p:cNvSpPr/>
          <p:nvPr/>
        </p:nvSpPr>
        <p:spPr>
          <a:xfrm>
            <a:off x="9474691" y="885649"/>
            <a:ext cx="2375328" cy="3155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opeds</a:t>
            </a:r>
          </a:p>
        </p:txBody>
      </p:sp>
      <p:sp>
        <p:nvSpPr>
          <p:cNvPr id="164" name="Rectangle: Rounded Corners 157">
            <a:extLst>
              <a:ext uri="{FF2B5EF4-FFF2-40B4-BE49-F238E27FC236}">
                <a16:creationId xmlns:a16="http://schemas.microsoft.com/office/drawing/2014/main" id="{715A8F26-4A7A-4685-A004-FB0603859007}"/>
              </a:ext>
            </a:extLst>
          </p:cNvPr>
          <p:cNvSpPr/>
          <p:nvPr/>
        </p:nvSpPr>
        <p:spPr>
          <a:xfrm>
            <a:off x="2100045" y="126192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mn)</a:t>
            </a:r>
          </a:p>
        </p:txBody>
      </p:sp>
      <p:sp>
        <p:nvSpPr>
          <p:cNvPr id="165" name="Rectangle: Rounded Corners 158">
            <a:extLst>
              <a:ext uri="{FF2B5EF4-FFF2-40B4-BE49-F238E27FC236}">
                <a16:creationId xmlns:a16="http://schemas.microsoft.com/office/drawing/2014/main" id="{44A46C80-5A88-4EAB-ADB6-FA569F11B069}"/>
              </a:ext>
            </a:extLst>
          </p:cNvPr>
          <p:cNvSpPr/>
          <p:nvPr/>
        </p:nvSpPr>
        <p:spPr>
          <a:xfrm>
            <a:off x="3322302" y="1257076"/>
            <a:ext cx="1160091" cy="41961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72" name="Rectangle: Rounded Corners 149">
            <a:extLst>
              <a:ext uri="{FF2B5EF4-FFF2-40B4-BE49-F238E27FC236}">
                <a16:creationId xmlns:a16="http://schemas.microsoft.com/office/drawing/2014/main" id="{D101FBB6-7D7E-483C-B6E3-AB9308D1F50F}"/>
              </a:ext>
            </a:extLst>
          </p:cNvPr>
          <p:cNvSpPr/>
          <p:nvPr/>
        </p:nvSpPr>
        <p:spPr>
          <a:xfrm>
            <a:off x="2099870" y="1785864"/>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4</a:t>
            </a:r>
          </a:p>
        </p:txBody>
      </p:sp>
      <p:sp>
        <p:nvSpPr>
          <p:cNvPr id="173" name="Rectangle: Rounded Corners 153">
            <a:extLst>
              <a:ext uri="{FF2B5EF4-FFF2-40B4-BE49-F238E27FC236}">
                <a16:creationId xmlns:a16="http://schemas.microsoft.com/office/drawing/2014/main" id="{670A388E-8574-483D-9CBA-C4807A34A062}"/>
              </a:ext>
            </a:extLst>
          </p:cNvPr>
          <p:cNvSpPr/>
          <p:nvPr/>
        </p:nvSpPr>
        <p:spPr>
          <a:xfrm>
            <a:off x="3315279" y="1792409"/>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a:t>
            </a:r>
          </a:p>
        </p:txBody>
      </p:sp>
      <p:sp>
        <p:nvSpPr>
          <p:cNvPr id="180" name="Rectangle 179"/>
          <p:cNvSpPr/>
          <p:nvPr/>
        </p:nvSpPr>
        <p:spPr>
          <a:xfrm>
            <a:off x="2100033" y="880260"/>
            <a:ext cx="2375328" cy="3239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wo-wheeler</a:t>
            </a:r>
          </a:p>
        </p:txBody>
      </p:sp>
      <p:sp>
        <p:nvSpPr>
          <p:cNvPr id="93" name="Rectangle: Rounded Corners 168">
            <a:extLst>
              <a:ext uri="{FF2B5EF4-FFF2-40B4-BE49-F238E27FC236}">
                <a16:creationId xmlns:a16="http://schemas.microsoft.com/office/drawing/2014/main" id="{29DF9AF3-A9C6-4EC2-8010-653D056EFE62}"/>
              </a:ext>
            </a:extLst>
          </p:cNvPr>
          <p:cNvSpPr/>
          <p:nvPr/>
        </p:nvSpPr>
        <p:spPr>
          <a:xfrm>
            <a:off x="432504" y="2091635"/>
            <a:ext cx="843703" cy="127157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2P</a:t>
            </a:r>
          </a:p>
        </p:txBody>
      </p:sp>
      <p:sp>
        <p:nvSpPr>
          <p:cNvPr id="94" name="Rectangle: Rounded Corners 145">
            <a:extLst>
              <a:ext uri="{FF2B5EF4-FFF2-40B4-BE49-F238E27FC236}">
                <a16:creationId xmlns:a16="http://schemas.microsoft.com/office/drawing/2014/main" id="{DD7CFA8E-7CDC-4A6C-AB95-FCC0A15833EF}"/>
              </a:ext>
            </a:extLst>
          </p:cNvPr>
          <p:cNvSpPr/>
          <p:nvPr/>
        </p:nvSpPr>
        <p:spPr>
          <a:xfrm>
            <a:off x="1335162" y="2108310"/>
            <a:ext cx="665208"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1</a:t>
            </a:r>
          </a:p>
        </p:txBody>
      </p:sp>
      <p:sp>
        <p:nvSpPr>
          <p:cNvPr id="95" name="Rectangle: Rounded Corners 149">
            <a:extLst>
              <a:ext uri="{FF2B5EF4-FFF2-40B4-BE49-F238E27FC236}">
                <a16:creationId xmlns:a16="http://schemas.microsoft.com/office/drawing/2014/main" id="{D101FBB6-7D7E-483C-B6E3-AB9308D1F50F}"/>
              </a:ext>
            </a:extLst>
          </p:cNvPr>
          <p:cNvSpPr/>
          <p:nvPr/>
        </p:nvSpPr>
        <p:spPr>
          <a:xfrm>
            <a:off x="4541491" y="2112556"/>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a:t>
            </a:r>
          </a:p>
        </p:txBody>
      </p:sp>
      <p:sp>
        <p:nvSpPr>
          <p:cNvPr id="103" name="Rectangle: Rounded Corners 153">
            <a:extLst>
              <a:ext uri="{FF2B5EF4-FFF2-40B4-BE49-F238E27FC236}">
                <a16:creationId xmlns:a16="http://schemas.microsoft.com/office/drawing/2014/main" id="{670A388E-8574-483D-9CBA-C4807A34A062}"/>
              </a:ext>
            </a:extLst>
          </p:cNvPr>
          <p:cNvSpPr/>
          <p:nvPr/>
        </p:nvSpPr>
        <p:spPr>
          <a:xfrm>
            <a:off x="5756728" y="2120300"/>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3%</a:t>
            </a:r>
          </a:p>
        </p:txBody>
      </p:sp>
      <p:sp>
        <p:nvSpPr>
          <p:cNvPr id="110" name="Rectangle: Rounded Corners 149">
            <a:extLst>
              <a:ext uri="{FF2B5EF4-FFF2-40B4-BE49-F238E27FC236}">
                <a16:creationId xmlns:a16="http://schemas.microsoft.com/office/drawing/2014/main" id="{D101FBB6-7D7E-483C-B6E3-AB9308D1F50F}"/>
              </a:ext>
            </a:extLst>
          </p:cNvPr>
          <p:cNvSpPr/>
          <p:nvPr/>
        </p:nvSpPr>
        <p:spPr>
          <a:xfrm>
            <a:off x="7012887" y="2119635"/>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sp>
        <p:nvSpPr>
          <p:cNvPr id="111" name="Rectangle: Rounded Corners 153">
            <a:extLst>
              <a:ext uri="{FF2B5EF4-FFF2-40B4-BE49-F238E27FC236}">
                <a16:creationId xmlns:a16="http://schemas.microsoft.com/office/drawing/2014/main" id="{670A388E-8574-483D-9CBA-C4807A34A062}"/>
              </a:ext>
            </a:extLst>
          </p:cNvPr>
          <p:cNvSpPr/>
          <p:nvPr/>
        </p:nvSpPr>
        <p:spPr>
          <a:xfrm>
            <a:off x="8228125" y="2127378"/>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75</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12" name="Rectangle: Rounded Corners 149">
            <a:extLst>
              <a:ext uri="{FF2B5EF4-FFF2-40B4-BE49-F238E27FC236}">
                <a16:creationId xmlns:a16="http://schemas.microsoft.com/office/drawing/2014/main" id="{D101FBB6-7D7E-483C-B6E3-AB9308D1F50F}"/>
              </a:ext>
            </a:extLst>
          </p:cNvPr>
          <p:cNvSpPr/>
          <p:nvPr/>
        </p:nvSpPr>
        <p:spPr>
          <a:xfrm>
            <a:off x="9470361" y="2120313"/>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9</a:t>
            </a:r>
          </a:p>
        </p:txBody>
      </p:sp>
      <p:sp>
        <p:nvSpPr>
          <p:cNvPr id="115" name="Rectangle: Rounded Corners 153">
            <a:extLst>
              <a:ext uri="{FF2B5EF4-FFF2-40B4-BE49-F238E27FC236}">
                <a16:creationId xmlns:a16="http://schemas.microsoft.com/office/drawing/2014/main" id="{670A388E-8574-483D-9CBA-C4807A34A062}"/>
              </a:ext>
            </a:extLst>
          </p:cNvPr>
          <p:cNvSpPr/>
          <p:nvPr/>
        </p:nvSpPr>
        <p:spPr>
          <a:xfrm>
            <a:off x="10685599" y="2116181"/>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sp>
        <p:nvSpPr>
          <p:cNvPr id="122" name="Rectangle: Rounded Corners 149">
            <a:extLst>
              <a:ext uri="{FF2B5EF4-FFF2-40B4-BE49-F238E27FC236}">
                <a16:creationId xmlns:a16="http://schemas.microsoft.com/office/drawing/2014/main" id="{D101FBB6-7D7E-483C-B6E3-AB9308D1F50F}"/>
              </a:ext>
            </a:extLst>
          </p:cNvPr>
          <p:cNvSpPr/>
          <p:nvPr/>
        </p:nvSpPr>
        <p:spPr>
          <a:xfrm>
            <a:off x="2095704" y="2114933"/>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4</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 name="Rectangle: Rounded Corners 153">
            <a:extLst>
              <a:ext uri="{FF2B5EF4-FFF2-40B4-BE49-F238E27FC236}">
                <a16:creationId xmlns:a16="http://schemas.microsoft.com/office/drawing/2014/main" id="{670A388E-8574-483D-9CBA-C4807A34A062}"/>
              </a:ext>
            </a:extLst>
          </p:cNvPr>
          <p:cNvSpPr/>
          <p:nvPr/>
        </p:nvSpPr>
        <p:spPr>
          <a:xfrm>
            <a:off x="3310942" y="2122677"/>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noProof="0" dirty="0">
                <a:solidFill>
                  <a:srgbClr val="000000"/>
                </a:solidFill>
                <a:latin typeface="Arial" panose="020B0604020202020204" pitchFamily="34" charset="0"/>
                <a:cs typeface="Arial" panose="020B0604020202020204" pitchFamily="34" charset="0"/>
              </a:rPr>
              <a:t>86</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02" name="Rectangle: Rounded Corners 145">
            <a:extLst>
              <a:ext uri="{FF2B5EF4-FFF2-40B4-BE49-F238E27FC236}">
                <a16:creationId xmlns:a16="http://schemas.microsoft.com/office/drawing/2014/main" id="{DD7CFA8E-7CDC-4A6C-AB95-FCC0A15833EF}"/>
              </a:ext>
            </a:extLst>
          </p:cNvPr>
          <p:cNvSpPr/>
          <p:nvPr/>
        </p:nvSpPr>
        <p:spPr>
          <a:xfrm>
            <a:off x="1335162" y="2456225"/>
            <a:ext cx="665208"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104" name="Rectangle: Rounded Corners 149">
            <a:extLst>
              <a:ext uri="{FF2B5EF4-FFF2-40B4-BE49-F238E27FC236}">
                <a16:creationId xmlns:a16="http://schemas.microsoft.com/office/drawing/2014/main" id="{D101FBB6-7D7E-483C-B6E3-AB9308D1F50F}"/>
              </a:ext>
            </a:extLst>
          </p:cNvPr>
          <p:cNvSpPr/>
          <p:nvPr/>
        </p:nvSpPr>
        <p:spPr>
          <a:xfrm>
            <a:off x="4541491" y="2460471"/>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a:t>
            </a:r>
          </a:p>
        </p:txBody>
      </p:sp>
      <p:sp>
        <p:nvSpPr>
          <p:cNvPr id="107" name="Rectangle: Rounded Corners 153">
            <a:extLst>
              <a:ext uri="{FF2B5EF4-FFF2-40B4-BE49-F238E27FC236}">
                <a16:creationId xmlns:a16="http://schemas.microsoft.com/office/drawing/2014/main" id="{670A388E-8574-483D-9CBA-C4807A34A062}"/>
              </a:ext>
            </a:extLst>
          </p:cNvPr>
          <p:cNvSpPr/>
          <p:nvPr/>
        </p:nvSpPr>
        <p:spPr>
          <a:xfrm>
            <a:off x="5756728" y="2468215"/>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a:t>
            </a:r>
          </a:p>
        </p:txBody>
      </p:sp>
      <p:sp>
        <p:nvSpPr>
          <p:cNvPr id="124" name="Rectangle: Rounded Corners 149">
            <a:extLst>
              <a:ext uri="{FF2B5EF4-FFF2-40B4-BE49-F238E27FC236}">
                <a16:creationId xmlns:a16="http://schemas.microsoft.com/office/drawing/2014/main" id="{D101FBB6-7D7E-483C-B6E3-AB9308D1F50F}"/>
              </a:ext>
            </a:extLst>
          </p:cNvPr>
          <p:cNvSpPr/>
          <p:nvPr/>
        </p:nvSpPr>
        <p:spPr>
          <a:xfrm>
            <a:off x="7012887" y="2467551"/>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a:t>
            </a:r>
          </a:p>
        </p:txBody>
      </p:sp>
      <p:sp>
        <p:nvSpPr>
          <p:cNvPr id="130" name="Rectangle: Rounded Corners 153">
            <a:extLst>
              <a:ext uri="{FF2B5EF4-FFF2-40B4-BE49-F238E27FC236}">
                <a16:creationId xmlns:a16="http://schemas.microsoft.com/office/drawing/2014/main" id="{670A388E-8574-483D-9CBA-C4807A34A062}"/>
              </a:ext>
            </a:extLst>
          </p:cNvPr>
          <p:cNvSpPr/>
          <p:nvPr/>
        </p:nvSpPr>
        <p:spPr>
          <a:xfrm>
            <a:off x="8228125" y="2475294"/>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1</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31" name="Rectangle: Rounded Corners 149">
            <a:extLst>
              <a:ext uri="{FF2B5EF4-FFF2-40B4-BE49-F238E27FC236}">
                <a16:creationId xmlns:a16="http://schemas.microsoft.com/office/drawing/2014/main" id="{D101FBB6-7D7E-483C-B6E3-AB9308D1F50F}"/>
              </a:ext>
            </a:extLst>
          </p:cNvPr>
          <p:cNvSpPr/>
          <p:nvPr/>
        </p:nvSpPr>
        <p:spPr>
          <a:xfrm>
            <a:off x="9470361" y="2468229"/>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4</a:t>
            </a:r>
          </a:p>
        </p:txBody>
      </p:sp>
      <p:sp>
        <p:nvSpPr>
          <p:cNvPr id="132" name="Rectangle: Rounded Corners 153">
            <a:extLst>
              <a:ext uri="{FF2B5EF4-FFF2-40B4-BE49-F238E27FC236}">
                <a16:creationId xmlns:a16="http://schemas.microsoft.com/office/drawing/2014/main" id="{670A388E-8574-483D-9CBA-C4807A34A062}"/>
              </a:ext>
            </a:extLst>
          </p:cNvPr>
          <p:cNvSpPr/>
          <p:nvPr/>
        </p:nvSpPr>
        <p:spPr>
          <a:xfrm>
            <a:off x="10685599" y="2452222"/>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a:t>
            </a:r>
          </a:p>
        </p:txBody>
      </p:sp>
      <p:sp>
        <p:nvSpPr>
          <p:cNvPr id="135" name="Rectangle: Rounded Corners 149">
            <a:extLst>
              <a:ext uri="{FF2B5EF4-FFF2-40B4-BE49-F238E27FC236}">
                <a16:creationId xmlns:a16="http://schemas.microsoft.com/office/drawing/2014/main" id="{D101FBB6-7D7E-483C-B6E3-AB9308D1F50F}"/>
              </a:ext>
            </a:extLst>
          </p:cNvPr>
          <p:cNvSpPr/>
          <p:nvPr/>
        </p:nvSpPr>
        <p:spPr>
          <a:xfrm>
            <a:off x="2095704" y="2462849"/>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4.6</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 name="Rectangle: Rounded Corners 153">
            <a:extLst>
              <a:ext uri="{FF2B5EF4-FFF2-40B4-BE49-F238E27FC236}">
                <a16:creationId xmlns:a16="http://schemas.microsoft.com/office/drawing/2014/main" id="{670A388E-8574-483D-9CBA-C4807A34A062}"/>
              </a:ext>
            </a:extLst>
          </p:cNvPr>
          <p:cNvSpPr/>
          <p:nvPr/>
        </p:nvSpPr>
        <p:spPr>
          <a:xfrm>
            <a:off x="3310942" y="2470592"/>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12</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39" name="TextBox 138">
            <a:extLst>
              <a:ext uri="{FF2B5EF4-FFF2-40B4-BE49-F238E27FC236}">
                <a16:creationId xmlns:a16="http://schemas.microsoft.com/office/drawing/2014/main" id="{C8A0F673-7BE5-4C3A-88AD-A98956CAAE39}"/>
              </a:ext>
            </a:extLst>
          </p:cNvPr>
          <p:cNvSpPr txBox="1"/>
          <p:nvPr/>
        </p:nvSpPr>
        <p:spPr>
          <a:xfrm>
            <a:off x="415567" y="4639208"/>
            <a:ext cx="2045370" cy="233398"/>
          </a:xfrm>
          <a:prstGeom prst="rect">
            <a:avLst/>
          </a:prstGeom>
          <a:noFill/>
        </p:spPr>
        <p:txBody>
          <a:bodyPr wrap="square" lIns="91395" tIns="45700" rIns="91395" bIns="45700" rtlCol="0">
            <a:spAutoFit/>
          </a:bodyPr>
          <a:lstStyle/>
          <a:p>
            <a:pPr marL="0" marR="0" lvl="0" indent="0" algn="l" defTabSz="913960" rtl="0" eaLnBrk="1" fontAlgn="auto" latinLnBrk="0" hangingPunct="1">
              <a:lnSpc>
                <a:spcPct val="100000"/>
              </a:lnSpc>
              <a:spcBef>
                <a:spcPts val="0"/>
              </a:spcBef>
              <a:spcAft>
                <a:spcPts val="0"/>
              </a:spcAft>
              <a:buClrTx/>
              <a:buSzTx/>
              <a:buFontTx/>
              <a:buNone/>
              <a:tabLst/>
              <a:defRPr/>
            </a:pPr>
            <a:r>
              <a:rPr kumimoji="0" lang="en-IN" sz="9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105" name="Rectangle: Rounded Corners 145">
            <a:extLst>
              <a:ext uri="{FF2B5EF4-FFF2-40B4-BE49-F238E27FC236}">
                <a16:creationId xmlns:a16="http://schemas.microsoft.com/office/drawing/2014/main" id="{DD7CFA8E-7CDC-4A6C-AB95-FCC0A15833EF}"/>
              </a:ext>
            </a:extLst>
          </p:cNvPr>
          <p:cNvSpPr/>
          <p:nvPr/>
        </p:nvSpPr>
        <p:spPr>
          <a:xfrm>
            <a:off x="1333187" y="2795085"/>
            <a:ext cx="665208"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3</a:t>
            </a:r>
          </a:p>
        </p:txBody>
      </p:sp>
      <p:sp>
        <p:nvSpPr>
          <p:cNvPr id="108" name="Rectangle: Rounded Corners 149">
            <a:extLst>
              <a:ext uri="{FF2B5EF4-FFF2-40B4-BE49-F238E27FC236}">
                <a16:creationId xmlns:a16="http://schemas.microsoft.com/office/drawing/2014/main" id="{D101FBB6-7D7E-483C-B6E3-AB9308D1F50F}"/>
              </a:ext>
            </a:extLst>
          </p:cNvPr>
          <p:cNvSpPr/>
          <p:nvPr/>
        </p:nvSpPr>
        <p:spPr>
          <a:xfrm>
            <a:off x="4539516" y="2799331"/>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a:t>
            </a:r>
          </a:p>
        </p:txBody>
      </p:sp>
      <p:sp>
        <p:nvSpPr>
          <p:cNvPr id="133" name="Rectangle: Rounded Corners 153">
            <a:extLst>
              <a:ext uri="{FF2B5EF4-FFF2-40B4-BE49-F238E27FC236}">
                <a16:creationId xmlns:a16="http://schemas.microsoft.com/office/drawing/2014/main" id="{670A388E-8574-483D-9CBA-C4807A34A062}"/>
              </a:ext>
            </a:extLst>
          </p:cNvPr>
          <p:cNvSpPr/>
          <p:nvPr/>
        </p:nvSpPr>
        <p:spPr>
          <a:xfrm>
            <a:off x="5754753" y="2807075"/>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136" name="Rectangle: Rounded Corners 149">
            <a:extLst>
              <a:ext uri="{FF2B5EF4-FFF2-40B4-BE49-F238E27FC236}">
                <a16:creationId xmlns:a16="http://schemas.microsoft.com/office/drawing/2014/main" id="{D101FBB6-7D7E-483C-B6E3-AB9308D1F50F}"/>
              </a:ext>
            </a:extLst>
          </p:cNvPr>
          <p:cNvSpPr/>
          <p:nvPr/>
        </p:nvSpPr>
        <p:spPr>
          <a:xfrm>
            <a:off x="7022600" y="2807075"/>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a:t>
            </a:r>
          </a:p>
        </p:txBody>
      </p:sp>
      <p:sp>
        <p:nvSpPr>
          <p:cNvPr id="140" name="Rectangle: Rounded Corners 153">
            <a:extLst>
              <a:ext uri="{FF2B5EF4-FFF2-40B4-BE49-F238E27FC236}">
                <a16:creationId xmlns:a16="http://schemas.microsoft.com/office/drawing/2014/main" id="{670A388E-8574-483D-9CBA-C4807A34A062}"/>
              </a:ext>
            </a:extLst>
          </p:cNvPr>
          <p:cNvSpPr/>
          <p:nvPr/>
        </p:nvSpPr>
        <p:spPr>
          <a:xfrm>
            <a:off x="8226150" y="2814153"/>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t>
            </a:r>
          </a:p>
        </p:txBody>
      </p:sp>
      <p:sp>
        <p:nvSpPr>
          <p:cNvPr id="143" name="Rectangle: Rounded Corners 149">
            <a:extLst>
              <a:ext uri="{FF2B5EF4-FFF2-40B4-BE49-F238E27FC236}">
                <a16:creationId xmlns:a16="http://schemas.microsoft.com/office/drawing/2014/main" id="{D101FBB6-7D7E-483C-B6E3-AB9308D1F50F}"/>
              </a:ext>
            </a:extLst>
          </p:cNvPr>
          <p:cNvSpPr/>
          <p:nvPr/>
        </p:nvSpPr>
        <p:spPr>
          <a:xfrm>
            <a:off x="9468386" y="2807088"/>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0</a:t>
            </a:r>
          </a:p>
        </p:txBody>
      </p:sp>
      <p:sp>
        <p:nvSpPr>
          <p:cNvPr id="150" name="Rectangle: Rounded Corners 153">
            <a:extLst>
              <a:ext uri="{FF2B5EF4-FFF2-40B4-BE49-F238E27FC236}">
                <a16:creationId xmlns:a16="http://schemas.microsoft.com/office/drawing/2014/main" id="{670A388E-8574-483D-9CBA-C4807A34A062}"/>
              </a:ext>
            </a:extLst>
          </p:cNvPr>
          <p:cNvSpPr/>
          <p:nvPr/>
        </p:nvSpPr>
        <p:spPr>
          <a:xfrm>
            <a:off x="10683624" y="2802956"/>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24</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51" name="Rectangle: Rounded Corners 149">
            <a:extLst>
              <a:ext uri="{FF2B5EF4-FFF2-40B4-BE49-F238E27FC236}">
                <a16:creationId xmlns:a16="http://schemas.microsoft.com/office/drawing/2014/main" id="{D101FBB6-7D7E-483C-B6E3-AB9308D1F50F}"/>
              </a:ext>
            </a:extLst>
          </p:cNvPr>
          <p:cNvSpPr/>
          <p:nvPr/>
        </p:nvSpPr>
        <p:spPr>
          <a:xfrm>
            <a:off x="2093729" y="2801708"/>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6</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2" name="Rectangle: Rounded Corners 153">
            <a:extLst>
              <a:ext uri="{FF2B5EF4-FFF2-40B4-BE49-F238E27FC236}">
                <a16:creationId xmlns:a16="http://schemas.microsoft.com/office/drawing/2014/main" id="{670A388E-8574-483D-9CBA-C4807A34A062}"/>
              </a:ext>
            </a:extLst>
          </p:cNvPr>
          <p:cNvSpPr/>
          <p:nvPr/>
        </p:nvSpPr>
        <p:spPr>
          <a:xfrm>
            <a:off x="3308967" y="2809452"/>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a:t>
            </a:r>
          </a:p>
        </p:txBody>
      </p:sp>
      <p:sp>
        <p:nvSpPr>
          <p:cNvPr id="106" name="Rectangle: Rounded Corners 145">
            <a:extLst>
              <a:ext uri="{FF2B5EF4-FFF2-40B4-BE49-F238E27FC236}">
                <a16:creationId xmlns:a16="http://schemas.microsoft.com/office/drawing/2014/main" id="{DD7CFA8E-7CDC-4A6C-AB95-FCC0A15833EF}"/>
              </a:ext>
            </a:extLst>
          </p:cNvPr>
          <p:cNvSpPr/>
          <p:nvPr/>
        </p:nvSpPr>
        <p:spPr>
          <a:xfrm>
            <a:off x="1333187" y="3103487"/>
            <a:ext cx="665208"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109" name="Rectangle: Rounded Corners 149">
            <a:extLst>
              <a:ext uri="{FF2B5EF4-FFF2-40B4-BE49-F238E27FC236}">
                <a16:creationId xmlns:a16="http://schemas.microsoft.com/office/drawing/2014/main" id="{D101FBB6-7D7E-483C-B6E3-AB9308D1F50F}"/>
              </a:ext>
            </a:extLst>
          </p:cNvPr>
          <p:cNvSpPr/>
          <p:nvPr/>
        </p:nvSpPr>
        <p:spPr>
          <a:xfrm>
            <a:off x="4539517" y="3107733"/>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134" name="Rectangle: Rounded Corners 153">
            <a:extLst>
              <a:ext uri="{FF2B5EF4-FFF2-40B4-BE49-F238E27FC236}">
                <a16:creationId xmlns:a16="http://schemas.microsoft.com/office/drawing/2014/main" id="{670A388E-8574-483D-9CBA-C4807A34A062}"/>
              </a:ext>
            </a:extLst>
          </p:cNvPr>
          <p:cNvSpPr/>
          <p:nvPr/>
        </p:nvSpPr>
        <p:spPr>
          <a:xfrm>
            <a:off x="5754755" y="3115477"/>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a:t>
            </a:r>
          </a:p>
        </p:txBody>
      </p:sp>
      <p:sp>
        <p:nvSpPr>
          <p:cNvPr id="137" name="Rectangle: Rounded Corners 149">
            <a:extLst>
              <a:ext uri="{FF2B5EF4-FFF2-40B4-BE49-F238E27FC236}">
                <a16:creationId xmlns:a16="http://schemas.microsoft.com/office/drawing/2014/main" id="{D101FBB6-7D7E-483C-B6E3-AB9308D1F50F}"/>
              </a:ext>
            </a:extLst>
          </p:cNvPr>
          <p:cNvSpPr/>
          <p:nvPr/>
        </p:nvSpPr>
        <p:spPr>
          <a:xfrm>
            <a:off x="7010913" y="3114812"/>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1</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Rectangle: Rounded Corners 153">
            <a:extLst>
              <a:ext uri="{FF2B5EF4-FFF2-40B4-BE49-F238E27FC236}">
                <a16:creationId xmlns:a16="http://schemas.microsoft.com/office/drawing/2014/main" id="{670A388E-8574-483D-9CBA-C4807A34A062}"/>
              </a:ext>
            </a:extLst>
          </p:cNvPr>
          <p:cNvSpPr/>
          <p:nvPr/>
        </p:nvSpPr>
        <p:spPr>
          <a:xfrm>
            <a:off x="8226150" y="3122556"/>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4)</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55" name="Rectangle: Rounded Corners 149">
            <a:extLst>
              <a:ext uri="{FF2B5EF4-FFF2-40B4-BE49-F238E27FC236}">
                <a16:creationId xmlns:a16="http://schemas.microsoft.com/office/drawing/2014/main" id="{D101FBB6-7D7E-483C-B6E3-AB9308D1F50F}"/>
              </a:ext>
            </a:extLst>
          </p:cNvPr>
          <p:cNvSpPr/>
          <p:nvPr/>
        </p:nvSpPr>
        <p:spPr>
          <a:xfrm>
            <a:off x="9468388" y="3115490"/>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09</a:t>
            </a:r>
          </a:p>
        </p:txBody>
      </p:sp>
      <p:sp>
        <p:nvSpPr>
          <p:cNvPr id="159" name="Rectangle: Rounded Corners 153">
            <a:extLst>
              <a:ext uri="{FF2B5EF4-FFF2-40B4-BE49-F238E27FC236}">
                <a16:creationId xmlns:a16="http://schemas.microsoft.com/office/drawing/2014/main" id="{670A388E-8574-483D-9CBA-C4807A34A062}"/>
              </a:ext>
            </a:extLst>
          </p:cNvPr>
          <p:cNvSpPr/>
          <p:nvPr/>
        </p:nvSpPr>
        <p:spPr>
          <a:xfrm>
            <a:off x="10683624" y="3123233"/>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3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0" name="Rectangle: Rounded Corners 149">
            <a:extLst>
              <a:ext uri="{FF2B5EF4-FFF2-40B4-BE49-F238E27FC236}">
                <a16:creationId xmlns:a16="http://schemas.microsoft.com/office/drawing/2014/main" id="{D101FBB6-7D7E-483C-B6E3-AB9308D1F50F}"/>
              </a:ext>
            </a:extLst>
          </p:cNvPr>
          <p:cNvSpPr/>
          <p:nvPr/>
        </p:nvSpPr>
        <p:spPr>
          <a:xfrm>
            <a:off x="2093730" y="3110110"/>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4</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 name="Rectangle: Rounded Corners 153">
            <a:extLst>
              <a:ext uri="{FF2B5EF4-FFF2-40B4-BE49-F238E27FC236}">
                <a16:creationId xmlns:a16="http://schemas.microsoft.com/office/drawing/2014/main" id="{670A388E-8574-483D-9CBA-C4807A34A062}"/>
              </a:ext>
            </a:extLst>
          </p:cNvPr>
          <p:cNvSpPr/>
          <p:nvPr/>
        </p:nvSpPr>
        <p:spPr>
          <a:xfrm>
            <a:off x="3308964" y="3117854"/>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3)</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92" name="Rectangle: Rounded Corners 168">
            <a:extLst>
              <a:ext uri="{FF2B5EF4-FFF2-40B4-BE49-F238E27FC236}">
                <a16:creationId xmlns:a16="http://schemas.microsoft.com/office/drawing/2014/main" id="{29DF9AF3-A9C6-4EC2-8010-653D056EFE62}"/>
              </a:ext>
            </a:extLst>
          </p:cNvPr>
          <p:cNvSpPr/>
          <p:nvPr/>
        </p:nvSpPr>
        <p:spPr>
          <a:xfrm>
            <a:off x="415567" y="3415094"/>
            <a:ext cx="843703" cy="119974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3P</a:t>
            </a:r>
          </a:p>
        </p:txBody>
      </p:sp>
      <p:sp>
        <p:nvSpPr>
          <p:cNvPr id="98" name="Rectangle: Rounded Corners 170">
            <a:extLst>
              <a:ext uri="{FF2B5EF4-FFF2-40B4-BE49-F238E27FC236}">
                <a16:creationId xmlns:a16="http://schemas.microsoft.com/office/drawing/2014/main" id="{02B28546-20DD-4386-9183-865D781C0987}"/>
              </a:ext>
            </a:extLst>
          </p:cNvPr>
          <p:cNvSpPr/>
          <p:nvPr/>
        </p:nvSpPr>
        <p:spPr>
          <a:xfrm>
            <a:off x="1337153" y="3415095"/>
            <a:ext cx="665208"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1</a:t>
            </a:r>
          </a:p>
        </p:txBody>
      </p:sp>
      <p:sp>
        <p:nvSpPr>
          <p:cNvPr id="99" name="Rectangle: Rounded Corners 171">
            <a:extLst>
              <a:ext uri="{FF2B5EF4-FFF2-40B4-BE49-F238E27FC236}">
                <a16:creationId xmlns:a16="http://schemas.microsoft.com/office/drawing/2014/main" id="{5B0C6A83-AA6E-4EF3-80B0-48EF80001513}"/>
              </a:ext>
            </a:extLst>
          </p:cNvPr>
          <p:cNvSpPr/>
          <p:nvPr/>
        </p:nvSpPr>
        <p:spPr>
          <a:xfrm>
            <a:off x="1337153" y="3728060"/>
            <a:ext cx="665208"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126" name="Rectangle: Rounded Corners 174">
            <a:extLst>
              <a:ext uri="{FF2B5EF4-FFF2-40B4-BE49-F238E27FC236}">
                <a16:creationId xmlns:a16="http://schemas.microsoft.com/office/drawing/2014/main" id="{0AF011FC-A3CC-4D9C-B675-BDABA2AE464B}"/>
              </a:ext>
            </a:extLst>
          </p:cNvPr>
          <p:cNvSpPr/>
          <p:nvPr/>
        </p:nvSpPr>
        <p:spPr>
          <a:xfrm>
            <a:off x="4543483" y="3426739"/>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9-2.54</a:t>
            </a:r>
          </a:p>
        </p:txBody>
      </p:sp>
      <p:sp>
        <p:nvSpPr>
          <p:cNvPr id="127" name="Rectangle: Rounded Corners 175">
            <a:extLst>
              <a:ext uri="{FF2B5EF4-FFF2-40B4-BE49-F238E27FC236}">
                <a16:creationId xmlns:a16="http://schemas.microsoft.com/office/drawing/2014/main" id="{388EBF78-E031-474D-90CE-C3A53D5902D6}"/>
              </a:ext>
            </a:extLst>
          </p:cNvPr>
          <p:cNvSpPr/>
          <p:nvPr/>
        </p:nvSpPr>
        <p:spPr>
          <a:xfrm>
            <a:off x="4543483" y="3741736"/>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35-2.4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7" name="Rectangle: Rounded Corners 178">
            <a:extLst>
              <a:ext uri="{FF2B5EF4-FFF2-40B4-BE49-F238E27FC236}">
                <a16:creationId xmlns:a16="http://schemas.microsoft.com/office/drawing/2014/main" id="{3E8C7562-7B20-438B-AEF0-060DE3B0BC9C}"/>
              </a:ext>
            </a:extLst>
          </p:cNvPr>
          <p:cNvSpPr/>
          <p:nvPr/>
        </p:nvSpPr>
        <p:spPr>
          <a:xfrm>
            <a:off x="5758721" y="3427084"/>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4-46%</a:t>
            </a:r>
          </a:p>
        </p:txBody>
      </p:sp>
      <p:sp>
        <p:nvSpPr>
          <p:cNvPr id="158" name="Rectangle: Rounded Corners 179">
            <a:extLst>
              <a:ext uri="{FF2B5EF4-FFF2-40B4-BE49-F238E27FC236}">
                <a16:creationId xmlns:a16="http://schemas.microsoft.com/office/drawing/2014/main" id="{64FF5EEA-2412-47FC-8967-2592D2CF3F61}"/>
              </a:ext>
            </a:extLst>
          </p:cNvPr>
          <p:cNvSpPr/>
          <p:nvPr/>
        </p:nvSpPr>
        <p:spPr>
          <a:xfrm>
            <a:off x="5758721" y="3740050"/>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0)-(8)</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2" name="Rectangle: Rounded Corners 174">
            <a:extLst>
              <a:ext uri="{FF2B5EF4-FFF2-40B4-BE49-F238E27FC236}">
                <a16:creationId xmlns:a16="http://schemas.microsoft.com/office/drawing/2014/main" id="{0AF011FC-A3CC-4D9C-B675-BDABA2AE464B}"/>
              </a:ext>
            </a:extLst>
          </p:cNvPr>
          <p:cNvSpPr/>
          <p:nvPr/>
        </p:nvSpPr>
        <p:spPr>
          <a:xfrm>
            <a:off x="7014879" y="3433817"/>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0.95-1.0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 name="Rectangle: Rounded Corners 175">
            <a:extLst>
              <a:ext uri="{FF2B5EF4-FFF2-40B4-BE49-F238E27FC236}">
                <a16:creationId xmlns:a16="http://schemas.microsoft.com/office/drawing/2014/main" id="{388EBF78-E031-474D-90CE-C3A53D5902D6}"/>
              </a:ext>
            </a:extLst>
          </p:cNvPr>
          <p:cNvSpPr/>
          <p:nvPr/>
        </p:nvSpPr>
        <p:spPr>
          <a:xfrm>
            <a:off x="7014879" y="3748815"/>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23-1.28</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6" name="Rectangle: Rounded Corners 178">
            <a:extLst>
              <a:ext uri="{FF2B5EF4-FFF2-40B4-BE49-F238E27FC236}">
                <a16:creationId xmlns:a16="http://schemas.microsoft.com/office/drawing/2014/main" id="{3E8C7562-7B20-438B-AEF0-060DE3B0BC9C}"/>
              </a:ext>
            </a:extLst>
          </p:cNvPr>
          <p:cNvSpPr/>
          <p:nvPr/>
        </p:nvSpPr>
        <p:spPr>
          <a:xfrm>
            <a:off x="8230116" y="3434164"/>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66-68</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7" name="Rectangle: Rounded Corners 179">
            <a:extLst>
              <a:ext uri="{FF2B5EF4-FFF2-40B4-BE49-F238E27FC236}">
                <a16:creationId xmlns:a16="http://schemas.microsoft.com/office/drawing/2014/main" id="{64FF5EEA-2412-47FC-8967-2592D2CF3F61}"/>
              </a:ext>
            </a:extLst>
          </p:cNvPr>
          <p:cNvSpPr/>
          <p:nvPr/>
        </p:nvSpPr>
        <p:spPr>
          <a:xfrm>
            <a:off x="8230116" y="3747130"/>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7)-(5)</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8" name="Rectangle: Rounded Corners 174">
            <a:extLst>
              <a:ext uri="{FF2B5EF4-FFF2-40B4-BE49-F238E27FC236}">
                <a16:creationId xmlns:a16="http://schemas.microsoft.com/office/drawing/2014/main" id="{0AF011FC-A3CC-4D9C-B675-BDABA2AE464B}"/>
              </a:ext>
            </a:extLst>
          </p:cNvPr>
          <p:cNvSpPr/>
          <p:nvPr/>
        </p:nvSpPr>
        <p:spPr>
          <a:xfrm>
            <a:off x="9472353" y="3434495"/>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100</a:t>
            </a:r>
          </a:p>
        </p:txBody>
      </p:sp>
      <p:sp>
        <p:nvSpPr>
          <p:cNvPr id="169" name="Rectangle: Rounded Corners 175">
            <a:extLst>
              <a:ext uri="{FF2B5EF4-FFF2-40B4-BE49-F238E27FC236}">
                <a16:creationId xmlns:a16="http://schemas.microsoft.com/office/drawing/2014/main" id="{388EBF78-E031-474D-90CE-C3A53D5902D6}"/>
              </a:ext>
            </a:extLst>
          </p:cNvPr>
          <p:cNvSpPr/>
          <p:nvPr/>
        </p:nvSpPr>
        <p:spPr>
          <a:xfrm>
            <a:off x="9472353" y="3749492"/>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43-148</a:t>
            </a:r>
          </a:p>
        </p:txBody>
      </p:sp>
      <p:sp>
        <p:nvSpPr>
          <p:cNvPr id="170" name="Rectangle: Rounded Corners 178">
            <a:extLst>
              <a:ext uri="{FF2B5EF4-FFF2-40B4-BE49-F238E27FC236}">
                <a16:creationId xmlns:a16="http://schemas.microsoft.com/office/drawing/2014/main" id="{3E8C7562-7B20-438B-AEF0-060DE3B0BC9C}"/>
              </a:ext>
            </a:extLst>
          </p:cNvPr>
          <p:cNvSpPr/>
          <p:nvPr/>
        </p:nvSpPr>
        <p:spPr>
          <a:xfrm>
            <a:off x="10687590" y="3434842"/>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2-44%</a:t>
            </a:r>
          </a:p>
        </p:txBody>
      </p:sp>
      <p:sp>
        <p:nvSpPr>
          <p:cNvPr id="171" name="Rectangle: Rounded Corners 179">
            <a:extLst>
              <a:ext uri="{FF2B5EF4-FFF2-40B4-BE49-F238E27FC236}">
                <a16:creationId xmlns:a16="http://schemas.microsoft.com/office/drawing/2014/main" id="{64FF5EEA-2412-47FC-8967-2592D2CF3F61}"/>
              </a:ext>
            </a:extLst>
          </p:cNvPr>
          <p:cNvSpPr/>
          <p:nvPr/>
        </p:nvSpPr>
        <p:spPr>
          <a:xfrm>
            <a:off x="10687590" y="3747808"/>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13)-(11)</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81" name="Rectangle: Rounded Corners 174">
            <a:extLst>
              <a:ext uri="{FF2B5EF4-FFF2-40B4-BE49-F238E27FC236}">
                <a16:creationId xmlns:a16="http://schemas.microsoft.com/office/drawing/2014/main" id="{0AF011FC-A3CC-4D9C-B675-BDABA2AE464B}"/>
              </a:ext>
            </a:extLst>
          </p:cNvPr>
          <p:cNvSpPr/>
          <p:nvPr/>
        </p:nvSpPr>
        <p:spPr>
          <a:xfrm>
            <a:off x="2097696" y="3429116"/>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58-3.63</a:t>
            </a:r>
          </a:p>
        </p:txBody>
      </p:sp>
      <p:sp>
        <p:nvSpPr>
          <p:cNvPr id="182" name="Rectangle: Rounded Corners 175">
            <a:extLst>
              <a:ext uri="{FF2B5EF4-FFF2-40B4-BE49-F238E27FC236}">
                <a16:creationId xmlns:a16="http://schemas.microsoft.com/office/drawing/2014/main" id="{388EBF78-E031-474D-90CE-C3A53D5902D6}"/>
              </a:ext>
            </a:extLst>
          </p:cNvPr>
          <p:cNvSpPr/>
          <p:nvPr/>
        </p:nvSpPr>
        <p:spPr>
          <a:xfrm>
            <a:off x="2097696" y="3744113"/>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75-3.8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Rectangle: Rounded Corners 178">
            <a:extLst>
              <a:ext uri="{FF2B5EF4-FFF2-40B4-BE49-F238E27FC236}">
                <a16:creationId xmlns:a16="http://schemas.microsoft.com/office/drawing/2014/main" id="{3E8C7562-7B20-438B-AEF0-060DE3B0BC9C}"/>
              </a:ext>
            </a:extLst>
          </p:cNvPr>
          <p:cNvSpPr/>
          <p:nvPr/>
        </p:nvSpPr>
        <p:spPr>
          <a:xfrm>
            <a:off x="3312931" y="3429461"/>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49-51</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84" name="Rectangle: Rounded Corners 179">
            <a:extLst>
              <a:ext uri="{FF2B5EF4-FFF2-40B4-BE49-F238E27FC236}">
                <a16:creationId xmlns:a16="http://schemas.microsoft.com/office/drawing/2014/main" id="{64FF5EEA-2412-47FC-8967-2592D2CF3F61}"/>
              </a:ext>
            </a:extLst>
          </p:cNvPr>
          <p:cNvSpPr/>
          <p:nvPr/>
        </p:nvSpPr>
        <p:spPr>
          <a:xfrm>
            <a:off x="3313665" y="3740050"/>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lang="en-US" sz="1200" dirty="0">
                <a:solidFill>
                  <a:srgbClr val="000000"/>
                </a:solidFill>
                <a:latin typeface="Arial" panose="020B0604020202020204" pitchFamily="34" charset="0"/>
                <a:cs typeface="Arial" panose="020B0604020202020204" pitchFamily="34" charset="0"/>
              </a:rPr>
              <a:t>9</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p:txBody>
      </p:sp>
      <p:sp>
        <p:nvSpPr>
          <p:cNvPr id="191" name="Rectangle: Rounded Corners 176">
            <a:extLst>
              <a:ext uri="{FF2B5EF4-FFF2-40B4-BE49-F238E27FC236}">
                <a16:creationId xmlns:a16="http://schemas.microsoft.com/office/drawing/2014/main" id="{6690EF81-2C61-438B-86FA-52BD8C55FBFE}"/>
              </a:ext>
            </a:extLst>
          </p:cNvPr>
          <p:cNvSpPr/>
          <p:nvPr/>
        </p:nvSpPr>
        <p:spPr>
          <a:xfrm>
            <a:off x="4551201" y="4060271"/>
            <a:ext cx="1160091" cy="2595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42-2.47</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2" name="Rectangle: Rounded Corners 180">
            <a:extLst>
              <a:ext uri="{FF2B5EF4-FFF2-40B4-BE49-F238E27FC236}">
                <a16:creationId xmlns:a16="http://schemas.microsoft.com/office/drawing/2014/main" id="{59C15FE4-AC7C-4E84-B07B-3BA3D5C2104C}"/>
              </a:ext>
            </a:extLst>
          </p:cNvPr>
          <p:cNvSpPr/>
          <p:nvPr/>
        </p:nvSpPr>
        <p:spPr>
          <a:xfrm>
            <a:off x="5766439" y="4056500"/>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1</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93" name="Rectangle: Rounded Corners 180">
            <a:extLst>
              <a:ext uri="{FF2B5EF4-FFF2-40B4-BE49-F238E27FC236}">
                <a16:creationId xmlns:a16="http://schemas.microsoft.com/office/drawing/2014/main" id="{E3CBA673-D42F-4F61-8290-825BF06493C6}"/>
              </a:ext>
            </a:extLst>
          </p:cNvPr>
          <p:cNvSpPr/>
          <p:nvPr/>
        </p:nvSpPr>
        <p:spPr>
          <a:xfrm>
            <a:off x="3320649" y="4058877"/>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0</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94" name="Rectangle: Rounded Corners 172">
            <a:extLst>
              <a:ext uri="{FF2B5EF4-FFF2-40B4-BE49-F238E27FC236}">
                <a16:creationId xmlns:a16="http://schemas.microsoft.com/office/drawing/2014/main" id="{F338C0B0-1774-42A3-872D-57FFDF74C1A8}"/>
              </a:ext>
            </a:extLst>
          </p:cNvPr>
          <p:cNvSpPr/>
          <p:nvPr/>
        </p:nvSpPr>
        <p:spPr>
          <a:xfrm>
            <a:off x="1344871" y="4044325"/>
            <a:ext cx="665208"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3</a:t>
            </a:r>
          </a:p>
        </p:txBody>
      </p:sp>
      <p:sp>
        <p:nvSpPr>
          <p:cNvPr id="195" name="Rectangle: Rounded Corners 176">
            <a:extLst>
              <a:ext uri="{FF2B5EF4-FFF2-40B4-BE49-F238E27FC236}">
                <a16:creationId xmlns:a16="http://schemas.microsoft.com/office/drawing/2014/main" id="{463656DE-8426-405F-B4B8-2AD160633216}"/>
              </a:ext>
            </a:extLst>
          </p:cNvPr>
          <p:cNvSpPr/>
          <p:nvPr/>
        </p:nvSpPr>
        <p:spPr>
          <a:xfrm>
            <a:off x="2099099" y="4060086"/>
            <a:ext cx="1160091" cy="2597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3.55-3.6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 name="Rectangle: Rounded Corners 145">
            <a:extLst>
              <a:ext uri="{FF2B5EF4-FFF2-40B4-BE49-F238E27FC236}">
                <a16:creationId xmlns:a16="http://schemas.microsoft.com/office/drawing/2014/main" id="{04BCAD27-5C40-499B-88E8-BB04CBF8768F}"/>
              </a:ext>
            </a:extLst>
          </p:cNvPr>
          <p:cNvSpPr/>
          <p:nvPr/>
        </p:nvSpPr>
        <p:spPr>
          <a:xfrm>
            <a:off x="1341546" y="1778017"/>
            <a:ext cx="665208"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117" name="Rectangle: Rounded Corners 149">
            <a:extLst>
              <a:ext uri="{FF2B5EF4-FFF2-40B4-BE49-F238E27FC236}">
                <a16:creationId xmlns:a16="http://schemas.microsoft.com/office/drawing/2014/main" id="{1C8BD846-8B27-4EAD-A90F-D75CD72EF462}"/>
              </a:ext>
            </a:extLst>
          </p:cNvPr>
          <p:cNvSpPr/>
          <p:nvPr/>
        </p:nvSpPr>
        <p:spPr>
          <a:xfrm>
            <a:off x="2101915" y="1785839"/>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4</a:t>
            </a:r>
          </a:p>
        </p:txBody>
      </p:sp>
      <p:sp>
        <p:nvSpPr>
          <p:cNvPr id="119" name="Rectangle: Rounded Corners 149">
            <a:extLst>
              <a:ext uri="{FF2B5EF4-FFF2-40B4-BE49-F238E27FC236}">
                <a16:creationId xmlns:a16="http://schemas.microsoft.com/office/drawing/2014/main" id="{DFC57437-603A-4468-9FC1-E210BDC08EC5}"/>
              </a:ext>
            </a:extLst>
          </p:cNvPr>
          <p:cNvSpPr/>
          <p:nvPr/>
        </p:nvSpPr>
        <p:spPr>
          <a:xfrm>
            <a:off x="4554395" y="4359388"/>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1.58-1.63</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 name="Rectangle: Rounded Corners 153">
            <a:extLst>
              <a:ext uri="{FF2B5EF4-FFF2-40B4-BE49-F238E27FC236}">
                <a16:creationId xmlns:a16="http://schemas.microsoft.com/office/drawing/2014/main" id="{72C2FBC1-6733-48B9-B0EB-639D9F137738}"/>
              </a:ext>
            </a:extLst>
          </p:cNvPr>
          <p:cNvSpPr/>
          <p:nvPr/>
        </p:nvSpPr>
        <p:spPr>
          <a:xfrm>
            <a:off x="5769804" y="4366467"/>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8)-(26)</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44" name="Rectangle: Rounded Corners 149">
            <a:extLst>
              <a:ext uri="{FF2B5EF4-FFF2-40B4-BE49-F238E27FC236}">
                <a16:creationId xmlns:a16="http://schemas.microsoft.com/office/drawing/2014/main" id="{3D88053A-0415-4BE3-ABD7-AE96441E262E}"/>
              </a:ext>
            </a:extLst>
          </p:cNvPr>
          <p:cNvSpPr/>
          <p:nvPr/>
        </p:nvSpPr>
        <p:spPr>
          <a:xfrm>
            <a:off x="7025619" y="4366076"/>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0.78-0.83</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5" name="Rectangle: Rounded Corners 153">
            <a:extLst>
              <a:ext uri="{FF2B5EF4-FFF2-40B4-BE49-F238E27FC236}">
                <a16:creationId xmlns:a16="http://schemas.microsoft.com/office/drawing/2014/main" id="{BE8FB5FA-3548-453E-8105-E85055E91639}"/>
              </a:ext>
            </a:extLst>
          </p:cNvPr>
          <p:cNvSpPr/>
          <p:nvPr/>
        </p:nvSpPr>
        <p:spPr>
          <a:xfrm>
            <a:off x="8234714" y="4373794"/>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5)-(23)%</a:t>
            </a:r>
          </a:p>
        </p:txBody>
      </p:sp>
      <p:sp>
        <p:nvSpPr>
          <p:cNvPr id="147" name="Rectangle: Rounded Corners 149">
            <a:extLst>
              <a:ext uri="{FF2B5EF4-FFF2-40B4-BE49-F238E27FC236}">
                <a16:creationId xmlns:a16="http://schemas.microsoft.com/office/drawing/2014/main" id="{3D783F3D-BDD6-4845-8279-76346DC79921}"/>
              </a:ext>
            </a:extLst>
          </p:cNvPr>
          <p:cNvSpPr/>
          <p:nvPr/>
        </p:nvSpPr>
        <p:spPr>
          <a:xfrm>
            <a:off x="9483265" y="4367145"/>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90-95</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8" name="Rectangle: Rounded Corners 153">
            <a:extLst>
              <a:ext uri="{FF2B5EF4-FFF2-40B4-BE49-F238E27FC236}">
                <a16:creationId xmlns:a16="http://schemas.microsoft.com/office/drawing/2014/main" id="{20976712-57B8-4744-8933-7E7F8268EC22}"/>
              </a:ext>
            </a:extLst>
          </p:cNvPr>
          <p:cNvSpPr/>
          <p:nvPr/>
        </p:nvSpPr>
        <p:spPr>
          <a:xfrm>
            <a:off x="10698502" y="4374888"/>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6)-(14)%</a:t>
            </a:r>
          </a:p>
        </p:txBody>
      </p:sp>
      <p:sp>
        <p:nvSpPr>
          <p:cNvPr id="174" name="Rectangle: Rounded Corners 153">
            <a:extLst>
              <a:ext uri="{FF2B5EF4-FFF2-40B4-BE49-F238E27FC236}">
                <a16:creationId xmlns:a16="http://schemas.microsoft.com/office/drawing/2014/main" id="{1FD5F724-3F03-42A5-A613-65DEB7F61176}"/>
              </a:ext>
            </a:extLst>
          </p:cNvPr>
          <p:cNvSpPr/>
          <p:nvPr/>
        </p:nvSpPr>
        <p:spPr>
          <a:xfrm>
            <a:off x="3323843" y="4369509"/>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6)-(24)</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75" name="Rectangle: Rounded Corners 145">
            <a:extLst>
              <a:ext uri="{FF2B5EF4-FFF2-40B4-BE49-F238E27FC236}">
                <a16:creationId xmlns:a16="http://schemas.microsoft.com/office/drawing/2014/main" id="{5773E026-3F4F-43B4-88A0-C7E631AE605D}"/>
              </a:ext>
            </a:extLst>
          </p:cNvPr>
          <p:cNvSpPr/>
          <p:nvPr/>
        </p:nvSpPr>
        <p:spPr>
          <a:xfrm>
            <a:off x="1350110" y="4355117"/>
            <a:ext cx="665208"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176" name="Rectangle: Rounded Corners 149">
            <a:extLst>
              <a:ext uri="{FF2B5EF4-FFF2-40B4-BE49-F238E27FC236}">
                <a16:creationId xmlns:a16="http://schemas.microsoft.com/office/drawing/2014/main" id="{00B50DDE-BEEE-4C7E-AF2D-68B41C2F4B9F}"/>
              </a:ext>
            </a:extLst>
          </p:cNvPr>
          <p:cNvSpPr/>
          <p:nvPr/>
        </p:nvSpPr>
        <p:spPr>
          <a:xfrm>
            <a:off x="2110479" y="4362939"/>
            <a:ext cx="1160091" cy="2597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marL="0" marR="0" lvl="0" indent="0" algn="ctr" defTabSz="91396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cs typeface="Arial" panose="020B0604020202020204" pitchFamily="34" charset="0"/>
              </a:rPr>
              <a:t>2.48-2.53</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045439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065115" y="1168115"/>
            <a:ext cx="3716663" cy="4773948"/>
          </a:xfrm>
          <a:prstGeom prst="rect">
            <a:avLst/>
          </a:prstGeom>
          <a:solidFill>
            <a:schemeClr val="accent5"/>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496" tIns="2174076" rIns="99496" bIns="1136794" numCol="1" spcCol="1058" anchor="t" anchorCtr="1">
            <a:noAutofit/>
          </a:bodyPr>
          <a:lstStyle/>
          <a:p>
            <a:pPr defTabSz="621850">
              <a:lnSpc>
                <a:spcPct val="90000"/>
              </a:lnSpc>
              <a:spcBef>
                <a:spcPct val="0"/>
              </a:spcBef>
              <a:spcAft>
                <a:spcPct val="35000"/>
              </a:spcAft>
              <a:defRPr/>
            </a:pPr>
            <a:endParaRPr lang="en-IN" sz="1400" b="1"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12" name="Rectangle 11"/>
          <p:cNvSpPr/>
          <p:nvPr/>
        </p:nvSpPr>
        <p:spPr>
          <a:xfrm>
            <a:off x="4236954" y="1168114"/>
            <a:ext cx="3716663" cy="4773948"/>
          </a:xfrm>
          <a:prstGeom prst="rect">
            <a:avLst/>
          </a:prstGeom>
          <a:solidFill>
            <a:schemeClr val="accent4"/>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496" tIns="2174076" rIns="99496" bIns="1136794" numCol="1" spcCol="1058" anchor="t" anchorCtr="1">
            <a:noAutofit/>
          </a:bodyPr>
          <a:lstStyle/>
          <a:p>
            <a:pPr marL="114210" lvl="1" indent="-114210" algn="just" defTabSz="621850">
              <a:lnSpc>
                <a:spcPct val="90000"/>
              </a:lnSpc>
              <a:spcBef>
                <a:spcPct val="0"/>
              </a:spcBef>
              <a:spcAft>
                <a:spcPct val="15000"/>
              </a:spcAft>
              <a:buFontTx/>
              <a:buChar char="••"/>
              <a:defRPr/>
            </a:pPr>
            <a:endParaRPr lang="en-IN" sz="1400"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10" name="Rectangle 9"/>
          <p:cNvSpPr/>
          <p:nvPr/>
        </p:nvSpPr>
        <p:spPr>
          <a:xfrm>
            <a:off x="408789" y="1140234"/>
            <a:ext cx="3716663" cy="4773948"/>
          </a:xfrm>
          <a:prstGeom prst="rect">
            <a:avLst/>
          </a:prstGeom>
          <a:solidFill>
            <a:schemeClr val="tx2"/>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496" tIns="2174076" rIns="99496" bIns="1136794" numCol="1" spcCol="1058" anchor="t" anchorCtr="1">
            <a:noAutofit/>
          </a:bodyPr>
          <a:lstStyle/>
          <a:p>
            <a:pPr marL="114210" lvl="1" indent="-114210" defTabSz="621850">
              <a:lnSpc>
                <a:spcPct val="90000"/>
              </a:lnSpc>
              <a:spcBef>
                <a:spcPct val="0"/>
              </a:spcBef>
              <a:spcAft>
                <a:spcPct val="15000"/>
              </a:spcAft>
              <a:buFontTx/>
              <a:buChar char="••"/>
              <a:defRPr/>
            </a:pPr>
            <a:endParaRPr lang="en-IN" sz="1400"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4" name="TextBox 3"/>
          <p:cNvSpPr txBox="1"/>
          <p:nvPr/>
        </p:nvSpPr>
        <p:spPr>
          <a:xfrm>
            <a:off x="326602" y="5928095"/>
            <a:ext cx="2645507" cy="230828"/>
          </a:xfrm>
          <a:prstGeom prst="rect">
            <a:avLst/>
          </a:prstGeom>
          <a:noFill/>
        </p:spPr>
        <p:txBody>
          <a:bodyPr wrap="square" lIns="76146" tIns="38070" rIns="76146" bIns="38070" rtlCol="0">
            <a:spAutoFit/>
          </a:bodyPr>
          <a:lstStyle/>
          <a:p>
            <a:pPr defTabSz="913703">
              <a:defRPr/>
            </a:pPr>
            <a:r>
              <a:rPr lang="en-IN" sz="1000" i="1" dirty="0">
                <a:solidFill>
                  <a:prstClr val="black"/>
                </a:solidFill>
                <a:latin typeface="Arial" panose="020B0604020202020204" pitchFamily="34" charset="0"/>
                <a:cs typeface="Arial" panose="020B0604020202020204" pitchFamily="34" charset="0"/>
              </a:rPr>
              <a:t>Source – Industry, CRISIL Research</a:t>
            </a:r>
          </a:p>
        </p:txBody>
      </p:sp>
      <p:sp>
        <p:nvSpPr>
          <p:cNvPr id="17" name="Rectangle 16"/>
          <p:cNvSpPr/>
          <p:nvPr/>
        </p:nvSpPr>
        <p:spPr>
          <a:xfrm>
            <a:off x="371551" y="1371832"/>
            <a:ext cx="3719051" cy="4630438"/>
          </a:xfrm>
          <a:prstGeom prst="rect">
            <a:avLst/>
          </a:prstGeom>
        </p:spPr>
        <p:txBody>
          <a:bodyPr wrap="square" lIns="76146" tIns="38070" rIns="76146" bIns="38070">
            <a:spAutoFit/>
          </a:bodyPr>
          <a:lstStyle/>
          <a:p>
            <a:pPr defTabSz="621850">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OEM</a:t>
            </a:r>
          </a:p>
          <a:p>
            <a:pPr marL="114235" lvl="1" indent="-114235" defTabSz="621975">
              <a:spcBef>
                <a:spcPct val="0"/>
              </a:spcBef>
              <a:spcAft>
                <a:spcPct val="15000"/>
              </a:spcAft>
              <a:buFontTx/>
              <a:buChar char="••"/>
              <a:defRPr/>
            </a:pPr>
            <a:endParaRPr lang="en-US" sz="1200" dirty="0">
              <a:solidFill>
                <a:srgbClr val="000000"/>
              </a:solidFill>
              <a:latin typeface="Arial" panose="020B0604020202020204" pitchFamily="34" charset="0"/>
              <a:cs typeface="Arial" panose="020B0604020202020204" pitchFamily="34" charset="0"/>
            </a:endParaRP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Urban demand witnessing revival, however rural demand remains sluggish.</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Favorable urban demand pushing scooter sales</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Motorcycle demand impacted as prices have increased 5-8% in FY22</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With increasing fuel prices and increasing raw material prices due to the Russia-Ukraine crisis the vehicle prices are further expected to increase by 4-6% in FY23</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This will impact rural sentiments negatively and thus motorcycle demand is expected to decline</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Reopening of schools/ colleges/ offices to provide a push to scooter sales</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Inventory levels are high, however due to implementation of BS VI-B from 1</a:t>
            </a:r>
            <a:r>
              <a:rPr lang="en-US" sz="1200" baseline="30000" dirty="0">
                <a:latin typeface="Arial" panose="020B0604020202020204" pitchFamily="34" charset="0"/>
                <a:cs typeface="Arial" panose="020B0604020202020204" pitchFamily="34" charset="0"/>
              </a:rPr>
              <a:t>st</a:t>
            </a:r>
            <a:r>
              <a:rPr lang="en-US" sz="1200" dirty="0">
                <a:latin typeface="Arial" panose="020B0604020202020204" pitchFamily="34" charset="0"/>
                <a:cs typeface="Arial" panose="020B0604020202020204" pitchFamily="34" charset="0"/>
              </a:rPr>
              <a:t> April 2023, OEMs are expected to liquidate stock levels in Q4 FY23.</a:t>
            </a:r>
          </a:p>
          <a:p>
            <a:pPr marL="114235" lvl="1" indent="-114235" defTabSz="621975">
              <a:spcBef>
                <a:spcPct val="0"/>
              </a:spcBef>
              <a:spcAft>
                <a:spcPct val="15000"/>
              </a:spcAft>
              <a:buFontTx/>
              <a:buChar char="••"/>
              <a:defRPr/>
            </a:pPr>
            <a:r>
              <a:rPr lang="en-US" sz="1200" dirty="0">
                <a:latin typeface="Arial" panose="020B0604020202020204" pitchFamily="34" charset="0"/>
                <a:cs typeface="Arial" panose="020B0604020202020204" pitchFamily="34" charset="0"/>
              </a:rPr>
              <a:t>Monsoon remains a key monitorable</a:t>
            </a:r>
          </a:p>
          <a:p>
            <a:pPr marL="114235" lvl="1" indent="-114235" defTabSz="621975">
              <a:spcBef>
                <a:spcPct val="0"/>
              </a:spcBef>
              <a:spcAft>
                <a:spcPct val="15000"/>
              </a:spcAft>
              <a:buFontTx/>
              <a:buChar char="••"/>
              <a:defRPr/>
            </a:pPr>
            <a:endParaRPr lang="en-US" sz="1200" dirty="0">
              <a:solidFill>
                <a:srgbClr val="000000"/>
              </a:solidFill>
              <a:latin typeface="Arial" panose="020B0604020202020204" pitchFamily="34" charset="0"/>
              <a:cs typeface="Arial" panose="020B0604020202020204" pitchFamily="34" charset="0"/>
            </a:endParaRPr>
          </a:p>
          <a:p>
            <a:pPr marL="114235" lvl="1" indent="-114235" defTabSz="621975">
              <a:spcBef>
                <a:spcPct val="0"/>
              </a:spcBef>
              <a:spcAft>
                <a:spcPct val="15000"/>
              </a:spcAft>
              <a:buFontTx/>
              <a:buChar char="••"/>
              <a:defRPr/>
            </a:pPr>
            <a:endParaRPr lang="en-US" sz="1200" dirty="0">
              <a:solidFill>
                <a:srgbClr val="000000"/>
              </a:solidFill>
              <a:latin typeface="Arial" panose="020B0604020202020204" pitchFamily="34" charset="0"/>
              <a:cs typeface="Arial" panose="020B0604020202020204" pitchFamily="34" charset="0"/>
            </a:endParaRPr>
          </a:p>
        </p:txBody>
      </p:sp>
      <p:sp>
        <p:nvSpPr>
          <p:cNvPr id="22" name="Rectangle 21"/>
          <p:cNvSpPr/>
          <p:nvPr/>
        </p:nvSpPr>
        <p:spPr>
          <a:xfrm>
            <a:off x="4271804" y="1354464"/>
            <a:ext cx="3719051" cy="4538105"/>
          </a:xfrm>
          <a:prstGeom prst="rect">
            <a:avLst/>
          </a:prstGeom>
        </p:spPr>
        <p:txBody>
          <a:bodyPr wrap="square" lIns="76146" tIns="38070" rIns="76146" bIns="38070">
            <a:spAutoFit/>
          </a:bodyPr>
          <a:lstStyle/>
          <a:p>
            <a:pPr algn="just" defTabSz="621850">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Dealer</a:t>
            </a:r>
          </a:p>
          <a:p>
            <a:pPr marL="171366" indent="-171366" defTabSz="913960">
              <a:buFont typeface="Arial" panose="020B0604020202020204" pitchFamily="34" charset="0"/>
              <a:buChar char="•"/>
              <a:defRPr/>
            </a:pPr>
            <a:endParaRPr lang="en-US" sz="1200" dirty="0">
              <a:solidFill>
                <a:srgbClr val="000000"/>
              </a:solidFill>
              <a:latin typeface="Arial" panose="020B0604020202020204" pitchFamily="34" charset="0"/>
              <a:cs typeface="Arial" panose="020B0604020202020204" pitchFamily="34" charset="0"/>
            </a:endParaRP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Post withdrawal of lockdown restrictions, there was a gradual increase in demand, but before it would pick up pace, the repercussions of war between Russia-Ukraine hit the Auto Market.</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Petrol prices have been skyrocketing and raw materials prices have also been increasing, both collectively will have a negative impact on the demand of two-wheelers</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With schools, colleges and offices operating with full capacities, the demand was supposed to pick up some pace, but it remained sluggish, because stagnant income levels of customers possibly could not meet the increased vehicle prices, hence the gap.</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Supply side constraints are there which has led to increase in waiting periods by about 3-4 weeks than usual</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Recent price hike of around 1.5-2% WEF 1</a:t>
            </a:r>
            <a:r>
              <a:rPr lang="en-US" sz="1200" baseline="30000" dirty="0">
                <a:solidFill>
                  <a:srgbClr val="000000"/>
                </a:solidFill>
                <a:latin typeface="Arial" panose="020B0604020202020204" pitchFamily="34" charset="0"/>
                <a:cs typeface="Arial" panose="020B0604020202020204" pitchFamily="34" charset="0"/>
              </a:rPr>
              <a:t>st</a:t>
            </a:r>
            <a:r>
              <a:rPr lang="en-US" sz="1200" dirty="0">
                <a:solidFill>
                  <a:srgbClr val="000000"/>
                </a:solidFill>
                <a:latin typeface="Arial" panose="020B0604020202020204" pitchFamily="34" charset="0"/>
                <a:cs typeface="Arial" panose="020B0604020202020204" pitchFamily="34" charset="0"/>
              </a:rPr>
              <a:t> April 2022 (FY23)</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Enquiries to conversion ratio for EV two-wheelers have been on the rise</a:t>
            </a:r>
          </a:p>
        </p:txBody>
      </p:sp>
      <p:sp>
        <p:nvSpPr>
          <p:cNvPr id="23" name="Rectangle 22"/>
          <p:cNvSpPr/>
          <p:nvPr/>
        </p:nvSpPr>
        <p:spPr>
          <a:xfrm>
            <a:off x="8085669" y="1354466"/>
            <a:ext cx="3589963" cy="1768116"/>
          </a:xfrm>
          <a:prstGeom prst="rect">
            <a:avLst/>
          </a:prstGeom>
        </p:spPr>
        <p:txBody>
          <a:bodyPr wrap="square" lIns="76146" tIns="38070" rIns="76146" bIns="38070">
            <a:spAutoFit/>
          </a:bodyPr>
          <a:lstStyle/>
          <a:p>
            <a:pPr marL="0" lvl="1" defTabSz="621850">
              <a:lnSpc>
                <a:spcPct val="150000"/>
              </a:lnSpc>
              <a:spcBef>
                <a:spcPct val="0"/>
              </a:spcBef>
              <a:spcAft>
                <a:spcPct val="35000"/>
              </a:spcAft>
              <a:defRPr/>
            </a:pPr>
            <a:r>
              <a:rPr lang="en-IN" sz="1400" b="1" dirty="0">
                <a:solidFill>
                  <a:srgbClr val="7B1E29"/>
                </a:solidFill>
                <a:latin typeface="Arial" panose="020B0604020202020204" pitchFamily="34" charset="0"/>
                <a:cs typeface="Arial" panose="020B0604020202020204" pitchFamily="34" charset="0"/>
              </a:rPr>
              <a:t>Financier</a:t>
            </a:r>
          </a:p>
          <a:p>
            <a:pPr defTabSz="913960">
              <a:defRPr/>
            </a:pPr>
            <a:endParaRPr lang="en-US" sz="1200" dirty="0">
              <a:solidFill>
                <a:srgbClr val="000000"/>
              </a:solidFill>
              <a:latin typeface="Arial" panose="020B0604020202020204" pitchFamily="34" charset="0"/>
              <a:cs typeface="Arial" panose="020B0604020202020204" pitchFamily="34" charset="0"/>
            </a:endParaRP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No major change in the LTVs or interest rates.</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Interest rates remain favorable</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Gradual improvement in demand expected</a:t>
            </a:r>
          </a:p>
          <a:p>
            <a:pPr marL="171366" indent="-171366" defTabSz="91396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Disbursement for the year expected to revive from a low base with demand improvement as well as increase in vehicle prices</a:t>
            </a:r>
          </a:p>
        </p:txBody>
      </p:sp>
      <p:sp>
        <p:nvSpPr>
          <p:cNvPr id="25" name="Title 1">
            <a:extLst>
              <a:ext uri="{FF2B5EF4-FFF2-40B4-BE49-F238E27FC236}">
                <a16:creationId xmlns:a16="http://schemas.microsoft.com/office/drawing/2014/main" id="{B4D66F93-F7D3-4652-81A5-36FAECAAFF48}"/>
              </a:ext>
            </a:extLst>
          </p:cNvPr>
          <p:cNvSpPr txBox="1">
            <a:spLocks/>
          </p:cNvSpPr>
          <p:nvPr/>
        </p:nvSpPr>
        <p:spPr>
          <a:xfrm>
            <a:off x="402737" y="211733"/>
            <a:ext cx="11602487" cy="469118"/>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defTabSz="913960">
              <a:defRPr/>
            </a:pPr>
            <a:r>
              <a:rPr lang="en-US" dirty="0">
                <a:solidFill>
                  <a:srgbClr val="000000"/>
                </a:solidFill>
              </a:rPr>
              <a:t>Stakeholder interactions</a:t>
            </a:r>
          </a:p>
        </p:txBody>
      </p:sp>
      <p:sp>
        <p:nvSpPr>
          <p:cNvPr id="18" name="Oval 17"/>
          <p:cNvSpPr/>
          <p:nvPr/>
        </p:nvSpPr>
        <p:spPr>
          <a:xfrm>
            <a:off x="3193448" y="777144"/>
            <a:ext cx="955085" cy="931550"/>
          </a:xfrm>
          <a:prstGeom prst="ellipse">
            <a:avLst/>
          </a:prstGeom>
          <a:solidFill>
            <a:schemeClr val="bg1"/>
          </a:solidFill>
          <a:ln w="38100">
            <a:solidFill>
              <a:schemeClr val="tx2"/>
            </a:solidFill>
          </a:ln>
        </p:spPr>
        <p:style>
          <a:lnRef idx="2">
            <a:schemeClr val="accent6"/>
          </a:lnRef>
          <a:fillRef idx="1">
            <a:schemeClr val="lt1"/>
          </a:fillRef>
          <a:effectRef idx="0">
            <a:schemeClr val="accent6"/>
          </a:effectRef>
          <a:fontRef idx="minor">
            <a:schemeClr val="lt1">
              <a:hueOff val="0"/>
              <a:satOff val="0"/>
              <a:lumOff val="0"/>
              <a:alphaOff val="0"/>
            </a:schemeClr>
          </a:fontRef>
        </p:style>
      </p:sp>
      <p:sp>
        <p:nvSpPr>
          <p:cNvPr id="19" name="Oval 18"/>
          <p:cNvSpPr/>
          <p:nvPr/>
        </p:nvSpPr>
        <p:spPr>
          <a:xfrm>
            <a:off x="7020870" y="747432"/>
            <a:ext cx="950976" cy="932688"/>
          </a:xfrm>
          <a:prstGeom prst="ellipse">
            <a:avLst/>
          </a:prstGeom>
          <a:solidFill>
            <a:schemeClr val="bg1"/>
          </a:solidFill>
          <a:ln w="38100">
            <a:solidFill>
              <a:schemeClr val="accent4"/>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sp>
        <p:nvSpPr>
          <p:cNvPr id="20" name="Oval 19"/>
          <p:cNvSpPr/>
          <p:nvPr/>
        </p:nvSpPr>
        <p:spPr>
          <a:xfrm>
            <a:off x="10838190" y="747432"/>
            <a:ext cx="950976" cy="932688"/>
          </a:xfrm>
          <a:prstGeom prst="ellipse">
            <a:avLst/>
          </a:prstGeom>
          <a:solidFill>
            <a:schemeClr val="bg1"/>
          </a:solidFill>
          <a:ln w="38100">
            <a:solidFill>
              <a:schemeClr val="accent5"/>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033509" y="902983"/>
            <a:ext cx="567311" cy="566707"/>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4973" y="882431"/>
            <a:ext cx="450093" cy="574361"/>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50636" y="986529"/>
            <a:ext cx="658744" cy="454496"/>
          </a:xfrm>
          <a:prstGeom prst="rect">
            <a:avLst/>
          </a:prstGeom>
        </p:spPr>
      </p:pic>
    </p:spTree>
    <p:extLst>
      <p:ext uri="{BB962C8B-B14F-4D97-AF65-F5344CB8AC3E}">
        <p14:creationId xmlns:p14="http://schemas.microsoft.com/office/powerpoint/2010/main" val="1616901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wo-wheeler exports</a:t>
            </a:r>
            <a:endParaRPr lang="en-IN" dirty="0"/>
          </a:p>
        </p:txBody>
      </p:sp>
    </p:spTree>
    <p:extLst>
      <p:ext uri="{BB962C8B-B14F-4D97-AF65-F5344CB8AC3E}">
        <p14:creationId xmlns:p14="http://schemas.microsoft.com/office/powerpoint/2010/main" val="147771409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087" y="260227"/>
            <a:ext cx="11633263" cy="392415"/>
          </a:xfrm>
        </p:spPr>
        <p:txBody>
          <a:bodyPr>
            <a:noAutofit/>
          </a:bodyPr>
          <a:lstStyle/>
          <a:p>
            <a:r>
              <a:rPr lang="en-US" sz="3200" dirty="0"/>
              <a:t>Export demand witnessed robust growth in FY22</a:t>
            </a:r>
            <a:endParaRPr lang="en-IN" sz="3200" dirty="0"/>
          </a:p>
        </p:txBody>
      </p:sp>
      <p:sp>
        <p:nvSpPr>
          <p:cNvPr id="6" name="Title 1">
            <a:extLst>
              <a:ext uri="{FF2B5EF4-FFF2-40B4-BE49-F238E27FC236}">
                <a16:creationId xmlns:a16="http://schemas.microsoft.com/office/drawing/2014/main" id="{F44079A9-B61B-4322-AB77-854F8276047E}"/>
              </a:ext>
            </a:extLst>
          </p:cNvPr>
          <p:cNvSpPr txBox="1">
            <a:spLocks/>
          </p:cNvSpPr>
          <p:nvPr/>
        </p:nvSpPr>
        <p:spPr>
          <a:xfrm>
            <a:off x="362972" y="906195"/>
            <a:ext cx="11371828" cy="246221"/>
          </a:xfrm>
          <a:prstGeom prst="rect">
            <a:avLst/>
          </a:prstGeom>
          <a:solidFill>
            <a:srgbClr val="3C3C3B"/>
          </a:solidFill>
          <a:ln>
            <a:noFill/>
          </a:ln>
        </p:spPr>
        <p:txBody>
          <a:bodyPr wrap="square" lIns="0" tIns="0" rIns="0" bIns="0" anchor="ctr" anchorCtr="0">
            <a:spAutoFit/>
          </a:bodyPr>
          <a:lstStyle>
            <a:lvl1pPr algn="l" rtl="0" eaLnBrk="0" fontAlgn="base" hangingPunct="0">
              <a:spcBef>
                <a:spcPct val="0"/>
              </a:spcBef>
              <a:spcAft>
                <a:spcPct val="0"/>
              </a:spcAft>
              <a:defRPr sz="2000" b="1" kern="1200" baseline="0">
                <a:solidFill>
                  <a:schemeClr val="tx2"/>
                </a:solidFill>
                <a:latin typeface="+mj-lt"/>
                <a:ea typeface="+mj-ea"/>
                <a:cs typeface="Arial" pitchFamily="34" charset="0"/>
              </a:defRPr>
            </a:lvl1pPr>
            <a:lvl2pPr algn="ctr" rtl="0" eaLnBrk="0" fontAlgn="base" hangingPunct="0">
              <a:spcBef>
                <a:spcPct val="0"/>
              </a:spcBef>
              <a:spcAft>
                <a:spcPct val="0"/>
              </a:spcAft>
              <a:defRPr sz="4400">
                <a:solidFill>
                  <a:schemeClr val="tx1"/>
                </a:solidFill>
                <a:latin typeface="Arial" charset="0"/>
              </a:defRPr>
            </a:lvl2pPr>
            <a:lvl3pPr algn="ctr" rtl="0" eaLnBrk="0" fontAlgn="base" hangingPunct="0">
              <a:spcBef>
                <a:spcPct val="0"/>
              </a:spcBef>
              <a:spcAft>
                <a:spcPct val="0"/>
              </a:spcAft>
              <a:defRPr sz="4400">
                <a:solidFill>
                  <a:schemeClr val="tx1"/>
                </a:solidFill>
                <a:latin typeface="Arial" charset="0"/>
              </a:defRPr>
            </a:lvl3pPr>
            <a:lvl4pPr algn="ctr" rtl="0" eaLnBrk="0" fontAlgn="base" hangingPunct="0">
              <a:spcBef>
                <a:spcPct val="0"/>
              </a:spcBef>
              <a:spcAft>
                <a:spcPct val="0"/>
              </a:spcAft>
              <a:defRPr sz="4400">
                <a:solidFill>
                  <a:schemeClr val="tx1"/>
                </a:solidFill>
                <a:latin typeface="Arial" charset="0"/>
              </a:defRPr>
            </a:lvl4pPr>
            <a:lvl5pPr algn="ctr" rtl="0" eaLnBrk="0" fontAlgn="base" hangingPunct="0">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IN" sz="16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itchFamily="34" charset="0"/>
              </a:rPr>
              <a:t>Bajaj loses share to TVS, HMSI amidst the rise in scooter exports </a:t>
            </a:r>
          </a:p>
        </p:txBody>
      </p:sp>
      <p:sp>
        <p:nvSpPr>
          <p:cNvPr id="9" name="TextBox 8"/>
          <p:cNvSpPr txBox="1"/>
          <p:nvPr/>
        </p:nvSpPr>
        <p:spPr>
          <a:xfrm>
            <a:off x="373858" y="5250915"/>
            <a:ext cx="11427888" cy="830997"/>
          </a:xfrm>
          <a:prstGeom prst="rect">
            <a:avLst/>
          </a:prstGeom>
          <a:solidFill>
            <a:schemeClr val="bg1">
              <a:lumMod val="85000"/>
            </a:schemeClr>
          </a:solidFill>
        </p:spPr>
        <p:txBody>
          <a:bodyPr wrap="square" rtlCol="0" anchor="ctr">
            <a:spAutoFit/>
          </a:bodyPr>
          <a:lstStyle/>
          <a:p>
            <a:pPr marL="285750" lvl="0" indent="-285750">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Exports to Africa have been affected due to increasing covid cases and inadequate vaccination progress.</a:t>
            </a:r>
          </a:p>
          <a:p>
            <a:pPr marL="285750" lvl="0" indent="-285750">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Exports to key destinations like US and Europe remained robust over low base.</a:t>
            </a:r>
          </a:p>
          <a:p>
            <a:pPr marL="285750" lvl="0" indent="-285750">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There has been one price hike in July and another one in October driven by commodity prices.</a:t>
            </a:r>
          </a:p>
          <a:p>
            <a:pPr marL="285750" lvl="0" indent="-285750">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Overall demand has been growing in international markets.</a:t>
            </a:r>
            <a:endParaRPr kumimoji="0" lang="en-I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TextBox 14"/>
          <p:cNvSpPr txBox="1"/>
          <p:nvPr/>
        </p:nvSpPr>
        <p:spPr>
          <a:xfrm>
            <a:off x="352087" y="4919391"/>
            <a:ext cx="5581172" cy="246205"/>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SIAM, CRISIL Research</a:t>
            </a:r>
          </a:p>
        </p:txBody>
      </p:sp>
      <p:graphicFrame>
        <p:nvGraphicFramePr>
          <p:cNvPr id="8" name="Chart 7"/>
          <p:cNvGraphicFramePr>
            <a:graphicFrameLocks/>
          </p:cNvGraphicFramePr>
          <p:nvPr>
            <p:extLst>
              <p:ext uri="{D42A27DB-BD31-4B8C-83A1-F6EECF244321}">
                <p14:modId xmlns:p14="http://schemas.microsoft.com/office/powerpoint/2010/main" val="3406668114"/>
              </p:ext>
            </p:extLst>
          </p:nvPr>
        </p:nvGraphicFramePr>
        <p:xfrm>
          <a:off x="130954" y="1152415"/>
          <a:ext cx="5533246" cy="37035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00000000-0008-0000-0100-000003000000}"/>
              </a:ext>
            </a:extLst>
          </p:cNvPr>
          <p:cNvGraphicFramePr>
            <a:graphicFrameLocks/>
          </p:cNvGraphicFramePr>
          <p:nvPr>
            <p:extLst>
              <p:ext uri="{D42A27DB-BD31-4B8C-83A1-F6EECF244321}">
                <p14:modId xmlns:p14="http://schemas.microsoft.com/office/powerpoint/2010/main" val="2450319110"/>
              </p:ext>
            </p:extLst>
          </p:nvPr>
        </p:nvGraphicFramePr>
        <p:xfrm>
          <a:off x="5896218" y="1029305"/>
          <a:ext cx="5838582" cy="389008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2755834"/>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6"/>
            <a:ext cx="8112314" cy="3973880"/>
            <a:chOff x="166688" y="2049463"/>
            <a:chExt cx="8683576" cy="4253716"/>
          </a:xfrm>
        </p:grpSpPr>
        <p:sp>
          <p:nvSpPr>
            <p:cNvPr id="231" name="Rectangle 406"/>
            <p:cNvSpPr>
              <a:spLocks noChangeArrowheads="1"/>
            </p:cNvSpPr>
            <p:nvPr>
              <p:custDataLst>
                <p:tags r:id="rId8"/>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9"/>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10"/>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11"/>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12"/>
              </p:custDataLst>
            </p:nvPr>
          </p:nvSpPr>
          <p:spPr bwMode="gray">
            <a:xfrm>
              <a:off x="5181601"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13"/>
              </p:custDataLst>
            </p:nvPr>
          </p:nvSpPr>
          <p:spPr bwMode="gray">
            <a:xfrm>
              <a:off x="4978401" y="2940050"/>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14"/>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15"/>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16"/>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7"/>
              </p:custDataLst>
            </p:nvPr>
          </p:nvSpPr>
          <p:spPr bwMode="gray">
            <a:xfrm>
              <a:off x="4657725"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8"/>
              </p:custDataLst>
            </p:nvPr>
          </p:nvSpPr>
          <p:spPr bwMode="gray">
            <a:xfrm>
              <a:off x="4449763"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9"/>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20"/>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21"/>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22"/>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23"/>
              </p:custDataLst>
            </p:nvPr>
          </p:nvSpPr>
          <p:spPr bwMode="gray">
            <a:xfrm>
              <a:off x="4938713"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24"/>
              </p:custDataLst>
            </p:nvPr>
          </p:nvSpPr>
          <p:spPr bwMode="gray">
            <a:xfrm>
              <a:off x="4872038"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25"/>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26"/>
              </p:custDataLst>
            </p:nvPr>
          </p:nvSpPr>
          <p:spPr bwMode="gray">
            <a:xfrm>
              <a:off x="4624388" y="269240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7"/>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8"/>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9"/>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30"/>
              </p:custDataLst>
            </p:nvPr>
          </p:nvSpPr>
          <p:spPr bwMode="gray">
            <a:xfrm>
              <a:off x="4743450"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31"/>
              </p:custDataLst>
            </p:nvPr>
          </p:nvSpPr>
          <p:spPr bwMode="gray">
            <a:xfrm>
              <a:off x="5105402"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32"/>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33"/>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34"/>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35"/>
              </p:custDataLst>
            </p:nvPr>
          </p:nvSpPr>
          <p:spPr bwMode="gray">
            <a:xfrm>
              <a:off x="5126037"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36"/>
              </p:custDataLst>
            </p:nvPr>
          </p:nvSpPr>
          <p:spPr bwMode="gray">
            <a:xfrm>
              <a:off x="5092702"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7"/>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8"/>
              </p:custDataLst>
            </p:nvPr>
          </p:nvSpPr>
          <p:spPr bwMode="gray">
            <a:xfrm>
              <a:off x="4567238"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9"/>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40"/>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41"/>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42"/>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43"/>
              </p:custDataLst>
            </p:nvPr>
          </p:nvSpPr>
          <p:spPr bwMode="gray">
            <a:xfrm>
              <a:off x="4875213" y="3451226"/>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44"/>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45"/>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46"/>
              </p:custDataLst>
            </p:nvPr>
          </p:nvSpPr>
          <p:spPr bwMode="gray">
            <a:xfrm>
              <a:off x="3785174" y="3217863"/>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7"/>
              </p:custDataLst>
            </p:nvPr>
          </p:nvSpPr>
          <p:spPr bwMode="gray">
            <a:xfrm>
              <a:off x="3987800"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8"/>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9"/>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200"/>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8"/>
              </p:custDataLst>
            </p:nvPr>
          </p:nvSpPr>
          <p:spPr bwMode="gray">
            <a:xfrm>
              <a:off x="5373688" y="3621088"/>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9"/>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50"/>
              </p:custDataLst>
            </p:nvPr>
          </p:nvSpPr>
          <p:spPr bwMode="gray">
            <a:xfrm>
              <a:off x="5743575"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51"/>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52"/>
              </p:custDataLst>
            </p:nvPr>
          </p:nvSpPr>
          <p:spPr bwMode="gray">
            <a:xfrm>
              <a:off x="7832724"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53"/>
              </p:custDataLst>
            </p:nvPr>
          </p:nvSpPr>
          <p:spPr bwMode="gray">
            <a:xfrm>
              <a:off x="8181977"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54"/>
              </p:custDataLst>
            </p:nvPr>
          </p:nvSpPr>
          <p:spPr bwMode="gray">
            <a:xfrm>
              <a:off x="6951662"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55"/>
              </p:custDataLst>
            </p:nvPr>
          </p:nvSpPr>
          <p:spPr bwMode="gray">
            <a:xfrm>
              <a:off x="8447088" y="4151313"/>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56"/>
              </p:custDataLst>
            </p:nvPr>
          </p:nvSpPr>
          <p:spPr bwMode="gray">
            <a:xfrm>
              <a:off x="8596313" y="4411662"/>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7"/>
              </p:custDataLst>
            </p:nvPr>
          </p:nvSpPr>
          <p:spPr bwMode="gray">
            <a:xfrm>
              <a:off x="6186487" y="4559301"/>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8"/>
              </p:custDataLst>
            </p:nvPr>
          </p:nvSpPr>
          <p:spPr bwMode="gray">
            <a:xfrm>
              <a:off x="7048500"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9"/>
              </p:custDataLst>
            </p:nvPr>
          </p:nvSpPr>
          <p:spPr bwMode="gray">
            <a:xfrm>
              <a:off x="6789738"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60"/>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61"/>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62"/>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63"/>
              </p:custDataLst>
            </p:nvPr>
          </p:nvSpPr>
          <p:spPr bwMode="gray">
            <a:xfrm>
              <a:off x="6075363" y="3190876"/>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64"/>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65"/>
              </p:custDataLst>
            </p:nvPr>
          </p:nvSpPr>
          <p:spPr bwMode="gray">
            <a:xfrm>
              <a:off x="5478463"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66"/>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7"/>
              </p:custDataLst>
            </p:nvPr>
          </p:nvSpPr>
          <p:spPr bwMode="gray">
            <a:xfrm>
              <a:off x="5537199" y="37274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8"/>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9"/>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70"/>
              </p:custDataLst>
            </p:nvPr>
          </p:nvSpPr>
          <p:spPr bwMode="gray">
            <a:xfrm>
              <a:off x="5962650" y="3665538"/>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71"/>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72"/>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73"/>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74"/>
              </p:custDataLst>
            </p:nvPr>
          </p:nvSpPr>
          <p:spPr bwMode="gray">
            <a:xfrm>
              <a:off x="5557838" y="4214813"/>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75"/>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76"/>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7"/>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8"/>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9"/>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80"/>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81"/>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82"/>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83"/>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84"/>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85"/>
              </p:custDataLst>
            </p:nvPr>
          </p:nvSpPr>
          <p:spPr bwMode="gray">
            <a:xfrm>
              <a:off x="5345113" y="3763963"/>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86"/>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7"/>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8"/>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9"/>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90"/>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91"/>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92"/>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93"/>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94"/>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95"/>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96"/>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7"/>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8"/>
              </p:custDataLst>
            </p:nvPr>
          </p:nvSpPr>
          <p:spPr bwMode="gray">
            <a:xfrm>
              <a:off x="5218112" y="37274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9"/>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100"/>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101"/>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102"/>
              </p:custDataLst>
            </p:nvPr>
          </p:nvSpPr>
          <p:spPr bwMode="gray">
            <a:xfrm>
              <a:off x="5453063"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103"/>
              </p:custDataLst>
            </p:nvPr>
          </p:nvSpPr>
          <p:spPr bwMode="gray">
            <a:xfrm>
              <a:off x="5440363" y="3468688"/>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104"/>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105"/>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106"/>
              </p:custDataLst>
            </p:nvPr>
          </p:nvSpPr>
          <p:spPr bwMode="gray">
            <a:xfrm>
              <a:off x="4491038" y="4375150"/>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7"/>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8"/>
              </p:custDataLst>
            </p:nvPr>
          </p:nvSpPr>
          <p:spPr bwMode="gray">
            <a:xfrm>
              <a:off x="4152900"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9"/>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10"/>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11"/>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12"/>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13"/>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14"/>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15"/>
              </p:custDataLst>
            </p:nvPr>
          </p:nvSpPr>
          <p:spPr bwMode="gray">
            <a:xfrm>
              <a:off x="4487863" y="3868738"/>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16"/>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7"/>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8"/>
              </p:custDataLst>
            </p:nvPr>
          </p:nvSpPr>
          <p:spPr bwMode="gray">
            <a:xfrm>
              <a:off x="4430713" y="4140201"/>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9"/>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20"/>
              </p:custDataLst>
            </p:nvPr>
          </p:nvSpPr>
          <p:spPr bwMode="gray">
            <a:xfrm>
              <a:off x="4681538" y="41719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21"/>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22"/>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23"/>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24"/>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25"/>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26"/>
              </p:custDataLst>
            </p:nvPr>
          </p:nvSpPr>
          <p:spPr bwMode="gray">
            <a:xfrm>
              <a:off x="4643438"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7"/>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8"/>
              </p:custDataLst>
            </p:nvPr>
          </p:nvSpPr>
          <p:spPr bwMode="gray">
            <a:xfrm>
              <a:off x="4127500"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9"/>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30"/>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31"/>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32"/>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33"/>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34"/>
              </p:custDataLst>
            </p:nvPr>
          </p:nvSpPr>
          <p:spPr bwMode="gray">
            <a:xfrm>
              <a:off x="5262563" y="5154613"/>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35"/>
              </p:custDataLst>
            </p:nvPr>
          </p:nvSpPr>
          <p:spPr bwMode="gray">
            <a:xfrm>
              <a:off x="4251325"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36"/>
              </p:custDataLst>
            </p:nvPr>
          </p:nvSpPr>
          <p:spPr bwMode="gray">
            <a:xfrm>
              <a:off x="5705475" y="5233989"/>
              <a:ext cx="2693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7"/>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8"/>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9"/>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40"/>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41"/>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42"/>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43"/>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44"/>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45"/>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46"/>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7"/>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8"/>
              </p:custDataLst>
            </p:nvPr>
          </p:nvSpPr>
          <p:spPr bwMode="gray">
            <a:xfrm>
              <a:off x="5284788" y="5024439"/>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9"/>
              </p:custDataLst>
            </p:nvPr>
          </p:nvSpPr>
          <p:spPr bwMode="gray">
            <a:xfrm>
              <a:off x="5299075"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50"/>
              </p:custDataLst>
            </p:nvPr>
          </p:nvSpPr>
          <p:spPr bwMode="gray">
            <a:xfrm>
              <a:off x="5222875" y="5562602"/>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51"/>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52"/>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53"/>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54"/>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55"/>
              </p:custDataLst>
            </p:nvPr>
          </p:nvSpPr>
          <p:spPr bwMode="gray">
            <a:xfrm>
              <a:off x="4445000" y="4637089"/>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56"/>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7"/>
              </p:custDataLst>
            </p:nvPr>
          </p:nvSpPr>
          <p:spPr bwMode="gray">
            <a:xfrm>
              <a:off x="5365750" y="433863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8"/>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9"/>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60"/>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61"/>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62"/>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63"/>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64"/>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65"/>
              </p:custDataLst>
            </p:nvPr>
          </p:nvSpPr>
          <p:spPr bwMode="gray">
            <a:xfrm>
              <a:off x="2873375" y="5173664"/>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66"/>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7"/>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8"/>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9"/>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70"/>
              </p:custDataLst>
            </p:nvPr>
          </p:nvSpPr>
          <p:spPr bwMode="gray">
            <a:xfrm>
              <a:off x="2482850" y="4713289"/>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71"/>
              </p:custDataLst>
            </p:nvPr>
          </p:nvSpPr>
          <p:spPr bwMode="gray">
            <a:xfrm>
              <a:off x="3049588" y="4443414"/>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72"/>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73"/>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74"/>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75"/>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76"/>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7"/>
              </p:custDataLst>
            </p:nvPr>
          </p:nvSpPr>
          <p:spPr bwMode="gray">
            <a:xfrm>
              <a:off x="1968500" y="4699001"/>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8"/>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9"/>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80"/>
              </p:custDataLst>
            </p:nvPr>
          </p:nvSpPr>
          <p:spPr bwMode="gray">
            <a:xfrm>
              <a:off x="2747963" y="3925888"/>
              <a:ext cx="2985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81"/>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82"/>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83"/>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84"/>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85"/>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86"/>
              </p:custDataLst>
            </p:nvPr>
          </p:nvSpPr>
          <p:spPr bwMode="gray">
            <a:xfrm>
              <a:off x="1952626"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7"/>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8"/>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9"/>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90"/>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91"/>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92"/>
              </p:custDataLst>
            </p:nvPr>
          </p:nvSpPr>
          <p:spPr bwMode="gray">
            <a:xfrm>
              <a:off x="2098676"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93"/>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94"/>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95"/>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96"/>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7"/>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450" name="Title 1"/>
          <p:cNvSpPr>
            <a:spLocks noGrp="1"/>
          </p:cNvSpPr>
          <p:nvPr>
            <p:ph type="title"/>
          </p:nvPr>
        </p:nvSpPr>
        <p:spPr>
          <a:xfrm>
            <a:off x="373858" y="201168"/>
            <a:ext cx="10515600" cy="392415"/>
          </a:xfrm>
        </p:spPr>
        <p:txBody>
          <a:bodyPr/>
          <a:lstStyle/>
          <a:p>
            <a:r>
              <a:rPr lang="en-US" sz="3200" b="1" dirty="0">
                <a:latin typeface="Arial" panose="020B0604020202020204" pitchFamily="34" charset="0"/>
                <a:cs typeface="Arial" panose="020B0604020202020204" pitchFamily="34" charset="0"/>
              </a:rPr>
              <a:t>Two-Wheeler Exports</a:t>
            </a:r>
          </a:p>
        </p:txBody>
      </p:sp>
      <p:grpSp>
        <p:nvGrpSpPr>
          <p:cNvPr id="25" name="Group 24"/>
          <p:cNvGrpSpPr/>
          <p:nvPr/>
        </p:nvGrpSpPr>
        <p:grpSpPr>
          <a:xfrm>
            <a:off x="298761" y="570368"/>
            <a:ext cx="9106930" cy="5416608"/>
            <a:chOff x="2374534" y="940514"/>
            <a:chExt cx="9936480" cy="6643825"/>
          </a:xfrm>
        </p:grpSpPr>
        <p:grpSp>
          <p:nvGrpSpPr>
            <p:cNvPr id="461" name="Group 460"/>
            <p:cNvGrpSpPr/>
            <p:nvPr/>
          </p:nvGrpSpPr>
          <p:grpSpPr>
            <a:xfrm>
              <a:off x="2374534" y="2240665"/>
              <a:ext cx="9936480" cy="5311140"/>
              <a:chOff x="393700" y="1781243"/>
              <a:chExt cx="8280400" cy="4425950"/>
            </a:xfrm>
            <a:solidFill>
              <a:schemeClr val="bg1">
                <a:lumMod val="85000"/>
              </a:schemeClr>
            </a:solidFill>
          </p:grpSpPr>
          <p:sp>
            <p:nvSpPr>
              <p:cNvPr id="462"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3"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4"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0"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3"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4"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5"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6"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9"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0"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1"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2"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3"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4"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5"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6"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7"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8"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9"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0"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1"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2"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3"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4"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5"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7"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8"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9"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0"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1"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3"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4"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5"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6"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7"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8"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9"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0"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2"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3"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4"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5"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6"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7"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8"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9"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0"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1"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2"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3"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4"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5"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6"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7"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8"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9"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0"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1"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2"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3"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4"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5"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6"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7"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8"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9"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0"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1"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2"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3"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4"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5"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6"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7"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8"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9"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0"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1"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2"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3"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4"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5"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6"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7"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8"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9"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0"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1"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2"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3"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4"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5"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6"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7"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8"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9"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0"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1"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2"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3"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4"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5"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6"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7"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8"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9"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0"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1"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2"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3"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4"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5"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6"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7"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8"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9"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0"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1"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2"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3"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4"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5"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6"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7"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8"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9"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0"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1"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2"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3"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4"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5"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6"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7"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8"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9"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0"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1"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2"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3"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4"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5"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6"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7"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8"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9"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0"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1"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2"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3"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4"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5"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6"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7"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8"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9"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0"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1"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2"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3"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4"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5"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6"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7"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8"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9"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0" name="Freeform 191"/>
              <p:cNvSpPr>
                <a:spLocks noEditPoints="1"/>
              </p:cNvSpPr>
              <p:nvPr/>
            </p:nvSpPr>
            <p:spPr bwMode="auto">
              <a:xfrm>
                <a:off x="1939925" y="5035618"/>
                <a:ext cx="965200" cy="1171575"/>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1"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2"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3"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4"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5"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6"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7"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8"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9"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0"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1"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2"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3"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4"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5"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6"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7"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8"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9"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0"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1"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2"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3"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4"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5"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6"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7"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8"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9"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0"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1"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2"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3"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4"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5"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 name="Freeform 367"/>
            <p:cNvSpPr>
              <a:spLocks/>
            </p:cNvSpPr>
            <p:nvPr>
              <p:custDataLst>
                <p:tags r:id="rId1"/>
              </p:custDataLst>
            </p:nvPr>
          </p:nvSpPr>
          <p:spPr bwMode="gray">
            <a:xfrm>
              <a:off x="2459632" y="5461121"/>
              <a:ext cx="8899" cy="5340"/>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368"/>
            <p:cNvSpPr>
              <a:spLocks noEditPoints="1"/>
            </p:cNvSpPr>
            <p:nvPr>
              <p:custDataLst>
                <p:tags r:id="rId2"/>
              </p:custDataLst>
            </p:nvPr>
          </p:nvSpPr>
          <p:spPr bwMode="gray">
            <a:xfrm>
              <a:off x="2530819" y="5249339"/>
              <a:ext cx="37374" cy="16018"/>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369"/>
            <p:cNvSpPr>
              <a:spLocks/>
            </p:cNvSpPr>
            <p:nvPr>
              <p:custDataLst>
                <p:tags r:id="rId3"/>
              </p:custDataLst>
            </p:nvPr>
          </p:nvSpPr>
          <p:spPr bwMode="gray">
            <a:xfrm>
              <a:off x="2582429" y="5268916"/>
              <a:ext cx="5340" cy="5340"/>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370"/>
            <p:cNvSpPr>
              <a:spLocks/>
            </p:cNvSpPr>
            <p:nvPr>
              <p:custDataLst>
                <p:tags r:id="rId4"/>
              </p:custDataLst>
            </p:nvPr>
          </p:nvSpPr>
          <p:spPr bwMode="gray">
            <a:xfrm>
              <a:off x="2607345" y="5402390"/>
              <a:ext cx="3559" cy="5340"/>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Rectangle 371"/>
            <p:cNvSpPr>
              <a:spLocks noChangeArrowheads="1"/>
            </p:cNvSpPr>
            <p:nvPr>
              <p:custDataLst>
                <p:tags r:id="rId5"/>
              </p:custDataLst>
            </p:nvPr>
          </p:nvSpPr>
          <p:spPr bwMode="gray">
            <a:xfrm>
              <a:off x="2386665" y="5268916"/>
              <a:ext cx="3559" cy="355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ectangle 372"/>
            <p:cNvSpPr>
              <a:spLocks noChangeArrowheads="1"/>
            </p:cNvSpPr>
            <p:nvPr>
              <p:custDataLst>
                <p:tags r:id="rId6"/>
              </p:custDataLst>
            </p:nvPr>
          </p:nvSpPr>
          <p:spPr bwMode="gray">
            <a:xfrm>
              <a:off x="2938363" y="5470019"/>
              <a:ext cx="3559" cy="1781"/>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373"/>
            <p:cNvSpPr>
              <a:spLocks/>
            </p:cNvSpPr>
            <p:nvPr>
              <p:custDataLst>
                <p:tags r:id="rId7"/>
              </p:custDataLst>
            </p:nvPr>
          </p:nvSpPr>
          <p:spPr bwMode="gray">
            <a:xfrm>
              <a:off x="3178621" y="5345441"/>
              <a:ext cx="14238" cy="889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45" name="Straight Connector 444"/>
            <p:cNvCxnSpPr>
              <a:endCxn id="505" idx="23"/>
            </p:cNvCxnSpPr>
            <p:nvPr/>
          </p:nvCxnSpPr>
          <p:spPr>
            <a:xfrm flipH="1">
              <a:off x="9899284" y="1553734"/>
              <a:ext cx="3332" cy="3422511"/>
            </a:xfrm>
            <a:prstGeom prst="line">
              <a:avLst/>
            </a:prstGeom>
            <a:ln w="19050" cap="rnd">
              <a:solidFill>
                <a:srgbClr val="44546A"/>
              </a:solidFill>
              <a:tailEnd type="oval" w="sm" len="sm"/>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flipH="1">
              <a:off x="7494336" y="2357852"/>
              <a:ext cx="0" cy="1411097"/>
            </a:xfrm>
            <a:prstGeom prst="line">
              <a:avLst/>
            </a:prstGeom>
            <a:ln w="19050" cap="rnd">
              <a:solidFill>
                <a:schemeClr val="accent3"/>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a:xfrm flipV="1">
              <a:off x="8430337" y="4967182"/>
              <a:ext cx="8791" cy="1189414"/>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p:nvPr/>
          </p:nvCxnSpPr>
          <p:spPr>
            <a:xfrm flipV="1">
              <a:off x="7149176" y="5122812"/>
              <a:ext cx="10718" cy="1891489"/>
            </a:xfrm>
            <a:prstGeom prst="line">
              <a:avLst/>
            </a:prstGeom>
            <a:ln w="19050">
              <a:solidFill>
                <a:srgbClr val="8B3842"/>
              </a:solidFill>
              <a:tailEnd type="oval" w="lg" len="lg"/>
            </a:ln>
          </p:spPr>
          <p:style>
            <a:lnRef idx="1">
              <a:schemeClr val="accent1"/>
            </a:lnRef>
            <a:fillRef idx="0">
              <a:schemeClr val="accent1"/>
            </a:fillRef>
            <a:effectRef idx="0">
              <a:schemeClr val="accent1"/>
            </a:effectRef>
            <a:fontRef idx="minor">
              <a:schemeClr val="tx1"/>
            </a:fontRef>
          </p:style>
        </p:cxnSp>
        <p:sp>
          <p:nvSpPr>
            <p:cNvPr id="454" name="TextBox 453"/>
            <p:cNvSpPr txBox="1"/>
            <p:nvPr/>
          </p:nvSpPr>
          <p:spPr>
            <a:xfrm>
              <a:off x="6633667" y="7131329"/>
              <a:ext cx="1042334" cy="4530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Af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52%</a:t>
              </a:r>
            </a:p>
          </p:txBody>
        </p:sp>
        <p:sp>
          <p:nvSpPr>
            <p:cNvPr id="455" name="TextBox 454"/>
            <p:cNvSpPr txBox="1"/>
            <p:nvPr/>
          </p:nvSpPr>
          <p:spPr>
            <a:xfrm>
              <a:off x="9617729" y="940514"/>
              <a:ext cx="1042334" cy="4530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sia</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14%</a:t>
              </a:r>
            </a:p>
          </p:txBody>
        </p:sp>
        <p:sp>
          <p:nvSpPr>
            <p:cNvPr id="456" name="TextBox 455"/>
            <p:cNvSpPr txBox="1"/>
            <p:nvPr/>
          </p:nvSpPr>
          <p:spPr>
            <a:xfrm>
              <a:off x="6636897" y="1856150"/>
              <a:ext cx="1842521" cy="4530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European Union</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200" dirty="0">
                  <a:solidFill>
                    <a:srgbClr val="D53814"/>
                  </a:solidFill>
                  <a:latin typeface="Arial" panose="020B0604020202020204" pitchFamily="34" charset="0"/>
                  <a:cs typeface="Arial" panose="020B0604020202020204" pitchFamily="34" charset="0"/>
                </a:rPr>
                <a:t>1</a:t>
              </a:r>
              <a:r>
                <a:rPr kumimoji="0" lang="en-GB" sz="1200" b="0" i="0" u="none" strike="noStrike" kern="1200" cap="none" spc="0" normalizeH="0" baseline="0" noProof="0" dirty="0">
                  <a:ln>
                    <a:noFill/>
                  </a:ln>
                  <a:solidFill>
                    <a:srgbClr val="D53814"/>
                  </a:solidFill>
                  <a:effectLst/>
                  <a:uLnTx/>
                  <a:uFillTx/>
                  <a:latin typeface="Arial" panose="020B0604020202020204" pitchFamily="34" charset="0"/>
                  <a:ea typeface="+mn-ea"/>
                  <a:cs typeface="Arial" panose="020B0604020202020204" pitchFamily="34" charset="0"/>
                </a:rPr>
                <a:t>%</a:t>
              </a:r>
            </a:p>
          </p:txBody>
        </p:sp>
        <p:sp>
          <p:nvSpPr>
            <p:cNvPr id="458" name="TextBox 457"/>
            <p:cNvSpPr txBox="1"/>
            <p:nvPr/>
          </p:nvSpPr>
          <p:spPr>
            <a:xfrm>
              <a:off x="7838916" y="6303796"/>
              <a:ext cx="1360584" cy="4530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Middle East</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3%</a:t>
              </a:r>
            </a:p>
          </p:txBody>
        </p:sp>
        <p:sp>
          <p:nvSpPr>
            <p:cNvPr id="459" name="Oval 458"/>
            <p:cNvSpPr/>
            <p:nvPr/>
          </p:nvSpPr>
          <p:spPr bwMode="gray">
            <a:xfrm>
              <a:off x="8296937" y="4713570"/>
              <a:ext cx="276012" cy="314040"/>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3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60" name="Straight Connector 459"/>
            <p:cNvCxnSpPr/>
            <p:nvPr/>
          </p:nvCxnSpPr>
          <p:spPr>
            <a:xfrm>
              <a:off x="4552645" y="5634680"/>
              <a:ext cx="897923" cy="0"/>
            </a:xfrm>
            <a:prstGeom prst="line">
              <a:avLst/>
            </a:prstGeom>
            <a:ln w="19050">
              <a:solidFill>
                <a:schemeClr val="accent3">
                  <a:lumMod val="60000"/>
                  <a:lumOff val="4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676" name="TextBox 675"/>
            <p:cNvSpPr txBox="1"/>
            <p:nvPr/>
          </p:nvSpPr>
          <p:spPr>
            <a:xfrm>
              <a:off x="3145240" y="5523028"/>
              <a:ext cx="1432468" cy="4530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Latin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26%</a:t>
              </a:r>
            </a:p>
          </p:txBody>
        </p:sp>
        <p:sp>
          <p:nvSpPr>
            <p:cNvPr id="23" name="Oval 22"/>
            <p:cNvSpPr/>
            <p:nvPr/>
          </p:nvSpPr>
          <p:spPr>
            <a:xfrm>
              <a:off x="9776564" y="4711778"/>
              <a:ext cx="263197" cy="291609"/>
            </a:xfrm>
            <a:prstGeom prst="ellipse">
              <a:avLst/>
            </a:prstGeom>
            <a:solidFill>
              <a:srgbClr val="44546A"/>
            </a:solid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7" name="Oval 676"/>
            <p:cNvSpPr/>
            <p:nvPr/>
          </p:nvSpPr>
          <p:spPr>
            <a:xfrm>
              <a:off x="7008471" y="4951403"/>
              <a:ext cx="290229" cy="334100"/>
            </a:xfrm>
            <a:prstGeom prst="ellipse">
              <a:avLst/>
            </a:prstGeom>
            <a:solidFill>
              <a:srgbClr val="7B1E29"/>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8" name="Oval 677"/>
            <p:cNvSpPr/>
            <p:nvPr/>
          </p:nvSpPr>
          <p:spPr>
            <a:xfrm>
              <a:off x="7400357" y="3607781"/>
              <a:ext cx="259400" cy="292251"/>
            </a:xfrm>
            <a:prstGeom prst="ellipse">
              <a:avLst/>
            </a:prstGeom>
            <a:solidFill>
              <a:srgbClr val="D53814"/>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Freeform 3"/>
          <p:cNvSpPr/>
          <p:nvPr/>
        </p:nvSpPr>
        <p:spPr>
          <a:xfrm>
            <a:off x="5030316" y="2751710"/>
            <a:ext cx="1610942" cy="944296"/>
          </a:xfrm>
          <a:custGeom>
            <a:avLst/>
            <a:gdLst>
              <a:gd name="connsiteX0" fmla="*/ 2207172 w 2207172"/>
              <a:gd name="connsiteY0" fmla="*/ 974756 h 974756"/>
              <a:gd name="connsiteX1" fmla="*/ 1813034 w 2207172"/>
              <a:gd name="connsiteY1" fmla="*/ 233777 h 974756"/>
              <a:gd name="connsiteX2" fmla="*/ 709448 w 2207172"/>
              <a:gd name="connsiteY2" fmla="*/ 13060 h 974756"/>
              <a:gd name="connsiteX3" fmla="*/ 0 w 2207172"/>
              <a:gd name="connsiteY3" fmla="*/ 44591 h 974756"/>
            </a:gdLst>
            <a:ahLst/>
            <a:cxnLst>
              <a:cxn ang="0">
                <a:pos x="connsiteX0" y="connsiteY0"/>
              </a:cxn>
              <a:cxn ang="0">
                <a:pos x="connsiteX1" y="connsiteY1"/>
              </a:cxn>
              <a:cxn ang="0">
                <a:pos x="connsiteX2" y="connsiteY2"/>
              </a:cxn>
              <a:cxn ang="0">
                <a:pos x="connsiteX3" y="connsiteY3"/>
              </a:cxn>
            </a:cxnLst>
            <a:rect l="l" t="t" r="r" b="b"/>
            <a:pathLst>
              <a:path w="2207172" h="974756">
                <a:moveTo>
                  <a:pt x="2207172" y="974756"/>
                </a:moveTo>
                <a:cubicBezTo>
                  <a:pt x="2134913" y="684408"/>
                  <a:pt x="2062655" y="394060"/>
                  <a:pt x="1813034" y="233777"/>
                </a:cubicBezTo>
                <a:cubicBezTo>
                  <a:pt x="1563413" y="73494"/>
                  <a:pt x="1011620" y="44591"/>
                  <a:pt x="709448" y="13060"/>
                </a:cubicBezTo>
                <a:cubicBezTo>
                  <a:pt x="407276" y="-18471"/>
                  <a:pt x="203638" y="13060"/>
                  <a:pt x="0" y="44591"/>
                </a:cubicBezTo>
              </a:path>
            </a:pathLst>
          </a:cu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11"/>
          <p:cNvSpPr/>
          <p:nvPr/>
        </p:nvSpPr>
        <p:spPr>
          <a:xfrm>
            <a:off x="4739424" y="3360596"/>
            <a:ext cx="1875879" cy="683370"/>
          </a:xfrm>
          <a:custGeom>
            <a:avLst/>
            <a:gdLst>
              <a:gd name="connsiteX0" fmla="*/ 2601311 w 2601311"/>
              <a:gd name="connsiteY0" fmla="*/ 307755 h 654596"/>
              <a:gd name="connsiteX1" fmla="*/ 1765738 w 2601311"/>
              <a:gd name="connsiteY1" fmla="*/ 23976 h 654596"/>
              <a:gd name="connsiteX2" fmla="*/ 993228 w 2601311"/>
              <a:gd name="connsiteY2" fmla="*/ 87038 h 654596"/>
              <a:gd name="connsiteX3" fmla="*/ 0 w 2601311"/>
              <a:gd name="connsiteY3" fmla="*/ 654596 h 654596"/>
            </a:gdLst>
            <a:ahLst/>
            <a:cxnLst>
              <a:cxn ang="0">
                <a:pos x="connsiteX0" y="connsiteY0"/>
              </a:cxn>
              <a:cxn ang="0">
                <a:pos x="connsiteX1" y="connsiteY1"/>
              </a:cxn>
              <a:cxn ang="0">
                <a:pos x="connsiteX2" y="connsiteY2"/>
              </a:cxn>
              <a:cxn ang="0">
                <a:pos x="connsiteX3" y="connsiteY3"/>
              </a:cxn>
            </a:cxnLst>
            <a:rect l="l" t="t" r="r" b="b"/>
            <a:pathLst>
              <a:path w="2601311" h="654596">
                <a:moveTo>
                  <a:pt x="2601311" y="307755"/>
                </a:moveTo>
                <a:cubicBezTo>
                  <a:pt x="2317531" y="184258"/>
                  <a:pt x="2033752" y="60762"/>
                  <a:pt x="1765738" y="23976"/>
                </a:cubicBezTo>
                <a:cubicBezTo>
                  <a:pt x="1497724" y="-12810"/>
                  <a:pt x="1287518" y="-18065"/>
                  <a:pt x="993228" y="87038"/>
                </a:cubicBezTo>
                <a:cubicBezTo>
                  <a:pt x="698938" y="192141"/>
                  <a:pt x="144517" y="528472"/>
                  <a:pt x="0" y="654596"/>
                </a:cubicBezTo>
              </a:path>
            </a:pathLst>
          </a:custGeom>
          <a:noFill/>
          <a:ln>
            <a:solidFill>
              <a:srgbClr val="7B1E29"/>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13"/>
          <p:cNvSpPr/>
          <p:nvPr/>
        </p:nvSpPr>
        <p:spPr>
          <a:xfrm>
            <a:off x="3120233" y="3464399"/>
            <a:ext cx="3541788" cy="887023"/>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Lst>
            <a:ahLst/>
            <a:cxnLst>
              <a:cxn ang="0">
                <a:pos x="connsiteX0" y="connsiteY0"/>
              </a:cxn>
              <a:cxn ang="0">
                <a:pos x="connsiteX1" y="connsiteY1"/>
              </a:cxn>
              <a:cxn ang="0">
                <a:pos x="connsiteX2" y="connsiteY2"/>
              </a:cxn>
              <a:cxn ang="0">
                <a:pos x="connsiteX3" y="connsiteY3"/>
              </a:cxn>
            </a:cxnLst>
            <a:rect l="l" t="t" r="r" b="b"/>
            <a:pathLst>
              <a:path w="4713889" h="2008212">
                <a:moveTo>
                  <a:pt x="4713889" y="557784"/>
                </a:moveTo>
                <a:cubicBezTo>
                  <a:pt x="4306613" y="255611"/>
                  <a:pt x="3899337" y="-46561"/>
                  <a:pt x="3279227" y="5991"/>
                </a:cubicBezTo>
                <a:cubicBezTo>
                  <a:pt x="2659117" y="58543"/>
                  <a:pt x="1539765" y="539391"/>
                  <a:pt x="993227" y="873094"/>
                </a:cubicBezTo>
                <a:cubicBezTo>
                  <a:pt x="446689" y="1206797"/>
                  <a:pt x="73572" y="1845302"/>
                  <a:pt x="0" y="2008212"/>
                </a:cubicBezTo>
              </a:path>
            </a:pathLst>
          </a:cu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14"/>
          <p:cNvSpPr/>
          <p:nvPr/>
        </p:nvSpPr>
        <p:spPr>
          <a:xfrm>
            <a:off x="6641258" y="3515940"/>
            <a:ext cx="515635" cy="205030"/>
          </a:xfrm>
          <a:custGeom>
            <a:avLst/>
            <a:gdLst>
              <a:gd name="connsiteX0" fmla="*/ 0 w 740979"/>
              <a:gd name="connsiteY0" fmla="*/ 315435 h 346966"/>
              <a:gd name="connsiteX1" fmla="*/ 346841 w 740979"/>
              <a:gd name="connsiteY1" fmla="*/ 125 h 346966"/>
              <a:gd name="connsiteX2" fmla="*/ 740979 w 740979"/>
              <a:gd name="connsiteY2" fmla="*/ 346966 h 346966"/>
            </a:gdLst>
            <a:ahLst/>
            <a:cxnLst>
              <a:cxn ang="0">
                <a:pos x="connsiteX0" y="connsiteY0"/>
              </a:cxn>
              <a:cxn ang="0">
                <a:pos x="connsiteX1" y="connsiteY1"/>
              </a:cxn>
              <a:cxn ang="0">
                <a:pos x="connsiteX2" y="connsiteY2"/>
              </a:cxn>
            </a:cxnLst>
            <a:rect l="l" t="t" r="r" b="b"/>
            <a:pathLst>
              <a:path w="740979" h="346966">
                <a:moveTo>
                  <a:pt x="0" y="315435"/>
                </a:moveTo>
                <a:cubicBezTo>
                  <a:pt x="111672" y="155152"/>
                  <a:pt x="223345" y="-5130"/>
                  <a:pt x="346841" y="125"/>
                </a:cubicBezTo>
                <a:cubicBezTo>
                  <a:pt x="470338" y="5380"/>
                  <a:pt x="605658" y="176173"/>
                  <a:pt x="740979" y="346966"/>
                </a:cubicBezTo>
              </a:path>
            </a:pathLst>
          </a:custGeom>
          <a:noFill/>
          <a:ln>
            <a:solidFill>
              <a:srgbClr val="44546A"/>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26"/>
          <p:cNvSpPr/>
          <p:nvPr/>
        </p:nvSpPr>
        <p:spPr>
          <a:xfrm rot="21304418">
            <a:off x="5847537" y="3525164"/>
            <a:ext cx="793721" cy="294804"/>
          </a:xfrm>
          <a:custGeom>
            <a:avLst/>
            <a:gdLst>
              <a:gd name="connsiteX0" fmla="*/ 864524 w 864524"/>
              <a:gd name="connsiteY0" fmla="*/ 199560 h 251900"/>
              <a:gd name="connsiteX1" fmla="*/ 349135 w 864524"/>
              <a:gd name="connsiteY1" fmla="*/ 55 h 251900"/>
              <a:gd name="connsiteX2" fmla="*/ 0 w 864524"/>
              <a:gd name="connsiteY2" fmla="*/ 216186 h 251900"/>
              <a:gd name="connsiteX3" fmla="*/ 0 w 864524"/>
              <a:gd name="connsiteY3" fmla="*/ 216186 h 251900"/>
              <a:gd name="connsiteX4" fmla="*/ 0 w 864524"/>
              <a:gd name="connsiteY4" fmla="*/ 216186 h 251900"/>
              <a:gd name="connsiteX5" fmla="*/ 0 w 864524"/>
              <a:gd name="connsiteY5" fmla="*/ 216186 h 251900"/>
              <a:gd name="connsiteX6" fmla="*/ 33251 w 864524"/>
              <a:gd name="connsiteY6" fmla="*/ 249437 h 251900"/>
              <a:gd name="connsiteX7" fmla="*/ 0 w 864524"/>
              <a:gd name="connsiteY7" fmla="*/ 249437 h 251900"/>
              <a:gd name="connsiteX8" fmla="*/ 0 w 864524"/>
              <a:gd name="connsiteY8" fmla="*/ 249437 h 25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4524" h="251900">
                <a:moveTo>
                  <a:pt x="864524" y="199560"/>
                </a:moveTo>
                <a:cubicBezTo>
                  <a:pt x="678873" y="98422"/>
                  <a:pt x="493222" y="-2716"/>
                  <a:pt x="349135" y="55"/>
                </a:cubicBezTo>
                <a:cubicBezTo>
                  <a:pt x="205048" y="2826"/>
                  <a:pt x="0" y="216186"/>
                  <a:pt x="0" y="216186"/>
                </a:cubicBezTo>
                <a:lnTo>
                  <a:pt x="0" y="216186"/>
                </a:lnTo>
                <a:lnTo>
                  <a:pt x="0" y="216186"/>
                </a:lnTo>
                <a:lnTo>
                  <a:pt x="0" y="216186"/>
                </a:lnTo>
                <a:cubicBezTo>
                  <a:pt x="5542" y="221728"/>
                  <a:pt x="33251" y="243895"/>
                  <a:pt x="33251" y="249437"/>
                </a:cubicBezTo>
                <a:cubicBezTo>
                  <a:pt x="33251" y="254979"/>
                  <a:pt x="0" y="249437"/>
                  <a:pt x="0" y="249437"/>
                </a:cubicBezTo>
                <a:lnTo>
                  <a:pt x="0" y="249437"/>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2" name="Rounded Rectangle 681"/>
          <p:cNvSpPr/>
          <p:nvPr/>
        </p:nvSpPr>
        <p:spPr>
          <a:xfrm>
            <a:off x="9297781" y="755034"/>
            <a:ext cx="2613175" cy="5504252"/>
          </a:xfrm>
          <a:prstGeom prst="roundRect">
            <a:avLst/>
          </a:prstGeom>
          <a:solidFill>
            <a:schemeClr val="accent6">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wer spread of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vi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frican region has proved beneficial for motorcycle exports</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mp; is expected to support exports during FY22 as well</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212121"/>
                </a:solidFill>
                <a:effectLst/>
                <a:uLnTx/>
                <a:uFillTx/>
                <a:latin typeface="PT Serif Regular"/>
                <a:ea typeface="+mn-ea"/>
                <a:cs typeface="+mn-cs"/>
              </a:rPr>
              <a:t>Two-wheeler in LATAM is now used for personal commute due to social distancing requirement which is aiding exports from India. </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err="1">
                <a:ln>
                  <a:noFill/>
                </a:ln>
                <a:solidFill>
                  <a:srgbClr val="212121"/>
                </a:solidFill>
                <a:effectLst/>
                <a:uLnTx/>
                <a:uFillTx/>
                <a:latin typeface="PT Serif Regular"/>
                <a:ea typeface="+mn-ea"/>
                <a:cs typeface="+mn-cs"/>
              </a:rPr>
              <a:t>Covid</a:t>
            </a:r>
            <a:r>
              <a:rPr kumimoji="0" lang="en-IN" sz="1200" b="0" i="0" u="none" strike="noStrike" kern="1200" cap="none" spc="0" normalizeH="0" baseline="0" noProof="0" dirty="0">
                <a:ln>
                  <a:noFill/>
                </a:ln>
                <a:solidFill>
                  <a:srgbClr val="212121"/>
                </a:solidFill>
                <a:effectLst/>
                <a:uLnTx/>
                <a:uFillTx/>
                <a:latin typeface="PT Serif Regular"/>
                <a:ea typeface="+mn-ea"/>
                <a:cs typeface="+mn-cs"/>
              </a:rPr>
              <a:t> impacted demand from Asian countries, however, some improvement is</a:t>
            </a:r>
            <a:r>
              <a:rPr kumimoji="0" lang="en-IN" sz="1200" b="0" i="0" u="none" strike="noStrike" kern="1200" cap="none" spc="0" normalizeH="0" noProof="0" dirty="0">
                <a:ln>
                  <a:noFill/>
                </a:ln>
                <a:solidFill>
                  <a:srgbClr val="212121"/>
                </a:solidFill>
                <a:effectLst/>
                <a:uLnTx/>
                <a:uFillTx/>
                <a:latin typeface="PT Serif Regular"/>
                <a:ea typeface="+mn-ea"/>
                <a:cs typeface="+mn-cs"/>
              </a:rPr>
              <a:t> </a:t>
            </a:r>
            <a:r>
              <a:rPr kumimoji="0" lang="en-IN" sz="1200" b="0" i="0" u="none" strike="noStrike" kern="1200" cap="none" spc="0" normalizeH="0" baseline="0" noProof="0" dirty="0">
                <a:ln>
                  <a:noFill/>
                </a:ln>
                <a:solidFill>
                  <a:srgbClr val="212121"/>
                </a:solidFill>
                <a:effectLst/>
                <a:uLnTx/>
                <a:uFillTx/>
                <a:latin typeface="PT Serif Regular"/>
                <a:ea typeface="+mn-ea"/>
                <a:cs typeface="+mn-cs"/>
              </a:rPr>
              <a:t>expected during FY22 and is visible in H1</a:t>
            </a:r>
            <a:r>
              <a:rPr kumimoji="0" lang="en-IN" sz="1200" b="0" i="0" u="none" strike="noStrike" kern="1200" cap="none" spc="0" normalizeH="0" noProof="0" dirty="0">
                <a:ln>
                  <a:noFill/>
                </a:ln>
                <a:solidFill>
                  <a:srgbClr val="212121"/>
                </a:solidFill>
                <a:effectLst/>
                <a:uLnTx/>
                <a:uFillTx/>
                <a:latin typeface="PT Serif Regular"/>
                <a:ea typeface="+mn-ea"/>
                <a:cs typeface="+mn-cs"/>
              </a:rPr>
              <a:t> FY22</a:t>
            </a:r>
            <a:endParaRPr kumimoji="0" lang="en-IN" sz="1200" b="0" i="0" u="none" strike="noStrike" kern="1200" cap="none" spc="0" normalizeH="0" baseline="0" noProof="0" dirty="0">
              <a:ln>
                <a:noFill/>
              </a:ln>
              <a:solidFill>
                <a:srgbClr val="212121"/>
              </a:solidFill>
              <a:effectLst/>
              <a:uLnTx/>
              <a:uFillTx/>
              <a:latin typeface="PT Serif Regular"/>
              <a:ea typeface="+mn-ea"/>
              <a:cs typeface="+mn-cs"/>
            </a:endParaRP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212121"/>
                </a:solidFill>
                <a:effectLst/>
                <a:uLnTx/>
                <a:uFillTx/>
                <a:latin typeface="PT Serif Regular"/>
                <a:ea typeface="+mn-ea"/>
                <a:cs typeface="+mn-cs"/>
              </a:rPr>
              <a:t>Firming up of crude oil prices is expected to provide impetus to two-wheeler exports.</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12121"/>
                </a:solidFill>
                <a:effectLst/>
                <a:uLnTx/>
                <a:uFillTx/>
                <a:latin typeface="PT Serif Regular"/>
                <a:ea typeface="+mn-ea"/>
                <a:cs typeface="+mn-cs"/>
              </a:rPr>
              <a:t>Implementation of RCEP can have sizeable impact on Indian 2W exports. It needs to be monitored closely</a:t>
            </a:r>
            <a:endParaRPr kumimoji="0" lang="en-IN" sz="1200" b="0" i="0" u="none" strike="noStrike" kern="1200" cap="none" spc="0" normalizeH="0" baseline="0" noProof="0" dirty="0">
              <a:ln>
                <a:noFill/>
              </a:ln>
              <a:solidFill>
                <a:srgbClr val="212121"/>
              </a:solidFill>
              <a:effectLst/>
              <a:uLnTx/>
              <a:uFillTx/>
              <a:latin typeface="PT Serif Regular"/>
              <a:ea typeface="+mn-ea"/>
              <a:cs typeface="+mn-cs"/>
            </a:endParaRPr>
          </a:p>
        </p:txBody>
      </p:sp>
      <p:grpSp>
        <p:nvGrpSpPr>
          <p:cNvPr id="448" name="Group 447"/>
          <p:cNvGrpSpPr/>
          <p:nvPr/>
        </p:nvGrpSpPr>
        <p:grpSpPr>
          <a:xfrm>
            <a:off x="1323695" y="4714424"/>
            <a:ext cx="791277" cy="326581"/>
            <a:chOff x="5143221" y="5525471"/>
            <a:chExt cx="640451" cy="326275"/>
          </a:xfrm>
        </p:grpSpPr>
        <p:sp>
          <p:nvSpPr>
            <p:cNvPr id="449" name="TextBox 448"/>
            <p:cNvSpPr txBox="1"/>
            <p:nvPr/>
          </p:nvSpPr>
          <p:spPr>
            <a:xfrm>
              <a:off x="5161883" y="5549221"/>
              <a:ext cx="53412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1.4</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452" name="Isosceles Triangle 451"/>
            <p:cNvSpPr/>
            <p:nvPr/>
          </p:nvSpPr>
          <p:spPr>
            <a:xfrm flipH="1">
              <a:off x="5520903" y="5591752"/>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7" name="Rounded Rectangle 456"/>
            <p:cNvSpPr/>
            <p:nvPr/>
          </p:nvSpPr>
          <p:spPr>
            <a:xfrm>
              <a:off x="5143221" y="5525471"/>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79" name="Group 678"/>
          <p:cNvGrpSpPr/>
          <p:nvPr/>
        </p:nvGrpSpPr>
        <p:grpSpPr>
          <a:xfrm>
            <a:off x="4984041" y="5708508"/>
            <a:ext cx="758639" cy="326275"/>
            <a:chOff x="5143222" y="5525471"/>
            <a:chExt cx="580303" cy="326275"/>
          </a:xfrm>
        </p:grpSpPr>
        <p:sp>
          <p:nvSpPr>
            <p:cNvPr id="680" name="TextBox 679"/>
            <p:cNvSpPr txBox="1"/>
            <p:nvPr/>
          </p:nvSpPr>
          <p:spPr>
            <a:xfrm>
              <a:off x="5161883" y="5549221"/>
              <a:ext cx="40856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5%</a:t>
              </a:r>
            </a:p>
          </p:txBody>
        </p:sp>
        <p:sp>
          <p:nvSpPr>
            <p:cNvPr id="681" name="Isosceles Triangle 680"/>
            <p:cNvSpPr/>
            <p:nvPr/>
          </p:nvSpPr>
          <p:spPr>
            <a:xfrm flipH="1" flipV="1">
              <a:off x="5511819" y="5615502"/>
              <a:ext cx="139890"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4" name="Rounded Rectangle 683"/>
            <p:cNvSpPr/>
            <p:nvPr/>
          </p:nvSpPr>
          <p:spPr>
            <a:xfrm>
              <a:off x="5143222" y="5525471"/>
              <a:ext cx="580303"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93" name="Freeform 692"/>
          <p:cNvSpPr/>
          <p:nvPr/>
        </p:nvSpPr>
        <p:spPr>
          <a:xfrm>
            <a:off x="2044454" y="2754121"/>
            <a:ext cx="4647390" cy="986465"/>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 name="connsiteX0" fmla="*/ 5349156 w 5349156"/>
              <a:gd name="connsiteY0" fmla="*/ 1785683 h 2023327"/>
              <a:gd name="connsiteX1" fmla="*/ 3279227 w 5349156"/>
              <a:gd name="connsiteY1" fmla="*/ 21106 h 2023327"/>
              <a:gd name="connsiteX2" fmla="*/ 993227 w 5349156"/>
              <a:gd name="connsiteY2" fmla="*/ 888209 h 2023327"/>
              <a:gd name="connsiteX3" fmla="*/ 0 w 5349156"/>
              <a:gd name="connsiteY3" fmla="*/ 2023327 h 2023327"/>
              <a:gd name="connsiteX0" fmla="*/ 5349156 w 5349156"/>
              <a:gd name="connsiteY0" fmla="*/ 1031611 h 1269255"/>
              <a:gd name="connsiteX1" fmla="*/ 4338006 w 5349156"/>
              <a:gd name="connsiteY1" fmla="*/ 325811 h 1269255"/>
              <a:gd name="connsiteX2" fmla="*/ 993227 w 5349156"/>
              <a:gd name="connsiteY2" fmla="*/ 134137 h 1269255"/>
              <a:gd name="connsiteX3" fmla="*/ 0 w 5349156"/>
              <a:gd name="connsiteY3" fmla="*/ 1269255 h 1269255"/>
              <a:gd name="connsiteX0" fmla="*/ 5820474 w 5820474"/>
              <a:gd name="connsiteY0" fmla="*/ 869961 h 1107605"/>
              <a:gd name="connsiteX1" fmla="*/ 4809324 w 5820474"/>
              <a:gd name="connsiteY1" fmla="*/ 164161 h 1107605"/>
              <a:gd name="connsiteX2" fmla="*/ 174760 w 5820474"/>
              <a:gd name="connsiteY2" fmla="*/ 184243 h 1107605"/>
              <a:gd name="connsiteX3" fmla="*/ 471318 w 5820474"/>
              <a:gd name="connsiteY3" fmla="*/ 1107605 h 1107605"/>
              <a:gd name="connsiteX0" fmla="*/ 5925646 w 5925646"/>
              <a:gd name="connsiteY0" fmla="*/ 869961 h 869961"/>
              <a:gd name="connsiteX1" fmla="*/ 4914496 w 5925646"/>
              <a:gd name="connsiteY1" fmla="*/ 164161 h 869961"/>
              <a:gd name="connsiteX2" fmla="*/ 279932 w 5925646"/>
              <a:gd name="connsiteY2" fmla="*/ 184243 h 869961"/>
              <a:gd name="connsiteX3" fmla="*/ 95228 w 5925646"/>
              <a:gd name="connsiteY3" fmla="*/ 145079 h 869961"/>
              <a:gd name="connsiteX0" fmla="*/ 5932574 w 5932574"/>
              <a:gd name="connsiteY0" fmla="*/ 869961 h 869961"/>
              <a:gd name="connsiteX1" fmla="*/ 4921424 w 5932574"/>
              <a:gd name="connsiteY1" fmla="*/ 164161 h 869961"/>
              <a:gd name="connsiteX2" fmla="*/ 286860 w 5932574"/>
              <a:gd name="connsiteY2" fmla="*/ 184243 h 869961"/>
              <a:gd name="connsiteX3" fmla="*/ 82906 w 5932574"/>
              <a:gd name="connsiteY3" fmla="*/ 222081 h 869961"/>
              <a:gd name="connsiteX0" fmla="*/ 5849668 w 5849668"/>
              <a:gd name="connsiteY0" fmla="*/ 954477 h 954477"/>
              <a:gd name="connsiteX1" fmla="*/ 4838518 w 5849668"/>
              <a:gd name="connsiteY1" fmla="*/ 248677 h 954477"/>
              <a:gd name="connsiteX2" fmla="*/ 954725 w 5849668"/>
              <a:gd name="connsiteY2" fmla="*/ 153257 h 954477"/>
              <a:gd name="connsiteX3" fmla="*/ 0 w 5849668"/>
              <a:gd name="connsiteY3" fmla="*/ 306597 h 954477"/>
              <a:gd name="connsiteX0" fmla="*/ 5522410 w 5522410"/>
              <a:gd name="connsiteY0" fmla="*/ 954477 h 954477"/>
              <a:gd name="connsiteX1" fmla="*/ 4511260 w 5522410"/>
              <a:gd name="connsiteY1" fmla="*/ 248677 h 954477"/>
              <a:gd name="connsiteX2" fmla="*/ 627467 w 5522410"/>
              <a:gd name="connsiteY2" fmla="*/ 153257 h 954477"/>
              <a:gd name="connsiteX3" fmla="*/ 0 w 5522410"/>
              <a:gd name="connsiteY3" fmla="*/ 826361 h 954477"/>
              <a:gd name="connsiteX0" fmla="*/ 5522410 w 5522410"/>
              <a:gd name="connsiteY0" fmla="*/ 984739 h 984739"/>
              <a:gd name="connsiteX1" fmla="*/ 4511260 w 5522410"/>
              <a:gd name="connsiteY1" fmla="*/ 278939 h 984739"/>
              <a:gd name="connsiteX2" fmla="*/ 550464 w 5522410"/>
              <a:gd name="connsiteY2" fmla="*/ 145017 h 984739"/>
              <a:gd name="connsiteX3" fmla="*/ 0 w 5522410"/>
              <a:gd name="connsiteY3" fmla="*/ 856623 h 984739"/>
              <a:gd name="connsiteX0" fmla="*/ 5907420 w 5907420"/>
              <a:gd name="connsiteY0" fmla="*/ 984739 h 984739"/>
              <a:gd name="connsiteX1" fmla="*/ 4896270 w 5907420"/>
              <a:gd name="connsiteY1" fmla="*/ 278939 h 984739"/>
              <a:gd name="connsiteX2" fmla="*/ 935474 w 5907420"/>
              <a:gd name="connsiteY2" fmla="*/ 145017 h 984739"/>
              <a:gd name="connsiteX3" fmla="*/ 0 w 5907420"/>
              <a:gd name="connsiteY3" fmla="*/ 394610 h 984739"/>
              <a:gd name="connsiteX0" fmla="*/ 5955634 w 5955634"/>
              <a:gd name="connsiteY0" fmla="*/ 1015806 h 1015806"/>
              <a:gd name="connsiteX1" fmla="*/ 4944484 w 5955634"/>
              <a:gd name="connsiteY1" fmla="*/ 310006 h 1015806"/>
              <a:gd name="connsiteX2" fmla="*/ 309920 w 5955634"/>
              <a:gd name="connsiteY2" fmla="*/ 137584 h 1015806"/>
              <a:gd name="connsiteX3" fmla="*/ 48214 w 5955634"/>
              <a:gd name="connsiteY3" fmla="*/ 425677 h 1015806"/>
              <a:gd name="connsiteX0" fmla="*/ 10373542 w 10373542"/>
              <a:gd name="connsiteY0" fmla="*/ 1015806 h 1015806"/>
              <a:gd name="connsiteX1" fmla="*/ 9362392 w 10373542"/>
              <a:gd name="connsiteY1" fmla="*/ 310006 h 1015806"/>
              <a:gd name="connsiteX2" fmla="*/ 4727828 w 10373542"/>
              <a:gd name="connsiteY2" fmla="*/ 137584 h 1015806"/>
              <a:gd name="connsiteX3" fmla="*/ 0 w 10373542"/>
              <a:gd name="connsiteY3" fmla="*/ 98418 h 1015806"/>
              <a:gd name="connsiteX0" fmla="*/ 5947537 w 5947537"/>
              <a:gd name="connsiteY0" fmla="*/ 1015806 h 1015806"/>
              <a:gd name="connsiteX1" fmla="*/ 4936387 w 5947537"/>
              <a:gd name="connsiteY1" fmla="*/ 310006 h 1015806"/>
              <a:gd name="connsiteX2" fmla="*/ 301823 w 5947537"/>
              <a:gd name="connsiteY2" fmla="*/ 137584 h 1015806"/>
              <a:gd name="connsiteX3" fmla="*/ 59367 w 5947537"/>
              <a:gd name="connsiteY3" fmla="*/ 329425 h 1015806"/>
            </a:gdLst>
            <a:ahLst/>
            <a:cxnLst>
              <a:cxn ang="0">
                <a:pos x="connsiteX0" y="connsiteY0"/>
              </a:cxn>
              <a:cxn ang="0">
                <a:pos x="connsiteX1" y="connsiteY1"/>
              </a:cxn>
              <a:cxn ang="0">
                <a:pos x="connsiteX2" y="connsiteY2"/>
              </a:cxn>
              <a:cxn ang="0">
                <a:pos x="connsiteX3" y="connsiteY3"/>
              </a:cxn>
            </a:cxnLst>
            <a:rect l="l" t="t" r="r" b="b"/>
            <a:pathLst>
              <a:path w="5947537" h="1015806">
                <a:moveTo>
                  <a:pt x="5947537" y="1015806"/>
                </a:moveTo>
                <a:cubicBezTo>
                  <a:pt x="5540261" y="713633"/>
                  <a:pt x="5877339" y="456376"/>
                  <a:pt x="4936387" y="310006"/>
                </a:cubicBezTo>
                <a:cubicBezTo>
                  <a:pt x="3995435" y="163636"/>
                  <a:pt x="848361" y="-196119"/>
                  <a:pt x="301823" y="137584"/>
                </a:cubicBezTo>
                <a:cubicBezTo>
                  <a:pt x="-244715" y="471287"/>
                  <a:pt x="132939" y="166515"/>
                  <a:pt x="59367" y="329425"/>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4" name="Oval 693"/>
          <p:cNvSpPr/>
          <p:nvPr/>
        </p:nvSpPr>
        <p:spPr>
          <a:xfrm>
            <a:off x="1925622" y="3020054"/>
            <a:ext cx="228600" cy="228600"/>
          </a:xfrm>
          <a:prstGeom prst="ellipse">
            <a:avLst/>
          </a:prstGeom>
          <a:solidFill>
            <a:srgbClr val="00B050"/>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95" name="Straight Connector 694"/>
          <p:cNvCxnSpPr/>
          <p:nvPr/>
        </p:nvCxnSpPr>
        <p:spPr>
          <a:xfrm>
            <a:off x="1058333" y="3128632"/>
            <a:ext cx="927522" cy="1475"/>
          </a:xfrm>
          <a:prstGeom prst="line">
            <a:avLst/>
          </a:prstGeom>
          <a:ln w="19050">
            <a:solidFill>
              <a:srgbClr val="00B050"/>
            </a:solidFill>
            <a:tailEnd type="oval" w="lg" len="lg"/>
          </a:ln>
        </p:spPr>
        <p:style>
          <a:lnRef idx="1">
            <a:schemeClr val="accent1"/>
          </a:lnRef>
          <a:fillRef idx="0">
            <a:schemeClr val="accent1"/>
          </a:fillRef>
          <a:effectRef idx="0">
            <a:schemeClr val="accent1"/>
          </a:effectRef>
          <a:fontRef idx="minor">
            <a:schemeClr val="tx1"/>
          </a:fontRef>
        </p:style>
      </p:cxnSp>
      <p:sp>
        <p:nvSpPr>
          <p:cNvPr id="696" name="TextBox 695"/>
          <p:cNvSpPr txBox="1"/>
          <p:nvPr/>
        </p:nvSpPr>
        <p:spPr>
          <a:xfrm>
            <a:off x="226083" y="2928273"/>
            <a:ext cx="1116274" cy="65402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North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0%</a:t>
            </a:r>
          </a:p>
        </p:txBody>
      </p:sp>
      <p:sp>
        <p:nvSpPr>
          <p:cNvPr id="701" name="TextBox 700">
            <a:extLst>
              <a:ext uri="{FF2B5EF4-FFF2-40B4-BE49-F238E27FC236}">
                <a16:creationId xmlns:a16="http://schemas.microsoft.com/office/drawing/2014/main" id="{D061B491-9398-4CBF-A9F0-9BA8A5C4692C}"/>
              </a:ext>
            </a:extLst>
          </p:cNvPr>
          <p:cNvSpPr txBox="1"/>
          <p:nvPr/>
        </p:nvSpPr>
        <p:spPr>
          <a:xfrm>
            <a:off x="1144034" y="6409997"/>
            <a:ext cx="9341878" cy="430871"/>
          </a:xfrm>
          <a:prstGeom prst="rect">
            <a:avLst/>
          </a:prstGeom>
          <a:noFill/>
        </p:spPr>
        <p:txBody>
          <a:bodyPr wrap="square" lIns="91421" tIns="45712" rIns="91421" bIns="45712" rtlCol="0">
            <a:spAutoFit/>
          </a:bodyPr>
          <a:lstStyle/>
          <a:p>
            <a:pPr lvl="0">
              <a:defRPr/>
            </a:pPr>
            <a:r>
              <a:rPr lang="en-IN" sz="1100" b="1" i="1" dirty="0">
                <a:solidFill>
                  <a:prstClr val="black"/>
                </a:solidFill>
                <a:latin typeface="Arial" panose="020B0604020202020204" pitchFamily="34" charset="0"/>
                <a:cs typeface="Arial" panose="020B0604020202020204" pitchFamily="34" charset="0"/>
              </a:rPr>
              <a:t>Note: Represents volume data for FY21 exports, % in dotted boxes indicates change in share from FY20 to FY 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DGFT, CRISIL Research</a:t>
            </a:r>
          </a:p>
        </p:txBody>
      </p:sp>
      <p:grpSp>
        <p:nvGrpSpPr>
          <p:cNvPr id="683" name="Group 682"/>
          <p:cNvGrpSpPr/>
          <p:nvPr/>
        </p:nvGrpSpPr>
        <p:grpSpPr>
          <a:xfrm>
            <a:off x="5337166" y="1574789"/>
            <a:ext cx="758639" cy="326275"/>
            <a:chOff x="5143222" y="5525471"/>
            <a:chExt cx="580303" cy="326275"/>
          </a:xfrm>
        </p:grpSpPr>
        <p:sp>
          <p:nvSpPr>
            <p:cNvPr id="685" name="TextBox 684"/>
            <p:cNvSpPr txBox="1"/>
            <p:nvPr/>
          </p:nvSpPr>
          <p:spPr>
            <a:xfrm>
              <a:off x="5161883" y="5549221"/>
              <a:ext cx="40856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pitchFamily="34" charset="0"/>
                  <a:cs typeface="Arial" panose="020B0604020202020204" pitchFamily="34" charset="0"/>
                </a:rPr>
                <a:t>0.2</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687" name="Rounded Rectangle 686"/>
            <p:cNvSpPr/>
            <p:nvPr/>
          </p:nvSpPr>
          <p:spPr>
            <a:xfrm>
              <a:off x="5143222" y="5525471"/>
              <a:ext cx="580303"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88" name="Isosceles Triangle 687"/>
          <p:cNvSpPr/>
          <p:nvPr/>
        </p:nvSpPr>
        <p:spPr>
          <a:xfrm flipH="1">
            <a:off x="5830138" y="1648765"/>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86" name="Group 685">
            <a:extLst>
              <a:ext uri="{FF2B5EF4-FFF2-40B4-BE49-F238E27FC236}">
                <a16:creationId xmlns:a16="http://schemas.microsoft.com/office/drawing/2014/main" id="{70303C7A-AFFE-476C-B4B2-2A2071271BA9}"/>
              </a:ext>
            </a:extLst>
          </p:cNvPr>
          <p:cNvGrpSpPr/>
          <p:nvPr/>
        </p:nvGrpSpPr>
        <p:grpSpPr>
          <a:xfrm>
            <a:off x="7307046" y="507962"/>
            <a:ext cx="758639" cy="326275"/>
            <a:chOff x="5143222" y="5525471"/>
            <a:chExt cx="580303" cy="326275"/>
          </a:xfrm>
        </p:grpSpPr>
        <p:sp>
          <p:nvSpPr>
            <p:cNvPr id="689" name="TextBox 688">
              <a:extLst>
                <a:ext uri="{FF2B5EF4-FFF2-40B4-BE49-F238E27FC236}">
                  <a16:creationId xmlns:a16="http://schemas.microsoft.com/office/drawing/2014/main" id="{E3E7BE50-5E82-488F-8C1F-69CF402787D9}"/>
                </a:ext>
              </a:extLst>
            </p:cNvPr>
            <p:cNvSpPr txBox="1"/>
            <p:nvPr/>
          </p:nvSpPr>
          <p:spPr>
            <a:xfrm>
              <a:off x="5161883" y="5549221"/>
              <a:ext cx="40856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r>
                <a:rPr lang="en-US" sz="1200" dirty="0">
                  <a:solidFill>
                    <a:prstClr val="black"/>
                  </a:solidFill>
                  <a:latin typeface="Arial" panose="020B0604020202020204" pitchFamily="34" charset="0"/>
                  <a:cs typeface="Arial" panose="020B0604020202020204" pitchFamily="34" charset="0"/>
                </a:rPr>
                <a:t>2</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690" name="Isosceles Triangle 689">
              <a:extLst>
                <a:ext uri="{FF2B5EF4-FFF2-40B4-BE49-F238E27FC236}">
                  <a16:creationId xmlns:a16="http://schemas.microsoft.com/office/drawing/2014/main" id="{8ED6AD3A-5B2E-45B7-B4AB-2784241D224F}"/>
                </a:ext>
              </a:extLst>
            </p:cNvPr>
            <p:cNvSpPr/>
            <p:nvPr/>
          </p:nvSpPr>
          <p:spPr>
            <a:xfrm flipH="1" flipV="1">
              <a:off x="5511819" y="5615502"/>
              <a:ext cx="139890" cy="18288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1" name="Rounded Rectangle 683">
              <a:extLst>
                <a:ext uri="{FF2B5EF4-FFF2-40B4-BE49-F238E27FC236}">
                  <a16:creationId xmlns:a16="http://schemas.microsoft.com/office/drawing/2014/main" id="{50A1C32D-2DFA-46D9-8855-FEAFE105E68A}"/>
                </a:ext>
              </a:extLst>
            </p:cNvPr>
            <p:cNvSpPr/>
            <p:nvPr/>
          </p:nvSpPr>
          <p:spPr>
            <a:xfrm>
              <a:off x="5143222" y="5525471"/>
              <a:ext cx="580303"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475011528"/>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60717-90A0-4E54-8C47-8E1ACE6EE2EC}"/>
              </a:ext>
            </a:extLst>
          </p:cNvPr>
          <p:cNvSpPr>
            <a:spLocks noGrp="1"/>
          </p:cNvSpPr>
          <p:nvPr>
            <p:ph type="title"/>
          </p:nvPr>
        </p:nvSpPr>
        <p:spPr/>
        <p:txBody>
          <a:bodyPr>
            <a:noAutofit/>
          </a:bodyPr>
          <a:lstStyle/>
          <a:p>
            <a:r>
              <a:rPr lang="en-US" sz="3600" dirty="0"/>
              <a:t>Commercial Vehicles </a:t>
            </a:r>
          </a:p>
        </p:txBody>
      </p:sp>
      <p:sp>
        <p:nvSpPr>
          <p:cNvPr id="4" name="Rectangle 3">
            <a:hlinkClick r:id="rId2" action="ppaction://hlinksldjump"/>
            <a:extLst>
              <a:ext uri="{FF2B5EF4-FFF2-40B4-BE49-F238E27FC236}">
                <a16:creationId xmlns:a16="http://schemas.microsoft.com/office/drawing/2014/main" id="{94423888-A396-423F-A5AD-B302AD0FDD39}"/>
              </a:ext>
            </a:extLst>
          </p:cNvPr>
          <p:cNvSpPr/>
          <p:nvPr/>
        </p:nvSpPr>
        <p:spPr>
          <a:xfrm>
            <a:off x="7949525" y="6390244"/>
            <a:ext cx="3094687"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2" action="ppaction://hlinksldjump"/>
              </a:rPr>
              <a:t>Back to Summary Forecast Slide</a:t>
            </a:r>
            <a:endPar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80025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098" y="197298"/>
            <a:ext cx="11402505" cy="369332"/>
          </a:xfrm>
        </p:spPr>
        <p:txBody>
          <a:bodyPr vert="horz" lIns="0" tIns="0" rIns="0" bIns="0" rtlCol="0" anchor="ctr">
            <a:noAutofit/>
          </a:bodyPr>
          <a:lstStyle/>
          <a:p>
            <a:r>
              <a:rPr lang="en-US" dirty="0">
                <a:solidFill>
                  <a:schemeClr val="tx1"/>
                </a:solidFill>
              </a:rPr>
              <a:t>Overview of end-use segments – cargo</a:t>
            </a:r>
          </a:p>
        </p:txBody>
      </p:sp>
      <p:sp>
        <p:nvSpPr>
          <p:cNvPr id="79" name="Slide Number Placeholder 1"/>
          <p:cNvSpPr txBox="1">
            <a:spLocks/>
          </p:cNvSpPr>
          <p:nvPr/>
        </p:nvSpPr>
        <p:spPr>
          <a:xfrm>
            <a:off x="320225" y="5819245"/>
            <a:ext cx="5321089" cy="223469"/>
          </a:xfrm>
          <a:prstGeom prst="rect">
            <a:avLst/>
          </a:prstGeom>
        </p:spPr>
        <p:txBody>
          <a:bodyPr vert="horz" lIns="76077" tIns="38032" rIns="76077" bIns="38032"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SO, RBI, SIAM and CRISIL estimates E: Estimated; P: Projected </a:t>
            </a:r>
          </a:p>
        </p:txBody>
      </p:sp>
      <p:graphicFrame>
        <p:nvGraphicFramePr>
          <p:cNvPr id="6" name="Table 5"/>
          <p:cNvGraphicFramePr>
            <a:graphicFrameLocks noGrp="1"/>
          </p:cNvGraphicFramePr>
          <p:nvPr/>
        </p:nvGraphicFramePr>
        <p:xfrm>
          <a:off x="408326" y="812278"/>
          <a:ext cx="9939057" cy="465138"/>
        </p:xfrm>
        <a:graphic>
          <a:graphicData uri="http://schemas.openxmlformats.org/drawingml/2006/table">
            <a:tbl>
              <a:tblPr>
                <a:tableStyleId>{073A0DAA-6AF3-43AB-8588-CEC1D06C72B9}</a:tableStyleId>
              </a:tblPr>
              <a:tblGrid>
                <a:gridCol w="3053833">
                  <a:extLst>
                    <a:ext uri="{9D8B030D-6E8A-4147-A177-3AD203B41FA5}">
                      <a16:colId xmlns:a16="http://schemas.microsoft.com/office/drawing/2014/main" val="20000"/>
                    </a:ext>
                  </a:extLst>
                </a:gridCol>
                <a:gridCol w="1332858">
                  <a:extLst>
                    <a:ext uri="{9D8B030D-6E8A-4147-A177-3AD203B41FA5}">
                      <a16:colId xmlns:a16="http://schemas.microsoft.com/office/drawing/2014/main" val="20001"/>
                    </a:ext>
                  </a:extLst>
                </a:gridCol>
                <a:gridCol w="1164497">
                  <a:extLst>
                    <a:ext uri="{9D8B030D-6E8A-4147-A177-3AD203B41FA5}">
                      <a16:colId xmlns:a16="http://schemas.microsoft.com/office/drawing/2014/main" val="20002"/>
                    </a:ext>
                  </a:extLst>
                </a:gridCol>
                <a:gridCol w="1122407">
                  <a:extLst>
                    <a:ext uri="{9D8B030D-6E8A-4147-A177-3AD203B41FA5}">
                      <a16:colId xmlns:a16="http://schemas.microsoft.com/office/drawing/2014/main" val="20003"/>
                    </a:ext>
                  </a:extLst>
                </a:gridCol>
                <a:gridCol w="1094346">
                  <a:extLst>
                    <a:ext uri="{9D8B030D-6E8A-4147-A177-3AD203B41FA5}">
                      <a16:colId xmlns:a16="http://schemas.microsoft.com/office/drawing/2014/main" val="20004"/>
                    </a:ext>
                  </a:extLst>
                </a:gridCol>
                <a:gridCol w="1052256">
                  <a:extLst>
                    <a:ext uri="{9D8B030D-6E8A-4147-A177-3AD203B41FA5}">
                      <a16:colId xmlns:a16="http://schemas.microsoft.com/office/drawing/2014/main" val="20005"/>
                    </a:ext>
                  </a:extLst>
                </a:gridCol>
                <a:gridCol w="1118860">
                  <a:extLst>
                    <a:ext uri="{9D8B030D-6E8A-4147-A177-3AD203B41FA5}">
                      <a16:colId xmlns:a16="http://schemas.microsoft.com/office/drawing/2014/main" val="20006"/>
                    </a:ext>
                  </a:extLst>
                </a:gridCol>
              </a:tblGrid>
              <a:tr h="465138">
                <a:tc>
                  <a:txBody>
                    <a:bodyPr/>
                    <a:lstStyle/>
                    <a:p>
                      <a:pPr algn="ctr"/>
                      <a:r>
                        <a:rPr lang="en-US" sz="1400" b="1" u="none" strike="noStrike" kern="1200" dirty="0">
                          <a:solidFill>
                            <a:schemeClr val="bg1"/>
                          </a:solidFill>
                          <a:effectLst/>
                          <a:latin typeface="Arial" panose="020B0604020202020204" pitchFamily="34" charset="0"/>
                          <a:cs typeface="Arial" panose="020B0604020202020204" pitchFamily="34" charset="0"/>
                        </a:rPr>
                        <a:t>Segments</a:t>
                      </a:r>
                    </a:p>
                    <a:p>
                      <a:pPr marL="0" marR="0" indent="0" algn="ctr" defTabSz="1097280" rtl="0" eaLnBrk="1" fontAlgn="auto" latinLnBrk="0" hangingPunct="1">
                        <a:lnSpc>
                          <a:spcPct val="100000"/>
                        </a:lnSpc>
                        <a:spcBef>
                          <a:spcPts val="0"/>
                        </a:spcBef>
                        <a:spcAft>
                          <a:spcPts val="0"/>
                        </a:spcAft>
                        <a:buClrTx/>
                        <a:buSzTx/>
                        <a:buFontTx/>
                        <a:buNone/>
                        <a:tabLst/>
                        <a:defRPr/>
                      </a:pPr>
                      <a:r>
                        <a:rPr lang="en-US" sz="1400" b="1" u="none" strike="noStrike" kern="1200" dirty="0">
                          <a:solidFill>
                            <a:schemeClr val="bg1"/>
                          </a:solidFill>
                          <a:effectLst/>
                          <a:latin typeface="Arial" panose="020B0604020202020204" pitchFamily="34" charset="0"/>
                          <a:cs typeface="Arial" panose="020B0604020202020204" pitchFamily="34" charset="0"/>
                        </a:rPr>
                        <a:t> (% Growth Y-o-Y) </a:t>
                      </a:r>
                      <a:r>
                        <a:rPr lang="en-GB" sz="1400" b="1" u="none" strike="noStrike" dirty="0">
                          <a:solidFill>
                            <a:schemeClr val="bg1"/>
                          </a:solidFill>
                          <a:effectLst/>
                          <a:latin typeface="Arial" panose="020B0604020202020204" pitchFamily="34" charset="0"/>
                          <a:cs typeface="Arial" panose="020B0604020202020204" pitchFamily="34" charset="0"/>
                        </a:rPr>
                        <a:t> </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18</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19</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0</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1 </a:t>
                      </a: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2 P</a:t>
                      </a: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3 P</a:t>
                      </a:r>
                    </a:p>
                  </a:txBody>
                  <a:tcPr marL="9526" marR="9526" marT="9526" marB="0" anchor="ctr">
                    <a:solidFill>
                      <a:schemeClr val="accent2"/>
                    </a:solidFill>
                  </a:tcPr>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nvGraphicFramePr>
        <p:xfrm>
          <a:off x="418802" y="3635152"/>
          <a:ext cx="9943818" cy="2132280"/>
        </p:xfrm>
        <a:graphic>
          <a:graphicData uri="http://schemas.openxmlformats.org/drawingml/2006/table">
            <a:tbl>
              <a:tblPr>
                <a:tableStyleId>{073A0DAA-6AF3-43AB-8588-CEC1D06C72B9}</a:tableStyleId>
              </a:tblPr>
              <a:tblGrid>
                <a:gridCol w="3054988">
                  <a:extLst>
                    <a:ext uri="{9D8B030D-6E8A-4147-A177-3AD203B41FA5}">
                      <a16:colId xmlns:a16="http://schemas.microsoft.com/office/drawing/2014/main" val="20000"/>
                    </a:ext>
                  </a:extLst>
                </a:gridCol>
                <a:gridCol w="1342851">
                  <a:extLst>
                    <a:ext uri="{9D8B030D-6E8A-4147-A177-3AD203B41FA5}">
                      <a16:colId xmlns:a16="http://schemas.microsoft.com/office/drawing/2014/main" val="20001"/>
                    </a:ext>
                  </a:extLst>
                </a:gridCol>
                <a:gridCol w="1154852">
                  <a:extLst>
                    <a:ext uri="{9D8B030D-6E8A-4147-A177-3AD203B41FA5}">
                      <a16:colId xmlns:a16="http://schemas.microsoft.com/office/drawing/2014/main" val="20002"/>
                    </a:ext>
                  </a:extLst>
                </a:gridCol>
                <a:gridCol w="1127997">
                  <a:extLst>
                    <a:ext uri="{9D8B030D-6E8A-4147-A177-3AD203B41FA5}">
                      <a16:colId xmlns:a16="http://schemas.microsoft.com/office/drawing/2014/main" val="20003"/>
                    </a:ext>
                  </a:extLst>
                </a:gridCol>
                <a:gridCol w="1087710">
                  <a:extLst>
                    <a:ext uri="{9D8B030D-6E8A-4147-A177-3AD203B41FA5}">
                      <a16:colId xmlns:a16="http://schemas.microsoft.com/office/drawing/2014/main" val="20004"/>
                    </a:ext>
                  </a:extLst>
                </a:gridCol>
                <a:gridCol w="1047425">
                  <a:extLst>
                    <a:ext uri="{9D8B030D-6E8A-4147-A177-3AD203B41FA5}">
                      <a16:colId xmlns:a16="http://schemas.microsoft.com/office/drawing/2014/main" val="20005"/>
                    </a:ext>
                  </a:extLst>
                </a:gridCol>
                <a:gridCol w="1127995">
                  <a:extLst>
                    <a:ext uri="{9D8B030D-6E8A-4147-A177-3AD203B41FA5}">
                      <a16:colId xmlns:a16="http://schemas.microsoft.com/office/drawing/2014/main" val="20006"/>
                    </a:ext>
                  </a:extLst>
                </a:gridCol>
              </a:tblGrid>
              <a:tr h="317500">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Two-wheelers (domestic sales)</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14.8</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kern="1200" dirty="0">
                          <a:solidFill>
                            <a:schemeClr val="accent1"/>
                          </a:solidFill>
                          <a:effectLst/>
                          <a:latin typeface="Arial" panose="020B0604020202020204" pitchFamily="34" charset="0"/>
                          <a:ea typeface="+mn-ea"/>
                          <a:cs typeface="Arial" panose="020B0604020202020204" pitchFamily="34" charset="0"/>
                        </a:rPr>
                        <a:t>5</a:t>
                      </a:r>
                      <a:r>
                        <a:rPr lang="en-GB" sz="1500" b="1" u="none" strike="noStrike" dirty="0">
                          <a:solidFill>
                            <a:srgbClr val="00B050"/>
                          </a:solidFill>
                          <a:effectLst/>
                          <a:latin typeface="Arial" panose="020B0604020202020204" pitchFamily="34" charset="0"/>
                          <a:cs typeface="Arial" panose="020B0604020202020204" pitchFamily="34" charset="0"/>
                        </a:rPr>
                        <a:t> </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u="none" strike="noStrike" kern="1200" dirty="0">
                          <a:solidFill>
                            <a:srgbClr val="C00000"/>
                          </a:solidFill>
                          <a:effectLst/>
                          <a:latin typeface="Arial" panose="020B0604020202020204" pitchFamily="34" charset="0"/>
                          <a:ea typeface="+mn-ea"/>
                          <a:cs typeface="Arial" panose="020B0604020202020204" pitchFamily="34" charset="0"/>
                        </a:rPr>
                        <a:t>(18)</a:t>
                      </a:r>
                    </a:p>
                  </a:txBody>
                  <a:tcPr marL="9526" marR="9526" marT="9526"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C00000"/>
                          </a:solidFill>
                          <a:effectLst/>
                          <a:latin typeface="Arial" panose="020B0604020202020204" pitchFamily="34" charset="0"/>
                          <a:ea typeface="+mn-ea"/>
                          <a:cs typeface="Arial" panose="020B0604020202020204" pitchFamily="34" charset="0"/>
                        </a:rPr>
                        <a:t>(13)</a:t>
                      </a:r>
                    </a:p>
                  </a:txBody>
                  <a:tcPr marL="68580" marR="68580" marT="0"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C00000"/>
                          </a:solidFill>
                          <a:effectLst/>
                          <a:latin typeface="Arial" panose="020B0604020202020204" pitchFamily="34" charset="0"/>
                          <a:ea typeface="+mn-ea"/>
                          <a:cs typeface="Arial" panose="020B0604020202020204" pitchFamily="34" charset="0"/>
                        </a:rPr>
                        <a:t>(9)-(7)</a:t>
                      </a:r>
                    </a:p>
                  </a:txBody>
                  <a:tcPr marL="68580" marR="68580" marT="0"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FFC000"/>
                          </a:solidFill>
                          <a:effectLst/>
                          <a:latin typeface="Arial" panose="020B0604020202020204" pitchFamily="34" charset="0"/>
                          <a:ea typeface="+mn-ea"/>
                          <a:cs typeface="Arial" panose="020B0604020202020204" pitchFamily="34" charset="0"/>
                        </a:rPr>
                        <a:t>4-6</a:t>
                      </a:r>
                    </a:p>
                  </a:txBody>
                  <a:tcPr marL="68580" marR="68580"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546100">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Passenger vehicles (domestic sales)</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8</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dirty="0">
                          <a:solidFill>
                            <a:srgbClr val="C00000"/>
                          </a:solidFill>
                          <a:effectLst/>
                          <a:latin typeface="Arial" panose="020B0604020202020204" pitchFamily="34" charset="0"/>
                          <a:cs typeface="Arial" panose="020B0604020202020204" pitchFamily="34" charset="0"/>
                        </a:rPr>
                        <a:t>3</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kern="1200" dirty="0">
                          <a:solidFill>
                            <a:srgbClr val="C00000"/>
                          </a:solidFill>
                          <a:effectLst/>
                          <a:latin typeface="Arial" panose="020B0604020202020204" pitchFamily="34" charset="0"/>
                          <a:ea typeface="+mn-ea"/>
                          <a:cs typeface="Arial" panose="020B0604020202020204" pitchFamily="34" charset="0"/>
                        </a:rPr>
                        <a:t>(18)</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C00000"/>
                          </a:solidFill>
                          <a:effectLst/>
                          <a:latin typeface="Arial" panose="020B0604020202020204" pitchFamily="34" charset="0"/>
                          <a:ea typeface="+mn-ea"/>
                          <a:cs typeface="Arial" panose="020B0604020202020204" pitchFamily="34" charset="0"/>
                        </a:rPr>
                        <a:t>(2)</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00B050"/>
                          </a:solidFill>
                          <a:effectLst/>
                          <a:latin typeface="Arial" panose="020B0604020202020204" pitchFamily="34" charset="0"/>
                          <a:ea typeface="+mn-ea"/>
                          <a:cs typeface="Arial" panose="020B0604020202020204" pitchFamily="34" charset="0"/>
                        </a:rPr>
                        <a:t>13</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00B050"/>
                          </a:solidFill>
                          <a:effectLst/>
                          <a:latin typeface="Arial" panose="020B0604020202020204" pitchFamily="34" charset="0"/>
                          <a:ea typeface="+mn-ea"/>
                          <a:cs typeface="Arial" panose="020B0604020202020204" pitchFamily="34" charset="0"/>
                        </a:rPr>
                        <a:t>12-14</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46100">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Consumer durables (consumption)</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marL="0" algn="ctr" defTabSz="1097280" rtl="0" eaLnBrk="1" fontAlgn="ctr" latinLnBrk="0" hangingPunct="1"/>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5.8</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7</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ea typeface="+mn-ea"/>
                          <a:cs typeface="Arial" panose="020B0604020202020204" pitchFamily="34" charset="0"/>
                        </a:rPr>
                        <a:t>5</a:t>
                      </a:r>
                      <a:endParaRPr lang="en-GB" sz="1500" b="1" u="none" strike="noStrike" kern="1200" dirty="0">
                        <a:solidFill>
                          <a:srgbClr val="00B05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ea typeface="+mn-ea"/>
                          <a:cs typeface="Arial" panose="020B0604020202020204" pitchFamily="34" charset="0"/>
                        </a:rPr>
                        <a:t> </a:t>
                      </a:r>
                      <a:r>
                        <a:rPr lang="en-US" sz="1500" b="1" u="none" strike="noStrike" kern="1200" dirty="0">
                          <a:solidFill>
                            <a:srgbClr val="C00000"/>
                          </a:solidFill>
                          <a:effectLst/>
                          <a:latin typeface="Arial" panose="020B0604020202020204" pitchFamily="34" charset="0"/>
                          <a:ea typeface="+mn-ea"/>
                          <a:cs typeface="Arial" panose="020B0604020202020204" pitchFamily="34" charset="0"/>
                        </a:rPr>
                        <a:t>(17)</a:t>
                      </a:r>
                      <a:endParaRPr lang="en-GB" sz="1500" b="1" u="none" strike="noStrike" kern="1200" dirty="0">
                        <a:solidFill>
                          <a:srgbClr val="C0000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ea typeface="+mn-ea"/>
                          <a:cs typeface="Arial" panose="020B0604020202020204" pitchFamily="34" charset="0"/>
                        </a:rPr>
                        <a:t> 12-17</a:t>
                      </a:r>
                      <a:endParaRPr lang="en-GB" sz="1500" b="1" u="none" strike="noStrike" kern="1200" dirty="0">
                        <a:solidFill>
                          <a:srgbClr val="00B05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ea typeface="+mn-ea"/>
                          <a:cs typeface="Arial" panose="020B0604020202020204" pitchFamily="34" charset="0"/>
                        </a:rPr>
                        <a:t> 8-13</a:t>
                      </a:r>
                      <a:endParaRPr lang="en-GB" sz="1500" b="1" u="none" strike="noStrike" kern="1200" dirty="0">
                        <a:solidFill>
                          <a:srgbClr val="00B05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61290">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E-retail</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35 </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35-37</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23</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C00000"/>
                          </a:solidFill>
                          <a:effectLst/>
                          <a:latin typeface="Arial" panose="020B0604020202020204" pitchFamily="34" charset="0"/>
                          <a:cs typeface="Arial" panose="020B0604020202020204" pitchFamily="34" charset="0"/>
                        </a:rPr>
                        <a:t> </a:t>
                      </a:r>
                      <a:r>
                        <a:rPr lang="en-US" sz="1500" b="1" i="0" u="none" strike="noStrike" dirty="0">
                          <a:solidFill>
                            <a:srgbClr val="FFC000"/>
                          </a:solidFill>
                          <a:effectLst/>
                          <a:latin typeface="Arial" panose="020B0604020202020204" pitchFamily="34" charset="0"/>
                          <a:cs typeface="Arial" panose="020B0604020202020204" pitchFamily="34" charset="0"/>
                        </a:rPr>
                        <a:t>13</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27</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25-30</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61290">
                <a:tc>
                  <a:txBody>
                    <a:bodyPr/>
                    <a:lstStyle/>
                    <a:p>
                      <a:pPr marL="0" marR="0" lvl="0" indent="0" algn="l" defTabSz="1097280" rtl="0" eaLnBrk="1" fontAlgn="ctr" latinLnBrk="0" hangingPunct="1">
                        <a:lnSpc>
                          <a:spcPct val="100000"/>
                        </a:lnSpc>
                        <a:spcBef>
                          <a:spcPts val="0"/>
                        </a:spcBef>
                        <a:spcAft>
                          <a:spcPts val="0"/>
                        </a:spcAft>
                        <a:buClrTx/>
                        <a:buSzTx/>
                        <a:buFontTx/>
                        <a:buNone/>
                        <a:tabLst/>
                        <a:defRPr/>
                      </a:pPr>
                      <a:r>
                        <a:rPr lang="en-US" sz="1500" b="1" i="0" u="none" strike="noStrike" kern="1200" dirty="0">
                          <a:solidFill>
                            <a:srgbClr val="000000"/>
                          </a:solidFill>
                          <a:effectLst/>
                          <a:latin typeface="Arial" panose="020B0604020202020204" pitchFamily="34" charset="0"/>
                          <a:ea typeface="+mn-ea"/>
                          <a:cs typeface="Arial" panose="020B0604020202020204" pitchFamily="34" charset="0"/>
                        </a:rPr>
                        <a:t>RMG (</a:t>
                      </a:r>
                      <a:r>
                        <a:rPr lang="en-US" sz="1500" b="1" dirty="0">
                          <a:solidFill>
                            <a:schemeClr val="tx1"/>
                          </a:solidFill>
                          <a:latin typeface="Arial" panose="020B0604020202020204" pitchFamily="34" charset="0"/>
                          <a:cs typeface="Arial" panose="020B0604020202020204" pitchFamily="34" charset="0"/>
                        </a:rPr>
                        <a:t>market size)</a:t>
                      </a:r>
                      <a:endParaRPr lang="en-US" sz="15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68</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1097280" rtl="0" eaLnBrk="1" fontAlgn="ctr" latinLnBrk="0" hangingPunct="1">
                        <a:lnSpc>
                          <a:spcPct val="100000"/>
                        </a:lnSpc>
                        <a:spcBef>
                          <a:spcPts val="0"/>
                        </a:spcBef>
                        <a:spcAft>
                          <a:spcPts val="0"/>
                        </a:spcAft>
                        <a:buClrTx/>
                        <a:buSzTx/>
                        <a:buFontTx/>
                        <a:buNone/>
                        <a:tabLst/>
                        <a:defRPr/>
                      </a:pPr>
                      <a:r>
                        <a:rPr lang="en-GB" sz="1500" b="1" u="none" strike="noStrike" kern="1200" dirty="0">
                          <a:solidFill>
                            <a:srgbClr val="C00000"/>
                          </a:solidFill>
                          <a:effectLst/>
                          <a:latin typeface="Arial" panose="020B0604020202020204" pitchFamily="34" charset="0"/>
                          <a:ea typeface="+mn-ea"/>
                          <a:cs typeface="Arial" panose="020B0604020202020204" pitchFamily="34" charset="0"/>
                        </a:rPr>
                        <a:t>(2)</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1097280" rtl="0" eaLnBrk="1" fontAlgn="ctr" latinLnBrk="0" hangingPunct="1">
                        <a:lnSpc>
                          <a:spcPct val="100000"/>
                        </a:lnSpc>
                        <a:spcBef>
                          <a:spcPts val="0"/>
                        </a:spcBef>
                        <a:spcAft>
                          <a:spcPts val="0"/>
                        </a:spcAft>
                        <a:buClrTx/>
                        <a:buSzTx/>
                        <a:buFontTx/>
                        <a:buNone/>
                        <a:tabLst/>
                        <a:defRPr/>
                      </a:pPr>
                      <a:r>
                        <a:rPr lang="en-GB" sz="1500" b="1" u="none" strike="noStrike" kern="1200" dirty="0">
                          <a:solidFill>
                            <a:srgbClr val="C00000"/>
                          </a:solidFill>
                          <a:effectLst/>
                          <a:latin typeface="Arial" panose="020B0604020202020204" pitchFamily="34" charset="0"/>
                          <a:ea typeface="+mn-ea"/>
                          <a:cs typeface="Arial" panose="020B0604020202020204" pitchFamily="34" charset="0"/>
                        </a:rPr>
                        <a:t>(2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1097280" rtl="0" eaLnBrk="1" fontAlgn="ctr" latinLnBrk="0" hangingPunct="1">
                        <a:lnSpc>
                          <a:spcPct val="100000"/>
                        </a:lnSpc>
                        <a:spcBef>
                          <a:spcPts val="0"/>
                        </a:spcBef>
                        <a:spcAft>
                          <a:spcPts val="0"/>
                        </a:spcAft>
                        <a:buClrTx/>
                        <a:buSzTx/>
                        <a:buFontTx/>
                        <a:buNone/>
                        <a:tabLst/>
                        <a:defRPr/>
                      </a:pPr>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1</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1097280" rtl="0" eaLnBrk="1" fontAlgn="ctr" latinLnBrk="0" hangingPunct="1">
                        <a:lnSpc>
                          <a:spcPct val="100000"/>
                        </a:lnSpc>
                        <a:spcBef>
                          <a:spcPts val="0"/>
                        </a:spcBef>
                        <a:spcAft>
                          <a:spcPts val="0"/>
                        </a:spcAft>
                        <a:buClrTx/>
                        <a:buSzTx/>
                        <a:buFontTx/>
                        <a:buNone/>
                        <a:tabLst/>
                        <a:defRPr/>
                      </a:pPr>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14-16</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graphicFrame>
        <p:nvGraphicFramePr>
          <p:cNvPr id="9" name="Table 8"/>
          <p:cNvGraphicFramePr>
            <a:graphicFrameLocks noGrp="1"/>
          </p:cNvGraphicFramePr>
          <p:nvPr/>
        </p:nvGraphicFramePr>
        <p:xfrm>
          <a:off x="410653" y="1287539"/>
          <a:ext cx="9936727" cy="2228910"/>
        </p:xfrm>
        <a:graphic>
          <a:graphicData uri="http://schemas.openxmlformats.org/drawingml/2006/table">
            <a:tbl>
              <a:tblPr>
                <a:tableStyleId>{073A0DAA-6AF3-43AB-8588-CEC1D06C72B9}</a:tableStyleId>
              </a:tblPr>
              <a:tblGrid>
                <a:gridCol w="3048767">
                  <a:extLst>
                    <a:ext uri="{9D8B030D-6E8A-4147-A177-3AD203B41FA5}">
                      <a16:colId xmlns:a16="http://schemas.microsoft.com/office/drawing/2014/main" val="20000"/>
                    </a:ext>
                  </a:extLst>
                </a:gridCol>
                <a:gridCol w="1319024">
                  <a:extLst>
                    <a:ext uri="{9D8B030D-6E8A-4147-A177-3AD203B41FA5}">
                      <a16:colId xmlns:a16="http://schemas.microsoft.com/office/drawing/2014/main" val="20001"/>
                    </a:ext>
                  </a:extLst>
                </a:gridCol>
                <a:gridCol w="1173844">
                  <a:extLst>
                    <a:ext uri="{9D8B030D-6E8A-4147-A177-3AD203B41FA5}">
                      <a16:colId xmlns:a16="http://schemas.microsoft.com/office/drawing/2014/main" val="20002"/>
                    </a:ext>
                  </a:extLst>
                </a:gridCol>
                <a:gridCol w="1125451">
                  <a:extLst>
                    <a:ext uri="{9D8B030D-6E8A-4147-A177-3AD203B41FA5}">
                      <a16:colId xmlns:a16="http://schemas.microsoft.com/office/drawing/2014/main" val="20003"/>
                    </a:ext>
                  </a:extLst>
                </a:gridCol>
                <a:gridCol w="1099393">
                  <a:extLst>
                    <a:ext uri="{9D8B030D-6E8A-4147-A177-3AD203B41FA5}">
                      <a16:colId xmlns:a16="http://schemas.microsoft.com/office/drawing/2014/main" val="20004"/>
                    </a:ext>
                  </a:extLst>
                </a:gridCol>
                <a:gridCol w="1037351">
                  <a:extLst>
                    <a:ext uri="{9D8B030D-6E8A-4147-A177-3AD203B41FA5}">
                      <a16:colId xmlns:a16="http://schemas.microsoft.com/office/drawing/2014/main" val="20005"/>
                    </a:ext>
                  </a:extLst>
                </a:gridCol>
                <a:gridCol w="1132897">
                  <a:extLst>
                    <a:ext uri="{9D8B030D-6E8A-4147-A177-3AD203B41FA5}">
                      <a16:colId xmlns:a16="http://schemas.microsoft.com/office/drawing/2014/main" val="20006"/>
                    </a:ext>
                  </a:extLst>
                </a:gridCol>
              </a:tblGrid>
              <a:tr h="371485">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Coal (production)</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US" sz="1500" b="1" u="none" strike="noStrike" dirty="0">
                          <a:solidFill>
                            <a:srgbClr val="C00000"/>
                          </a:solidFill>
                          <a:effectLst/>
                          <a:latin typeface="Arial" panose="020B0604020202020204" pitchFamily="34" charset="0"/>
                          <a:cs typeface="Arial" panose="020B0604020202020204" pitchFamily="34" charset="0"/>
                        </a:rPr>
                        <a:t>2.0</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dirty="0">
                          <a:solidFill>
                            <a:srgbClr val="00B050"/>
                          </a:solidFill>
                          <a:effectLst/>
                          <a:latin typeface="Arial" panose="020B0604020202020204" pitchFamily="34" charset="0"/>
                          <a:cs typeface="Arial" panose="020B0604020202020204" pitchFamily="34" charset="0"/>
                        </a:rPr>
                        <a:t>7</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FFC000"/>
                          </a:solidFill>
                          <a:effectLst/>
                          <a:latin typeface="Arial" panose="020B0604020202020204" pitchFamily="34" charset="0"/>
                          <a:cs typeface="Arial" panose="020B0604020202020204" pitchFamily="34" charset="0"/>
                        </a:rPr>
                        <a:t>0</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C00000"/>
                          </a:solidFill>
                          <a:effectLst/>
                          <a:latin typeface="Arial" panose="020B0604020202020204" pitchFamily="34" charset="0"/>
                          <a:cs typeface="Arial" panose="020B0604020202020204" pitchFamily="34" charset="0"/>
                        </a:rPr>
                        <a:t>(4)</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11</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6-8</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71485">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Iron ore (production)</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US" sz="1500" b="1" u="none" strike="noStrike" dirty="0">
                          <a:solidFill>
                            <a:srgbClr val="C00000"/>
                          </a:solidFill>
                          <a:effectLst/>
                          <a:latin typeface="Arial" panose="020B0604020202020204" pitchFamily="34" charset="0"/>
                          <a:cs typeface="Arial" panose="020B0604020202020204" pitchFamily="34" charset="0"/>
                        </a:rPr>
                        <a:t>3</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C00000"/>
                          </a:solidFill>
                          <a:effectLst/>
                          <a:latin typeface="Arial" panose="020B0604020202020204" pitchFamily="34" charset="0"/>
                          <a:cs typeface="Arial" panose="020B0604020202020204" pitchFamily="34" charset="0"/>
                        </a:rPr>
                        <a:t>3</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19</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C00000"/>
                          </a:solidFill>
                          <a:effectLst/>
                          <a:latin typeface="Arial" panose="020B0604020202020204" pitchFamily="34" charset="0"/>
                          <a:cs typeface="Arial" panose="020B0604020202020204" pitchFamily="34" charset="0"/>
                        </a:rPr>
                        <a:t>(17)</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22</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32BF72"/>
                          </a:solidFill>
                          <a:effectLst/>
                          <a:latin typeface="Arial" panose="020B0604020202020204" pitchFamily="34" charset="0"/>
                          <a:cs typeface="Arial" panose="020B0604020202020204" pitchFamily="34" charset="0"/>
                        </a:rPr>
                        <a:t>5-7</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71485">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Steel (consumption)</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US" sz="1500" b="1" u="none" strike="noStrike" dirty="0">
                          <a:solidFill>
                            <a:srgbClr val="00B050"/>
                          </a:solidFill>
                          <a:effectLst/>
                          <a:latin typeface="Arial" panose="020B0604020202020204" pitchFamily="34" charset="0"/>
                          <a:cs typeface="Arial" panose="020B0604020202020204" pitchFamily="34" charset="0"/>
                        </a:rPr>
                        <a:t>8</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9</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2</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C00000"/>
                          </a:solidFill>
                          <a:effectLst/>
                          <a:latin typeface="Arial" panose="020B0604020202020204" pitchFamily="34" charset="0"/>
                          <a:cs typeface="Arial" panose="020B0604020202020204" pitchFamily="34" charset="0"/>
                        </a:rPr>
                        <a:t>(5)</a:t>
                      </a:r>
                      <a:endParaRPr lang="en-GB" sz="1500" b="1" i="0" u="none" strike="noStrike" dirty="0">
                        <a:solidFill>
                          <a:srgbClr val="C00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7</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6-8</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71485">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Cement (consumption)</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US" sz="1500" b="1" u="none" strike="noStrike" dirty="0">
                          <a:solidFill>
                            <a:srgbClr val="00B050"/>
                          </a:solidFill>
                          <a:effectLst/>
                          <a:latin typeface="Arial" panose="020B0604020202020204" pitchFamily="34" charset="0"/>
                          <a:cs typeface="Arial" panose="020B0604020202020204" pitchFamily="34" charset="0"/>
                        </a:rPr>
                        <a:t>9</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12</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kern="1200" dirty="0">
                          <a:solidFill>
                            <a:srgbClr val="C00000"/>
                          </a:solidFill>
                          <a:effectLst/>
                          <a:latin typeface="Arial" panose="020B0604020202020204" pitchFamily="34" charset="0"/>
                          <a:ea typeface="+mn-ea"/>
                          <a:cs typeface="Arial" panose="020B0604020202020204" pitchFamily="34" charset="0"/>
                        </a:rPr>
                        <a:t>(2.4)</a:t>
                      </a:r>
                      <a:endParaRPr lang="en-GB" sz="1500" b="1" u="none" strike="noStrike" kern="1200" dirty="0">
                        <a:solidFill>
                          <a:srgbClr val="C0000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FFC000"/>
                          </a:solidFill>
                          <a:effectLst/>
                          <a:latin typeface="Arial" panose="020B0604020202020204" pitchFamily="34" charset="0"/>
                          <a:cs typeface="Arial" panose="020B0604020202020204" pitchFamily="34" charset="0"/>
                        </a:rPr>
                        <a:t>0.3</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5.8</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32BF72"/>
                          </a:solidFill>
                          <a:effectLst/>
                          <a:latin typeface="Arial" panose="020B0604020202020204" pitchFamily="34" charset="0"/>
                          <a:cs typeface="Arial" panose="020B0604020202020204" pitchFamily="34" charset="0"/>
                        </a:rPr>
                        <a:t>5-7</a:t>
                      </a:r>
                      <a:endParaRPr lang="en-GB" sz="1500" b="1" i="0" u="none" strike="noStrike" dirty="0">
                        <a:solidFill>
                          <a:srgbClr val="32BF72"/>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71485">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Roads (Km constructed / </a:t>
                      </a:r>
                      <a:r>
                        <a:rPr lang="en-US" sz="1500" b="1" u="none" strike="noStrike" kern="1200" baseline="0" dirty="0">
                          <a:effectLst/>
                          <a:latin typeface="Arial" panose="020B0604020202020204" pitchFamily="34" charset="0"/>
                          <a:cs typeface="Arial" panose="020B0604020202020204" pitchFamily="34" charset="0"/>
                        </a:rPr>
                        <a:t>day</a:t>
                      </a:r>
                      <a:r>
                        <a:rPr lang="en-US" sz="1500" b="1" u="none" strike="noStrike" kern="1200" dirty="0">
                          <a:effectLst/>
                          <a:latin typeface="Arial" panose="020B0604020202020204" pitchFamily="34" charset="0"/>
                          <a:cs typeface="Arial" panose="020B0604020202020204" pitchFamily="34" charset="0"/>
                        </a:rPr>
                        <a:t>)</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8</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9</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kern="1200" dirty="0">
                          <a:solidFill>
                            <a:srgbClr val="00B050"/>
                          </a:solidFill>
                          <a:effectLst/>
                          <a:latin typeface="Arial" panose="020B0604020202020204" pitchFamily="34" charset="0"/>
                          <a:ea typeface="+mn-ea"/>
                          <a:cs typeface="Arial" panose="020B0604020202020204" pitchFamily="34" charset="0"/>
                        </a:rPr>
                        <a:t>11</a:t>
                      </a:r>
                      <a:endParaRPr lang="en-GB" sz="1500" b="1" u="none" strike="noStrike" kern="1200" dirty="0">
                        <a:solidFill>
                          <a:srgbClr val="00B05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i="0" u="none" strike="noStrike" kern="1200" dirty="0">
                          <a:solidFill>
                            <a:srgbClr val="00B050"/>
                          </a:solidFill>
                          <a:effectLst/>
                          <a:latin typeface="Arial" panose="020B0604020202020204" pitchFamily="34" charset="0"/>
                          <a:ea typeface="+mn-ea"/>
                          <a:cs typeface="Arial" panose="020B0604020202020204" pitchFamily="34" charset="0"/>
                        </a:rPr>
                        <a:t>11</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i="0" u="none" strike="noStrike" kern="1200" dirty="0">
                          <a:solidFill>
                            <a:srgbClr val="00B050"/>
                          </a:solidFill>
                          <a:effectLst/>
                          <a:latin typeface="Arial" panose="020B0604020202020204" pitchFamily="34" charset="0"/>
                          <a:ea typeface="+mn-ea"/>
                          <a:cs typeface="Arial" panose="020B0604020202020204" pitchFamily="34" charset="0"/>
                        </a:rPr>
                        <a:t>12-13</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i="0" u="none" strike="noStrike" kern="1200" dirty="0">
                          <a:solidFill>
                            <a:srgbClr val="00B050"/>
                          </a:solidFill>
                          <a:effectLst/>
                          <a:latin typeface="Arial" panose="020B0604020202020204" pitchFamily="34" charset="0"/>
                          <a:ea typeface="+mn-ea"/>
                          <a:cs typeface="Arial" panose="020B0604020202020204" pitchFamily="34" charset="0"/>
                        </a:rPr>
                        <a:t>13-14</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71485">
                <a:tc>
                  <a:txBody>
                    <a:bodyPr/>
                    <a:lstStyle/>
                    <a:p>
                      <a:pPr marL="0" algn="l" defTabSz="1097280" rtl="0" eaLnBrk="1" fontAlgn="ctr" latinLnBrk="0" hangingPunct="1"/>
                      <a:r>
                        <a:rPr lang="en-US" sz="1500" b="1" u="none" strike="noStrike" kern="1200" dirty="0">
                          <a:effectLst/>
                          <a:latin typeface="Arial" panose="020B0604020202020204" pitchFamily="34" charset="0"/>
                          <a:cs typeface="Arial" panose="020B0604020202020204" pitchFamily="34" charset="0"/>
                        </a:rPr>
                        <a:t>Port (traffic)</a:t>
                      </a:r>
                      <a:endParaRPr lang="en-US" sz="15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6.5</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kern="1200" dirty="0">
                          <a:solidFill>
                            <a:schemeClr val="accent1"/>
                          </a:solidFill>
                          <a:effectLst/>
                          <a:latin typeface="Arial" panose="020B0604020202020204" pitchFamily="34" charset="0"/>
                          <a:ea typeface="+mn-ea"/>
                          <a:cs typeface="Arial" panose="020B0604020202020204" pitchFamily="34" charset="0"/>
                        </a:rPr>
                        <a:t> </a:t>
                      </a:r>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8.2</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kern="1200" dirty="0">
                          <a:solidFill>
                            <a:srgbClr val="C00000"/>
                          </a:solidFill>
                          <a:effectLst/>
                          <a:latin typeface="Arial" panose="020B0604020202020204" pitchFamily="34" charset="0"/>
                          <a:ea typeface="+mn-ea"/>
                          <a:cs typeface="Arial" panose="020B0604020202020204" pitchFamily="34" charset="0"/>
                        </a:rPr>
                        <a:t>2</a:t>
                      </a:r>
                      <a:endParaRPr lang="en-GB" sz="1500" b="1" u="none" strike="noStrike" kern="1200" dirty="0">
                        <a:solidFill>
                          <a:srgbClr val="C0000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kern="1200" dirty="0">
                          <a:solidFill>
                            <a:srgbClr val="C00000"/>
                          </a:solidFill>
                          <a:effectLst/>
                          <a:latin typeface="Arial" panose="020B0604020202020204" pitchFamily="34" charset="0"/>
                          <a:ea typeface="+mn-ea"/>
                          <a:cs typeface="Arial" panose="020B0604020202020204" pitchFamily="34" charset="0"/>
                        </a:rPr>
                        <a:t>(5.5)</a:t>
                      </a:r>
                      <a:endParaRPr lang="en-GB" sz="1500" b="1" u="none" strike="noStrike" kern="1200" dirty="0">
                        <a:solidFill>
                          <a:srgbClr val="C00000"/>
                        </a:solidFill>
                        <a:effectLst/>
                        <a:latin typeface="Arial" panose="020B0604020202020204" pitchFamily="34" charset="0"/>
                        <a:ea typeface="+mn-ea"/>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5-7</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3-5</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 name="Rectangle 1"/>
          <p:cNvSpPr/>
          <p:nvPr/>
        </p:nvSpPr>
        <p:spPr>
          <a:xfrm>
            <a:off x="10538580" y="814516"/>
            <a:ext cx="1425222" cy="2643884"/>
          </a:xfrm>
          <a:prstGeom prst="rect">
            <a:avLst/>
          </a:prstGeom>
          <a:solidFill>
            <a:schemeClr val="accent4">
              <a:lumMod val="40000"/>
              <a:lumOff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re Sectors </a:t>
            </a:r>
          </a:p>
        </p:txBody>
      </p:sp>
      <p:sp>
        <p:nvSpPr>
          <p:cNvPr id="12" name="Rectangle 11"/>
          <p:cNvSpPr/>
          <p:nvPr/>
        </p:nvSpPr>
        <p:spPr>
          <a:xfrm>
            <a:off x="10538580" y="3596000"/>
            <a:ext cx="1425222" cy="2171432"/>
          </a:xfrm>
          <a:prstGeom prst="rect">
            <a:avLst/>
          </a:prstGeom>
          <a:solidFill>
            <a:schemeClr val="accent4">
              <a:lumMod val="40000"/>
              <a:lumOff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cretionary Products </a:t>
            </a:r>
          </a:p>
        </p:txBody>
      </p:sp>
      <p:sp>
        <p:nvSpPr>
          <p:cNvPr id="4" name="Rectangle 3"/>
          <p:cNvSpPr/>
          <p:nvPr/>
        </p:nvSpPr>
        <p:spPr>
          <a:xfrm>
            <a:off x="8202631" y="727530"/>
            <a:ext cx="1024958" cy="5074920"/>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286" tIns="45652" rIns="91286" bIns="45652"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endParaRPr kumimoji="0" lang="en-IN" sz="15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358387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3858" y="199203"/>
            <a:ext cx="10515600" cy="369332"/>
          </a:xfrm>
        </p:spPr>
        <p:txBody>
          <a:bodyPr vert="horz" lIns="0" tIns="0" rIns="0" bIns="0" rtlCol="0" anchor="ctr">
            <a:noAutofit/>
          </a:bodyPr>
          <a:lstStyle/>
          <a:p>
            <a:r>
              <a:rPr lang="en-US" dirty="0">
                <a:solidFill>
                  <a:schemeClr val="tx1"/>
                </a:solidFill>
              </a:rPr>
              <a:t>Overview of end-use segments</a:t>
            </a:r>
          </a:p>
        </p:txBody>
      </p:sp>
      <p:sp>
        <p:nvSpPr>
          <p:cNvPr id="79" name="Slide Number Placeholder 1"/>
          <p:cNvSpPr txBox="1">
            <a:spLocks/>
          </p:cNvSpPr>
          <p:nvPr/>
        </p:nvSpPr>
        <p:spPr>
          <a:xfrm>
            <a:off x="363237" y="5530488"/>
            <a:ext cx="3885182" cy="365125"/>
          </a:xfrm>
          <a:prstGeom prst="rect">
            <a:avLst/>
          </a:prstGeom>
        </p:spPr>
        <p:txBody>
          <a:bodyPr vert="horz" lIns="76077" tIns="38032" rIns="76077" bIns="38032"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NASSCOM,AAI,CRISIL Research</a:t>
            </a:r>
          </a:p>
        </p:txBody>
      </p:sp>
      <p:graphicFrame>
        <p:nvGraphicFramePr>
          <p:cNvPr id="94" name="Table 93"/>
          <p:cNvGraphicFramePr>
            <a:graphicFrameLocks noGrp="1"/>
          </p:cNvGraphicFramePr>
          <p:nvPr/>
        </p:nvGraphicFramePr>
        <p:xfrm>
          <a:off x="431341" y="2962715"/>
          <a:ext cx="10246894" cy="2351316"/>
        </p:xfrm>
        <a:graphic>
          <a:graphicData uri="http://schemas.openxmlformats.org/drawingml/2006/table">
            <a:tbl>
              <a:tblPr>
                <a:tableStyleId>{073A0DAA-6AF3-43AB-8588-CEC1D06C72B9}</a:tableStyleId>
              </a:tblPr>
              <a:tblGrid>
                <a:gridCol w="2546684">
                  <a:extLst>
                    <a:ext uri="{9D8B030D-6E8A-4147-A177-3AD203B41FA5}">
                      <a16:colId xmlns:a16="http://schemas.microsoft.com/office/drawing/2014/main" val="20000"/>
                    </a:ext>
                  </a:extLst>
                </a:gridCol>
                <a:gridCol w="1189789">
                  <a:extLst>
                    <a:ext uri="{9D8B030D-6E8A-4147-A177-3AD203B41FA5}">
                      <a16:colId xmlns:a16="http://schemas.microsoft.com/office/drawing/2014/main" val="20002"/>
                    </a:ext>
                  </a:extLst>
                </a:gridCol>
                <a:gridCol w="1056106">
                  <a:extLst>
                    <a:ext uri="{9D8B030D-6E8A-4147-A177-3AD203B41FA5}">
                      <a16:colId xmlns:a16="http://schemas.microsoft.com/office/drawing/2014/main" val="20003"/>
                    </a:ext>
                  </a:extLst>
                </a:gridCol>
                <a:gridCol w="1323473">
                  <a:extLst>
                    <a:ext uri="{9D8B030D-6E8A-4147-A177-3AD203B41FA5}">
                      <a16:colId xmlns:a16="http://schemas.microsoft.com/office/drawing/2014/main" val="20004"/>
                    </a:ext>
                  </a:extLst>
                </a:gridCol>
                <a:gridCol w="1336843">
                  <a:extLst>
                    <a:ext uri="{9D8B030D-6E8A-4147-A177-3AD203B41FA5}">
                      <a16:colId xmlns:a16="http://schemas.microsoft.com/office/drawing/2014/main" val="20005"/>
                    </a:ext>
                  </a:extLst>
                </a:gridCol>
                <a:gridCol w="1403684">
                  <a:extLst>
                    <a:ext uri="{9D8B030D-6E8A-4147-A177-3AD203B41FA5}">
                      <a16:colId xmlns:a16="http://schemas.microsoft.com/office/drawing/2014/main" val="20006"/>
                    </a:ext>
                  </a:extLst>
                </a:gridCol>
                <a:gridCol w="1390315">
                  <a:extLst>
                    <a:ext uri="{9D8B030D-6E8A-4147-A177-3AD203B41FA5}">
                      <a16:colId xmlns:a16="http://schemas.microsoft.com/office/drawing/2014/main" val="20007"/>
                    </a:ext>
                  </a:extLst>
                </a:gridCol>
              </a:tblGrid>
              <a:tr h="391886">
                <a:tc>
                  <a:txBody>
                    <a:bodyPr/>
                    <a:lstStyle/>
                    <a:p>
                      <a:pPr marL="0" algn="l" defTabSz="1097280" rtl="0" eaLnBrk="1" fontAlgn="ctr" latinLnBrk="0" hangingPunct="1"/>
                      <a:r>
                        <a:rPr lang="en-US" sz="1400" b="1" u="none" strike="noStrike" kern="1200" dirty="0">
                          <a:effectLst/>
                          <a:latin typeface="Arial" panose="020B0604020202020204" pitchFamily="34" charset="0"/>
                          <a:cs typeface="Arial" panose="020B0604020202020204" pitchFamily="34" charset="0"/>
                        </a:rPr>
                        <a:t>Gross school enrollment </a:t>
                      </a:r>
                      <a:endParaRPr lang="en-US"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endParaRPr lang="en-US" sz="1500" b="1" dirty="0">
                        <a:latin typeface="Arial" panose="020B0604020202020204" pitchFamily="34" charset="0"/>
                        <a:cs typeface="Arial" panose="020B0604020202020204" pitchFamily="34" charset="0"/>
                      </a:endParaRPr>
                    </a:p>
                  </a:txBody>
                  <a:tcPr marL="7938" marR="7938" marT="7938" marB="0" anchor="ctr">
                    <a:noFill/>
                  </a:tcPr>
                </a:tc>
                <a:tc>
                  <a:txBody>
                    <a:bodyPr/>
                    <a:lstStyle/>
                    <a:p>
                      <a:endParaRPr lang="en-US" sz="1500" b="1" dirty="0">
                        <a:latin typeface="Arial" panose="020B0604020202020204" pitchFamily="34" charset="0"/>
                        <a:cs typeface="Arial" panose="020B0604020202020204" pitchFamily="34" charset="0"/>
                      </a:endParaRPr>
                    </a:p>
                  </a:txBody>
                  <a:tcPr marL="7938" marR="7938" marT="7938" marB="0" anchor="ctr">
                    <a:noFill/>
                  </a:tcPr>
                </a:tc>
                <a:tc>
                  <a:txBody>
                    <a:bodyPr/>
                    <a:lstStyle/>
                    <a:p>
                      <a:endParaRPr lang="en-US" sz="1500" b="1" dirty="0">
                        <a:latin typeface="Arial" panose="020B0604020202020204" pitchFamily="34" charset="0"/>
                        <a:cs typeface="Arial" panose="020B0604020202020204" pitchFamily="34" charset="0"/>
                      </a:endParaRPr>
                    </a:p>
                  </a:txBody>
                  <a:tcPr marL="7938" marR="7938" marT="7938" marB="0" anchor="ctr">
                    <a:noFill/>
                  </a:tcPr>
                </a:tc>
                <a:tc>
                  <a:txBody>
                    <a:bodyPr/>
                    <a:lstStyle/>
                    <a:p>
                      <a:endParaRPr lang="en-US" sz="1500" b="1" dirty="0">
                        <a:latin typeface="Arial" panose="020B0604020202020204" pitchFamily="34" charset="0"/>
                        <a:cs typeface="Arial" panose="020B0604020202020204" pitchFamily="34" charset="0"/>
                      </a:endParaRPr>
                    </a:p>
                  </a:txBody>
                  <a:tcPr marL="7938" marR="7938" marT="7938" marB="0" anchor="ctr">
                    <a:noFill/>
                  </a:tcPr>
                </a:tc>
                <a:tc>
                  <a:txBody>
                    <a:bodyPr/>
                    <a:lstStyle/>
                    <a:p>
                      <a:endParaRPr lang="en-US" sz="1500" b="1" dirty="0">
                        <a:latin typeface="Arial" panose="020B0604020202020204" pitchFamily="34" charset="0"/>
                        <a:cs typeface="Arial" panose="020B0604020202020204" pitchFamily="34" charset="0"/>
                      </a:endParaRPr>
                    </a:p>
                  </a:txBody>
                  <a:tcPr marL="7938" marR="7938" marT="7938" marB="0" anchor="ctr">
                    <a:noFill/>
                  </a:tcPr>
                </a:tc>
                <a:tc>
                  <a:txBody>
                    <a:bodyPr/>
                    <a:lstStyle/>
                    <a:p>
                      <a:endParaRPr lang="en-US" sz="1500" b="1" dirty="0">
                        <a:latin typeface="Arial" panose="020B0604020202020204" pitchFamily="34" charset="0"/>
                        <a:cs typeface="Arial" panose="020B0604020202020204" pitchFamily="34" charset="0"/>
                      </a:endParaRPr>
                    </a:p>
                  </a:txBody>
                  <a:tcPr marL="7938" marR="7938" marT="7938" marB="0" anchor="ctr">
                    <a:noFill/>
                  </a:tcPr>
                </a:tc>
                <a:extLst>
                  <a:ext uri="{0D108BD9-81ED-4DB2-BD59-A6C34878D82A}">
                    <a16:rowId xmlns:a16="http://schemas.microsoft.com/office/drawing/2014/main" val="10000"/>
                  </a:ext>
                </a:extLst>
              </a:tr>
              <a:tr h="391886">
                <a:tc>
                  <a:txBody>
                    <a:bodyPr/>
                    <a:lstStyle/>
                    <a:p>
                      <a:pPr marL="0" marR="0" indent="0" algn="l" defTabSz="1097280" rtl="0" eaLnBrk="1" fontAlgn="ctr" latinLnBrk="0" hangingPunct="1">
                        <a:lnSpc>
                          <a:spcPct val="100000"/>
                        </a:lnSpc>
                        <a:spcBef>
                          <a:spcPts val="0"/>
                        </a:spcBef>
                        <a:spcAft>
                          <a:spcPts val="0"/>
                        </a:spcAft>
                        <a:buClrTx/>
                        <a:buSzTx/>
                        <a:buFontTx/>
                        <a:buNone/>
                        <a:tabLst/>
                        <a:defRPr/>
                      </a:pPr>
                      <a:r>
                        <a:rPr lang="en-US" sz="1400" b="1" u="none" strike="noStrike" kern="1200" dirty="0">
                          <a:effectLst/>
                          <a:latin typeface="Arial" panose="020B0604020202020204" pitchFamily="34" charset="0"/>
                          <a:cs typeface="Arial" panose="020B0604020202020204" pitchFamily="34" charset="0"/>
                        </a:rPr>
                        <a:t>K-12</a:t>
                      </a:r>
                      <a:endParaRPr lang="en-US"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40080" marR="44450" marT="44450" marB="44450" anchor="ctr">
                    <a:solidFill>
                      <a:srgbClr val="D7D7D7"/>
                    </a:solid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cs typeface="Arial" panose="020B0604020202020204" pitchFamily="34" charset="0"/>
                        </a:rPr>
                        <a:t>73.4</a:t>
                      </a:r>
                      <a:endParaRPr lang="en-US" sz="1500" b="1" i="0" u="none" strike="noStrike" kern="1200" dirty="0">
                        <a:solidFill>
                          <a:srgbClr val="00B050"/>
                        </a:solidFill>
                        <a:effectLst/>
                        <a:latin typeface="Arial" panose="020B0604020202020204" pitchFamily="34" charset="0"/>
                        <a:ea typeface="+mn-ea"/>
                        <a:cs typeface="Arial" panose="020B0604020202020204" pitchFamily="34" charset="0"/>
                      </a:endParaRPr>
                    </a:p>
                  </a:txBody>
                  <a:tcPr marL="7938" marR="7938" marT="7938"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cs typeface="Arial" panose="020B0604020202020204" pitchFamily="34" charset="0"/>
                        </a:rPr>
                        <a:t>73.4</a:t>
                      </a:r>
                      <a:endParaRPr lang="en-US" sz="1500" b="1" i="0" u="none" strike="noStrike" kern="1200" dirty="0">
                        <a:solidFill>
                          <a:srgbClr val="00B050"/>
                        </a:solidFill>
                        <a:effectLst/>
                        <a:latin typeface="Arial" panose="020B0604020202020204" pitchFamily="34" charset="0"/>
                        <a:ea typeface="+mn-ea"/>
                        <a:cs typeface="Arial" panose="020B0604020202020204" pitchFamily="34" charset="0"/>
                      </a:endParaRPr>
                    </a:p>
                  </a:txBody>
                  <a:tcPr marL="7938" marR="7938" marT="7938"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u="none" strike="noStrike" kern="1200" dirty="0">
                          <a:solidFill>
                            <a:srgbClr val="00B050"/>
                          </a:solidFill>
                          <a:effectLst/>
                          <a:latin typeface="Arial" panose="020B0604020202020204" pitchFamily="34" charset="0"/>
                          <a:cs typeface="Arial" panose="020B0604020202020204" pitchFamily="34" charset="0"/>
                        </a:rPr>
                        <a:t>78</a:t>
                      </a:r>
                      <a:endParaRPr lang="en-US" sz="1500" b="1" i="0" u="none" strike="noStrike" kern="1200" dirty="0">
                        <a:solidFill>
                          <a:srgbClr val="00B050"/>
                        </a:solidFill>
                        <a:effectLst/>
                        <a:latin typeface="Arial" panose="020B0604020202020204" pitchFamily="34" charset="0"/>
                        <a:ea typeface="+mn-ea"/>
                        <a:cs typeface="Arial" panose="020B0604020202020204" pitchFamily="34" charset="0"/>
                      </a:endParaRPr>
                    </a:p>
                  </a:txBody>
                  <a:tcPr marL="7938" marR="7938" marT="7938"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FFC000"/>
                          </a:solidFill>
                          <a:effectLst/>
                          <a:latin typeface="Arial" panose="020B0604020202020204" pitchFamily="34" charset="0"/>
                          <a:ea typeface="+mn-ea"/>
                          <a:cs typeface="Arial" panose="020B0604020202020204" pitchFamily="34" charset="0"/>
                        </a:rPr>
                        <a:t>74.5</a:t>
                      </a:r>
                    </a:p>
                  </a:txBody>
                  <a:tcPr marL="7938" marR="7938" marT="7938"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FFC000"/>
                          </a:solidFill>
                          <a:effectLst/>
                          <a:latin typeface="Arial" panose="020B0604020202020204" pitchFamily="34" charset="0"/>
                          <a:ea typeface="+mn-ea"/>
                          <a:cs typeface="Arial" panose="020B0604020202020204" pitchFamily="34" charset="0"/>
                        </a:rPr>
                        <a:t>74.8</a:t>
                      </a:r>
                    </a:p>
                  </a:txBody>
                  <a:tcPr marL="7938" marR="7938" marT="7938" marB="0" anchor="ctr">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US" sz="1500" b="1" i="0" u="none" strike="noStrike" kern="1200" dirty="0">
                          <a:solidFill>
                            <a:srgbClr val="00B050"/>
                          </a:solidFill>
                          <a:effectLst/>
                          <a:latin typeface="Arial" panose="020B0604020202020204" pitchFamily="34" charset="0"/>
                          <a:ea typeface="+mn-ea"/>
                          <a:cs typeface="Arial" panose="020B0604020202020204" pitchFamily="34" charset="0"/>
                        </a:rPr>
                        <a:t>75.1</a:t>
                      </a:r>
                    </a:p>
                  </a:txBody>
                  <a:tcPr marL="7938" marR="7938" marT="7938"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91886">
                <a:tc>
                  <a:txBody>
                    <a:bodyPr/>
                    <a:lstStyle/>
                    <a:p>
                      <a:pPr marL="0" algn="l" defTabSz="1097280" rtl="0" eaLnBrk="1" fontAlgn="ctr" latinLnBrk="0" hangingPunct="1"/>
                      <a:r>
                        <a:rPr lang="en-US" sz="1400" b="1" u="none" strike="noStrike" kern="1200" dirty="0">
                          <a:effectLst/>
                          <a:latin typeface="Arial" panose="020B0604020202020204" pitchFamily="34" charset="0"/>
                          <a:cs typeface="Arial" panose="020B0604020202020204" pitchFamily="34" charset="0"/>
                        </a:rPr>
                        <a:t>Above K-12</a:t>
                      </a:r>
                      <a:endParaRPr lang="en-US"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40080" marR="44450" marT="44450" marB="44450" anchor="ctr">
                    <a:solidFill>
                      <a:srgbClr val="D7D7D7"/>
                    </a:solidFill>
                  </a:tcPr>
                </a:tc>
                <a:tc>
                  <a:txBody>
                    <a:bodyPr/>
                    <a:lstStyle/>
                    <a:p>
                      <a:pPr algn="ctr" fontAlgn="ctr"/>
                      <a:r>
                        <a:rPr lang="en-GB" sz="1500" b="1" u="none" strike="noStrike" dirty="0">
                          <a:solidFill>
                            <a:srgbClr val="FFC000"/>
                          </a:solidFill>
                          <a:effectLst/>
                          <a:latin typeface="Arial" panose="020B0604020202020204" pitchFamily="34" charset="0"/>
                          <a:cs typeface="Arial" panose="020B0604020202020204" pitchFamily="34" charset="0"/>
                        </a:rPr>
                        <a:t>23.4</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dirty="0">
                          <a:solidFill>
                            <a:srgbClr val="FFC000"/>
                          </a:solidFill>
                          <a:effectLst/>
                          <a:latin typeface="Arial" panose="020B0604020202020204" pitchFamily="34" charset="0"/>
                          <a:cs typeface="Arial" panose="020B0604020202020204" pitchFamily="34" charset="0"/>
                        </a:rPr>
                        <a:t>22.5</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dirty="0">
                          <a:solidFill>
                            <a:srgbClr val="FFC000"/>
                          </a:solidFill>
                          <a:effectLst/>
                          <a:latin typeface="Arial" panose="020B0604020202020204" pitchFamily="34" charset="0"/>
                          <a:cs typeface="Arial" panose="020B0604020202020204" pitchFamily="34" charset="0"/>
                        </a:rPr>
                        <a:t>22.5</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FFC000"/>
                          </a:solidFill>
                          <a:effectLst/>
                          <a:latin typeface="Arial" panose="020B0604020202020204" pitchFamily="34" charset="0"/>
                          <a:cs typeface="Arial" panose="020B0604020202020204" pitchFamily="34" charset="0"/>
                        </a:rPr>
                        <a:t>22.2</a:t>
                      </a:r>
                      <a:endParaRPr lang="en-GB" sz="1500" b="1" i="0" u="none" strike="noStrike" dirty="0">
                        <a:solidFill>
                          <a:srgbClr val="FFC00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23.0</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23.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91886">
                <a:tc>
                  <a:txBody>
                    <a:bodyPr/>
                    <a:lstStyle/>
                    <a:p>
                      <a:pPr marL="0" algn="l" defTabSz="1097280" rtl="0" eaLnBrk="1" fontAlgn="ctr" latinLnBrk="0" hangingPunct="1"/>
                      <a:r>
                        <a:rPr lang="en-US" sz="1400" b="1" u="none" strike="noStrike" kern="1200" dirty="0">
                          <a:solidFill>
                            <a:schemeClr val="tx1"/>
                          </a:solidFill>
                          <a:effectLst/>
                          <a:latin typeface="Arial" panose="020B0604020202020204" pitchFamily="34" charset="0"/>
                          <a:cs typeface="Arial" panose="020B0604020202020204" pitchFamily="34" charset="0"/>
                        </a:rPr>
                        <a:t>IT employee base</a:t>
                      </a:r>
                      <a:endParaRPr lang="en-US"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3</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4</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kern="1200" dirty="0">
                          <a:solidFill>
                            <a:srgbClr val="00B050"/>
                          </a:solidFill>
                          <a:effectLst/>
                          <a:latin typeface="Arial" panose="020B0604020202020204" pitchFamily="34" charset="0"/>
                          <a:ea typeface="+mn-ea"/>
                          <a:cs typeface="Arial" panose="020B0604020202020204" pitchFamily="34" charset="0"/>
                        </a:rPr>
                        <a:t>9</a:t>
                      </a:r>
                      <a:endParaRPr lang="en-GB" sz="1500" b="1" i="0" u="none" strike="noStrike" kern="1200" dirty="0">
                        <a:solidFill>
                          <a:srgbClr val="00B050"/>
                        </a:solidFill>
                        <a:effectLst/>
                        <a:latin typeface="Arial" panose="020B0604020202020204" pitchFamily="34" charset="0"/>
                        <a:ea typeface="+mn-ea"/>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32BF72"/>
                          </a:solidFill>
                          <a:effectLst/>
                          <a:latin typeface="Arial" panose="020B0604020202020204" pitchFamily="34" charset="0"/>
                          <a:ea typeface="+mn-ea"/>
                          <a:cs typeface="Arial" panose="020B0604020202020204" pitchFamily="34" charset="0"/>
                        </a:rPr>
                        <a:t>13</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FFC000"/>
                          </a:solidFill>
                          <a:effectLst/>
                          <a:latin typeface="Arial" panose="020B0604020202020204" pitchFamily="34" charset="0"/>
                          <a:ea typeface="+mn-ea"/>
                          <a:cs typeface="Arial" panose="020B0604020202020204" pitchFamily="34" charset="0"/>
                        </a:rPr>
                        <a:t>5-7</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91886">
                <a:tc>
                  <a:txBody>
                    <a:bodyPr/>
                    <a:lstStyle/>
                    <a:p>
                      <a:pPr marL="0" algn="l" defTabSz="1097280" rtl="0" eaLnBrk="1" fontAlgn="ctr" latinLnBrk="0" hangingPunct="1"/>
                      <a:r>
                        <a:rPr lang="en-US" sz="1400" b="1" u="none" strike="noStrike" kern="1200" dirty="0">
                          <a:solidFill>
                            <a:schemeClr val="tx1"/>
                          </a:solidFill>
                          <a:effectLst/>
                          <a:latin typeface="Arial" panose="020B0604020202020204" pitchFamily="34" charset="0"/>
                          <a:cs typeface="Arial" panose="020B0604020202020204" pitchFamily="34" charset="0"/>
                        </a:rPr>
                        <a:t>Air passenger traffic </a:t>
                      </a:r>
                      <a:endParaRPr lang="en-US"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188</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209</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dirty="0">
                          <a:solidFill>
                            <a:srgbClr val="00B050"/>
                          </a:solidFill>
                          <a:effectLst/>
                          <a:latin typeface="Arial" panose="020B0604020202020204" pitchFamily="34" charset="0"/>
                          <a:cs typeface="Arial" panose="020B0604020202020204" pitchFamily="34" charset="0"/>
                        </a:rPr>
                        <a:t>209</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C00000"/>
                          </a:solidFill>
                          <a:effectLst/>
                          <a:latin typeface="Arial" panose="020B0604020202020204" pitchFamily="34" charset="0"/>
                          <a:ea typeface="+mn-ea"/>
                          <a:cs typeface="Arial" panose="020B0604020202020204" pitchFamily="34" charset="0"/>
                        </a:rPr>
                        <a:t>63.9</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FFC000"/>
                          </a:solidFill>
                          <a:effectLst/>
                          <a:latin typeface="Arial" panose="020B0604020202020204" pitchFamily="34" charset="0"/>
                          <a:ea typeface="+mn-ea"/>
                          <a:cs typeface="Arial" panose="020B0604020202020204" pitchFamily="34" charset="0"/>
                        </a:rPr>
                        <a:t>10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FFC000"/>
                          </a:solidFill>
                          <a:effectLst/>
                          <a:latin typeface="Arial" panose="020B0604020202020204" pitchFamily="34" charset="0"/>
                          <a:ea typeface="+mn-ea"/>
                          <a:cs typeface="Arial" panose="020B0604020202020204" pitchFamily="34" charset="0"/>
                        </a:rPr>
                        <a:t>18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91886">
                <a:tc>
                  <a:txBody>
                    <a:bodyPr/>
                    <a:lstStyle/>
                    <a:p>
                      <a:pPr marL="0" algn="l" defTabSz="1097280" rtl="0" eaLnBrk="1" fontAlgn="ctr" latinLnBrk="0" hangingPunct="1"/>
                      <a:r>
                        <a:rPr lang="en-US" sz="1400" b="1" i="0" u="none" strike="noStrike" kern="1200" dirty="0">
                          <a:solidFill>
                            <a:srgbClr val="000000"/>
                          </a:solidFill>
                          <a:effectLst/>
                          <a:latin typeface="Arial" panose="020B0604020202020204" pitchFamily="34" charset="0"/>
                          <a:ea typeface="+mn-ea"/>
                          <a:cs typeface="Arial" panose="020B0604020202020204" pitchFamily="34" charset="0"/>
                        </a:rPr>
                        <a:t>Hotel room demand </a:t>
                      </a:r>
                    </a:p>
                  </a:txBody>
                  <a:tcPr marL="44450" marR="44450" marT="44450" marB="44450" anchor="ctr">
                    <a:solidFill>
                      <a:srgbClr val="D7D7D7"/>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1</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C00000"/>
                          </a:solidFill>
                          <a:effectLst/>
                          <a:latin typeface="Arial" panose="020B0604020202020204" pitchFamily="34" charset="0"/>
                          <a:ea typeface="+mn-ea"/>
                          <a:cs typeface="Arial" panose="020B0604020202020204" pitchFamily="34" charset="0"/>
                        </a:rPr>
                        <a:t>(51)</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00B050"/>
                          </a:solidFill>
                          <a:effectLst/>
                          <a:latin typeface="Arial" panose="020B0604020202020204" pitchFamily="34" charset="0"/>
                          <a:ea typeface="+mn-ea"/>
                          <a:cs typeface="Arial" panose="020B0604020202020204" pitchFamily="34" charset="0"/>
                        </a:rPr>
                        <a:t>7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00B050"/>
                          </a:solidFill>
                          <a:effectLst/>
                          <a:latin typeface="Arial" panose="020B0604020202020204" pitchFamily="34" charset="0"/>
                          <a:ea typeface="+mn-ea"/>
                          <a:cs typeface="Arial" panose="020B0604020202020204" pitchFamily="34" charset="0"/>
                        </a:rPr>
                        <a:t>25-30</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graphicFrame>
        <p:nvGraphicFramePr>
          <p:cNvPr id="6" name="Table 5"/>
          <p:cNvGraphicFramePr>
            <a:graphicFrameLocks noGrp="1"/>
          </p:cNvGraphicFramePr>
          <p:nvPr/>
        </p:nvGraphicFramePr>
        <p:xfrm>
          <a:off x="416099" y="800100"/>
          <a:ext cx="10262136" cy="649959"/>
        </p:xfrm>
        <a:graphic>
          <a:graphicData uri="http://schemas.openxmlformats.org/drawingml/2006/table">
            <a:tbl>
              <a:tblPr>
                <a:tableStyleId>{073A0DAA-6AF3-43AB-8588-CEC1D06C72B9}</a:tableStyleId>
              </a:tblPr>
              <a:tblGrid>
                <a:gridCol w="2573935">
                  <a:extLst>
                    <a:ext uri="{9D8B030D-6E8A-4147-A177-3AD203B41FA5}">
                      <a16:colId xmlns:a16="http://schemas.microsoft.com/office/drawing/2014/main" val="20000"/>
                    </a:ext>
                  </a:extLst>
                </a:gridCol>
                <a:gridCol w="1155918">
                  <a:extLst>
                    <a:ext uri="{9D8B030D-6E8A-4147-A177-3AD203B41FA5}">
                      <a16:colId xmlns:a16="http://schemas.microsoft.com/office/drawing/2014/main" val="20002"/>
                    </a:ext>
                  </a:extLst>
                </a:gridCol>
                <a:gridCol w="1088715">
                  <a:extLst>
                    <a:ext uri="{9D8B030D-6E8A-4147-A177-3AD203B41FA5}">
                      <a16:colId xmlns:a16="http://schemas.microsoft.com/office/drawing/2014/main" val="20003"/>
                    </a:ext>
                  </a:extLst>
                </a:gridCol>
                <a:gridCol w="1330649">
                  <a:extLst>
                    <a:ext uri="{9D8B030D-6E8A-4147-A177-3AD203B41FA5}">
                      <a16:colId xmlns:a16="http://schemas.microsoft.com/office/drawing/2014/main" val="20004"/>
                    </a:ext>
                  </a:extLst>
                </a:gridCol>
                <a:gridCol w="1303769">
                  <a:extLst>
                    <a:ext uri="{9D8B030D-6E8A-4147-A177-3AD203B41FA5}">
                      <a16:colId xmlns:a16="http://schemas.microsoft.com/office/drawing/2014/main" val="20005"/>
                    </a:ext>
                  </a:extLst>
                </a:gridCol>
                <a:gridCol w="1404575">
                  <a:extLst>
                    <a:ext uri="{9D8B030D-6E8A-4147-A177-3AD203B41FA5}">
                      <a16:colId xmlns:a16="http://schemas.microsoft.com/office/drawing/2014/main" val="20006"/>
                    </a:ext>
                  </a:extLst>
                </a:gridCol>
                <a:gridCol w="1404575">
                  <a:extLst>
                    <a:ext uri="{9D8B030D-6E8A-4147-A177-3AD203B41FA5}">
                      <a16:colId xmlns:a16="http://schemas.microsoft.com/office/drawing/2014/main" val="20007"/>
                    </a:ext>
                  </a:extLst>
                </a:gridCol>
              </a:tblGrid>
              <a:tr h="649959">
                <a:tc>
                  <a:txBody>
                    <a:bodyPr/>
                    <a:lstStyle/>
                    <a:p>
                      <a:pPr algn="ctr"/>
                      <a:r>
                        <a:rPr lang="en-US" sz="1400" b="1" u="none" strike="noStrike" kern="1200" dirty="0">
                          <a:solidFill>
                            <a:schemeClr val="bg1"/>
                          </a:solidFill>
                          <a:effectLst/>
                          <a:latin typeface="Arial" panose="020B0604020202020204" pitchFamily="34" charset="0"/>
                          <a:cs typeface="Arial" panose="020B0604020202020204" pitchFamily="34" charset="0"/>
                        </a:rPr>
                        <a:t>Segments</a:t>
                      </a:r>
                    </a:p>
                    <a:p>
                      <a:pPr marL="0" marR="0" indent="0" algn="ctr" defTabSz="1097280" rtl="0" eaLnBrk="1" fontAlgn="auto" latinLnBrk="0" hangingPunct="1">
                        <a:lnSpc>
                          <a:spcPct val="100000"/>
                        </a:lnSpc>
                        <a:spcBef>
                          <a:spcPts val="0"/>
                        </a:spcBef>
                        <a:spcAft>
                          <a:spcPts val="0"/>
                        </a:spcAft>
                        <a:buClrTx/>
                        <a:buSzTx/>
                        <a:buFontTx/>
                        <a:buNone/>
                        <a:tabLst/>
                        <a:defRPr/>
                      </a:pPr>
                      <a:r>
                        <a:rPr lang="en-US" sz="1400" b="1" u="none" strike="noStrike" kern="1200" dirty="0">
                          <a:solidFill>
                            <a:schemeClr val="bg1"/>
                          </a:solidFill>
                          <a:effectLst/>
                          <a:latin typeface="Arial" panose="020B0604020202020204" pitchFamily="34" charset="0"/>
                          <a:cs typeface="Arial" panose="020B0604020202020204" pitchFamily="34" charset="0"/>
                        </a:rPr>
                        <a:t> (% growth Y-o-Y) </a:t>
                      </a:r>
                      <a:r>
                        <a:rPr lang="en-GB" sz="1400" b="1" u="none" strike="noStrike" dirty="0">
                          <a:solidFill>
                            <a:schemeClr val="bg1"/>
                          </a:solidFill>
                          <a:effectLst/>
                          <a:latin typeface="Arial" panose="020B0604020202020204" pitchFamily="34" charset="0"/>
                          <a:cs typeface="Arial" panose="020B0604020202020204" pitchFamily="34" charset="0"/>
                        </a:rPr>
                        <a:t> </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18</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19</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0</a:t>
                      </a:r>
                      <a:endParaRPr lang="en-GB" sz="1400" b="1" i="0" u="none" strike="noStrike" dirty="0">
                        <a:solidFill>
                          <a:schemeClr val="bg1"/>
                        </a:solidFill>
                        <a:effectLst/>
                        <a:latin typeface="Arial" panose="020B0604020202020204" pitchFamily="34" charset="0"/>
                        <a:cs typeface="Arial" panose="020B0604020202020204" pitchFamily="34" charset="0"/>
                      </a:endParaRP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1 </a:t>
                      </a: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2 P</a:t>
                      </a:r>
                    </a:p>
                  </a:txBody>
                  <a:tcPr marL="9526" marR="9526" marT="9526" marB="0" anchor="ctr">
                    <a:solidFill>
                      <a:schemeClr val="accent2"/>
                    </a:solidFill>
                  </a:tcPr>
                </a:tc>
                <a:tc>
                  <a:txBody>
                    <a:bodyPr/>
                    <a:lstStyle/>
                    <a:p>
                      <a:pPr algn="ctr" fontAlgn="ctr"/>
                      <a:r>
                        <a:rPr lang="en-GB" sz="1400" b="1" u="none" strike="noStrike" dirty="0">
                          <a:solidFill>
                            <a:schemeClr val="bg1"/>
                          </a:solidFill>
                          <a:effectLst/>
                          <a:latin typeface="Arial" panose="020B0604020202020204" pitchFamily="34" charset="0"/>
                          <a:cs typeface="Arial" panose="020B0604020202020204" pitchFamily="34" charset="0"/>
                        </a:rPr>
                        <a:t>FY 23 P</a:t>
                      </a:r>
                    </a:p>
                  </a:txBody>
                  <a:tcPr marL="9526" marR="9526" marT="9526" marB="0" anchor="ctr">
                    <a:solidFill>
                      <a:schemeClr val="accent2"/>
                    </a:solidFill>
                  </a:tcPr>
                </a:tc>
                <a:extLst>
                  <a:ext uri="{0D108BD9-81ED-4DB2-BD59-A6C34878D82A}">
                    <a16:rowId xmlns:a16="http://schemas.microsoft.com/office/drawing/2014/main" val="10000"/>
                  </a:ext>
                </a:extLst>
              </a:tr>
            </a:tbl>
          </a:graphicData>
        </a:graphic>
      </p:graphicFrame>
      <p:sp>
        <p:nvSpPr>
          <p:cNvPr id="7" name="Slide Number Placeholder 1"/>
          <p:cNvSpPr txBox="1">
            <a:spLocks/>
          </p:cNvSpPr>
          <p:nvPr/>
        </p:nvSpPr>
        <p:spPr>
          <a:xfrm>
            <a:off x="363237" y="5314033"/>
            <a:ext cx="11706525" cy="365125"/>
          </a:xfrm>
          <a:prstGeom prst="rect">
            <a:avLst/>
          </a:prstGeom>
        </p:spPr>
        <p:txBody>
          <a:bodyPr vert="horz" lIns="76077" tIns="38032" rIns="76077" bIns="38032"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ss enrollment ratio (GER) is the ratio of the number of students enrolled to the population of those who qualify for the particular grade level. K-12 indicates classes 1</a:t>
            </a:r>
            <a:r>
              <a:rPr kumimoji="0" lang="en-US" sz="10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s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12</a:t>
            </a:r>
            <a:r>
              <a:rPr kumimoji="0" lang="en-US" sz="10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th</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graphicFrame>
        <p:nvGraphicFramePr>
          <p:cNvPr id="10" name="Table 9"/>
          <p:cNvGraphicFramePr>
            <a:graphicFrameLocks noGrp="1"/>
          </p:cNvGraphicFramePr>
          <p:nvPr/>
        </p:nvGraphicFramePr>
        <p:xfrm>
          <a:off x="416102" y="1450060"/>
          <a:ext cx="10262135" cy="1443306"/>
        </p:xfrm>
        <a:graphic>
          <a:graphicData uri="http://schemas.openxmlformats.org/drawingml/2006/table">
            <a:tbl>
              <a:tblPr>
                <a:tableStyleId>{073A0DAA-6AF3-43AB-8588-CEC1D06C72B9}</a:tableStyleId>
              </a:tblPr>
              <a:tblGrid>
                <a:gridCol w="2572488">
                  <a:extLst>
                    <a:ext uri="{9D8B030D-6E8A-4147-A177-3AD203B41FA5}">
                      <a16:colId xmlns:a16="http://schemas.microsoft.com/office/drawing/2014/main" val="20000"/>
                    </a:ext>
                  </a:extLst>
                </a:gridCol>
                <a:gridCol w="1170804">
                  <a:extLst>
                    <a:ext uri="{9D8B030D-6E8A-4147-A177-3AD203B41FA5}">
                      <a16:colId xmlns:a16="http://schemas.microsoft.com/office/drawing/2014/main" val="20002"/>
                    </a:ext>
                  </a:extLst>
                </a:gridCol>
                <a:gridCol w="1088715">
                  <a:extLst>
                    <a:ext uri="{9D8B030D-6E8A-4147-A177-3AD203B41FA5}">
                      <a16:colId xmlns:a16="http://schemas.microsoft.com/office/drawing/2014/main" val="20003"/>
                    </a:ext>
                  </a:extLst>
                </a:gridCol>
                <a:gridCol w="1317209">
                  <a:extLst>
                    <a:ext uri="{9D8B030D-6E8A-4147-A177-3AD203B41FA5}">
                      <a16:colId xmlns:a16="http://schemas.microsoft.com/office/drawing/2014/main" val="20004"/>
                    </a:ext>
                  </a:extLst>
                </a:gridCol>
                <a:gridCol w="1317209">
                  <a:extLst>
                    <a:ext uri="{9D8B030D-6E8A-4147-A177-3AD203B41FA5}">
                      <a16:colId xmlns:a16="http://schemas.microsoft.com/office/drawing/2014/main" val="20005"/>
                    </a:ext>
                  </a:extLst>
                </a:gridCol>
                <a:gridCol w="1397855">
                  <a:extLst>
                    <a:ext uri="{9D8B030D-6E8A-4147-A177-3AD203B41FA5}">
                      <a16:colId xmlns:a16="http://schemas.microsoft.com/office/drawing/2014/main" val="20006"/>
                    </a:ext>
                  </a:extLst>
                </a:gridCol>
                <a:gridCol w="1397855">
                  <a:extLst>
                    <a:ext uri="{9D8B030D-6E8A-4147-A177-3AD203B41FA5}">
                      <a16:colId xmlns:a16="http://schemas.microsoft.com/office/drawing/2014/main" val="20007"/>
                    </a:ext>
                  </a:extLst>
                </a:gridCol>
              </a:tblGrid>
              <a:tr h="415903">
                <a:tc>
                  <a:txBody>
                    <a:bodyPr/>
                    <a:lstStyle/>
                    <a:p>
                      <a:pPr marL="0" algn="l" defTabSz="1097280" rtl="0" eaLnBrk="1" fontAlgn="ctr" latinLnBrk="0" hangingPunct="1"/>
                      <a:r>
                        <a:rPr lang="en-US" sz="1400" b="1" u="none" strike="noStrike" kern="1200" dirty="0">
                          <a:effectLst/>
                          <a:latin typeface="Arial" panose="020B0604020202020204" pitchFamily="34" charset="0"/>
                          <a:cs typeface="Arial" panose="020B0604020202020204" pitchFamily="34" charset="0"/>
                        </a:rPr>
                        <a:t>Dairy (production)</a:t>
                      </a:r>
                      <a:endParaRPr lang="en-US" sz="14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6.7</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u="none" strike="noStrike" kern="1200" dirty="0">
                          <a:solidFill>
                            <a:srgbClr val="FFC000"/>
                          </a:solidFill>
                          <a:effectLst/>
                          <a:latin typeface="Arial" panose="020B0604020202020204" pitchFamily="34" charset="0"/>
                          <a:ea typeface="+mn-ea"/>
                          <a:cs typeface="Arial" panose="020B0604020202020204" pitchFamily="34" charset="0"/>
                        </a:rPr>
                        <a:t>5</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i="0" u="none" strike="noStrike" kern="1200" dirty="0">
                          <a:solidFill>
                            <a:srgbClr val="C00000"/>
                          </a:solidFill>
                          <a:effectLst/>
                          <a:latin typeface="Arial" panose="020B0604020202020204" pitchFamily="34" charset="0"/>
                          <a:ea typeface="+mn-ea"/>
                          <a:cs typeface="Arial" panose="020B0604020202020204" pitchFamily="34" charset="0"/>
                        </a:rPr>
                        <a:t>(4)</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3</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5-7</a:t>
                      </a:r>
                    </a:p>
                  </a:txBody>
                  <a:tcPr marL="9526" marR="9526" marT="952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15903">
                <a:tc>
                  <a:txBody>
                    <a:bodyPr/>
                    <a:lstStyle/>
                    <a:p>
                      <a:pPr marL="0" algn="l" defTabSz="1097280" rtl="0" eaLnBrk="1" fontAlgn="ctr" latinLnBrk="0" hangingPunct="1"/>
                      <a:r>
                        <a:rPr lang="en-US" sz="1400" b="1" i="0" u="none" strike="noStrike" kern="1200" dirty="0">
                          <a:solidFill>
                            <a:schemeClr val="tx1"/>
                          </a:solidFill>
                          <a:effectLst/>
                          <a:latin typeface="Arial" panose="020B0604020202020204" pitchFamily="34" charset="0"/>
                          <a:ea typeface="+mn-ea"/>
                          <a:cs typeface="Arial" panose="020B0604020202020204" pitchFamily="34" charset="0"/>
                        </a:rPr>
                        <a:t>FMCG</a:t>
                      </a:r>
                    </a:p>
                  </a:txBody>
                  <a:tcPr marL="44450" marR="44450" marT="44450" marB="44450" anchor="ctr">
                    <a:solidFill>
                      <a:srgbClr val="D7D7D7"/>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8</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12</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kern="1200" dirty="0">
                          <a:solidFill>
                            <a:srgbClr val="FFC000"/>
                          </a:solidFill>
                          <a:effectLst/>
                          <a:latin typeface="Arial" panose="020B0604020202020204" pitchFamily="34" charset="0"/>
                          <a:ea typeface="+mn-ea"/>
                          <a:cs typeface="Arial" panose="020B0604020202020204" pitchFamily="34" charset="0"/>
                        </a:rPr>
                        <a:t>3.5</a:t>
                      </a:r>
                      <a:endParaRPr lang="en-GB" sz="1500" b="1" i="0" u="none" strike="noStrike" kern="1200" dirty="0">
                        <a:solidFill>
                          <a:srgbClr val="FFC000"/>
                        </a:solidFill>
                        <a:effectLst/>
                        <a:latin typeface="Arial" panose="020B0604020202020204" pitchFamily="34" charset="0"/>
                        <a:ea typeface="+mn-ea"/>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32BF72"/>
                          </a:solidFill>
                          <a:effectLst/>
                          <a:latin typeface="Arial" panose="020B0604020202020204" pitchFamily="34" charset="0"/>
                          <a:ea typeface="+mn-ea"/>
                          <a:cs typeface="Arial" panose="020B0604020202020204" pitchFamily="34" charset="0"/>
                        </a:rPr>
                        <a:t>13-1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32BF72"/>
                          </a:solidFill>
                          <a:effectLst/>
                          <a:latin typeface="Arial" panose="020B0604020202020204" pitchFamily="34" charset="0"/>
                          <a:ea typeface="+mn-ea"/>
                          <a:cs typeface="Arial" panose="020B0604020202020204" pitchFamily="34" charset="0"/>
                        </a:rPr>
                        <a:t>8-10</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11500">
                <a:tc>
                  <a:txBody>
                    <a:bodyPr/>
                    <a:lstStyle/>
                    <a:p>
                      <a:pPr marL="0" algn="l" defTabSz="1097280" rtl="0" eaLnBrk="1" fontAlgn="ctr" latinLnBrk="0" hangingPunct="1"/>
                      <a:r>
                        <a:rPr lang="en-US" sz="1400" b="1" dirty="0">
                          <a:solidFill>
                            <a:schemeClr val="tx1"/>
                          </a:solidFill>
                          <a:latin typeface="Arial" panose="020B0604020202020204" pitchFamily="34" charset="0"/>
                          <a:cs typeface="Arial" panose="020B0604020202020204" pitchFamily="34" charset="0"/>
                        </a:rPr>
                        <a:t>Pharmaceuticals (market size)</a:t>
                      </a:r>
                      <a:endParaRPr lang="en-US" sz="14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44450" marB="44450" anchor="ctr">
                    <a:solidFill>
                      <a:srgbClr val="D7D7D7"/>
                    </a:solid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1</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1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9</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1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28</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C00000"/>
                          </a:solidFill>
                          <a:effectLst/>
                          <a:latin typeface="Arial" panose="020B0604020202020204" pitchFamily="34" charset="0"/>
                          <a:cs typeface="Arial" panose="020B0604020202020204" pitchFamily="34" charset="0"/>
                        </a:rPr>
                        <a:t>(3)</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1" name="Rectangle 10"/>
          <p:cNvSpPr/>
          <p:nvPr/>
        </p:nvSpPr>
        <p:spPr>
          <a:xfrm>
            <a:off x="10857907" y="768087"/>
            <a:ext cx="1211857" cy="2190196"/>
          </a:xfrm>
          <a:prstGeom prst="rect">
            <a:avLst/>
          </a:prstGeom>
          <a:solidFill>
            <a:schemeClr val="accent4">
              <a:lumMod val="40000"/>
              <a:lumOff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n - Discretionary Products </a:t>
            </a:r>
          </a:p>
        </p:txBody>
      </p:sp>
      <p:sp>
        <p:nvSpPr>
          <p:cNvPr id="12" name="Rectangle 11"/>
          <p:cNvSpPr/>
          <p:nvPr/>
        </p:nvSpPr>
        <p:spPr>
          <a:xfrm>
            <a:off x="10817125" y="3205787"/>
            <a:ext cx="1211856" cy="2108244"/>
          </a:xfrm>
          <a:prstGeom prst="rect">
            <a:avLst/>
          </a:prstGeom>
          <a:solidFill>
            <a:schemeClr val="accent4">
              <a:lumMod val="40000"/>
              <a:lumOff val="6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ses </a:t>
            </a:r>
          </a:p>
        </p:txBody>
      </p:sp>
      <p:sp>
        <p:nvSpPr>
          <p:cNvPr id="13" name="Rectangle 12"/>
          <p:cNvSpPr/>
          <p:nvPr/>
        </p:nvSpPr>
        <p:spPr>
          <a:xfrm>
            <a:off x="7952974" y="729356"/>
            <a:ext cx="1241365" cy="4663440"/>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286" tIns="45652" rIns="91286" bIns="45652"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endParaRPr kumimoji="0" lang="en-IN" sz="1500"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8858446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8" y="225184"/>
            <a:ext cx="11400000" cy="392415"/>
          </a:xfrm>
        </p:spPr>
        <p:txBody>
          <a:bodyPr/>
          <a:lstStyle/>
          <a:p>
            <a:r>
              <a:rPr lang="en-IN" dirty="0"/>
              <a:t>Freight and diesel on a continuous improvement</a:t>
            </a:r>
          </a:p>
        </p:txBody>
      </p:sp>
      <p:sp>
        <p:nvSpPr>
          <p:cNvPr id="3" name="Slide Number Placeholder 2"/>
          <p:cNvSpPr>
            <a:spLocks noGrp="1"/>
          </p:cNvSpPr>
          <p:nvPr>
            <p:ph type="sldNum" sz="quarter" idx="12"/>
          </p:nvPr>
        </p:nvSpPr>
        <p:spPr>
          <a:xfrm>
            <a:off x="7340599" y="6356351"/>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3"/>
            <a:fld id="{47FC1E78-8A1D-4B7B-BB49-A01A2C07F035}" type="slidenum">
              <a:rPr lang="en-US" smtClean="0"/>
              <a:pPr defTabSz="914363"/>
              <a:t>69</a:t>
            </a:fld>
            <a:endParaRPr lang="en-US" dirty="0">
              <a:solidFill>
                <a:prstClr val="black">
                  <a:tint val="75000"/>
                </a:prstClr>
              </a:solidFill>
            </a:endParaRPr>
          </a:p>
        </p:txBody>
      </p:sp>
      <p:sp>
        <p:nvSpPr>
          <p:cNvPr id="5" name="TextBox 4"/>
          <p:cNvSpPr txBox="1"/>
          <p:nvPr/>
        </p:nvSpPr>
        <p:spPr>
          <a:xfrm>
            <a:off x="1082854" y="6325068"/>
            <a:ext cx="6366968" cy="400110"/>
          </a:xfrm>
          <a:prstGeom prst="rect">
            <a:avLst/>
          </a:prstGeom>
          <a:noFill/>
        </p:spPr>
        <p:txBody>
          <a:bodyPr wrap="square" rtlCol="0">
            <a:spAutoFit/>
          </a:bodyPr>
          <a:lstStyle/>
          <a:p>
            <a:pPr defTabSz="914363"/>
            <a:r>
              <a:rPr lang="en-US" sz="1000" dirty="0">
                <a:solidFill>
                  <a:prstClr val="black"/>
                </a:solidFill>
                <a:latin typeface="Arial" panose="020B0604020202020204" pitchFamily="34" charset="0"/>
                <a:cs typeface="Arial" panose="020B0604020202020204" pitchFamily="34" charset="0"/>
              </a:rPr>
              <a:t>Source: IFTRT,PPAC,CRISIL Research		</a:t>
            </a:r>
          </a:p>
          <a:p>
            <a:pPr defTabSz="914363"/>
            <a:r>
              <a:rPr lang="en-US" sz="1000" dirty="0">
                <a:solidFill>
                  <a:prstClr val="black"/>
                </a:solidFill>
                <a:latin typeface="Arial" panose="020B0604020202020204" pitchFamily="34" charset="0"/>
                <a:cs typeface="Arial" panose="020B0604020202020204" pitchFamily="34" charset="0"/>
              </a:rPr>
              <a:t>	</a:t>
            </a:r>
            <a:endParaRPr lang="en-GB" sz="1000" dirty="0">
              <a:solidFill>
                <a:prstClr val="black"/>
              </a:solidFill>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B7A13428-790C-40C6-AD68-9B0563C4B4DD}"/>
              </a:ext>
            </a:extLst>
          </p:cNvPr>
          <p:cNvGraphicFramePr>
            <a:graphicFrameLocks/>
          </p:cNvGraphicFramePr>
          <p:nvPr/>
        </p:nvGraphicFramePr>
        <p:xfrm>
          <a:off x="182116" y="617599"/>
          <a:ext cx="11400000" cy="51359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67561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bility Trends</a:t>
            </a:r>
          </a:p>
        </p:txBody>
      </p:sp>
    </p:spTree>
    <p:extLst>
      <p:ext uri="{BB962C8B-B14F-4D97-AF65-F5344CB8AC3E}">
        <p14:creationId xmlns:p14="http://schemas.microsoft.com/office/powerpoint/2010/main" val="104704993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3500" y="84115"/>
            <a:ext cx="11468100" cy="852460"/>
          </a:xfrm>
        </p:spPr>
        <p:txBody>
          <a:bodyPr vert="horz" lIns="76128" tIns="38060" rIns="76128" bIns="38060" rtlCol="0" anchor="ctr">
            <a:spAutoFit/>
          </a:bodyPr>
          <a:lstStyle/>
          <a:p>
            <a:r>
              <a:rPr lang="en-US" sz="2800" dirty="0">
                <a:solidFill>
                  <a:srgbClr val="272727"/>
                </a:solidFill>
              </a:rPr>
              <a:t>A</a:t>
            </a:r>
            <a:r>
              <a:rPr lang="en-US" sz="2800" i="0" dirty="0">
                <a:solidFill>
                  <a:srgbClr val="272727"/>
                </a:solidFill>
                <a:effectLst/>
              </a:rPr>
              <a:t>griculture is expected to maintain a healthy growth momentum – growing 3.3% in fiscal 2022</a:t>
            </a:r>
            <a:endParaRPr lang="en-US" sz="2800" dirty="0">
              <a:solidFill>
                <a:schemeClr val="tx1"/>
              </a:solidFill>
            </a:endParaRPr>
          </a:p>
        </p:txBody>
      </p:sp>
      <p:sp>
        <p:nvSpPr>
          <p:cNvPr id="39" name="TextBox 5"/>
          <p:cNvSpPr txBox="1">
            <a:spLocks noChangeArrowheads="1"/>
          </p:cNvSpPr>
          <p:nvPr/>
        </p:nvSpPr>
        <p:spPr bwMode="auto">
          <a:xfrm>
            <a:off x="381000" y="4822293"/>
            <a:ext cx="5638800" cy="141129"/>
          </a:xfrm>
          <a:prstGeom prst="rect">
            <a:avLst/>
          </a:prstGeom>
          <a:solidFill>
            <a:schemeClr val="bg1"/>
          </a:solidFill>
          <a:ln w="9525">
            <a:noFill/>
            <a:miter lim="800000"/>
            <a:headEnd/>
            <a:tailEnd/>
          </a:ln>
        </p:spPr>
        <p:txBody>
          <a:bodyPr wrap="square" lIns="0" tIns="0" rIns="0" bIns="0">
            <a:spAutoFit/>
          </a:bodyPr>
          <a:lstStyle/>
          <a:p>
            <a:pPr defTabSz="380625" fontAlgn="base">
              <a:spcBef>
                <a:spcPct val="0"/>
              </a:spcBef>
              <a:spcAft>
                <a:spcPct val="0"/>
              </a:spcAft>
            </a:pPr>
            <a:r>
              <a:rPr lang="en-US" sz="900" i="1" dirty="0">
                <a:solidFill>
                  <a:prstClr val="black"/>
                </a:solidFill>
                <a:latin typeface="Arial"/>
                <a:ea typeface="MS PGothic" charset="0"/>
              </a:rPr>
              <a:t>Source: MOSPI, CRISIL Research</a:t>
            </a:r>
          </a:p>
        </p:txBody>
      </p:sp>
      <p:sp>
        <p:nvSpPr>
          <p:cNvPr id="45" name="Text Placeholder 11"/>
          <p:cNvSpPr txBox="1">
            <a:spLocks/>
          </p:cNvSpPr>
          <p:nvPr/>
        </p:nvSpPr>
        <p:spPr>
          <a:xfrm>
            <a:off x="381000" y="999527"/>
            <a:ext cx="5638800" cy="374117"/>
          </a:xfrm>
          <a:prstGeom prst="rect">
            <a:avLst/>
          </a:prstGeom>
          <a:solidFill>
            <a:srgbClr val="3C3C3B"/>
          </a:solidFill>
          <a:ln>
            <a:noFill/>
          </a:ln>
        </p:spPr>
        <p:txBody>
          <a:bodyPr vert="horz" lIns="76128" tIns="38060" rIns="76128" bIns="38060" rtlCol="0" anchor="ctr">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defTabSz="761250">
              <a:lnSpc>
                <a:spcPts val="1100"/>
              </a:lnSpc>
              <a:buFont typeface="Arial" panose="020B0604020202020204" pitchFamily="34" charset="0"/>
              <a:buNone/>
              <a:defRPr/>
            </a:pPr>
            <a:r>
              <a:rPr lang="en-US" sz="1300" b="1" dirty="0">
                <a:solidFill>
                  <a:srgbClr val="FFFFFF"/>
                </a:solidFill>
                <a:latin typeface="Arial" panose="020B0604020202020204" pitchFamily="34" charset="0"/>
                <a:ea typeface="MS PGothic" charset="0"/>
                <a:cs typeface="Arial" panose="020B0604020202020204" pitchFamily="34" charset="0"/>
              </a:rPr>
              <a:t>Agriculture </a:t>
            </a:r>
            <a:r>
              <a:rPr lang="en-US" sz="1300" b="1" dirty="0" err="1">
                <a:solidFill>
                  <a:srgbClr val="FFFFFF"/>
                </a:solidFill>
                <a:latin typeface="Arial" panose="020B0604020202020204" pitchFamily="34" charset="0"/>
                <a:ea typeface="MS PGothic" charset="0"/>
                <a:cs typeface="Arial" panose="020B0604020202020204" pitchFamily="34" charset="0"/>
              </a:rPr>
              <a:t>GVA</a:t>
            </a:r>
            <a:r>
              <a:rPr lang="en-US" sz="1300" b="1" dirty="0">
                <a:solidFill>
                  <a:srgbClr val="FFFFFF"/>
                </a:solidFill>
                <a:latin typeface="Arial" panose="020B0604020202020204" pitchFamily="34" charset="0"/>
                <a:ea typeface="MS PGothic" charset="0"/>
                <a:cs typeface="Arial" panose="020B0604020202020204" pitchFamily="34" charset="0"/>
              </a:rPr>
              <a:t> growth</a:t>
            </a:r>
          </a:p>
        </p:txBody>
      </p:sp>
      <p:sp>
        <p:nvSpPr>
          <p:cNvPr id="18" name="TextBox 17"/>
          <p:cNvSpPr txBox="1"/>
          <p:nvPr/>
        </p:nvSpPr>
        <p:spPr>
          <a:xfrm>
            <a:off x="381000" y="4963421"/>
            <a:ext cx="11468100" cy="1322453"/>
          </a:xfrm>
          <a:prstGeom prst="rect">
            <a:avLst/>
          </a:prstGeom>
          <a:solidFill>
            <a:schemeClr val="bg1">
              <a:lumMod val="85000"/>
            </a:schemeClr>
          </a:solidFill>
          <a:ln>
            <a:noFill/>
          </a:ln>
        </p:spPr>
        <p:txBody>
          <a:bodyPr lIns="63439" tIns="63439" rIns="63439" bIns="63439" anchor="ctr"/>
          <a:lstStyle/>
          <a:p>
            <a:pPr marL="274320" lvl="1" indent="-274320" defTabSz="914363">
              <a:lnSpc>
                <a:spcPct val="150000"/>
              </a:lnSpc>
              <a:buSzPct val="150000"/>
              <a:buFont typeface="Arial" panose="020B0604020202020204" pitchFamily="34" charset="0"/>
              <a:buChar char="•"/>
              <a:defRPr/>
            </a:pPr>
            <a:r>
              <a:rPr lang="en-IN" sz="1200" dirty="0">
                <a:solidFill>
                  <a:prstClr val="black"/>
                </a:solidFill>
                <a:latin typeface="Arial" panose="020B0604020202020204" pitchFamily="34" charset="0"/>
                <a:cs typeface="Arial" panose="020B0604020202020204" pitchFamily="34" charset="0"/>
              </a:rPr>
              <a:t>Agri GDP growth of Q3 FY 2022 grew at 3.6% on-year. Growth in Q2 FY 2022 was around 4.5%</a:t>
            </a:r>
          </a:p>
          <a:p>
            <a:pPr marL="274320" lvl="1" indent="-274320" defTabSz="914363">
              <a:lnSpc>
                <a:spcPct val="150000"/>
              </a:lnSpc>
              <a:buSzPct val="150000"/>
              <a:buFont typeface="Arial" panose="020B0604020202020204" pitchFamily="34" charset="0"/>
              <a:buChar char="•"/>
              <a:defRPr/>
            </a:pPr>
            <a:r>
              <a:rPr lang="en-US" sz="1200" dirty="0">
                <a:solidFill>
                  <a:prstClr val="black"/>
                </a:solidFill>
                <a:latin typeface="Arial" panose="020B0604020202020204" pitchFamily="34" charset="0"/>
                <a:cs typeface="Arial" panose="020B0604020202020204" pitchFamily="34" charset="0"/>
              </a:rPr>
              <a:t>Overall agriculture growth is expected to remain healthy at 3-3.5% in next fiscal as well, given the normal monsoon, expectation of record kharif production, and adequate reservoir levels.</a:t>
            </a:r>
          </a:p>
          <a:p>
            <a:pPr marL="274320" lvl="1" indent="-274320" defTabSz="914363">
              <a:lnSpc>
                <a:spcPct val="150000"/>
              </a:lnSpc>
              <a:buSzPct val="150000"/>
              <a:buFont typeface="Arial" panose="020B0604020202020204" pitchFamily="34" charset="0"/>
              <a:buChar char="•"/>
              <a:defRPr/>
            </a:pPr>
            <a:r>
              <a:rPr lang="en-IN" sz="1200" dirty="0">
                <a:solidFill>
                  <a:prstClr val="black"/>
                </a:solidFill>
                <a:latin typeface="Arial" panose="020B0604020202020204" pitchFamily="34" charset="0"/>
                <a:cs typeface="Arial" panose="020B0604020202020204" pitchFamily="34" charset="0"/>
              </a:rPr>
              <a:t>Industry GVA witnessed growth in Q3 FY22 by 3% on a growth of 3% in Q3 FY21</a:t>
            </a:r>
          </a:p>
        </p:txBody>
      </p:sp>
      <p:sp>
        <p:nvSpPr>
          <p:cNvPr id="8" name="Text Placeholder 11"/>
          <p:cNvSpPr txBox="1">
            <a:spLocks/>
          </p:cNvSpPr>
          <p:nvPr/>
        </p:nvSpPr>
        <p:spPr>
          <a:xfrm>
            <a:off x="6210300" y="987331"/>
            <a:ext cx="5638800" cy="374904"/>
          </a:xfrm>
          <a:prstGeom prst="rect">
            <a:avLst/>
          </a:prstGeom>
          <a:solidFill>
            <a:srgbClr val="3C3C3B"/>
          </a:solidFill>
          <a:ln>
            <a:noFill/>
          </a:ln>
          <a:effectLst/>
        </p:spPr>
        <p:style>
          <a:lnRef idx="1">
            <a:schemeClr val="accent1"/>
          </a:lnRef>
          <a:fillRef idx="3">
            <a:schemeClr val="accent1"/>
          </a:fillRef>
          <a:effectRef idx="2">
            <a:schemeClr val="accent1"/>
          </a:effectRef>
          <a:fontRef idx="minor">
            <a:schemeClr val="lt1"/>
          </a:fontRef>
        </p:style>
        <p:txBody>
          <a:bodyPr lIns="91350" tIns="45680" rIns="91350" bIns="45680" anchor="ctr"/>
          <a:lstStyle>
            <a:defPPr>
              <a:defRPr lang="en-US"/>
            </a:defPPr>
            <a:lvl1pPr algn="ctr">
              <a:defRPr sz="1600" b="1">
                <a:solidFill>
                  <a:schemeClr val="bg1"/>
                </a:solidFill>
                <a:latin typeface="Arial" panose="020B0604020202020204" pitchFamily="34" charset="0"/>
                <a:ea typeface="MS PGothic" pitchFamily="34" charset="-128"/>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3520"/>
            <a:r>
              <a:rPr lang="en-US" dirty="0">
                <a:solidFill>
                  <a:srgbClr val="FFFFFF"/>
                </a:solidFill>
              </a:rPr>
              <a:t>Industry </a:t>
            </a:r>
            <a:r>
              <a:rPr lang="en-US" dirty="0" err="1">
                <a:solidFill>
                  <a:srgbClr val="FFFFFF"/>
                </a:solidFill>
              </a:rPr>
              <a:t>GVA</a:t>
            </a:r>
            <a:r>
              <a:rPr lang="en-US" dirty="0">
                <a:solidFill>
                  <a:srgbClr val="FFFFFF"/>
                </a:solidFill>
              </a:rPr>
              <a:t> growth</a:t>
            </a:r>
          </a:p>
        </p:txBody>
      </p:sp>
      <p:sp>
        <p:nvSpPr>
          <p:cNvPr id="9" name="TextBox 8">
            <a:extLst>
              <a:ext uri="{FF2B5EF4-FFF2-40B4-BE49-F238E27FC236}">
                <a16:creationId xmlns:a16="http://schemas.microsoft.com/office/drawing/2014/main" id="{698E919D-6979-41D7-9E83-DB7DA5040325}"/>
              </a:ext>
            </a:extLst>
          </p:cNvPr>
          <p:cNvSpPr txBox="1"/>
          <p:nvPr/>
        </p:nvSpPr>
        <p:spPr>
          <a:xfrm>
            <a:off x="6172205" y="4769746"/>
            <a:ext cx="5587646" cy="246221"/>
          </a:xfrm>
          <a:prstGeom prst="rect">
            <a:avLst/>
          </a:prstGeom>
          <a:noFill/>
        </p:spPr>
        <p:txBody>
          <a:bodyPr wrap="square" lIns="91350" tIns="45680" rIns="91350" bIns="45680" rtlCol="0">
            <a:spAutoFit/>
          </a:bodyPr>
          <a:lstStyle/>
          <a:p>
            <a:pPr defTabSz="913483"/>
            <a:r>
              <a:rPr lang="en-IN" sz="1000" i="1" dirty="0">
                <a:solidFill>
                  <a:prstClr val="black"/>
                </a:solidFill>
                <a:latin typeface="Arial" panose="020B0604020202020204" pitchFamily="34" charset="0"/>
                <a:cs typeface="Arial" panose="020B0604020202020204" pitchFamily="34" charset="0"/>
              </a:rPr>
              <a:t>Source</a:t>
            </a:r>
            <a:r>
              <a:rPr lang="en-US" sz="1000" i="1" dirty="0">
                <a:solidFill>
                  <a:prstClr val="black"/>
                </a:solidFill>
                <a:latin typeface="Arial" panose="020B0604020202020204" pitchFamily="34" charset="0"/>
                <a:cs typeface="Arial" panose="020B0604020202020204" pitchFamily="34" charset="0"/>
              </a:rPr>
              <a:t>: MOSPI, CRISIL Research</a:t>
            </a:r>
            <a:endParaRPr lang="en-IN" sz="1000" i="1" dirty="0">
              <a:solidFill>
                <a:prstClr val="black"/>
              </a:solidFill>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00000000-0008-0000-0100-000003000000}"/>
              </a:ext>
            </a:extLst>
          </p:cNvPr>
          <p:cNvGraphicFramePr>
            <a:graphicFrameLocks/>
          </p:cNvGraphicFramePr>
          <p:nvPr/>
        </p:nvGraphicFramePr>
        <p:xfrm>
          <a:off x="390400" y="1395616"/>
          <a:ext cx="5629400" cy="32996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00000000-0008-0000-0100-000007000000}"/>
              </a:ext>
            </a:extLst>
          </p:cNvPr>
          <p:cNvGraphicFramePr>
            <a:graphicFrameLocks/>
          </p:cNvGraphicFramePr>
          <p:nvPr>
            <p:extLst>
              <p:ext uri="{D42A27DB-BD31-4B8C-83A1-F6EECF244321}">
                <p14:modId xmlns:p14="http://schemas.microsoft.com/office/powerpoint/2010/main" val="1520227112"/>
              </p:ext>
            </p:extLst>
          </p:nvPr>
        </p:nvGraphicFramePr>
        <p:xfrm>
          <a:off x="6210298" y="1395616"/>
          <a:ext cx="5587645" cy="31755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82726003"/>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58367"/>
            <a:ext cx="11811000" cy="332399"/>
          </a:xfrm>
        </p:spPr>
        <p:txBody>
          <a:bodyPr>
            <a:noAutofit/>
          </a:bodyPr>
          <a:lstStyle/>
          <a:p>
            <a:r>
              <a:rPr lang="en-IN" sz="2400" b="1" dirty="0">
                <a:solidFill>
                  <a:srgbClr val="000000"/>
                </a:solidFill>
                <a:latin typeface="Akkurat-Bold"/>
              </a:rPr>
              <a:t>IIP holds ground</a:t>
            </a:r>
            <a:endParaRPr lang="en-IN" sz="2400" b="1" i="0" dirty="0">
              <a:solidFill>
                <a:srgbClr val="000000"/>
              </a:solidFill>
              <a:effectLst/>
              <a:latin typeface="Akkurat-Bold"/>
            </a:endParaRPr>
          </a:p>
        </p:txBody>
      </p:sp>
      <p:sp>
        <p:nvSpPr>
          <p:cNvPr id="12" name="TextBox 5"/>
          <p:cNvSpPr txBox="1">
            <a:spLocks noChangeArrowheads="1"/>
          </p:cNvSpPr>
          <p:nvPr/>
        </p:nvSpPr>
        <p:spPr bwMode="auto">
          <a:xfrm>
            <a:off x="396312" y="4835105"/>
            <a:ext cx="5638800" cy="141129"/>
          </a:xfrm>
          <a:prstGeom prst="rect">
            <a:avLst/>
          </a:prstGeom>
          <a:solidFill>
            <a:schemeClr val="bg1"/>
          </a:solidFill>
          <a:ln w="9525">
            <a:noFill/>
            <a:miter lim="800000"/>
            <a:headEnd/>
            <a:tailEnd/>
          </a:ln>
        </p:spPr>
        <p:txBody>
          <a:bodyPr wrap="square" lIns="0" tIns="0" rIns="0" bIns="0">
            <a:spAutoFit/>
          </a:bodyPr>
          <a:lstStyle/>
          <a:p>
            <a:pPr defTabSz="380625" fontAlgn="base">
              <a:spcBef>
                <a:spcPct val="0"/>
              </a:spcBef>
              <a:spcAft>
                <a:spcPct val="0"/>
              </a:spcAft>
            </a:pPr>
            <a:r>
              <a:rPr lang="en-US" sz="900" i="1" dirty="0">
                <a:solidFill>
                  <a:prstClr val="black"/>
                </a:solidFill>
                <a:latin typeface="Arial"/>
                <a:ea typeface="MS PGothic" charset="0"/>
              </a:rPr>
              <a:t>Source: MOSPI, CRISIL Research</a:t>
            </a:r>
          </a:p>
        </p:txBody>
      </p:sp>
      <p:sp>
        <p:nvSpPr>
          <p:cNvPr id="18" name="TextBox 17"/>
          <p:cNvSpPr txBox="1"/>
          <p:nvPr/>
        </p:nvSpPr>
        <p:spPr>
          <a:xfrm>
            <a:off x="361950" y="5167735"/>
            <a:ext cx="11468100" cy="1064441"/>
          </a:xfrm>
          <a:prstGeom prst="rect">
            <a:avLst/>
          </a:prstGeom>
          <a:solidFill>
            <a:schemeClr val="bg1">
              <a:lumMod val="85000"/>
            </a:schemeClr>
          </a:solidFill>
          <a:ln>
            <a:noFill/>
          </a:ln>
        </p:spPr>
        <p:txBody>
          <a:bodyPr lIns="76128" tIns="76128" rIns="76128" bIns="76128" anchor="ctr"/>
          <a:lstStyle>
            <a:defPPr>
              <a:defRPr lang="en-US"/>
            </a:defPPr>
            <a:lvl2pPr marL="344488" lvl="1" indent="-290513" algn="just">
              <a:buClr>
                <a:schemeClr val="tx1"/>
              </a:buClr>
              <a:buSzPct val="140000"/>
              <a:buFont typeface="Arial" panose="020B0604020202020204" pitchFamily="34" charset="0"/>
              <a:buChar char="•"/>
              <a:defRPr sz="1400">
                <a:solidFill>
                  <a:prstClr val="black"/>
                </a:solidFill>
                <a:latin typeface="Arial" panose="020B0604020202020204" pitchFamily="34" charset="0"/>
                <a:cs typeface="Arial" panose="020B0604020202020204" pitchFamily="34" charset="0"/>
              </a:defRPr>
            </a:lvl2pPr>
          </a:lstStyle>
          <a:p>
            <a:pPr marL="171450" indent="-171450">
              <a:buFont typeface="Wingdings" panose="05000000000000000000" pitchFamily="2" charset="2"/>
              <a:buChar char="§"/>
            </a:pPr>
            <a:endParaRPr lang="en-US" sz="1200" dirty="0">
              <a:solidFill>
                <a:srgbClr val="272727"/>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US" sz="1200" dirty="0">
                <a:solidFill>
                  <a:srgbClr val="272727"/>
                </a:solidFill>
                <a:latin typeface="Arial" panose="020B0604020202020204" pitchFamily="34" charset="0"/>
                <a:cs typeface="Arial" panose="020B0604020202020204" pitchFamily="34" charset="0"/>
              </a:rPr>
              <a:t>The Index of Industrial Production (IIP) printed at 138.4 in January, same as that in December and representing 1.3% on-year growth, up from 0.7% growth in December. </a:t>
            </a:r>
          </a:p>
          <a:p>
            <a:pPr marL="171450" indent="-171450">
              <a:buFont typeface="Wingdings" panose="05000000000000000000" pitchFamily="2" charset="2"/>
              <a:buChar char="§"/>
            </a:pPr>
            <a:r>
              <a:rPr lang="en-US" sz="1200" dirty="0">
                <a:solidFill>
                  <a:srgbClr val="272727"/>
                </a:solidFill>
                <a:latin typeface="Arial" panose="020B0604020202020204" pitchFamily="34" charset="0"/>
                <a:cs typeface="Arial" panose="020B0604020202020204" pitchFamily="34" charset="0"/>
              </a:rPr>
              <a:t>In terms of sectoral composition, while pick up in infrastructure activity provided support, capital and consumer goods performance continued to remain weak, indicating a broad based revival in the economy still remains elusive.</a:t>
            </a:r>
          </a:p>
          <a:p>
            <a:pPr marL="171450" indent="-171450">
              <a:buFont typeface="Wingdings" panose="05000000000000000000" pitchFamily="2" charset="2"/>
              <a:buChar char="§"/>
            </a:pPr>
            <a:r>
              <a:rPr lang="en-US" sz="1200" dirty="0">
                <a:solidFill>
                  <a:srgbClr val="272727"/>
                </a:solidFill>
                <a:latin typeface="Arial" panose="020B0604020202020204" pitchFamily="34" charset="0"/>
                <a:cs typeface="Arial" panose="020B0604020202020204" pitchFamily="34" charset="0"/>
              </a:rPr>
              <a:t>Growth in manufacturing (which has the highest weight of 77.6% in IIP) improved to 1.1% in January, from 0.2% in December, suggesting some of the supply side issues may be getting eased.</a:t>
            </a:r>
          </a:p>
        </p:txBody>
      </p:sp>
      <p:sp>
        <p:nvSpPr>
          <p:cNvPr id="8" name="Text Placeholder 6"/>
          <p:cNvSpPr txBox="1">
            <a:spLocks/>
          </p:cNvSpPr>
          <p:nvPr/>
        </p:nvSpPr>
        <p:spPr>
          <a:xfrm>
            <a:off x="6210300" y="821537"/>
            <a:ext cx="5638800" cy="342899"/>
          </a:xfrm>
          <a:prstGeom prst="rect">
            <a:avLst/>
          </a:prstGeom>
          <a:solidFill>
            <a:srgbClr val="3C3C3B"/>
          </a:solidFill>
        </p:spPr>
        <p:txBody>
          <a:bodyPr lIns="91350" tIns="45680" rIns="91350" bIns="45680"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Font typeface="Arial" panose="020B0604020202020204" pitchFamily="34" charset="0"/>
              <a:buNone/>
            </a:pPr>
            <a:r>
              <a:rPr lang="en-US" sz="1300" b="1" dirty="0">
                <a:solidFill>
                  <a:srgbClr val="FFFFFF"/>
                </a:solidFill>
                <a:cs typeface="Arial" panose="020B0604020202020204" pitchFamily="34" charset="0"/>
              </a:rPr>
              <a:t>IIP Manufacturing</a:t>
            </a:r>
          </a:p>
        </p:txBody>
      </p:sp>
      <p:sp>
        <p:nvSpPr>
          <p:cNvPr id="11" name="Text Placeholder 6"/>
          <p:cNvSpPr txBox="1">
            <a:spLocks/>
          </p:cNvSpPr>
          <p:nvPr/>
        </p:nvSpPr>
        <p:spPr>
          <a:xfrm>
            <a:off x="381000" y="825237"/>
            <a:ext cx="5638800" cy="342900"/>
          </a:xfrm>
          <a:prstGeom prst="rect">
            <a:avLst/>
          </a:prstGeom>
          <a:solidFill>
            <a:srgbClr val="3C3C3B"/>
          </a:solidFill>
        </p:spPr>
        <p:txBody>
          <a:bodyPr lIns="91350" tIns="45680" rIns="91350" bIns="45680"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Font typeface="Arial" panose="020B0604020202020204" pitchFamily="34" charset="0"/>
              <a:buNone/>
            </a:pPr>
            <a:r>
              <a:rPr lang="en-US" sz="1300" b="1" dirty="0">
                <a:solidFill>
                  <a:srgbClr val="FFFFFF"/>
                </a:solidFill>
                <a:cs typeface="Arial" panose="020B0604020202020204" pitchFamily="34" charset="0"/>
              </a:rPr>
              <a:t>IIP Capital Goods</a:t>
            </a:r>
          </a:p>
        </p:txBody>
      </p:sp>
      <p:sp>
        <p:nvSpPr>
          <p:cNvPr id="13" name="TextBox 5">
            <a:extLst>
              <a:ext uri="{FF2B5EF4-FFF2-40B4-BE49-F238E27FC236}">
                <a16:creationId xmlns:a16="http://schemas.microsoft.com/office/drawing/2014/main" id="{67A530AA-9CF2-4272-B8FF-9115FCC76E1B}"/>
              </a:ext>
            </a:extLst>
          </p:cNvPr>
          <p:cNvSpPr txBox="1">
            <a:spLocks noChangeArrowheads="1"/>
          </p:cNvSpPr>
          <p:nvPr/>
        </p:nvSpPr>
        <p:spPr bwMode="auto">
          <a:xfrm>
            <a:off x="6286499" y="4872464"/>
            <a:ext cx="5638800" cy="141129"/>
          </a:xfrm>
          <a:prstGeom prst="rect">
            <a:avLst/>
          </a:prstGeom>
          <a:solidFill>
            <a:schemeClr val="bg1"/>
          </a:solidFill>
          <a:ln w="9525">
            <a:noFill/>
            <a:miter lim="800000"/>
            <a:headEnd/>
            <a:tailEnd/>
          </a:ln>
        </p:spPr>
        <p:txBody>
          <a:bodyPr wrap="square" lIns="0" tIns="0" rIns="0" bIns="0">
            <a:spAutoFit/>
          </a:bodyPr>
          <a:lstStyle/>
          <a:p>
            <a:pPr defTabSz="380625" fontAlgn="base">
              <a:spcBef>
                <a:spcPct val="0"/>
              </a:spcBef>
              <a:spcAft>
                <a:spcPct val="0"/>
              </a:spcAft>
            </a:pPr>
            <a:r>
              <a:rPr lang="en-US" sz="900" i="1" dirty="0">
                <a:solidFill>
                  <a:prstClr val="black"/>
                </a:solidFill>
                <a:latin typeface="Arial"/>
                <a:ea typeface="MS PGothic" charset="0"/>
              </a:rPr>
              <a:t>Source: MOSPI, CRISIL Research</a:t>
            </a:r>
          </a:p>
        </p:txBody>
      </p:sp>
      <p:graphicFrame>
        <p:nvGraphicFramePr>
          <p:cNvPr id="10" name="Chart 9">
            <a:extLst>
              <a:ext uri="{FF2B5EF4-FFF2-40B4-BE49-F238E27FC236}">
                <a16:creationId xmlns:a16="http://schemas.microsoft.com/office/drawing/2014/main" id="{00000000-0008-0000-0700-000005000000}"/>
              </a:ext>
            </a:extLst>
          </p:cNvPr>
          <p:cNvGraphicFramePr>
            <a:graphicFrameLocks/>
          </p:cNvGraphicFramePr>
          <p:nvPr/>
        </p:nvGraphicFramePr>
        <p:xfrm>
          <a:off x="396312" y="1198460"/>
          <a:ext cx="5585389" cy="36366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00000000-0008-0000-0700-00000A000000}"/>
              </a:ext>
            </a:extLst>
          </p:cNvPr>
          <p:cNvGraphicFramePr>
            <a:graphicFrameLocks/>
          </p:cNvGraphicFramePr>
          <p:nvPr/>
        </p:nvGraphicFramePr>
        <p:xfrm>
          <a:off x="6210301" y="1198459"/>
          <a:ext cx="5638800" cy="363664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25271241"/>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263" y="266102"/>
            <a:ext cx="11468100" cy="300147"/>
          </a:xfrm>
        </p:spPr>
        <p:txBody>
          <a:bodyPr>
            <a:noAutofit/>
          </a:bodyPr>
          <a:lstStyle/>
          <a:p>
            <a:pPr defTabSz="1097236">
              <a:spcBef>
                <a:spcPct val="50000"/>
              </a:spcBef>
              <a:defRPr/>
            </a:pPr>
            <a:r>
              <a:rPr lang="en-US" sz="3000" b="1" dirty="0">
                <a:solidFill>
                  <a:schemeClr val="tx1"/>
                </a:solidFill>
                <a:latin typeface="Arial" panose="020B0604020202020204" pitchFamily="34" charset="0"/>
                <a:cs typeface="Arial" panose="020B0604020202020204" pitchFamily="34" charset="0"/>
              </a:rPr>
              <a:t>GDP THTC &amp; IIP-Mining</a:t>
            </a:r>
          </a:p>
        </p:txBody>
      </p:sp>
      <p:sp>
        <p:nvSpPr>
          <p:cNvPr id="22" name="Rectangle 21"/>
          <p:cNvSpPr/>
          <p:nvPr/>
        </p:nvSpPr>
        <p:spPr>
          <a:xfrm>
            <a:off x="6210300" y="833250"/>
            <a:ext cx="5638800" cy="342900"/>
          </a:xfrm>
          <a:prstGeom prst="rect">
            <a:avLst/>
          </a:prstGeom>
          <a:solidFill>
            <a:srgbClr val="3C3C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anchor="ctr"/>
          <a:lstStyle/>
          <a:p>
            <a:pPr algn="ctr" defTabSz="913520">
              <a:defRPr/>
            </a:pPr>
            <a:r>
              <a:rPr lang="en-US" sz="1300" b="1" dirty="0">
                <a:solidFill>
                  <a:prstClr val="white"/>
                </a:solidFill>
                <a:latin typeface="Arial" panose="020B0604020202020204" pitchFamily="34" charset="0"/>
                <a:cs typeface="Arial" panose="020B0604020202020204" pitchFamily="34" charset="0"/>
              </a:rPr>
              <a:t>IIP mining</a:t>
            </a:r>
            <a:endParaRPr lang="en-IN" sz="1300" b="1" dirty="0">
              <a:solidFill>
                <a:prstClr val="white"/>
              </a:solidFill>
              <a:latin typeface="Arial" panose="020B0604020202020204" pitchFamily="34" charset="0"/>
              <a:cs typeface="Arial" panose="020B0604020202020204" pitchFamily="34" charset="0"/>
            </a:endParaRPr>
          </a:p>
        </p:txBody>
      </p:sp>
      <p:sp>
        <p:nvSpPr>
          <p:cNvPr id="25" name="TextBox 24"/>
          <p:cNvSpPr txBox="1"/>
          <p:nvPr/>
        </p:nvSpPr>
        <p:spPr>
          <a:xfrm>
            <a:off x="377262" y="5303395"/>
            <a:ext cx="11468100" cy="9144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76128" tIns="45680" rIns="76128" bIns="45680" anchor="ctr"/>
          <a:lstStyle>
            <a:defPPr>
              <a:defRPr lang="en-US"/>
            </a:defPPr>
            <a:lvl1pPr>
              <a:defRPr>
                <a:solidFill>
                  <a:schemeClr val="lt1"/>
                </a:solidFill>
                <a:latin typeface="+mn-lt"/>
                <a:cs typeface="+mn-cs"/>
              </a:defRPr>
            </a:lvl1pPr>
            <a:lvl2pPr marL="114300" lvl="1" indent="-114300">
              <a:spcBef>
                <a:spcPts val="200"/>
              </a:spcBef>
              <a:buFont typeface="Wingdings" panose="05000000000000000000" pitchFamily="2" charset="2"/>
              <a:buChar char="§"/>
              <a:defRPr sz="1200" b="1">
                <a:latin typeface="Arial Regular"/>
                <a:ea typeface="MS PGothic" pitchFamily="34" charset="-128"/>
                <a:cs typeface="Arial Regular" charset="0"/>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marL="222016" lvl="1" indent="-222016" algn="just" defTabSz="913520">
              <a:spcBef>
                <a:spcPts val="0"/>
              </a:spcBef>
            </a:pPr>
            <a:r>
              <a:rPr lang="en-US" b="0" dirty="0">
                <a:solidFill>
                  <a:srgbClr val="000000"/>
                </a:solidFill>
                <a:latin typeface="Arial" panose="020B0604020202020204" pitchFamily="34" charset="0"/>
                <a:cs typeface="Arial" panose="020B0604020202020204" pitchFamily="34" charset="0"/>
              </a:rPr>
              <a:t>GDP THTC registered a growth of 3% in third quarter over Q3FY21.  This segment is showing signs of revival</a:t>
            </a:r>
          </a:p>
          <a:p>
            <a:pPr marL="0" lvl="1" indent="0" algn="just" defTabSz="913520">
              <a:spcBef>
                <a:spcPts val="0"/>
              </a:spcBef>
              <a:buNone/>
            </a:pPr>
            <a:r>
              <a:rPr lang="en-US" b="0" dirty="0">
                <a:solidFill>
                  <a:srgbClr val="000000"/>
                </a:solidFill>
                <a:latin typeface="Arial" panose="020B0604020202020204" pitchFamily="34" charset="0"/>
                <a:cs typeface="Arial" panose="020B0604020202020204" pitchFamily="34" charset="0"/>
              </a:rPr>
              <a:t>. </a:t>
            </a:r>
          </a:p>
          <a:p>
            <a:pPr marL="222016" lvl="1" indent="-222016" algn="just" defTabSz="913520">
              <a:spcBef>
                <a:spcPts val="0"/>
              </a:spcBef>
            </a:pPr>
            <a:r>
              <a:rPr lang="en-US" b="0" i="0" dirty="0">
                <a:solidFill>
                  <a:srgbClr val="272727"/>
                </a:solidFill>
                <a:effectLst/>
                <a:latin typeface="Arial" panose="020B0604020202020204" pitchFamily="34" charset="0"/>
                <a:cs typeface="Arial" panose="020B0604020202020204" pitchFamily="34" charset="0"/>
              </a:rPr>
              <a:t>Mining (14.4% weight) sector did better, growing 2.8% on-year in January, up from 2.6% in December. </a:t>
            </a:r>
            <a:endParaRPr lang="en-US" b="0" dirty="0">
              <a:solidFill>
                <a:srgbClr val="000000"/>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6E403BF0-C99B-4129-9D0D-1F8DDBFBD980}"/>
              </a:ext>
            </a:extLst>
          </p:cNvPr>
          <p:cNvSpPr txBox="1"/>
          <p:nvPr/>
        </p:nvSpPr>
        <p:spPr>
          <a:xfrm>
            <a:off x="6206562" y="4763683"/>
            <a:ext cx="5638800" cy="219355"/>
          </a:xfrm>
          <a:prstGeom prst="rect">
            <a:avLst/>
          </a:prstGeom>
          <a:noFill/>
        </p:spPr>
        <p:txBody>
          <a:bodyPr wrap="square" lIns="91350" tIns="45680" rIns="91350" bIns="45680" rtlCol="0">
            <a:spAutoFit/>
          </a:bodyPr>
          <a:lstStyle/>
          <a:p>
            <a:pPr defTabSz="913520">
              <a:lnSpc>
                <a:spcPct val="90000"/>
              </a:lnSpc>
              <a:spcBef>
                <a:spcPts val="1000"/>
              </a:spcBef>
            </a:pPr>
            <a:r>
              <a:rPr lang="en-US" sz="900" i="1" dirty="0">
                <a:solidFill>
                  <a:prstClr val="black"/>
                </a:solidFill>
                <a:latin typeface="Arial" panose="020B0604020202020204" pitchFamily="34" charset="0"/>
                <a:cs typeface="Arial" panose="020B0604020202020204" pitchFamily="34" charset="0"/>
              </a:rPr>
              <a:t>Source- MOSPI, CRISIL Research</a:t>
            </a:r>
          </a:p>
        </p:txBody>
      </p:sp>
      <p:sp>
        <p:nvSpPr>
          <p:cNvPr id="16" name="TextBox 15">
            <a:extLst>
              <a:ext uri="{FF2B5EF4-FFF2-40B4-BE49-F238E27FC236}">
                <a16:creationId xmlns:a16="http://schemas.microsoft.com/office/drawing/2014/main" id="{BB2C3BEB-B686-4588-8B7A-A162E3C966CD}"/>
              </a:ext>
            </a:extLst>
          </p:cNvPr>
          <p:cNvSpPr txBox="1"/>
          <p:nvPr/>
        </p:nvSpPr>
        <p:spPr>
          <a:xfrm>
            <a:off x="377262" y="4763682"/>
            <a:ext cx="5638800" cy="502830"/>
          </a:xfrm>
          <a:prstGeom prst="rect">
            <a:avLst/>
          </a:prstGeom>
          <a:noFill/>
        </p:spPr>
        <p:txBody>
          <a:bodyPr wrap="square" lIns="91350" tIns="45680" rIns="91350" bIns="45680" rtlCol="0">
            <a:spAutoFit/>
          </a:bodyPr>
          <a:lstStyle/>
          <a:p>
            <a:pPr defTabSz="913520">
              <a:spcBef>
                <a:spcPts val="1000"/>
              </a:spcBef>
            </a:pPr>
            <a:r>
              <a:rPr lang="en-US" sz="900" i="1" dirty="0">
                <a:solidFill>
                  <a:prstClr val="black"/>
                </a:solidFill>
                <a:latin typeface="Arial" panose="020B0604020202020204" pitchFamily="34" charset="0"/>
                <a:cs typeface="Arial" panose="020B0604020202020204" pitchFamily="34" charset="0"/>
              </a:rPr>
              <a:t>NOTE: THTC: Transport Hotel Transport Communication Services</a:t>
            </a:r>
          </a:p>
          <a:p>
            <a:pPr defTabSz="913520">
              <a:spcBef>
                <a:spcPts val="1000"/>
              </a:spcBef>
            </a:pPr>
            <a:r>
              <a:rPr lang="en-US" sz="900" i="1" dirty="0">
                <a:solidFill>
                  <a:prstClr val="black"/>
                </a:solidFill>
                <a:latin typeface="Arial" panose="020B0604020202020204" pitchFamily="34" charset="0"/>
                <a:cs typeface="Arial" panose="020B0604020202020204" pitchFamily="34" charset="0"/>
              </a:rPr>
              <a:t>Source- MOSPI, CRISIL Research</a:t>
            </a:r>
          </a:p>
        </p:txBody>
      </p:sp>
      <p:sp>
        <p:nvSpPr>
          <p:cNvPr id="9" name="Rounded Rectangle 40">
            <a:extLst>
              <a:ext uri="{FF2B5EF4-FFF2-40B4-BE49-F238E27FC236}">
                <a16:creationId xmlns:a16="http://schemas.microsoft.com/office/drawing/2014/main" id="{5A27926C-077F-4714-A697-0FA12CA32592}"/>
              </a:ext>
            </a:extLst>
          </p:cNvPr>
          <p:cNvSpPr/>
          <p:nvPr/>
        </p:nvSpPr>
        <p:spPr>
          <a:xfrm>
            <a:off x="381000" y="845125"/>
            <a:ext cx="5638800" cy="342900"/>
          </a:xfrm>
          <a:prstGeom prst="roundRect">
            <a:avLst>
              <a:gd name="adj" fmla="val 0"/>
            </a:avLst>
          </a:prstGeom>
          <a:solidFill>
            <a:srgbClr val="3C3C3B"/>
          </a:solidFill>
          <a:ln>
            <a:noFill/>
          </a:ln>
          <a:effectLst/>
        </p:spPr>
        <p:style>
          <a:lnRef idx="1">
            <a:schemeClr val="accent1"/>
          </a:lnRef>
          <a:fillRef idx="3">
            <a:schemeClr val="accent1"/>
          </a:fillRef>
          <a:effectRef idx="2">
            <a:schemeClr val="accent1"/>
          </a:effectRef>
          <a:fontRef idx="minor">
            <a:schemeClr val="lt1"/>
          </a:fontRef>
        </p:style>
        <p:txBody>
          <a:bodyPr lIns="91350" tIns="45680" rIns="91350" bIns="45680" anchor="ctr"/>
          <a:lstStyle/>
          <a:p>
            <a:pPr algn="ctr" defTabSz="913520">
              <a:spcBef>
                <a:spcPct val="50000"/>
              </a:spcBef>
              <a:defRPr/>
            </a:pPr>
            <a:r>
              <a:rPr lang="en-US" sz="1300" b="1" dirty="0">
                <a:solidFill>
                  <a:srgbClr val="FFFFFF"/>
                </a:solidFill>
                <a:latin typeface="Arial" panose="020B0604020202020204" pitchFamily="34" charset="0"/>
                <a:cs typeface="Arial" panose="020B0604020202020204" pitchFamily="34" charset="0"/>
              </a:rPr>
              <a:t>GDP THTC</a:t>
            </a:r>
          </a:p>
        </p:txBody>
      </p:sp>
      <p:sp>
        <p:nvSpPr>
          <p:cNvPr id="4" name="Rectangle 3"/>
          <p:cNvSpPr/>
          <p:nvPr/>
        </p:nvSpPr>
        <p:spPr>
          <a:xfrm rot="16200000">
            <a:off x="-250547" y="2135452"/>
            <a:ext cx="1090363" cy="276999"/>
          </a:xfrm>
          <a:prstGeom prst="rect">
            <a:avLst/>
          </a:prstGeom>
        </p:spPr>
        <p:txBody>
          <a:bodyPr wrap="none">
            <a:spAutoFit/>
          </a:bodyPr>
          <a:lstStyle/>
          <a:p>
            <a:r>
              <a:rPr lang="en-US" sz="1200" kern="0" dirty="0">
                <a:solidFill>
                  <a:sysClr val="windowText" lastClr="000000"/>
                </a:solidFill>
                <a:latin typeface="Arial" panose="020B0604020202020204" pitchFamily="34" charset="0"/>
                <a:cs typeface="Arial" panose="020B0604020202020204" pitchFamily="34" charset="0"/>
              </a:rPr>
              <a:t>In </a:t>
            </a:r>
            <a:r>
              <a:rPr lang="en-US" sz="1200" kern="0" dirty="0" err="1">
                <a:solidFill>
                  <a:sysClr val="windowText" lastClr="000000"/>
                </a:solidFill>
                <a:latin typeface="Arial" panose="020B0604020202020204" pitchFamily="34" charset="0"/>
                <a:cs typeface="Arial" panose="020B0604020202020204" pitchFamily="34" charset="0"/>
              </a:rPr>
              <a:t>Rs</a:t>
            </a:r>
            <a:r>
              <a:rPr lang="en-US" sz="1200" kern="0" dirty="0">
                <a:solidFill>
                  <a:sysClr val="windowText" lastClr="000000"/>
                </a:solidFill>
                <a:latin typeface="Arial" panose="020B0604020202020204" pitchFamily="34" charset="0"/>
                <a:cs typeface="Arial" panose="020B0604020202020204" pitchFamily="34" charset="0"/>
              </a:rPr>
              <a:t>. Crores</a:t>
            </a:r>
          </a:p>
        </p:txBody>
      </p:sp>
      <p:graphicFrame>
        <p:nvGraphicFramePr>
          <p:cNvPr id="12" name="Chart 11">
            <a:extLst>
              <a:ext uri="{FF2B5EF4-FFF2-40B4-BE49-F238E27FC236}">
                <a16:creationId xmlns:a16="http://schemas.microsoft.com/office/drawing/2014/main" id="{00000000-0008-0000-0700-000009000000}"/>
              </a:ext>
            </a:extLst>
          </p:cNvPr>
          <p:cNvGraphicFramePr>
            <a:graphicFrameLocks/>
          </p:cNvGraphicFramePr>
          <p:nvPr/>
        </p:nvGraphicFramePr>
        <p:xfrm>
          <a:off x="6206562" y="1194940"/>
          <a:ext cx="5608176" cy="32483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00000000-0008-0000-0100-000008000000}"/>
              </a:ext>
            </a:extLst>
          </p:cNvPr>
          <p:cNvGraphicFramePr>
            <a:graphicFrameLocks/>
          </p:cNvGraphicFramePr>
          <p:nvPr/>
        </p:nvGraphicFramePr>
        <p:xfrm>
          <a:off x="377261" y="1224908"/>
          <a:ext cx="5608175" cy="321841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34957765"/>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050" y="362668"/>
            <a:ext cx="11468100" cy="332399"/>
          </a:xfrm>
        </p:spPr>
        <p:txBody>
          <a:bodyPr>
            <a:noAutofit/>
          </a:bodyPr>
          <a:lstStyle/>
          <a:p>
            <a:r>
              <a:rPr lang="en-US" sz="2400" b="1" dirty="0">
                <a:solidFill>
                  <a:schemeClr val="tx1"/>
                </a:solidFill>
                <a:latin typeface="Arial" panose="020B0604020202020204" pitchFamily="34" charset="0"/>
                <a:cs typeface="Arial" panose="020B0604020202020204" pitchFamily="34" charset="0"/>
              </a:rPr>
              <a:t>Intra state and Inter state E-waybill trend</a:t>
            </a:r>
          </a:p>
        </p:txBody>
      </p:sp>
      <p:sp>
        <p:nvSpPr>
          <p:cNvPr id="13" name="TextBox 12"/>
          <p:cNvSpPr txBox="1"/>
          <p:nvPr/>
        </p:nvSpPr>
        <p:spPr>
          <a:xfrm>
            <a:off x="216800" y="5803324"/>
            <a:ext cx="9515839" cy="52322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0" tIns="0" rIns="0" bIns="0" rtlCol="0">
            <a:spAutoFit/>
          </a:bodyPr>
          <a:lstStyle>
            <a:defPPr>
              <a:defRPr lang="en-US"/>
            </a:defPPr>
            <a:lvl1pPr fontAlgn="base">
              <a:spcBef>
                <a:spcPct val="0"/>
              </a:spcBef>
              <a:spcAft>
                <a:spcPct val="0"/>
              </a:spcAft>
              <a:defRPr sz="1200">
                <a:solidFill>
                  <a:srgbClr val="282828"/>
                </a:solidFill>
                <a:latin typeface="Arial" charset="0"/>
                <a:cs typeface="Arial" charset="0"/>
              </a:defRPr>
            </a:lvl1pPr>
            <a:lvl2pPr marL="742950" indent="-285750">
              <a:defRPr>
                <a:latin typeface="Calibri" panose="020F0502020204030204" pitchFamily="34" charset="0"/>
                <a:ea typeface="MS PGothic" panose="020B0600070205080204" pitchFamily="34" charset="-128"/>
              </a:defRPr>
            </a:lvl2pPr>
            <a:lvl3pPr marL="1143000" indent="-228600">
              <a:defRPr>
                <a:latin typeface="Calibri" panose="020F0502020204030204" pitchFamily="34" charset="0"/>
                <a:ea typeface="MS PGothic" panose="020B0600070205080204" pitchFamily="34" charset="-128"/>
              </a:defRPr>
            </a:lvl3pPr>
            <a:lvl4pPr marL="1600200" indent="-228600">
              <a:defRPr>
                <a:latin typeface="Calibri" panose="020F0502020204030204" pitchFamily="34" charset="0"/>
                <a:ea typeface="MS PGothic" panose="020B0600070205080204" pitchFamily="34" charset="-128"/>
              </a:defRPr>
            </a:lvl4pPr>
            <a:lvl5pPr marL="2057400" indent="-228600">
              <a:defRPr>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latin typeface="Calibri" panose="020F0502020204030204" pitchFamily="34" charset="0"/>
                <a:ea typeface="MS PGothic" panose="020B0600070205080204" pitchFamily="34" charset="-128"/>
              </a:defRPr>
            </a:lvl9pPr>
          </a:lstStyle>
          <a:p>
            <a:r>
              <a:rPr lang="en-US" sz="1100" i="1" dirty="0" err="1">
                <a:solidFill>
                  <a:prstClr val="black"/>
                </a:solidFill>
              </a:rPr>
              <a:t>Agri</a:t>
            </a:r>
            <a:r>
              <a:rPr lang="en-US" sz="1100" i="1" dirty="0">
                <a:solidFill>
                  <a:prstClr val="black"/>
                </a:solidFill>
              </a:rPr>
              <a:t>, last mile distribution and market load operations do not come under ambit of E-way bill hence the E-way bills mentioned here may not represent the entire movement of goods in the country</a:t>
            </a:r>
          </a:p>
          <a:p>
            <a:r>
              <a:rPr lang="en-US" sz="1100" i="1" dirty="0"/>
              <a:t>Source: GST Network, CRISIL Research,</a:t>
            </a:r>
            <a:endParaRPr lang="en-GB" sz="1100" i="1" dirty="0"/>
          </a:p>
        </p:txBody>
      </p:sp>
      <p:sp>
        <p:nvSpPr>
          <p:cNvPr id="16" name="Text Placeholder 4"/>
          <p:cNvSpPr txBox="1">
            <a:spLocks/>
          </p:cNvSpPr>
          <p:nvPr/>
        </p:nvSpPr>
        <p:spPr>
          <a:xfrm>
            <a:off x="381000" y="1029410"/>
            <a:ext cx="11468100" cy="257626"/>
          </a:xfrm>
          <a:prstGeom prst="rect">
            <a:avLst/>
          </a:prstGeom>
          <a:solidFill>
            <a:schemeClr val="accent6">
              <a:lumMod val="50000"/>
            </a:schemeClr>
          </a:solidFill>
        </p:spPr>
        <p:txBody>
          <a:bodyPr lIns="76134" tIns="38063" rIns="76134" bIns="38063" anchor="ctr" anchorCtr="1"/>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ct val="50000"/>
              </a:spcBef>
              <a:buFont typeface="Arial" panose="020B0604020202020204" pitchFamily="34" charset="0"/>
              <a:buNone/>
            </a:pPr>
            <a:r>
              <a:rPr lang="en-IN" sz="1300" b="1" dirty="0">
                <a:solidFill>
                  <a:prstClr val="white"/>
                </a:solidFill>
                <a:latin typeface="Arial" panose="020B0604020202020204" pitchFamily="34" charset="0"/>
                <a:cs typeface="Arial" panose="020B0604020202020204" pitchFamily="34" charset="0"/>
              </a:rPr>
              <a:t>Number of E-way bills generated in India (millions)</a:t>
            </a:r>
          </a:p>
        </p:txBody>
      </p:sp>
      <p:graphicFrame>
        <p:nvGraphicFramePr>
          <p:cNvPr id="9" name="Chart 8">
            <a:extLst>
              <a:ext uri="{FF2B5EF4-FFF2-40B4-BE49-F238E27FC236}">
                <a16:creationId xmlns:a16="http://schemas.microsoft.com/office/drawing/2014/main" id="{A3C0D561-C98F-4B59-8CC1-8DC42533B49F}"/>
              </a:ext>
            </a:extLst>
          </p:cNvPr>
          <p:cNvGraphicFramePr>
            <a:graphicFrameLocks/>
          </p:cNvGraphicFramePr>
          <p:nvPr/>
        </p:nvGraphicFramePr>
        <p:xfrm>
          <a:off x="415050" y="1340699"/>
          <a:ext cx="5612437" cy="41766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D5677075-4CA0-4B70-A882-987943904D56}"/>
              </a:ext>
            </a:extLst>
          </p:cNvPr>
          <p:cNvGraphicFramePr>
            <a:graphicFrameLocks/>
          </p:cNvGraphicFramePr>
          <p:nvPr/>
        </p:nvGraphicFramePr>
        <p:xfrm>
          <a:off x="6181011" y="1340698"/>
          <a:ext cx="5612437" cy="41766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9200466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1">
            <a:extLst>
              <a:ext uri="{FF2B5EF4-FFF2-40B4-BE49-F238E27FC236}">
                <a16:creationId xmlns:a16="http://schemas.microsoft.com/office/drawing/2014/main" id="{B4D66F93-F7D3-4652-81A5-36FAECAAFF48}"/>
              </a:ext>
            </a:extLst>
          </p:cNvPr>
          <p:cNvSpPr>
            <a:spLocks noGrp="1"/>
          </p:cNvSpPr>
          <p:nvPr>
            <p:ph type="title"/>
          </p:nvPr>
        </p:nvSpPr>
        <p:spPr>
          <a:xfrm>
            <a:off x="241263" y="-73408"/>
            <a:ext cx="11602487" cy="1329595"/>
          </a:xfrm>
        </p:spPr>
        <p:txBody>
          <a:bodyPr vert="horz" lIns="0" tIns="0" rIns="0" bIns="0" rtlCol="0" anchor="ctr">
            <a:noAutofit/>
          </a:bodyPr>
          <a:lstStyle/>
          <a:p>
            <a:r>
              <a:rPr lang="en-US" sz="2400" b="1" dirty="0">
                <a:solidFill>
                  <a:schemeClr val="tx1"/>
                </a:solidFill>
                <a:latin typeface="Arial" panose="020B0604020202020204" pitchFamily="34" charset="0"/>
                <a:cs typeface="Arial" panose="020B0604020202020204" pitchFamily="34" charset="0"/>
              </a:rPr>
              <a:t>Perceptions and Expectations on the General Economic Situation</a:t>
            </a:r>
          </a:p>
        </p:txBody>
      </p:sp>
      <p:sp>
        <p:nvSpPr>
          <p:cNvPr id="16" name="Rectangle 15">
            <a:extLst>
              <a:ext uri="{FF2B5EF4-FFF2-40B4-BE49-F238E27FC236}">
                <a16:creationId xmlns:a16="http://schemas.microsoft.com/office/drawing/2014/main" id="{133DF0A7-C4D2-4011-BE33-AF58186EE852}"/>
              </a:ext>
            </a:extLst>
          </p:cNvPr>
          <p:cNvSpPr/>
          <p:nvPr/>
        </p:nvSpPr>
        <p:spPr>
          <a:xfrm rot="5400000">
            <a:off x="5920199" y="-4552377"/>
            <a:ext cx="414793" cy="11772667"/>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sumer Confidence Index</a:t>
            </a:r>
          </a:p>
        </p:txBody>
      </p:sp>
      <p:sp>
        <p:nvSpPr>
          <p:cNvPr id="8" name="TextBox 7">
            <a:extLst>
              <a:ext uri="{FF2B5EF4-FFF2-40B4-BE49-F238E27FC236}">
                <a16:creationId xmlns:a16="http://schemas.microsoft.com/office/drawing/2014/main" id="{BC0906B4-44BA-4857-B7B6-008DD0EC5F14}"/>
              </a:ext>
            </a:extLst>
          </p:cNvPr>
          <p:cNvSpPr txBox="1"/>
          <p:nvPr/>
        </p:nvSpPr>
        <p:spPr>
          <a:xfrm>
            <a:off x="190461" y="4893438"/>
            <a:ext cx="5638800" cy="219355"/>
          </a:xfrm>
          <a:prstGeom prst="rect">
            <a:avLst/>
          </a:prstGeom>
          <a:noFill/>
        </p:spPr>
        <p:txBody>
          <a:bodyPr wrap="square" lIns="91350" tIns="45680" rIns="91350" bIns="45680" rtlCol="0">
            <a:spAutoFit/>
          </a:bodyPr>
          <a:lstStyle/>
          <a:p>
            <a:pPr marL="0" marR="0" lvl="0" indent="0" algn="l" defTabSz="913520" rtl="0" eaLnBrk="1" fontAlgn="auto" latinLnBrk="0" hangingPunct="1">
              <a:lnSpc>
                <a:spcPct val="90000"/>
              </a:lnSpc>
              <a:spcBef>
                <a:spcPts val="100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RBI, CRISIL Research</a:t>
            </a:r>
          </a:p>
        </p:txBody>
      </p:sp>
      <p:sp>
        <p:nvSpPr>
          <p:cNvPr id="10" name="Rectangle 9"/>
          <p:cNvSpPr/>
          <p:nvPr/>
        </p:nvSpPr>
        <p:spPr>
          <a:xfrm>
            <a:off x="308456" y="5112793"/>
            <a:ext cx="11535294" cy="119037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defTabSz="914363">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Consumer confidence for the current period continued on its recovery path, witnessed since mid-2021 though the assessment compared to a year ago remained in negative zone. The current situation index improved further in March 2022 on the back of improved sentiments on general economic situation, employment and household income.</a:t>
            </a:r>
          </a:p>
          <a:p>
            <a:pPr defTabSz="914363"/>
            <a:endParaRPr lang="en-IN" sz="1200" dirty="0">
              <a:solidFill>
                <a:schemeClr val="tx1"/>
              </a:solidFill>
              <a:latin typeface="Arial" panose="020B0604020202020204" pitchFamily="34" charset="0"/>
              <a:cs typeface="Arial" panose="020B0604020202020204" pitchFamily="34" charset="0"/>
            </a:endParaRPr>
          </a:p>
          <a:p>
            <a:pPr marL="171450" indent="-171450" defTabSz="914363">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One year ahead outlook, as measured by the future expectations index (FEI), also continued on its recovery path which was interrupted by a dip in the January 2022 round at the peak of Omicron variant impact of COVID-19</a:t>
            </a:r>
            <a:endParaRPr lang="en-IN" sz="1200" dirty="0">
              <a:solidFill>
                <a:schemeClr val="tx1"/>
              </a:solidFill>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4698EBAF-AE50-4FBC-AF9F-5958731E792B}"/>
              </a:ext>
            </a:extLst>
          </p:cNvPr>
          <p:cNvGraphicFramePr>
            <a:graphicFrameLocks/>
          </p:cNvGraphicFramePr>
          <p:nvPr/>
        </p:nvGraphicFramePr>
        <p:xfrm>
          <a:off x="241262" y="1623317"/>
          <a:ext cx="11676760" cy="32043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1125886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51715" y="-753270"/>
            <a:ext cx="11444285" cy="2354491"/>
          </a:xfrm>
        </p:spPr>
        <p:txBody>
          <a:bodyPr/>
          <a:lstStyle/>
          <a:p>
            <a:pPr algn="l" fontAlgn="base"/>
            <a:br>
              <a:rPr lang="en-US" i="0" dirty="0">
                <a:solidFill>
                  <a:srgbClr val="000000"/>
                </a:solidFill>
                <a:effectLst/>
              </a:rPr>
            </a:br>
            <a:br>
              <a:rPr lang="en-US" i="0" dirty="0">
                <a:solidFill>
                  <a:srgbClr val="000000"/>
                </a:solidFill>
                <a:effectLst/>
              </a:rPr>
            </a:br>
            <a:r>
              <a:rPr lang="en-US" i="0" dirty="0">
                <a:solidFill>
                  <a:srgbClr val="000000"/>
                </a:solidFill>
                <a:effectLst/>
              </a:rPr>
              <a:t>1.23 </a:t>
            </a:r>
            <a:r>
              <a:rPr lang="en-US" i="0" dirty="0" err="1">
                <a:solidFill>
                  <a:srgbClr val="000000"/>
                </a:solidFill>
                <a:effectLst/>
              </a:rPr>
              <a:t>cr</a:t>
            </a:r>
            <a:r>
              <a:rPr lang="en-US" i="0" dirty="0">
                <a:solidFill>
                  <a:srgbClr val="000000"/>
                </a:solidFill>
                <a:effectLst/>
              </a:rPr>
              <a:t> houses sanctioned under PMAY-Urban, 58.01 lakh units already built</a:t>
            </a:r>
            <a:br>
              <a:rPr lang="en-US" dirty="0"/>
            </a:br>
            <a:br>
              <a:rPr lang="en-US" dirty="0"/>
            </a:br>
            <a:endParaRPr lang="en-US" b="0" i="0"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12"/>
          </p:nvPr>
        </p:nvSpPr>
        <p:spPr>
          <a:xfrm>
            <a:off x="7340599" y="6356351"/>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FC1E78-8A1D-4B7B-BB49-A01A2C07F035}" type="slidenum">
              <a:rPr lang="en-US" smtClean="0"/>
              <a:pPr/>
              <a:t>75</a:t>
            </a:fld>
            <a:endParaRPr lang="en-US" dirty="0"/>
          </a:p>
        </p:txBody>
      </p:sp>
      <p:sp>
        <p:nvSpPr>
          <p:cNvPr id="20" name="Text Placeholder 4"/>
          <p:cNvSpPr txBox="1">
            <a:spLocks/>
          </p:cNvSpPr>
          <p:nvPr/>
        </p:nvSpPr>
        <p:spPr>
          <a:xfrm>
            <a:off x="6383143" y="830622"/>
            <a:ext cx="5700000" cy="226063"/>
          </a:xfrm>
          <a:prstGeom prst="rect">
            <a:avLst/>
          </a:prstGeom>
          <a:solidFill>
            <a:schemeClr val="tx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defPPr>
              <a:defRPr lang="en-US"/>
            </a:defPPr>
            <a:lvl1pPr indent="0">
              <a:lnSpc>
                <a:spcPct val="90000"/>
              </a:lnSpc>
              <a:spcBef>
                <a:spcPct val="50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IN" sz="1000" dirty="0"/>
              <a:t>PMAY U</a:t>
            </a:r>
          </a:p>
        </p:txBody>
      </p:sp>
      <p:sp>
        <p:nvSpPr>
          <p:cNvPr id="21" name="Text Placeholder 6"/>
          <p:cNvSpPr txBox="1">
            <a:spLocks/>
          </p:cNvSpPr>
          <p:nvPr/>
        </p:nvSpPr>
        <p:spPr>
          <a:xfrm>
            <a:off x="373858" y="797230"/>
            <a:ext cx="5700000" cy="242174"/>
          </a:xfrm>
          <a:prstGeom prst="rect">
            <a:avLst/>
          </a:prstGeom>
          <a:solidFill>
            <a:schemeClr val="tx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chorCtr="1"/>
          <a:lstStyle>
            <a:defPPr>
              <a:defRPr lang="en-US"/>
            </a:defPPr>
            <a:lvl1pPr indent="0">
              <a:lnSpc>
                <a:spcPct val="90000"/>
              </a:lnSpc>
              <a:spcBef>
                <a:spcPct val="50000"/>
              </a:spcBef>
              <a:buFont typeface="Arial" panose="020B0604020202020204" pitchFamily="34" charset="0"/>
              <a:buNone/>
              <a:defRPr sz="14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000" dirty="0"/>
              <a:t>PMAY  G</a:t>
            </a:r>
          </a:p>
        </p:txBody>
      </p:sp>
      <p:sp>
        <p:nvSpPr>
          <p:cNvPr id="29" name="TextBox 28"/>
          <p:cNvSpPr txBox="1"/>
          <p:nvPr/>
        </p:nvSpPr>
        <p:spPr>
          <a:xfrm>
            <a:off x="1341120" y="6367533"/>
            <a:ext cx="6546985" cy="348685"/>
          </a:xfrm>
          <a:prstGeom prst="rect">
            <a:avLst/>
          </a:prstGeom>
          <a:noFill/>
        </p:spPr>
        <p:txBody>
          <a:bodyPr wrap="none" rtlCol="0">
            <a:spAutoFit/>
          </a:bodyPr>
          <a:lstStyle/>
          <a:p>
            <a:r>
              <a:rPr lang="en-IN" sz="833" i="1" dirty="0">
                <a:latin typeface="Arial" panose="020B0604020202020204" pitchFamily="34" charset="0"/>
                <a:cs typeface="Arial" panose="020B0604020202020204" pitchFamily="34" charset="0"/>
              </a:rPr>
              <a:t>Note: Current coverage on PMAY and PMGSY is on a annual/quarterly basis, monthly coverage to be initiated post receipt of mandate</a:t>
            </a:r>
          </a:p>
          <a:p>
            <a:r>
              <a:rPr lang="en-IN" sz="833" i="1" dirty="0">
                <a:latin typeface="Arial" panose="020B0604020202020204" pitchFamily="34" charset="0"/>
                <a:cs typeface="Arial" panose="020B0604020202020204" pitchFamily="34" charset="0"/>
              </a:rPr>
              <a:t>Source: MOSPI, CIL, SCCL, NHAI, NRIDA, MoRD, CRISIL Research</a:t>
            </a:r>
          </a:p>
        </p:txBody>
      </p:sp>
      <p:sp>
        <p:nvSpPr>
          <p:cNvPr id="13" name="TextBox 12">
            <a:extLst>
              <a:ext uri="{FF2B5EF4-FFF2-40B4-BE49-F238E27FC236}">
                <a16:creationId xmlns:a16="http://schemas.microsoft.com/office/drawing/2014/main" id="{8D00F269-6399-4D4A-9C0D-74CDF6D71B5E}"/>
              </a:ext>
            </a:extLst>
          </p:cNvPr>
          <p:cNvSpPr txBox="1"/>
          <p:nvPr/>
        </p:nvSpPr>
        <p:spPr>
          <a:xfrm>
            <a:off x="479212" y="4428260"/>
            <a:ext cx="11603931" cy="1166153"/>
          </a:xfrm>
          <a:prstGeom prst="rect">
            <a:avLst/>
          </a:prstGeom>
          <a:noFill/>
        </p:spPr>
        <p:txBody>
          <a:bodyPr wrap="square" rtlCol="0">
            <a:spAutoFit/>
          </a:bodyPr>
          <a:lstStyle/>
          <a:p>
            <a:pPr marL="285739" indent="-285739">
              <a:lnSpc>
                <a:spcPct val="150000"/>
              </a:lnSpc>
              <a:buFont typeface="Arial" panose="020B0604020202020204" pitchFamily="34" charset="0"/>
              <a:buChar char="•"/>
            </a:pPr>
            <a:r>
              <a:rPr lang="en-US" sz="1200" dirty="0">
                <a:latin typeface="Arial" panose="020B0604020202020204" pitchFamily="34" charset="0"/>
                <a:cs typeface="Arial" panose="020B0604020202020204" pitchFamily="34" charset="0"/>
              </a:rPr>
              <a:t>Out of the total sanctioned houses under PMAY-Urban, 97.02 lakh have been grounded for construction and 58.01 lakh units have already been completed or delivered to beneficiaries.</a:t>
            </a:r>
          </a:p>
          <a:p>
            <a:pPr marL="285739" indent="-285739">
              <a:lnSpc>
                <a:spcPct val="150000"/>
              </a:lnSpc>
              <a:buFont typeface="Arial" panose="020B0604020202020204" pitchFamily="34" charset="0"/>
              <a:buChar char="•"/>
            </a:pPr>
            <a:r>
              <a:rPr lang="en-US" sz="1200" dirty="0">
                <a:latin typeface="Arial" panose="020B0604020202020204" pitchFamily="34" charset="0"/>
                <a:cs typeface="Arial" panose="020B0604020202020204" pitchFamily="34" charset="0"/>
              </a:rPr>
              <a:t>The highest execution was when there were elections in FY19 post which activities have tapered off</a:t>
            </a:r>
          </a:p>
          <a:p>
            <a:pPr marL="285739" indent="-285739">
              <a:lnSpc>
                <a:spcPct val="150000"/>
              </a:lnSpc>
              <a:buFont typeface="Arial" panose="020B0604020202020204" pitchFamily="34" charset="0"/>
              <a:buChar char="•"/>
            </a:pPr>
            <a:r>
              <a:rPr lang="en-US" sz="1200" dirty="0">
                <a:latin typeface="Arial" panose="020B0604020202020204" pitchFamily="34" charset="0"/>
                <a:cs typeface="Arial" panose="020B0604020202020204" pitchFamily="34" charset="0"/>
              </a:rPr>
              <a:t>~48% of the homes sanctioned being completed in the urban areas. The rural segment has fared better with a 75% completion rate.</a:t>
            </a:r>
          </a:p>
        </p:txBody>
      </p:sp>
      <p:graphicFrame>
        <p:nvGraphicFramePr>
          <p:cNvPr id="10" name="Chart 9">
            <a:extLst>
              <a:ext uri="{FF2B5EF4-FFF2-40B4-BE49-F238E27FC236}">
                <a16:creationId xmlns:a16="http://schemas.microsoft.com/office/drawing/2014/main" id="{A74FDC74-AC94-426C-B895-61EC74A617CF}"/>
              </a:ext>
            </a:extLst>
          </p:cNvPr>
          <p:cNvGraphicFramePr>
            <a:graphicFrameLocks/>
          </p:cNvGraphicFramePr>
          <p:nvPr/>
        </p:nvGraphicFramePr>
        <p:xfrm>
          <a:off x="373857" y="1080771"/>
          <a:ext cx="5700001" cy="26868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03338CAC-26A0-40AD-B1A9-784CAAF118B0}"/>
              </a:ext>
            </a:extLst>
          </p:cNvPr>
          <p:cNvGraphicFramePr>
            <a:graphicFrameLocks/>
          </p:cNvGraphicFramePr>
          <p:nvPr/>
        </p:nvGraphicFramePr>
        <p:xfrm>
          <a:off x="6383143" y="1080770"/>
          <a:ext cx="5700000" cy="26306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5019890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960" y="190712"/>
            <a:ext cx="11845040" cy="646203"/>
          </a:xfrm>
        </p:spPr>
        <p:txBody>
          <a:bodyPr/>
          <a:lstStyle/>
          <a:p>
            <a:r>
              <a:rPr lang="en-IN" sz="2333" dirty="0"/>
              <a:t>After a record spending in FY21, MNREGA scheme expenditure tapered down in FY22 </a:t>
            </a:r>
          </a:p>
        </p:txBody>
      </p:sp>
      <p:sp>
        <p:nvSpPr>
          <p:cNvPr id="16" name="TextBox 15"/>
          <p:cNvSpPr txBox="1"/>
          <p:nvPr/>
        </p:nvSpPr>
        <p:spPr>
          <a:xfrm>
            <a:off x="1113954" y="6618878"/>
            <a:ext cx="6330803" cy="476862"/>
          </a:xfrm>
          <a:prstGeom prst="rect">
            <a:avLst/>
          </a:prstGeom>
          <a:noFill/>
        </p:spPr>
        <p:txBody>
          <a:bodyPr wrap="square" rtlCol="0">
            <a:spAutoFit/>
          </a:bodyPr>
          <a:lstStyle/>
          <a:p>
            <a:r>
              <a:rPr lang="en-IN" sz="833" b="1" i="1" dirty="0">
                <a:solidFill>
                  <a:srgbClr val="FF0000"/>
                </a:solidFill>
                <a:latin typeface="Arial" panose="020B0604020202020204" pitchFamily="34" charset="0"/>
                <a:cs typeface="Arial" panose="020B0604020202020204" pitchFamily="34" charset="0"/>
              </a:rPr>
              <a:t>Note:</a:t>
            </a:r>
          </a:p>
          <a:p>
            <a:r>
              <a:rPr lang="en-IN" sz="833" b="1" i="1" dirty="0">
                <a:solidFill>
                  <a:srgbClr val="FF0000"/>
                </a:solidFill>
                <a:latin typeface="Arial" panose="020B0604020202020204" pitchFamily="34" charset="0"/>
                <a:cs typeface="Arial" panose="020B0604020202020204" pitchFamily="34" charset="0"/>
              </a:rPr>
              <a:t>Dec data is provisional and maybe restated over the next few days</a:t>
            </a:r>
          </a:p>
          <a:p>
            <a:r>
              <a:rPr lang="en-IN" sz="833" i="1" dirty="0">
                <a:latin typeface="Arial" panose="020B0604020202020204" pitchFamily="34" charset="0"/>
                <a:cs typeface="Arial" panose="020B0604020202020204" pitchFamily="34" charset="0"/>
              </a:rPr>
              <a:t>Source: Budget documents, Ministry of Rural development, CRISIL Research</a:t>
            </a:r>
          </a:p>
        </p:txBody>
      </p:sp>
      <p:sp>
        <p:nvSpPr>
          <p:cNvPr id="22" name="Text Placeholder 11">
            <a:extLst>
              <a:ext uri="{FF2B5EF4-FFF2-40B4-BE49-F238E27FC236}">
                <a16:creationId xmlns:a16="http://schemas.microsoft.com/office/drawing/2014/main" id="{2763471E-2988-4506-888A-B130E795A6F8}"/>
              </a:ext>
            </a:extLst>
          </p:cNvPr>
          <p:cNvSpPr txBox="1">
            <a:spLocks/>
          </p:cNvSpPr>
          <p:nvPr/>
        </p:nvSpPr>
        <p:spPr>
          <a:xfrm>
            <a:off x="321276" y="940035"/>
            <a:ext cx="6023451" cy="265551"/>
          </a:xfrm>
          <a:prstGeom prst="rect">
            <a:avLst/>
          </a:prstGeom>
          <a:solidFill>
            <a:schemeClr val="tx2"/>
          </a:solidFill>
        </p:spPr>
        <p:txBody>
          <a:bodyPr vert="horz" lIns="76200" tIns="38100" rIns="76200" bIns="38100" rtlCol="0" anchor="ctr">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defTabSz="761970">
              <a:lnSpc>
                <a:spcPts val="1100"/>
              </a:lnSpc>
              <a:spcBef>
                <a:spcPts val="0"/>
              </a:spcBef>
              <a:buNone/>
              <a:defRPr/>
            </a:pPr>
            <a:r>
              <a:rPr lang="en-US" sz="1333" b="1" dirty="0">
                <a:solidFill>
                  <a:prstClr val="white"/>
                </a:solidFill>
                <a:latin typeface="Arial" panose="020B0604020202020204" pitchFamily="34" charset="0"/>
                <a:ea typeface="MS PGothic" charset="0"/>
                <a:cs typeface="Arial" panose="020B0604020202020204" pitchFamily="34" charset="0"/>
              </a:rPr>
              <a:t>MNREGA wages growth</a:t>
            </a:r>
          </a:p>
        </p:txBody>
      </p:sp>
      <p:sp>
        <p:nvSpPr>
          <p:cNvPr id="27" name="Text Placeholder 11">
            <a:extLst>
              <a:ext uri="{FF2B5EF4-FFF2-40B4-BE49-F238E27FC236}">
                <a16:creationId xmlns:a16="http://schemas.microsoft.com/office/drawing/2014/main" id="{2763471E-2988-4506-888A-B130E795A6F8}"/>
              </a:ext>
            </a:extLst>
          </p:cNvPr>
          <p:cNvSpPr txBox="1">
            <a:spLocks/>
          </p:cNvSpPr>
          <p:nvPr/>
        </p:nvSpPr>
        <p:spPr>
          <a:xfrm>
            <a:off x="6553200" y="940035"/>
            <a:ext cx="5517026" cy="272023"/>
          </a:xfrm>
          <a:prstGeom prst="rect">
            <a:avLst/>
          </a:prstGeom>
          <a:solidFill>
            <a:schemeClr val="tx2"/>
          </a:solidFill>
        </p:spPr>
        <p:txBody>
          <a:bodyPr vert="horz" lIns="76200" tIns="38100" rIns="76200" bIns="38100" rtlCol="0" anchor="ctr">
            <a:norm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defTabSz="761970">
              <a:lnSpc>
                <a:spcPts val="1100"/>
              </a:lnSpc>
              <a:spcBef>
                <a:spcPts val="0"/>
              </a:spcBef>
              <a:buNone/>
              <a:defRPr/>
            </a:pPr>
            <a:r>
              <a:rPr lang="en-US" sz="1333" b="1" dirty="0">
                <a:solidFill>
                  <a:prstClr val="white"/>
                </a:solidFill>
                <a:latin typeface="Arial" panose="020B0604020202020204" pitchFamily="34" charset="0"/>
                <a:ea typeface="MS PGothic" charset="0"/>
                <a:cs typeface="Arial" panose="020B0604020202020204" pitchFamily="34" charset="0"/>
              </a:rPr>
              <a:t>State wise growth in MNREGA wages expenditure for FY22</a:t>
            </a:r>
          </a:p>
        </p:txBody>
      </p:sp>
      <p:grpSp>
        <p:nvGrpSpPr>
          <p:cNvPr id="7" name="Group 6"/>
          <p:cNvGrpSpPr/>
          <p:nvPr/>
        </p:nvGrpSpPr>
        <p:grpSpPr>
          <a:xfrm>
            <a:off x="6406740" y="1298166"/>
            <a:ext cx="5336916" cy="4669875"/>
            <a:chOff x="7863840" y="2079689"/>
            <a:chExt cx="6404299" cy="5321870"/>
          </a:xfrm>
          <a:solidFill>
            <a:srgbClr val="FFC000"/>
          </a:solidFill>
        </p:grpSpPr>
        <p:sp>
          <p:nvSpPr>
            <p:cNvPr id="28" name="Freeform 1216"/>
            <p:cNvSpPr>
              <a:spLocks noChangeAspect="1"/>
            </p:cNvSpPr>
            <p:nvPr/>
          </p:nvSpPr>
          <p:spPr bwMode="auto">
            <a:xfrm>
              <a:off x="13024835" y="3418369"/>
              <a:ext cx="1243304" cy="512476"/>
            </a:xfrm>
            <a:custGeom>
              <a:avLst/>
              <a:gdLst>
                <a:gd name="T0" fmla="*/ 2147483647 w 334"/>
                <a:gd name="T1" fmla="*/ 542082844 h 183"/>
                <a:gd name="T2" fmla="*/ 2147483647 w 334"/>
                <a:gd name="T3" fmla="*/ 505455003 h 183"/>
                <a:gd name="T4" fmla="*/ 2147483647 w 334"/>
                <a:gd name="T5" fmla="*/ 505455003 h 183"/>
                <a:gd name="T6" fmla="*/ 2147483647 w 334"/>
                <a:gd name="T7" fmla="*/ 505455003 h 183"/>
                <a:gd name="T8" fmla="*/ 2147483647 w 334"/>
                <a:gd name="T9" fmla="*/ 388250243 h 183"/>
                <a:gd name="T10" fmla="*/ 2147483647 w 334"/>
                <a:gd name="T11" fmla="*/ 183136498 h 183"/>
                <a:gd name="T12" fmla="*/ 2147483647 w 334"/>
                <a:gd name="T13" fmla="*/ 183136498 h 183"/>
                <a:gd name="T14" fmla="*/ 2147483647 w 334"/>
                <a:gd name="T15" fmla="*/ 95230221 h 183"/>
                <a:gd name="T16" fmla="*/ 1975278573 w 334"/>
                <a:gd name="T17" fmla="*/ 146508657 h 183"/>
                <a:gd name="T18" fmla="*/ 1742891276 w 334"/>
                <a:gd name="T19" fmla="*/ 190460443 h 183"/>
                <a:gd name="T20" fmla="*/ 1608824096 w 334"/>
                <a:gd name="T21" fmla="*/ 190460443 h 183"/>
                <a:gd name="T22" fmla="*/ 1447939893 w 334"/>
                <a:gd name="T23" fmla="*/ 168485903 h 183"/>
                <a:gd name="T24" fmla="*/ 1269183653 w 334"/>
                <a:gd name="T25" fmla="*/ 278366720 h 183"/>
                <a:gd name="T26" fmla="*/ 1224494593 w 334"/>
                <a:gd name="T27" fmla="*/ 336971807 h 183"/>
                <a:gd name="T28" fmla="*/ 831226082 w 334"/>
                <a:gd name="T29" fmla="*/ 490804408 h 183"/>
                <a:gd name="T30" fmla="*/ 697155912 w 334"/>
                <a:gd name="T31" fmla="*/ 666616962 h 183"/>
                <a:gd name="T32" fmla="*/ 598838785 w 334"/>
                <a:gd name="T33" fmla="*/ 710568748 h 183"/>
                <a:gd name="T34" fmla="*/ 580963759 w 334"/>
                <a:gd name="T35" fmla="*/ 805798969 h 183"/>
                <a:gd name="T36" fmla="*/ 437957571 w 334"/>
                <a:gd name="T37" fmla="*/ 864404056 h 183"/>
                <a:gd name="T38" fmla="*/ 357515469 w 334"/>
                <a:gd name="T39" fmla="*/ 864404056 h 183"/>
                <a:gd name="T40" fmla="*/ 89378120 w 334"/>
                <a:gd name="T41" fmla="*/ 923006436 h 183"/>
                <a:gd name="T42" fmla="*/ 107256136 w 334"/>
                <a:gd name="T43" fmla="*/ 1113469585 h 183"/>
                <a:gd name="T44" fmla="*/ 294951383 w 334"/>
                <a:gd name="T45" fmla="*/ 1150097426 h 183"/>
                <a:gd name="T46" fmla="*/ 277076357 w 334"/>
                <a:gd name="T47" fmla="*/ 1296606084 h 183"/>
                <a:gd name="T48" fmla="*/ 616716800 w 334"/>
                <a:gd name="T49" fmla="*/ 1172071966 h 183"/>
                <a:gd name="T50" fmla="*/ 992107296 w 334"/>
                <a:gd name="T51" fmla="*/ 1201373156 h 183"/>
                <a:gd name="T52" fmla="*/ 1430064867 w 334"/>
                <a:gd name="T53" fmla="*/ 761847184 h 183"/>
                <a:gd name="T54" fmla="*/ 1573071054 w 334"/>
                <a:gd name="T55" fmla="*/ 725219343 h 183"/>
                <a:gd name="T56" fmla="*/ 1778644318 w 334"/>
                <a:gd name="T57" fmla="*/ 644639716 h 183"/>
                <a:gd name="T58" fmla="*/ 2073595701 w 334"/>
                <a:gd name="T59" fmla="*/ 637313066 h 183"/>
                <a:gd name="T60" fmla="*/ 2147483647 w 334"/>
                <a:gd name="T61" fmla="*/ 842426810 h 183"/>
                <a:gd name="T62" fmla="*/ 1841208404 w 334"/>
                <a:gd name="T63" fmla="*/ 1069515093 h 183"/>
                <a:gd name="T64" fmla="*/ 1939525531 w 334"/>
                <a:gd name="T65" fmla="*/ 1216026457 h 183"/>
                <a:gd name="T66" fmla="*/ 2055717685 w 334"/>
                <a:gd name="T67" fmla="*/ 1340557869 h 183"/>
                <a:gd name="T68" fmla="*/ 2127220779 w 334"/>
                <a:gd name="T69" fmla="*/ 1267302187 h 183"/>
                <a:gd name="T70" fmla="*/ 2147483647 w 334"/>
                <a:gd name="T71" fmla="*/ 1157421370 h 183"/>
                <a:gd name="T72" fmla="*/ 2147483647 w 334"/>
                <a:gd name="T73" fmla="*/ 1025563308 h 183"/>
                <a:gd name="T74" fmla="*/ 2147483647 w 334"/>
                <a:gd name="T75" fmla="*/ 1062191149 h 183"/>
                <a:gd name="T76" fmla="*/ 2147483647 w 334"/>
                <a:gd name="T77" fmla="*/ 944983682 h 183"/>
                <a:gd name="T78" fmla="*/ 2147483647 w 334"/>
                <a:gd name="T79" fmla="*/ 644639716 h 1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4" h="183">
                  <a:moveTo>
                    <a:pt x="330" y="82"/>
                  </a:moveTo>
                  <a:cubicBezTo>
                    <a:pt x="328" y="81"/>
                    <a:pt x="332" y="74"/>
                    <a:pt x="332" y="74"/>
                  </a:cubicBezTo>
                  <a:cubicBezTo>
                    <a:pt x="333" y="74"/>
                    <a:pt x="318" y="64"/>
                    <a:pt x="316" y="63"/>
                  </a:cubicBezTo>
                  <a:cubicBezTo>
                    <a:pt x="314" y="62"/>
                    <a:pt x="314" y="67"/>
                    <a:pt x="313" y="69"/>
                  </a:cubicBezTo>
                  <a:cubicBezTo>
                    <a:pt x="311" y="70"/>
                    <a:pt x="308" y="66"/>
                    <a:pt x="304" y="63"/>
                  </a:cubicBezTo>
                  <a:cubicBezTo>
                    <a:pt x="301" y="60"/>
                    <a:pt x="302" y="67"/>
                    <a:pt x="300" y="69"/>
                  </a:cubicBezTo>
                  <a:cubicBezTo>
                    <a:pt x="299" y="70"/>
                    <a:pt x="296" y="65"/>
                    <a:pt x="288" y="62"/>
                  </a:cubicBezTo>
                  <a:cubicBezTo>
                    <a:pt x="281" y="58"/>
                    <a:pt x="278" y="68"/>
                    <a:pt x="276" y="69"/>
                  </a:cubicBezTo>
                  <a:cubicBezTo>
                    <a:pt x="274" y="70"/>
                    <a:pt x="271" y="66"/>
                    <a:pt x="269" y="64"/>
                  </a:cubicBezTo>
                  <a:cubicBezTo>
                    <a:pt x="268" y="62"/>
                    <a:pt x="274" y="59"/>
                    <a:pt x="275" y="53"/>
                  </a:cubicBezTo>
                  <a:cubicBezTo>
                    <a:pt x="276" y="48"/>
                    <a:pt x="285" y="41"/>
                    <a:pt x="285" y="41"/>
                  </a:cubicBezTo>
                  <a:cubicBezTo>
                    <a:pt x="285" y="41"/>
                    <a:pt x="274" y="25"/>
                    <a:pt x="274" y="25"/>
                  </a:cubicBezTo>
                  <a:cubicBezTo>
                    <a:pt x="273" y="24"/>
                    <a:pt x="259" y="35"/>
                    <a:pt x="258" y="36"/>
                  </a:cubicBezTo>
                  <a:cubicBezTo>
                    <a:pt x="257" y="36"/>
                    <a:pt x="256" y="25"/>
                    <a:pt x="256" y="25"/>
                  </a:cubicBezTo>
                  <a:cubicBezTo>
                    <a:pt x="256" y="25"/>
                    <a:pt x="272" y="15"/>
                    <a:pt x="273" y="13"/>
                  </a:cubicBezTo>
                  <a:cubicBezTo>
                    <a:pt x="273" y="11"/>
                    <a:pt x="262" y="13"/>
                    <a:pt x="261" y="13"/>
                  </a:cubicBezTo>
                  <a:cubicBezTo>
                    <a:pt x="260" y="13"/>
                    <a:pt x="251" y="0"/>
                    <a:pt x="251" y="0"/>
                  </a:cubicBezTo>
                  <a:cubicBezTo>
                    <a:pt x="251" y="0"/>
                    <a:pt x="225" y="16"/>
                    <a:pt x="221" y="20"/>
                  </a:cubicBezTo>
                  <a:cubicBezTo>
                    <a:pt x="216" y="24"/>
                    <a:pt x="221" y="24"/>
                    <a:pt x="217" y="30"/>
                  </a:cubicBezTo>
                  <a:cubicBezTo>
                    <a:pt x="213" y="36"/>
                    <a:pt x="195" y="26"/>
                    <a:pt x="195" y="26"/>
                  </a:cubicBezTo>
                  <a:cubicBezTo>
                    <a:pt x="195" y="26"/>
                    <a:pt x="194" y="22"/>
                    <a:pt x="191" y="22"/>
                  </a:cubicBezTo>
                  <a:cubicBezTo>
                    <a:pt x="189" y="21"/>
                    <a:pt x="185" y="26"/>
                    <a:pt x="180" y="26"/>
                  </a:cubicBezTo>
                  <a:cubicBezTo>
                    <a:pt x="175" y="26"/>
                    <a:pt x="170" y="18"/>
                    <a:pt x="168" y="16"/>
                  </a:cubicBezTo>
                  <a:cubicBezTo>
                    <a:pt x="166" y="15"/>
                    <a:pt x="164" y="21"/>
                    <a:pt x="162" y="23"/>
                  </a:cubicBezTo>
                  <a:cubicBezTo>
                    <a:pt x="160" y="25"/>
                    <a:pt x="161" y="22"/>
                    <a:pt x="154" y="24"/>
                  </a:cubicBezTo>
                  <a:cubicBezTo>
                    <a:pt x="146" y="27"/>
                    <a:pt x="144" y="37"/>
                    <a:pt x="142" y="38"/>
                  </a:cubicBezTo>
                  <a:cubicBezTo>
                    <a:pt x="141" y="40"/>
                    <a:pt x="137" y="40"/>
                    <a:pt x="137" y="40"/>
                  </a:cubicBezTo>
                  <a:cubicBezTo>
                    <a:pt x="136" y="40"/>
                    <a:pt x="137" y="44"/>
                    <a:pt x="137" y="46"/>
                  </a:cubicBezTo>
                  <a:cubicBezTo>
                    <a:pt x="137" y="48"/>
                    <a:pt x="118" y="64"/>
                    <a:pt x="118" y="64"/>
                  </a:cubicBezTo>
                  <a:cubicBezTo>
                    <a:pt x="118" y="64"/>
                    <a:pt x="96" y="64"/>
                    <a:pt x="93" y="67"/>
                  </a:cubicBezTo>
                  <a:cubicBezTo>
                    <a:pt x="91" y="70"/>
                    <a:pt x="88" y="80"/>
                    <a:pt x="88" y="81"/>
                  </a:cubicBezTo>
                  <a:cubicBezTo>
                    <a:pt x="88" y="83"/>
                    <a:pt x="81" y="89"/>
                    <a:pt x="78" y="91"/>
                  </a:cubicBezTo>
                  <a:cubicBezTo>
                    <a:pt x="75" y="92"/>
                    <a:pt x="72" y="98"/>
                    <a:pt x="72" y="98"/>
                  </a:cubicBezTo>
                  <a:cubicBezTo>
                    <a:pt x="72" y="98"/>
                    <a:pt x="70" y="96"/>
                    <a:pt x="67" y="97"/>
                  </a:cubicBezTo>
                  <a:cubicBezTo>
                    <a:pt x="65" y="98"/>
                    <a:pt x="60" y="105"/>
                    <a:pt x="60" y="105"/>
                  </a:cubicBezTo>
                  <a:cubicBezTo>
                    <a:pt x="60" y="105"/>
                    <a:pt x="63" y="109"/>
                    <a:pt x="65" y="110"/>
                  </a:cubicBezTo>
                  <a:cubicBezTo>
                    <a:pt x="66" y="112"/>
                    <a:pt x="61" y="116"/>
                    <a:pt x="58" y="119"/>
                  </a:cubicBezTo>
                  <a:cubicBezTo>
                    <a:pt x="54" y="122"/>
                    <a:pt x="49" y="119"/>
                    <a:pt x="49" y="118"/>
                  </a:cubicBezTo>
                  <a:cubicBezTo>
                    <a:pt x="48" y="118"/>
                    <a:pt x="47" y="122"/>
                    <a:pt x="45" y="124"/>
                  </a:cubicBezTo>
                  <a:cubicBezTo>
                    <a:pt x="43" y="125"/>
                    <a:pt x="41" y="120"/>
                    <a:pt x="40" y="118"/>
                  </a:cubicBezTo>
                  <a:cubicBezTo>
                    <a:pt x="39" y="117"/>
                    <a:pt x="32" y="125"/>
                    <a:pt x="23" y="131"/>
                  </a:cubicBezTo>
                  <a:cubicBezTo>
                    <a:pt x="14" y="136"/>
                    <a:pt x="12" y="128"/>
                    <a:pt x="10" y="126"/>
                  </a:cubicBezTo>
                  <a:cubicBezTo>
                    <a:pt x="7" y="125"/>
                    <a:pt x="1" y="135"/>
                    <a:pt x="1" y="139"/>
                  </a:cubicBezTo>
                  <a:cubicBezTo>
                    <a:pt x="0" y="144"/>
                    <a:pt x="9" y="147"/>
                    <a:pt x="12" y="152"/>
                  </a:cubicBezTo>
                  <a:cubicBezTo>
                    <a:pt x="15" y="157"/>
                    <a:pt x="26" y="149"/>
                    <a:pt x="26" y="149"/>
                  </a:cubicBezTo>
                  <a:cubicBezTo>
                    <a:pt x="27" y="149"/>
                    <a:pt x="31" y="154"/>
                    <a:pt x="33" y="157"/>
                  </a:cubicBezTo>
                  <a:cubicBezTo>
                    <a:pt x="35" y="161"/>
                    <a:pt x="31" y="163"/>
                    <a:pt x="26" y="167"/>
                  </a:cubicBezTo>
                  <a:cubicBezTo>
                    <a:pt x="24" y="169"/>
                    <a:pt x="28" y="173"/>
                    <a:pt x="31" y="177"/>
                  </a:cubicBezTo>
                  <a:cubicBezTo>
                    <a:pt x="35" y="176"/>
                    <a:pt x="38" y="175"/>
                    <a:pt x="39" y="175"/>
                  </a:cubicBezTo>
                  <a:cubicBezTo>
                    <a:pt x="42" y="173"/>
                    <a:pt x="69" y="160"/>
                    <a:pt x="69" y="160"/>
                  </a:cubicBezTo>
                  <a:cubicBezTo>
                    <a:pt x="69" y="160"/>
                    <a:pt x="77" y="164"/>
                    <a:pt x="81" y="165"/>
                  </a:cubicBezTo>
                  <a:cubicBezTo>
                    <a:pt x="85" y="165"/>
                    <a:pt x="107" y="165"/>
                    <a:pt x="111" y="164"/>
                  </a:cubicBezTo>
                  <a:cubicBezTo>
                    <a:pt x="115" y="163"/>
                    <a:pt x="124" y="144"/>
                    <a:pt x="136" y="132"/>
                  </a:cubicBezTo>
                  <a:cubicBezTo>
                    <a:pt x="149" y="120"/>
                    <a:pt x="160" y="104"/>
                    <a:pt x="160" y="104"/>
                  </a:cubicBezTo>
                  <a:cubicBezTo>
                    <a:pt x="167" y="107"/>
                    <a:pt x="167" y="107"/>
                    <a:pt x="167" y="107"/>
                  </a:cubicBezTo>
                  <a:cubicBezTo>
                    <a:pt x="167" y="107"/>
                    <a:pt x="173" y="102"/>
                    <a:pt x="176" y="99"/>
                  </a:cubicBezTo>
                  <a:cubicBezTo>
                    <a:pt x="179" y="96"/>
                    <a:pt x="180" y="107"/>
                    <a:pt x="185" y="106"/>
                  </a:cubicBezTo>
                  <a:cubicBezTo>
                    <a:pt x="191" y="105"/>
                    <a:pt x="193" y="95"/>
                    <a:pt x="199" y="88"/>
                  </a:cubicBezTo>
                  <a:cubicBezTo>
                    <a:pt x="206" y="80"/>
                    <a:pt x="239" y="68"/>
                    <a:pt x="244" y="69"/>
                  </a:cubicBezTo>
                  <a:cubicBezTo>
                    <a:pt x="248" y="70"/>
                    <a:pt x="238" y="81"/>
                    <a:pt x="232" y="87"/>
                  </a:cubicBezTo>
                  <a:cubicBezTo>
                    <a:pt x="226" y="93"/>
                    <a:pt x="244" y="90"/>
                    <a:pt x="257" y="93"/>
                  </a:cubicBezTo>
                  <a:cubicBezTo>
                    <a:pt x="270" y="97"/>
                    <a:pt x="254" y="103"/>
                    <a:pt x="247" y="115"/>
                  </a:cubicBezTo>
                  <a:cubicBezTo>
                    <a:pt x="240" y="127"/>
                    <a:pt x="213" y="124"/>
                    <a:pt x="209" y="124"/>
                  </a:cubicBezTo>
                  <a:cubicBezTo>
                    <a:pt x="205" y="124"/>
                    <a:pt x="211" y="136"/>
                    <a:pt x="206" y="146"/>
                  </a:cubicBezTo>
                  <a:cubicBezTo>
                    <a:pt x="206" y="147"/>
                    <a:pt x="205" y="148"/>
                    <a:pt x="204" y="149"/>
                  </a:cubicBezTo>
                  <a:cubicBezTo>
                    <a:pt x="208" y="155"/>
                    <a:pt x="213" y="163"/>
                    <a:pt x="217" y="166"/>
                  </a:cubicBezTo>
                  <a:cubicBezTo>
                    <a:pt x="220" y="169"/>
                    <a:pt x="224" y="176"/>
                    <a:pt x="229" y="183"/>
                  </a:cubicBezTo>
                  <a:cubicBezTo>
                    <a:pt x="229" y="183"/>
                    <a:pt x="230" y="183"/>
                    <a:pt x="230" y="183"/>
                  </a:cubicBezTo>
                  <a:cubicBezTo>
                    <a:pt x="233" y="181"/>
                    <a:pt x="233" y="173"/>
                    <a:pt x="233" y="173"/>
                  </a:cubicBezTo>
                  <a:cubicBezTo>
                    <a:pt x="233" y="173"/>
                    <a:pt x="238" y="173"/>
                    <a:pt x="238" y="173"/>
                  </a:cubicBezTo>
                  <a:cubicBezTo>
                    <a:pt x="238" y="173"/>
                    <a:pt x="248" y="163"/>
                    <a:pt x="248" y="163"/>
                  </a:cubicBezTo>
                  <a:cubicBezTo>
                    <a:pt x="250" y="162"/>
                    <a:pt x="254" y="158"/>
                    <a:pt x="255" y="158"/>
                  </a:cubicBezTo>
                  <a:cubicBezTo>
                    <a:pt x="255" y="158"/>
                    <a:pt x="270" y="141"/>
                    <a:pt x="272" y="140"/>
                  </a:cubicBezTo>
                  <a:cubicBezTo>
                    <a:pt x="274" y="139"/>
                    <a:pt x="284" y="139"/>
                    <a:pt x="286" y="140"/>
                  </a:cubicBezTo>
                  <a:cubicBezTo>
                    <a:pt x="289" y="140"/>
                    <a:pt x="299" y="133"/>
                    <a:pt x="303" y="135"/>
                  </a:cubicBezTo>
                  <a:cubicBezTo>
                    <a:pt x="307" y="136"/>
                    <a:pt x="307" y="141"/>
                    <a:pt x="309" y="145"/>
                  </a:cubicBezTo>
                  <a:cubicBezTo>
                    <a:pt x="311" y="149"/>
                    <a:pt x="328" y="147"/>
                    <a:pt x="329" y="146"/>
                  </a:cubicBezTo>
                  <a:cubicBezTo>
                    <a:pt x="330" y="145"/>
                    <a:pt x="312" y="130"/>
                    <a:pt x="311" y="129"/>
                  </a:cubicBezTo>
                  <a:cubicBezTo>
                    <a:pt x="311" y="129"/>
                    <a:pt x="311" y="122"/>
                    <a:pt x="311" y="117"/>
                  </a:cubicBezTo>
                  <a:cubicBezTo>
                    <a:pt x="310" y="111"/>
                    <a:pt x="332" y="90"/>
                    <a:pt x="333" y="88"/>
                  </a:cubicBezTo>
                  <a:cubicBezTo>
                    <a:pt x="334" y="85"/>
                    <a:pt x="331" y="83"/>
                    <a:pt x="330" y="82"/>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29" name="Freeform 1223"/>
            <p:cNvSpPr>
              <a:spLocks noChangeAspect="1"/>
            </p:cNvSpPr>
            <p:nvPr/>
          </p:nvSpPr>
          <p:spPr bwMode="auto">
            <a:xfrm>
              <a:off x="8229518" y="3362524"/>
              <a:ext cx="1887688" cy="1289404"/>
            </a:xfrm>
            <a:custGeom>
              <a:avLst/>
              <a:gdLst>
                <a:gd name="T0" fmla="*/ 172 w 507"/>
                <a:gd name="T1" fmla="*/ 349 h 461"/>
                <a:gd name="T2" fmla="*/ 213 w 507"/>
                <a:gd name="T3" fmla="*/ 371 h 461"/>
                <a:gd name="T4" fmla="*/ 227 w 507"/>
                <a:gd name="T5" fmla="*/ 370 h 461"/>
                <a:gd name="T6" fmla="*/ 232 w 507"/>
                <a:gd name="T7" fmla="*/ 387 h 461"/>
                <a:gd name="T8" fmla="*/ 256 w 507"/>
                <a:gd name="T9" fmla="*/ 439 h 461"/>
                <a:gd name="T10" fmla="*/ 289 w 507"/>
                <a:gd name="T11" fmla="*/ 461 h 461"/>
                <a:gd name="T12" fmla="*/ 328 w 507"/>
                <a:gd name="T13" fmla="*/ 427 h 461"/>
                <a:gd name="T14" fmla="*/ 319 w 507"/>
                <a:gd name="T15" fmla="*/ 373 h 461"/>
                <a:gd name="T16" fmla="*/ 334 w 507"/>
                <a:gd name="T17" fmla="*/ 334 h 461"/>
                <a:gd name="T18" fmla="*/ 345 w 507"/>
                <a:gd name="T19" fmla="*/ 355 h 461"/>
                <a:gd name="T20" fmla="*/ 384 w 507"/>
                <a:gd name="T21" fmla="*/ 352 h 461"/>
                <a:gd name="T22" fmla="*/ 376 w 507"/>
                <a:gd name="T23" fmla="*/ 409 h 461"/>
                <a:gd name="T24" fmla="*/ 355 w 507"/>
                <a:gd name="T25" fmla="*/ 407 h 461"/>
                <a:gd name="T26" fmla="*/ 395 w 507"/>
                <a:gd name="T27" fmla="*/ 395 h 461"/>
                <a:gd name="T28" fmla="*/ 422 w 507"/>
                <a:gd name="T29" fmla="*/ 398 h 461"/>
                <a:gd name="T30" fmla="*/ 439 w 507"/>
                <a:gd name="T31" fmla="*/ 381 h 461"/>
                <a:gd name="T32" fmla="*/ 434 w 507"/>
                <a:gd name="T33" fmla="*/ 346 h 461"/>
                <a:gd name="T34" fmla="*/ 473 w 507"/>
                <a:gd name="T35" fmla="*/ 324 h 461"/>
                <a:gd name="T36" fmla="*/ 423 w 507"/>
                <a:gd name="T37" fmla="*/ 318 h 461"/>
                <a:gd name="T38" fmla="*/ 416 w 507"/>
                <a:gd name="T39" fmla="*/ 286 h 461"/>
                <a:gd name="T40" fmla="*/ 448 w 507"/>
                <a:gd name="T41" fmla="*/ 265 h 461"/>
                <a:gd name="T42" fmla="*/ 485 w 507"/>
                <a:gd name="T43" fmla="*/ 249 h 461"/>
                <a:gd name="T44" fmla="*/ 479 w 507"/>
                <a:gd name="T45" fmla="*/ 230 h 461"/>
                <a:gd name="T46" fmla="*/ 474 w 507"/>
                <a:gd name="T47" fmla="*/ 216 h 461"/>
                <a:gd name="T48" fmla="*/ 460 w 507"/>
                <a:gd name="T49" fmla="*/ 175 h 461"/>
                <a:gd name="T50" fmla="*/ 439 w 507"/>
                <a:gd name="T51" fmla="*/ 164 h 461"/>
                <a:gd name="T52" fmla="*/ 422 w 507"/>
                <a:gd name="T53" fmla="*/ 149 h 461"/>
                <a:gd name="T54" fmla="*/ 395 w 507"/>
                <a:gd name="T55" fmla="*/ 158 h 461"/>
                <a:gd name="T56" fmla="*/ 378 w 507"/>
                <a:gd name="T57" fmla="*/ 114 h 461"/>
                <a:gd name="T58" fmla="*/ 368 w 507"/>
                <a:gd name="T59" fmla="*/ 70 h 461"/>
                <a:gd name="T60" fmla="*/ 327 w 507"/>
                <a:gd name="T61" fmla="*/ 53 h 461"/>
                <a:gd name="T62" fmla="*/ 318 w 507"/>
                <a:gd name="T63" fmla="*/ 20 h 461"/>
                <a:gd name="T64" fmla="*/ 266 w 507"/>
                <a:gd name="T65" fmla="*/ 0 h 461"/>
                <a:gd name="T66" fmla="*/ 232 w 507"/>
                <a:gd name="T67" fmla="*/ 38 h 461"/>
                <a:gd name="T68" fmla="*/ 208 w 507"/>
                <a:gd name="T69" fmla="*/ 66 h 461"/>
                <a:gd name="T70" fmla="*/ 156 w 507"/>
                <a:gd name="T71" fmla="*/ 113 h 461"/>
                <a:gd name="T72" fmla="*/ 130 w 507"/>
                <a:gd name="T73" fmla="*/ 137 h 461"/>
                <a:gd name="T74" fmla="*/ 78 w 507"/>
                <a:gd name="T75" fmla="*/ 129 h 461"/>
                <a:gd name="T76" fmla="*/ 40 w 507"/>
                <a:gd name="T77" fmla="*/ 142 h 461"/>
                <a:gd name="T78" fmla="*/ 0 w 507"/>
                <a:gd name="T79" fmla="*/ 195 h 461"/>
                <a:gd name="T80" fmla="*/ 42 w 507"/>
                <a:gd name="T81" fmla="*/ 215 h 461"/>
                <a:gd name="T82" fmla="*/ 47 w 507"/>
                <a:gd name="T83" fmla="*/ 274 h 461"/>
                <a:gd name="T84" fmla="*/ 76 w 507"/>
                <a:gd name="T85" fmla="*/ 310 h 461"/>
                <a:gd name="T86" fmla="*/ 102 w 507"/>
                <a:gd name="T87" fmla="*/ 34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7" h="461">
                  <a:moveTo>
                    <a:pt x="116" y="352"/>
                  </a:moveTo>
                  <a:cubicBezTo>
                    <a:pt x="125" y="354"/>
                    <a:pt x="164" y="352"/>
                    <a:pt x="165" y="352"/>
                  </a:cubicBezTo>
                  <a:cubicBezTo>
                    <a:pt x="167" y="351"/>
                    <a:pt x="170" y="348"/>
                    <a:pt x="172" y="349"/>
                  </a:cubicBezTo>
                  <a:cubicBezTo>
                    <a:pt x="173" y="350"/>
                    <a:pt x="176" y="364"/>
                    <a:pt x="183" y="364"/>
                  </a:cubicBezTo>
                  <a:cubicBezTo>
                    <a:pt x="190" y="364"/>
                    <a:pt x="192" y="361"/>
                    <a:pt x="195" y="361"/>
                  </a:cubicBezTo>
                  <a:cubicBezTo>
                    <a:pt x="198" y="361"/>
                    <a:pt x="210" y="374"/>
                    <a:pt x="213" y="371"/>
                  </a:cubicBezTo>
                  <a:cubicBezTo>
                    <a:pt x="217" y="368"/>
                    <a:pt x="213" y="365"/>
                    <a:pt x="216" y="363"/>
                  </a:cubicBezTo>
                  <a:cubicBezTo>
                    <a:pt x="219" y="360"/>
                    <a:pt x="222" y="357"/>
                    <a:pt x="222" y="357"/>
                  </a:cubicBezTo>
                  <a:cubicBezTo>
                    <a:pt x="222" y="357"/>
                    <a:pt x="228" y="369"/>
                    <a:pt x="227" y="370"/>
                  </a:cubicBezTo>
                  <a:cubicBezTo>
                    <a:pt x="227" y="370"/>
                    <a:pt x="215" y="381"/>
                    <a:pt x="216" y="382"/>
                  </a:cubicBezTo>
                  <a:cubicBezTo>
                    <a:pt x="217" y="383"/>
                    <a:pt x="225" y="394"/>
                    <a:pt x="225" y="394"/>
                  </a:cubicBezTo>
                  <a:cubicBezTo>
                    <a:pt x="225" y="394"/>
                    <a:pt x="228" y="383"/>
                    <a:pt x="232" y="387"/>
                  </a:cubicBezTo>
                  <a:cubicBezTo>
                    <a:pt x="236" y="392"/>
                    <a:pt x="236" y="392"/>
                    <a:pt x="235" y="394"/>
                  </a:cubicBezTo>
                  <a:cubicBezTo>
                    <a:pt x="234" y="396"/>
                    <a:pt x="229" y="406"/>
                    <a:pt x="229" y="406"/>
                  </a:cubicBezTo>
                  <a:cubicBezTo>
                    <a:pt x="229" y="406"/>
                    <a:pt x="252" y="437"/>
                    <a:pt x="256" y="439"/>
                  </a:cubicBezTo>
                  <a:cubicBezTo>
                    <a:pt x="261" y="441"/>
                    <a:pt x="266" y="442"/>
                    <a:pt x="266" y="442"/>
                  </a:cubicBezTo>
                  <a:cubicBezTo>
                    <a:pt x="266" y="442"/>
                    <a:pt x="277" y="444"/>
                    <a:pt x="279" y="445"/>
                  </a:cubicBezTo>
                  <a:cubicBezTo>
                    <a:pt x="281" y="446"/>
                    <a:pt x="289" y="461"/>
                    <a:pt x="289" y="461"/>
                  </a:cubicBezTo>
                  <a:cubicBezTo>
                    <a:pt x="289" y="461"/>
                    <a:pt x="308" y="456"/>
                    <a:pt x="308" y="454"/>
                  </a:cubicBezTo>
                  <a:cubicBezTo>
                    <a:pt x="308" y="453"/>
                    <a:pt x="302" y="443"/>
                    <a:pt x="304" y="441"/>
                  </a:cubicBezTo>
                  <a:cubicBezTo>
                    <a:pt x="307" y="440"/>
                    <a:pt x="326" y="429"/>
                    <a:pt x="328" y="427"/>
                  </a:cubicBezTo>
                  <a:cubicBezTo>
                    <a:pt x="331" y="425"/>
                    <a:pt x="326" y="408"/>
                    <a:pt x="329" y="404"/>
                  </a:cubicBezTo>
                  <a:cubicBezTo>
                    <a:pt x="333" y="401"/>
                    <a:pt x="336" y="401"/>
                    <a:pt x="334" y="398"/>
                  </a:cubicBezTo>
                  <a:cubicBezTo>
                    <a:pt x="333" y="396"/>
                    <a:pt x="318" y="381"/>
                    <a:pt x="319" y="373"/>
                  </a:cubicBezTo>
                  <a:cubicBezTo>
                    <a:pt x="321" y="366"/>
                    <a:pt x="317" y="358"/>
                    <a:pt x="323" y="356"/>
                  </a:cubicBezTo>
                  <a:cubicBezTo>
                    <a:pt x="329" y="355"/>
                    <a:pt x="331" y="355"/>
                    <a:pt x="332" y="351"/>
                  </a:cubicBezTo>
                  <a:cubicBezTo>
                    <a:pt x="334" y="348"/>
                    <a:pt x="334" y="334"/>
                    <a:pt x="334" y="334"/>
                  </a:cubicBezTo>
                  <a:cubicBezTo>
                    <a:pt x="334" y="334"/>
                    <a:pt x="341" y="327"/>
                    <a:pt x="345" y="332"/>
                  </a:cubicBezTo>
                  <a:cubicBezTo>
                    <a:pt x="349" y="338"/>
                    <a:pt x="343" y="344"/>
                    <a:pt x="343" y="347"/>
                  </a:cubicBezTo>
                  <a:cubicBezTo>
                    <a:pt x="343" y="350"/>
                    <a:pt x="336" y="351"/>
                    <a:pt x="345" y="355"/>
                  </a:cubicBezTo>
                  <a:cubicBezTo>
                    <a:pt x="354" y="358"/>
                    <a:pt x="363" y="359"/>
                    <a:pt x="367" y="358"/>
                  </a:cubicBezTo>
                  <a:cubicBezTo>
                    <a:pt x="370" y="357"/>
                    <a:pt x="374" y="351"/>
                    <a:pt x="377" y="352"/>
                  </a:cubicBezTo>
                  <a:cubicBezTo>
                    <a:pt x="381" y="353"/>
                    <a:pt x="383" y="348"/>
                    <a:pt x="384" y="352"/>
                  </a:cubicBezTo>
                  <a:cubicBezTo>
                    <a:pt x="385" y="355"/>
                    <a:pt x="384" y="382"/>
                    <a:pt x="384" y="382"/>
                  </a:cubicBezTo>
                  <a:cubicBezTo>
                    <a:pt x="384" y="382"/>
                    <a:pt x="368" y="388"/>
                    <a:pt x="370" y="394"/>
                  </a:cubicBezTo>
                  <a:cubicBezTo>
                    <a:pt x="372" y="399"/>
                    <a:pt x="379" y="408"/>
                    <a:pt x="376" y="409"/>
                  </a:cubicBezTo>
                  <a:cubicBezTo>
                    <a:pt x="374" y="410"/>
                    <a:pt x="363" y="410"/>
                    <a:pt x="364" y="409"/>
                  </a:cubicBezTo>
                  <a:cubicBezTo>
                    <a:pt x="364" y="408"/>
                    <a:pt x="364" y="405"/>
                    <a:pt x="362" y="406"/>
                  </a:cubicBezTo>
                  <a:cubicBezTo>
                    <a:pt x="360" y="407"/>
                    <a:pt x="355" y="406"/>
                    <a:pt x="355" y="407"/>
                  </a:cubicBezTo>
                  <a:cubicBezTo>
                    <a:pt x="354" y="408"/>
                    <a:pt x="348" y="420"/>
                    <a:pt x="354" y="422"/>
                  </a:cubicBezTo>
                  <a:cubicBezTo>
                    <a:pt x="360" y="423"/>
                    <a:pt x="378" y="428"/>
                    <a:pt x="382" y="424"/>
                  </a:cubicBezTo>
                  <a:cubicBezTo>
                    <a:pt x="386" y="420"/>
                    <a:pt x="392" y="396"/>
                    <a:pt x="395" y="395"/>
                  </a:cubicBezTo>
                  <a:cubicBezTo>
                    <a:pt x="399" y="395"/>
                    <a:pt x="410" y="398"/>
                    <a:pt x="411" y="400"/>
                  </a:cubicBezTo>
                  <a:cubicBezTo>
                    <a:pt x="412" y="401"/>
                    <a:pt x="417" y="405"/>
                    <a:pt x="419" y="404"/>
                  </a:cubicBezTo>
                  <a:cubicBezTo>
                    <a:pt x="421" y="402"/>
                    <a:pt x="418" y="397"/>
                    <a:pt x="422" y="398"/>
                  </a:cubicBezTo>
                  <a:cubicBezTo>
                    <a:pt x="425" y="399"/>
                    <a:pt x="432" y="401"/>
                    <a:pt x="432" y="400"/>
                  </a:cubicBezTo>
                  <a:cubicBezTo>
                    <a:pt x="433" y="398"/>
                    <a:pt x="432" y="386"/>
                    <a:pt x="433" y="385"/>
                  </a:cubicBezTo>
                  <a:cubicBezTo>
                    <a:pt x="434" y="385"/>
                    <a:pt x="437" y="379"/>
                    <a:pt x="439" y="381"/>
                  </a:cubicBezTo>
                  <a:cubicBezTo>
                    <a:pt x="442" y="384"/>
                    <a:pt x="447" y="390"/>
                    <a:pt x="447" y="387"/>
                  </a:cubicBezTo>
                  <a:cubicBezTo>
                    <a:pt x="447" y="384"/>
                    <a:pt x="436" y="364"/>
                    <a:pt x="436" y="360"/>
                  </a:cubicBezTo>
                  <a:cubicBezTo>
                    <a:pt x="436" y="355"/>
                    <a:pt x="432" y="354"/>
                    <a:pt x="434" y="346"/>
                  </a:cubicBezTo>
                  <a:cubicBezTo>
                    <a:pt x="435" y="338"/>
                    <a:pt x="444" y="333"/>
                    <a:pt x="445" y="333"/>
                  </a:cubicBezTo>
                  <a:cubicBezTo>
                    <a:pt x="445" y="334"/>
                    <a:pt x="463" y="337"/>
                    <a:pt x="467" y="331"/>
                  </a:cubicBezTo>
                  <a:cubicBezTo>
                    <a:pt x="471" y="326"/>
                    <a:pt x="475" y="330"/>
                    <a:pt x="473" y="324"/>
                  </a:cubicBezTo>
                  <a:cubicBezTo>
                    <a:pt x="470" y="318"/>
                    <a:pt x="470" y="314"/>
                    <a:pt x="468" y="314"/>
                  </a:cubicBezTo>
                  <a:cubicBezTo>
                    <a:pt x="466" y="314"/>
                    <a:pt x="456" y="319"/>
                    <a:pt x="454" y="319"/>
                  </a:cubicBezTo>
                  <a:cubicBezTo>
                    <a:pt x="452" y="319"/>
                    <a:pt x="424" y="319"/>
                    <a:pt x="423" y="318"/>
                  </a:cubicBezTo>
                  <a:cubicBezTo>
                    <a:pt x="422" y="317"/>
                    <a:pt x="424" y="310"/>
                    <a:pt x="422" y="309"/>
                  </a:cubicBezTo>
                  <a:cubicBezTo>
                    <a:pt x="420" y="308"/>
                    <a:pt x="411" y="308"/>
                    <a:pt x="413" y="303"/>
                  </a:cubicBezTo>
                  <a:cubicBezTo>
                    <a:pt x="415" y="297"/>
                    <a:pt x="414" y="286"/>
                    <a:pt x="416" y="286"/>
                  </a:cubicBezTo>
                  <a:cubicBezTo>
                    <a:pt x="418" y="286"/>
                    <a:pt x="424" y="287"/>
                    <a:pt x="430" y="283"/>
                  </a:cubicBezTo>
                  <a:cubicBezTo>
                    <a:pt x="436" y="279"/>
                    <a:pt x="433" y="271"/>
                    <a:pt x="436" y="271"/>
                  </a:cubicBezTo>
                  <a:cubicBezTo>
                    <a:pt x="438" y="271"/>
                    <a:pt x="447" y="265"/>
                    <a:pt x="448" y="265"/>
                  </a:cubicBezTo>
                  <a:cubicBezTo>
                    <a:pt x="448" y="265"/>
                    <a:pt x="455" y="265"/>
                    <a:pt x="457" y="264"/>
                  </a:cubicBezTo>
                  <a:cubicBezTo>
                    <a:pt x="460" y="264"/>
                    <a:pt x="461" y="255"/>
                    <a:pt x="465" y="253"/>
                  </a:cubicBezTo>
                  <a:cubicBezTo>
                    <a:pt x="468" y="252"/>
                    <a:pt x="482" y="250"/>
                    <a:pt x="485" y="249"/>
                  </a:cubicBezTo>
                  <a:cubicBezTo>
                    <a:pt x="488" y="247"/>
                    <a:pt x="507" y="233"/>
                    <a:pt x="503" y="230"/>
                  </a:cubicBezTo>
                  <a:cubicBezTo>
                    <a:pt x="500" y="227"/>
                    <a:pt x="491" y="222"/>
                    <a:pt x="491" y="222"/>
                  </a:cubicBezTo>
                  <a:cubicBezTo>
                    <a:pt x="491" y="222"/>
                    <a:pt x="480" y="228"/>
                    <a:pt x="479" y="230"/>
                  </a:cubicBezTo>
                  <a:cubicBezTo>
                    <a:pt x="477" y="231"/>
                    <a:pt x="468" y="237"/>
                    <a:pt x="468" y="232"/>
                  </a:cubicBezTo>
                  <a:cubicBezTo>
                    <a:pt x="468" y="226"/>
                    <a:pt x="463" y="227"/>
                    <a:pt x="466" y="224"/>
                  </a:cubicBezTo>
                  <a:cubicBezTo>
                    <a:pt x="469" y="221"/>
                    <a:pt x="474" y="219"/>
                    <a:pt x="474" y="216"/>
                  </a:cubicBezTo>
                  <a:cubicBezTo>
                    <a:pt x="473" y="213"/>
                    <a:pt x="465" y="212"/>
                    <a:pt x="470" y="207"/>
                  </a:cubicBezTo>
                  <a:cubicBezTo>
                    <a:pt x="475" y="203"/>
                    <a:pt x="475" y="198"/>
                    <a:pt x="475" y="197"/>
                  </a:cubicBezTo>
                  <a:cubicBezTo>
                    <a:pt x="475" y="197"/>
                    <a:pt x="465" y="182"/>
                    <a:pt x="460" y="175"/>
                  </a:cubicBezTo>
                  <a:cubicBezTo>
                    <a:pt x="459" y="174"/>
                    <a:pt x="457" y="173"/>
                    <a:pt x="455" y="173"/>
                  </a:cubicBezTo>
                  <a:cubicBezTo>
                    <a:pt x="451" y="172"/>
                    <a:pt x="445" y="180"/>
                    <a:pt x="443" y="180"/>
                  </a:cubicBezTo>
                  <a:cubicBezTo>
                    <a:pt x="442" y="180"/>
                    <a:pt x="439" y="164"/>
                    <a:pt x="439" y="164"/>
                  </a:cubicBezTo>
                  <a:cubicBezTo>
                    <a:pt x="439" y="164"/>
                    <a:pt x="450" y="149"/>
                    <a:pt x="450" y="144"/>
                  </a:cubicBezTo>
                  <a:cubicBezTo>
                    <a:pt x="450" y="139"/>
                    <a:pt x="441" y="135"/>
                    <a:pt x="437" y="135"/>
                  </a:cubicBezTo>
                  <a:cubicBezTo>
                    <a:pt x="432" y="136"/>
                    <a:pt x="424" y="148"/>
                    <a:pt x="422" y="149"/>
                  </a:cubicBezTo>
                  <a:cubicBezTo>
                    <a:pt x="420" y="149"/>
                    <a:pt x="410" y="143"/>
                    <a:pt x="405" y="142"/>
                  </a:cubicBezTo>
                  <a:cubicBezTo>
                    <a:pt x="401" y="141"/>
                    <a:pt x="406" y="155"/>
                    <a:pt x="404" y="157"/>
                  </a:cubicBezTo>
                  <a:cubicBezTo>
                    <a:pt x="401" y="159"/>
                    <a:pt x="396" y="159"/>
                    <a:pt x="395" y="158"/>
                  </a:cubicBezTo>
                  <a:cubicBezTo>
                    <a:pt x="394" y="157"/>
                    <a:pt x="383" y="144"/>
                    <a:pt x="382" y="143"/>
                  </a:cubicBezTo>
                  <a:cubicBezTo>
                    <a:pt x="381" y="143"/>
                    <a:pt x="391" y="131"/>
                    <a:pt x="393" y="130"/>
                  </a:cubicBezTo>
                  <a:cubicBezTo>
                    <a:pt x="395" y="128"/>
                    <a:pt x="380" y="115"/>
                    <a:pt x="378" y="114"/>
                  </a:cubicBezTo>
                  <a:cubicBezTo>
                    <a:pt x="375" y="112"/>
                    <a:pt x="377" y="105"/>
                    <a:pt x="377" y="102"/>
                  </a:cubicBezTo>
                  <a:cubicBezTo>
                    <a:pt x="377" y="100"/>
                    <a:pt x="367" y="92"/>
                    <a:pt x="366" y="89"/>
                  </a:cubicBezTo>
                  <a:cubicBezTo>
                    <a:pt x="365" y="87"/>
                    <a:pt x="367" y="72"/>
                    <a:pt x="368" y="70"/>
                  </a:cubicBezTo>
                  <a:cubicBezTo>
                    <a:pt x="369" y="69"/>
                    <a:pt x="354" y="49"/>
                    <a:pt x="352" y="49"/>
                  </a:cubicBezTo>
                  <a:cubicBezTo>
                    <a:pt x="350" y="49"/>
                    <a:pt x="342" y="57"/>
                    <a:pt x="339" y="58"/>
                  </a:cubicBezTo>
                  <a:cubicBezTo>
                    <a:pt x="337" y="59"/>
                    <a:pt x="328" y="54"/>
                    <a:pt x="327" y="53"/>
                  </a:cubicBezTo>
                  <a:cubicBezTo>
                    <a:pt x="326" y="52"/>
                    <a:pt x="331" y="40"/>
                    <a:pt x="331" y="40"/>
                  </a:cubicBezTo>
                  <a:cubicBezTo>
                    <a:pt x="331" y="40"/>
                    <a:pt x="317" y="30"/>
                    <a:pt x="317" y="30"/>
                  </a:cubicBezTo>
                  <a:cubicBezTo>
                    <a:pt x="317" y="30"/>
                    <a:pt x="317" y="25"/>
                    <a:pt x="318" y="20"/>
                  </a:cubicBezTo>
                  <a:cubicBezTo>
                    <a:pt x="311" y="22"/>
                    <a:pt x="295" y="18"/>
                    <a:pt x="291" y="16"/>
                  </a:cubicBezTo>
                  <a:cubicBezTo>
                    <a:pt x="287" y="15"/>
                    <a:pt x="283" y="16"/>
                    <a:pt x="277" y="17"/>
                  </a:cubicBezTo>
                  <a:cubicBezTo>
                    <a:pt x="273" y="17"/>
                    <a:pt x="269" y="8"/>
                    <a:pt x="266" y="0"/>
                  </a:cubicBezTo>
                  <a:cubicBezTo>
                    <a:pt x="264" y="1"/>
                    <a:pt x="263" y="2"/>
                    <a:pt x="262" y="3"/>
                  </a:cubicBezTo>
                  <a:cubicBezTo>
                    <a:pt x="260" y="4"/>
                    <a:pt x="252" y="5"/>
                    <a:pt x="244" y="7"/>
                  </a:cubicBezTo>
                  <a:cubicBezTo>
                    <a:pt x="236" y="8"/>
                    <a:pt x="233" y="32"/>
                    <a:pt x="232" y="38"/>
                  </a:cubicBezTo>
                  <a:cubicBezTo>
                    <a:pt x="231" y="44"/>
                    <a:pt x="216" y="56"/>
                    <a:pt x="216" y="56"/>
                  </a:cubicBezTo>
                  <a:cubicBezTo>
                    <a:pt x="216" y="56"/>
                    <a:pt x="214" y="64"/>
                    <a:pt x="214" y="66"/>
                  </a:cubicBezTo>
                  <a:cubicBezTo>
                    <a:pt x="214" y="67"/>
                    <a:pt x="209" y="66"/>
                    <a:pt x="208" y="66"/>
                  </a:cubicBezTo>
                  <a:cubicBezTo>
                    <a:pt x="207" y="66"/>
                    <a:pt x="181" y="79"/>
                    <a:pt x="174" y="83"/>
                  </a:cubicBezTo>
                  <a:cubicBezTo>
                    <a:pt x="167" y="87"/>
                    <a:pt x="172" y="95"/>
                    <a:pt x="169" y="102"/>
                  </a:cubicBezTo>
                  <a:cubicBezTo>
                    <a:pt x="167" y="109"/>
                    <a:pt x="160" y="109"/>
                    <a:pt x="156" y="113"/>
                  </a:cubicBezTo>
                  <a:cubicBezTo>
                    <a:pt x="151" y="117"/>
                    <a:pt x="148" y="131"/>
                    <a:pt x="147" y="131"/>
                  </a:cubicBezTo>
                  <a:cubicBezTo>
                    <a:pt x="147" y="131"/>
                    <a:pt x="143" y="130"/>
                    <a:pt x="142" y="130"/>
                  </a:cubicBezTo>
                  <a:cubicBezTo>
                    <a:pt x="141" y="129"/>
                    <a:pt x="133" y="136"/>
                    <a:pt x="130" y="137"/>
                  </a:cubicBezTo>
                  <a:cubicBezTo>
                    <a:pt x="128" y="139"/>
                    <a:pt x="118" y="135"/>
                    <a:pt x="112" y="135"/>
                  </a:cubicBezTo>
                  <a:cubicBezTo>
                    <a:pt x="105" y="135"/>
                    <a:pt x="94" y="141"/>
                    <a:pt x="85" y="143"/>
                  </a:cubicBezTo>
                  <a:cubicBezTo>
                    <a:pt x="76" y="146"/>
                    <a:pt x="81" y="136"/>
                    <a:pt x="78" y="129"/>
                  </a:cubicBezTo>
                  <a:cubicBezTo>
                    <a:pt x="75" y="123"/>
                    <a:pt x="72" y="123"/>
                    <a:pt x="67" y="120"/>
                  </a:cubicBezTo>
                  <a:cubicBezTo>
                    <a:pt x="62" y="117"/>
                    <a:pt x="45" y="133"/>
                    <a:pt x="43" y="134"/>
                  </a:cubicBezTo>
                  <a:cubicBezTo>
                    <a:pt x="41" y="135"/>
                    <a:pt x="43" y="136"/>
                    <a:pt x="40" y="142"/>
                  </a:cubicBezTo>
                  <a:cubicBezTo>
                    <a:pt x="37" y="148"/>
                    <a:pt x="10" y="172"/>
                    <a:pt x="9" y="173"/>
                  </a:cubicBezTo>
                  <a:cubicBezTo>
                    <a:pt x="9" y="174"/>
                    <a:pt x="8" y="178"/>
                    <a:pt x="8" y="182"/>
                  </a:cubicBezTo>
                  <a:cubicBezTo>
                    <a:pt x="7" y="186"/>
                    <a:pt x="1" y="192"/>
                    <a:pt x="0" y="195"/>
                  </a:cubicBezTo>
                  <a:cubicBezTo>
                    <a:pt x="0" y="199"/>
                    <a:pt x="16" y="215"/>
                    <a:pt x="16" y="215"/>
                  </a:cubicBezTo>
                  <a:cubicBezTo>
                    <a:pt x="16" y="215"/>
                    <a:pt x="37" y="211"/>
                    <a:pt x="38" y="211"/>
                  </a:cubicBezTo>
                  <a:cubicBezTo>
                    <a:pt x="38" y="211"/>
                    <a:pt x="40" y="213"/>
                    <a:pt x="42" y="215"/>
                  </a:cubicBezTo>
                  <a:cubicBezTo>
                    <a:pt x="43" y="217"/>
                    <a:pt x="42" y="225"/>
                    <a:pt x="40" y="233"/>
                  </a:cubicBezTo>
                  <a:cubicBezTo>
                    <a:pt x="38" y="241"/>
                    <a:pt x="31" y="245"/>
                    <a:pt x="31" y="249"/>
                  </a:cubicBezTo>
                  <a:cubicBezTo>
                    <a:pt x="30" y="252"/>
                    <a:pt x="43" y="271"/>
                    <a:pt x="47" y="274"/>
                  </a:cubicBezTo>
                  <a:cubicBezTo>
                    <a:pt x="51" y="276"/>
                    <a:pt x="65" y="271"/>
                    <a:pt x="66" y="270"/>
                  </a:cubicBezTo>
                  <a:cubicBezTo>
                    <a:pt x="67" y="270"/>
                    <a:pt x="64" y="289"/>
                    <a:pt x="64" y="293"/>
                  </a:cubicBezTo>
                  <a:cubicBezTo>
                    <a:pt x="64" y="298"/>
                    <a:pt x="75" y="308"/>
                    <a:pt x="76" y="310"/>
                  </a:cubicBezTo>
                  <a:cubicBezTo>
                    <a:pt x="78" y="311"/>
                    <a:pt x="76" y="312"/>
                    <a:pt x="75" y="316"/>
                  </a:cubicBezTo>
                  <a:cubicBezTo>
                    <a:pt x="75" y="319"/>
                    <a:pt x="82" y="330"/>
                    <a:pt x="85" y="336"/>
                  </a:cubicBezTo>
                  <a:cubicBezTo>
                    <a:pt x="93" y="338"/>
                    <a:pt x="102" y="341"/>
                    <a:pt x="102" y="341"/>
                  </a:cubicBezTo>
                  <a:cubicBezTo>
                    <a:pt x="102" y="341"/>
                    <a:pt x="107" y="350"/>
                    <a:pt x="116" y="352"/>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0" name="Freeform 1191"/>
            <p:cNvSpPr>
              <a:spLocks noChangeAspect="1"/>
            </p:cNvSpPr>
            <p:nvPr/>
          </p:nvSpPr>
          <p:spPr bwMode="auto">
            <a:xfrm>
              <a:off x="8972732" y="2079689"/>
              <a:ext cx="1662352" cy="913258"/>
            </a:xfrm>
            <a:custGeom>
              <a:avLst/>
              <a:gdLst>
                <a:gd name="T0" fmla="*/ 420 w 446"/>
                <a:gd name="T1" fmla="*/ 116 h 327"/>
                <a:gd name="T2" fmla="*/ 408 w 446"/>
                <a:gd name="T3" fmla="*/ 103 h 327"/>
                <a:gd name="T4" fmla="*/ 395 w 446"/>
                <a:gd name="T5" fmla="*/ 86 h 327"/>
                <a:gd name="T6" fmla="*/ 357 w 446"/>
                <a:gd name="T7" fmla="*/ 85 h 327"/>
                <a:gd name="T8" fmla="*/ 321 w 446"/>
                <a:gd name="T9" fmla="*/ 109 h 327"/>
                <a:gd name="T10" fmla="*/ 298 w 446"/>
                <a:gd name="T11" fmla="*/ 117 h 327"/>
                <a:gd name="T12" fmla="*/ 280 w 446"/>
                <a:gd name="T13" fmla="*/ 110 h 327"/>
                <a:gd name="T14" fmla="*/ 256 w 446"/>
                <a:gd name="T15" fmla="*/ 103 h 327"/>
                <a:gd name="T16" fmla="*/ 239 w 446"/>
                <a:gd name="T17" fmla="*/ 82 h 327"/>
                <a:gd name="T18" fmla="*/ 214 w 446"/>
                <a:gd name="T19" fmla="*/ 79 h 327"/>
                <a:gd name="T20" fmla="*/ 208 w 446"/>
                <a:gd name="T21" fmla="*/ 55 h 327"/>
                <a:gd name="T22" fmla="*/ 183 w 446"/>
                <a:gd name="T23" fmla="*/ 27 h 327"/>
                <a:gd name="T24" fmla="*/ 161 w 446"/>
                <a:gd name="T25" fmla="*/ 8 h 327"/>
                <a:gd name="T26" fmla="*/ 108 w 446"/>
                <a:gd name="T27" fmla="*/ 18 h 327"/>
                <a:gd name="T28" fmla="*/ 43 w 446"/>
                <a:gd name="T29" fmla="*/ 33 h 327"/>
                <a:gd name="T30" fmla="*/ 0 w 446"/>
                <a:gd name="T31" fmla="*/ 67 h 327"/>
                <a:gd name="T32" fmla="*/ 48 w 446"/>
                <a:gd name="T33" fmla="*/ 155 h 327"/>
                <a:gd name="T34" fmla="*/ 54 w 446"/>
                <a:gd name="T35" fmla="*/ 240 h 327"/>
                <a:gd name="T36" fmla="*/ 86 w 446"/>
                <a:gd name="T37" fmla="*/ 271 h 327"/>
                <a:gd name="T38" fmla="*/ 107 w 446"/>
                <a:gd name="T39" fmla="*/ 283 h 327"/>
                <a:gd name="T40" fmla="*/ 125 w 446"/>
                <a:gd name="T41" fmla="*/ 280 h 327"/>
                <a:gd name="T42" fmla="*/ 118 w 446"/>
                <a:gd name="T43" fmla="*/ 300 h 327"/>
                <a:gd name="T44" fmla="*/ 163 w 446"/>
                <a:gd name="T45" fmla="*/ 317 h 327"/>
                <a:gd name="T46" fmla="*/ 183 w 446"/>
                <a:gd name="T47" fmla="*/ 283 h 327"/>
                <a:gd name="T48" fmla="*/ 185 w 446"/>
                <a:gd name="T49" fmla="*/ 286 h 327"/>
                <a:gd name="T50" fmla="*/ 187 w 446"/>
                <a:gd name="T51" fmla="*/ 289 h 327"/>
                <a:gd name="T52" fmla="*/ 188 w 446"/>
                <a:gd name="T53" fmla="*/ 290 h 327"/>
                <a:gd name="T54" fmla="*/ 198 w 446"/>
                <a:gd name="T55" fmla="*/ 277 h 327"/>
                <a:gd name="T56" fmla="*/ 233 w 446"/>
                <a:gd name="T57" fmla="*/ 270 h 327"/>
                <a:gd name="T58" fmla="*/ 246 w 446"/>
                <a:gd name="T59" fmla="*/ 281 h 327"/>
                <a:gd name="T60" fmla="*/ 296 w 446"/>
                <a:gd name="T61" fmla="*/ 292 h 327"/>
                <a:gd name="T62" fmla="*/ 328 w 446"/>
                <a:gd name="T63" fmla="*/ 306 h 327"/>
                <a:gd name="T64" fmla="*/ 340 w 446"/>
                <a:gd name="T65" fmla="*/ 309 h 327"/>
                <a:gd name="T66" fmla="*/ 352 w 446"/>
                <a:gd name="T67" fmla="*/ 312 h 327"/>
                <a:gd name="T68" fmla="*/ 378 w 446"/>
                <a:gd name="T69" fmla="*/ 309 h 327"/>
                <a:gd name="T70" fmla="*/ 396 w 446"/>
                <a:gd name="T71" fmla="*/ 298 h 327"/>
                <a:gd name="T72" fmla="*/ 386 w 446"/>
                <a:gd name="T73" fmla="*/ 286 h 327"/>
                <a:gd name="T74" fmla="*/ 374 w 446"/>
                <a:gd name="T75" fmla="*/ 261 h 327"/>
                <a:gd name="T76" fmla="*/ 357 w 446"/>
                <a:gd name="T77" fmla="*/ 243 h 327"/>
                <a:gd name="T78" fmla="*/ 363 w 446"/>
                <a:gd name="T79" fmla="*/ 220 h 327"/>
                <a:gd name="T80" fmla="*/ 366 w 446"/>
                <a:gd name="T81" fmla="*/ 201 h 327"/>
                <a:gd name="T82" fmla="*/ 398 w 446"/>
                <a:gd name="T83" fmla="*/ 201 h 327"/>
                <a:gd name="T84" fmla="*/ 399 w 446"/>
                <a:gd name="T85" fmla="*/ 188 h 327"/>
                <a:gd name="T86" fmla="*/ 417 w 446"/>
                <a:gd name="T87" fmla="*/ 174 h 327"/>
                <a:gd name="T88" fmla="*/ 437 w 446"/>
                <a:gd name="T89" fmla="*/ 157 h 327"/>
                <a:gd name="T90" fmla="*/ 440 w 446"/>
                <a:gd name="T91" fmla="*/ 1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6" h="327">
                  <a:moveTo>
                    <a:pt x="433" y="115"/>
                  </a:moveTo>
                  <a:cubicBezTo>
                    <a:pt x="433" y="115"/>
                    <a:pt x="431" y="119"/>
                    <a:pt x="429" y="120"/>
                  </a:cubicBezTo>
                  <a:cubicBezTo>
                    <a:pt x="427" y="122"/>
                    <a:pt x="425" y="117"/>
                    <a:pt x="420" y="116"/>
                  </a:cubicBezTo>
                  <a:cubicBezTo>
                    <a:pt x="415" y="115"/>
                    <a:pt x="417" y="109"/>
                    <a:pt x="416" y="108"/>
                  </a:cubicBezTo>
                  <a:cubicBezTo>
                    <a:pt x="414" y="107"/>
                    <a:pt x="413" y="108"/>
                    <a:pt x="411" y="108"/>
                  </a:cubicBezTo>
                  <a:cubicBezTo>
                    <a:pt x="410" y="108"/>
                    <a:pt x="409" y="104"/>
                    <a:pt x="408" y="103"/>
                  </a:cubicBezTo>
                  <a:cubicBezTo>
                    <a:pt x="407" y="102"/>
                    <a:pt x="405" y="105"/>
                    <a:pt x="404" y="106"/>
                  </a:cubicBezTo>
                  <a:cubicBezTo>
                    <a:pt x="404" y="106"/>
                    <a:pt x="400" y="98"/>
                    <a:pt x="401" y="97"/>
                  </a:cubicBezTo>
                  <a:cubicBezTo>
                    <a:pt x="401" y="96"/>
                    <a:pt x="402" y="94"/>
                    <a:pt x="395" y="86"/>
                  </a:cubicBezTo>
                  <a:cubicBezTo>
                    <a:pt x="389" y="77"/>
                    <a:pt x="378" y="81"/>
                    <a:pt x="378" y="81"/>
                  </a:cubicBezTo>
                  <a:cubicBezTo>
                    <a:pt x="378" y="81"/>
                    <a:pt x="371" y="89"/>
                    <a:pt x="370" y="90"/>
                  </a:cubicBezTo>
                  <a:cubicBezTo>
                    <a:pt x="370" y="92"/>
                    <a:pt x="358" y="86"/>
                    <a:pt x="357" y="85"/>
                  </a:cubicBezTo>
                  <a:cubicBezTo>
                    <a:pt x="355" y="85"/>
                    <a:pt x="349" y="96"/>
                    <a:pt x="344" y="96"/>
                  </a:cubicBezTo>
                  <a:cubicBezTo>
                    <a:pt x="338" y="97"/>
                    <a:pt x="335" y="100"/>
                    <a:pt x="332" y="101"/>
                  </a:cubicBezTo>
                  <a:cubicBezTo>
                    <a:pt x="329" y="103"/>
                    <a:pt x="325" y="107"/>
                    <a:pt x="321" y="109"/>
                  </a:cubicBezTo>
                  <a:cubicBezTo>
                    <a:pt x="317" y="111"/>
                    <a:pt x="311" y="115"/>
                    <a:pt x="310" y="116"/>
                  </a:cubicBezTo>
                  <a:cubicBezTo>
                    <a:pt x="308" y="117"/>
                    <a:pt x="305" y="112"/>
                    <a:pt x="304" y="112"/>
                  </a:cubicBezTo>
                  <a:cubicBezTo>
                    <a:pt x="302" y="112"/>
                    <a:pt x="299" y="116"/>
                    <a:pt x="298" y="117"/>
                  </a:cubicBezTo>
                  <a:cubicBezTo>
                    <a:pt x="297" y="118"/>
                    <a:pt x="294" y="115"/>
                    <a:pt x="293" y="115"/>
                  </a:cubicBezTo>
                  <a:cubicBezTo>
                    <a:pt x="293" y="114"/>
                    <a:pt x="289" y="116"/>
                    <a:pt x="287" y="116"/>
                  </a:cubicBezTo>
                  <a:cubicBezTo>
                    <a:pt x="285" y="115"/>
                    <a:pt x="280" y="110"/>
                    <a:pt x="280" y="110"/>
                  </a:cubicBezTo>
                  <a:cubicBezTo>
                    <a:pt x="279" y="109"/>
                    <a:pt x="279" y="110"/>
                    <a:pt x="274" y="110"/>
                  </a:cubicBezTo>
                  <a:cubicBezTo>
                    <a:pt x="269" y="111"/>
                    <a:pt x="257" y="106"/>
                    <a:pt x="256" y="106"/>
                  </a:cubicBezTo>
                  <a:cubicBezTo>
                    <a:pt x="256" y="106"/>
                    <a:pt x="256" y="105"/>
                    <a:pt x="256" y="103"/>
                  </a:cubicBezTo>
                  <a:cubicBezTo>
                    <a:pt x="257" y="102"/>
                    <a:pt x="247" y="101"/>
                    <a:pt x="246" y="100"/>
                  </a:cubicBezTo>
                  <a:cubicBezTo>
                    <a:pt x="245" y="99"/>
                    <a:pt x="238" y="95"/>
                    <a:pt x="238" y="94"/>
                  </a:cubicBezTo>
                  <a:cubicBezTo>
                    <a:pt x="238" y="94"/>
                    <a:pt x="239" y="83"/>
                    <a:pt x="239" y="82"/>
                  </a:cubicBezTo>
                  <a:cubicBezTo>
                    <a:pt x="239" y="80"/>
                    <a:pt x="228" y="91"/>
                    <a:pt x="228" y="92"/>
                  </a:cubicBezTo>
                  <a:cubicBezTo>
                    <a:pt x="227" y="92"/>
                    <a:pt x="222" y="92"/>
                    <a:pt x="219" y="92"/>
                  </a:cubicBezTo>
                  <a:cubicBezTo>
                    <a:pt x="216" y="91"/>
                    <a:pt x="215" y="80"/>
                    <a:pt x="214" y="79"/>
                  </a:cubicBezTo>
                  <a:cubicBezTo>
                    <a:pt x="213" y="77"/>
                    <a:pt x="205" y="76"/>
                    <a:pt x="203" y="73"/>
                  </a:cubicBezTo>
                  <a:cubicBezTo>
                    <a:pt x="201" y="69"/>
                    <a:pt x="211" y="61"/>
                    <a:pt x="211" y="61"/>
                  </a:cubicBezTo>
                  <a:cubicBezTo>
                    <a:pt x="212" y="60"/>
                    <a:pt x="209" y="57"/>
                    <a:pt x="208" y="55"/>
                  </a:cubicBezTo>
                  <a:cubicBezTo>
                    <a:pt x="208" y="54"/>
                    <a:pt x="210" y="49"/>
                    <a:pt x="210" y="45"/>
                  </a:cubicBezTo>
                  <a:cubicBezTo>
                    <a:pt x="211" y="42"/>
                    <a:pt x="196" y="27"/>
                    <a:pt x="193" y="25"/>
                  </a:cubicBezTo>
                  <a:cubicBezTo>
                    <a:pt x="190" y="23"/>
                    <a:pt x="183" y="27"/>
                    <a:pt x="183" y="27"/>
                  </a:cubicBezTo>
                  <a:cubicBezTo>
                    <a:pt x="182" y="28"/>
                    <a:pt x="177" y="23"/>
                    <a:pt x="177" y="23"/>
                  </a:cubicBezTo>
                  <a:cubicBezTo>
                    <a:pt x="177" y="22"/>
                    <a:pt x="178" y="17"/>
                    <a:pt x="178" y="16"/>
                  </a:cubicBezTo>
                  <a:cubicBezTo>
                    <a:pt x="178" y="16"/>
                    <a:pt x="163" y="8"/>
                    <a:pt x="161" y="8"/>
                  </a:cubicBezTo>
                  <a:cubicBezTo>
                    <a:pt x="159" y="7"/>
                    <a:pt x="156" y="10"/>
                    <a:pt x="153" y="10"/>
                  </a:cubicBezTo>
                  <a:cubicBezTo>
                    <a:pt x="150" y="11"/>
                    <a:pt x="133" y="1"/>
                    <a:pt x="131" y="0"/>
                  </a:cubicBezTo>
                  <a:cubicBezTo>
                    <a:pt x="130" y="0"/>
                    <a:pt x="109" y="17"/>
                    <a:pt x="108" y="18"/>
                  </a:cubicBezTo>
                  <a:cubicBezTo>
                    <a:pt x="106" y="20"/>
                    <a:pt x="91" y="10"/>
                    <a:pt x="91" y="10"/>
                  </a:cubicBezTo>
                  <a:cubicBezTo>
                    <a:pt x="91" y="10"/>
                    <a:pt x="66" y="11"/>
                    <a:pt x="59" y="12"/>
                  </a:cubicBezTo>
                  <a:cubicBezTo>
                    <a:pt x="52" y="13"/>
                    <a:pt x="45" y="30"/>
                    <a:pt x="43" y="33"/>
                  </a:cubicBezTo>
                  <a:cubicBezTo>
                    <a:pt x="42" y="36"/>
                    <a:pt x="41" y="35"/>
                    <a:pt x="38" y="35"/>
                  </a:cubicBezTo>
                  <a:cubicBezTo>
                    <a:pt x="35" y="35"/>
                    <a:pt x="0" y="56"/>
                    <a:pt x="0" y="56"/>
                  </a:cubicBezTo>
                  <a:cubicBezTo>
                    <a:pt x="0" y="56"/>
                    <a:pt x="0" y="65"/>
                    <a:pt x="0" y="67"/>
                  </a:cubicBezTo>
                  <a:cubicBezTo>
                    <a:pt x="0" y="69"/>
                    <a:pt x="30" y="71"/>
                    <a:pt x="30" y="72"/>
                  </a:cubicBezTo>
                  <a:cubicBezTo>
                    <a:pt x="31" y="72"/>
                    <a:pt x="82" y="114"/>
                    <a:pt x="84" y="118"/>
                  </a:cubicBezTo>
                  <a:cubicBezTo>
                    <a:pt x="86" y="123"/>
                    <a:pt x="51" y="151"/>
                    <a:pt x="48" y="155"/>
                  </a:cubicBezTo>
                  <a:cubicBezTo>
                    <a:pt x="45" y="159"/>
                    <a:pt x="50" y="199"/>
                    <a:pt x="51" y="201"/>
                  </a:cubicBezTo>
                  <a:cubicBezTo>
                    <a:pt x="51" y="202"/>
                    <a:pt x="54" y="218"/>
                    <a:pt x="56" y="224"/>
                  </a:cubicBezTo>
                  <a:cubicBezTo>
                    <a:pt x="58" y="229"/>
                    <a:pt x="53" y="234"/>
                    <a:pt x="54" y="240"/>
                  </a:cubicBezTo>
                  <a:cubicBezTo>
                    <a:pt x="55" y="247"/>
                    <a:pt x="69" y="260"/>
                    <a:pt x="71" y="263"/>
                  </a:cubicBezTo>
                  <a:cubicBezTo>
                    <a:pt x="73" y="266"/>
                    <a:pt x="84" y="263"/>
                    <a:pt x="86" y="264"/>
                  </a:cubicBezTo>
                  <a:cubicBezTo>
                    <a:pt x="88" y="266"/>
                    <a:pt x="86" y="267"/>
                    <a:pt x="86" y="271"/>
                  </a:cubicBezTo>
                  <a:cubicBezTo>
                    <a:pt x="86" y="275"/>
                    <a:pt x="93" y="281"/>
                    <a:pt x="93" y="282"/>
                  </a:cubicBezTo>
                  <a:cubicBezTo>
                    <a:pt x="94" y="283"/>
                    <a:pt x="106" y="269"/>
                    <a:pt x="106" y="269"/>
                  </a:cubicBezTo>
                  <a:cubicBezTo>
                    <a:pt x="111" y="271"/>
                    <a:pt x="107" y="283"/>
                    <a:pt x="107" y="283"/>
                  </a:cubicBezTo>
                  <a:cubicBezTo>
                    <a:pt x="111" y="283"/>
                    <a:pt x="111" y="283"/>
                    <a:pt x="111" y="283"/>
                  </a:cubicBezTo>
                  <a:cubicBezTo>
                    <a:pt x="111" y="283"/>
                    <a:pt x="115" y="286"/>
                    <a:pt x="116" y="287"/>
                  </a:cubicBezTo>
                  <a:cubicBezTo>
                    <a:pt x="117" y="289"/>
                    <a:pt x="125" y="280"/>
                    <a:pt x="125" y="280"/>
                  </a:cubicBezTo>
                  <a:cubicBezTo>
                    <a:pt x="125" y="280"/>
                    <a:pt x="124" y="287"/>
                    <a:pt x="124" y="287"/>
                  </a:cubicBezTo>
                  <a:cubicBezTo>
                    <a:pt x="123" y="287"/>
                    <a:pt x="126" y="293"/>
                    <a:pt x="127" y="294"/>
                  </a:cubicBezTo>
                  <a:cubicBezTo>
                    <a:pt x="127" y="295"/>
                    <a:pt x="120" y="294"/>
                    <a:pt x="118" y="300"/>
                  </a:cubicBezTo>
                  <a:cubicBezTo>
                    <a:pt x="117" y="305"/>
                    <a:pt x="135" y="307"/>
                    <a:pt x="137" y="309"/>
                  </a:cubicBezTo>
                  <a:cubicBezTo>
                    <a:pt x="139" y="310"/>
                    <a:pt x="142" y="308"/>
                    <a:pt x="142" y="307"/>
                  </a:cubicBezTo>
                  <a:cubicBezTo>
                    <a:pt x="143" y="306"/>
                    <a:pt x="157" y="313"/>
                    <a:pt x="163" y="317"/>
                  </a:cubicBezTo>
                  <a:cubicBezTo>
                    <a:pt x="169" y="314"/>
                    <a:pt x="182" y="309"/>
                    <a:pt x="182" y="302"/>
                  </a:cubicBezTo>
                  <a:cubicBezTo>
                    <a:pt x="183" y="292"/>
                    <a:pt x="177" y="288"/>
                    <a:pt x="179" y="286"/>
                  </a:cubicBezTo>
                  <a:cubicBezTo>
                    <a:pt x="181" y="285"/>
                    <a:pt x="182" y="284"/>
                    <a:pt x="183" y="283"/>
                  </a:cubicBezTo>
                  <a:cubicBezTo>
                    <a:pt x="184" y="284"/>
                    <a:pt x="185" y="285"/>
                    <a:pt x="185" y="286"/>
                  </a:cubicBezTo>
                  <a:cubicBezTo>
                    <a:pt x="185" y="285"/>
                    <a:pt x="185" y="284"/>
                    <a:pt x="185" y="284"/>
                  </a:cubicBezTo>
                  <a:cubicBezTo>
                    <a:pt x="185" y="284"/>
                    <a:pt x="185" y="285"/>
                    <a:pt x="185" y="286"/>
                  </a:cubicBezTo>
                  <a:cubicBezTo>
                    <a:pt x="185" y="286"/>
                    <a:pt x="185" y="286"/>
                    <a:pt x="185" y="286"/>
                  </a:cubicBezTo>
                  <a:cubicBezTo>
                    <a:pt x="185" y="286"/>
                    <a:pt x="185" y="286"/>
                    <a:pt x="185" y="286"/>
                  </a:cubicBezTo>
                  <a:cubicBezTo>
                    <a:pt x="186" y="287"/>
                    <a:pt x="186" y="288"/>
                    <a:pt x="187" y="289"/>
                  </a:cubicBezTo>
                  <a:cubicBezTo>
                    <a:pt x="187" y="289"/>
                    <a:pt x="187" y="289"/>
                    <a:pt x="187" y="289"/>
                  </a:cubicBezTo>
                  <a:cubicBezTo>
                    <a:pt x="187" y="289"/>
                    <a:pt x="188" y="290"/>
                    <a:pt x="188" y="290"/>
                  </a:cubicBezTo>
                  <a:cubicBezTo>
                    <a:pt x="188" y="290"/>
                    <a:pt x="188" y="290"/>
                    <a:pt x="188" y="290"/>
                  </a:cubicBezTo>
                  <a:cubicBezTo>
                    <a:pt x="189" y="291"/>
                    <a:pt x="190" y="292"/>
                    <a:pt x="192" y="291"/>
                  </a:cubicBezTo>
                  <a:cubicBezTo>
                    <a:pt x="196" y="287"/>
                    <a:pt x="200" y="282"/>
                    <a:pt x="200" y="282"/>
                  </a:cubicBezTo>
                  <a:cubicBezTo>
                    <a:pt x="200" y="282"/>
                    <a:pt x="197" y="278"/>
                    <a:pt x="198" y="277"/>
                  </a:cubicBezTo>
                  <a:cubicBezTo>
                    <a:pt x="198" y="277"/>
                    <a:pt x="206" y="277"/>
                    <a:pt x="210" y="272"/>
                  </a:cubicBezTo>
                  <a:cubicBezTo>
                    <a:pt x="214" y="268"/>
                    <a:pt x="210" y="266"/>
                    <a:pt x="215" y="266"/>
                  </a:cubicBezTo>
                  <a:cubicBezTo>
                    <a:pt x="219" y="265"/>
                    <a:pt x="232" y="270"/>
                    <a:pt x="233" y="270"/>
                  </a:cubicBezTo>
                  <a:cubicBezTo>
                    <a:pt x="234" y="270"/>
                    <a:pt x="232" y="274"/>
                    <a:pt x="234" y="274"/>
                  </a:cubicBezTo>
                  <a:cubicBezTo>
                    <a:pt x="236" y="274"/>
                    <a:pt x="245" y="272"/>
                    <a:pt x="245" y="275"/>
                  </a:cubicBezTo>
                  <a:cubicBezTo>
                    <a:pt x="245" y="277"/>
                    <a:pt x="245" y="280"/>
                    <a:pt x="246" y="281"/>
                  </a:cubicBezTo>
                  <a:cubicBezTo>
                    <a:pt x="246" y="282"/>
                    <a:pt x="271" y="292"/>
                    <a:pt x="271" y="292"/>
                  </a:cubicBezTo>
                  <a:cubicBezTo>
                    <a:pt x="278" y="279"/>
                    <a:pt x="278" y="279"/>
                    <a:pt x="278" y="279"/>
                  </a:cubicBezTo>
                  <a:cubicBezTo>
                    <a:pt x="278" y="279"/>
                    <a:pt x="294" y="290"/>
                    <a:pt x="296" y="292"/>
                  </a:cubicBezTo>
                  <a:cubicBezTo>
                    <a:pt x="298" y="294"/>
                    <a:pt x="304" y="302"/>
                    <a:pt x="306" y="301"/>
                  </a:cubicBezTo>
                  <a:cubicBezTo>
                    <a:pt x="308" y="300"/>
                    <a:pt x="314" y="295"/>
                    <a:pt x="316" y="297"/>
                  </a:cubicBezTo>
                  <a:cubicBezTo>
                    <a:pt x="318" y="298"/>
                    <a:pt x="328" y="306"/>
                    <a:pt x="328" y="306"/>
                  </a:cubicBezTo>
                  <a:cubicBezTo>
                    <a:pt x="333" y="310"/>
                    <a:pt x="333" y="310"/>
                    <a:pt x="333" y="310"/>
                  </a:cubicBezTo>
                  <a:cubicBezTo>
                    <a:pt x="334" y="309"/>
                    <a:pt x="337" y="307"/>
                    <a:pt x="338" y="306"/>
                  </a:cubicBezTo>
                  <a:cubicBezTo>
                    <a:pt x="338" y="306"/>
                    <a:pt x="339" y="309"/>
                    <a:pt x="340" y="309"/>
                  </a:cubicBezTo>
                  <a:cubicBezTo>
                    <a:pt x="341" y="310"/>
                    <a:pt x="348" y="306"/>
                    <a:pt x="350" y="304"/>
                  </a:cubicBezTo>
                  <a:cubicBezTo>
                    <a:pt x="352" y="301"/>
                    <a:pt x="352" y="305"/>
                    <a:pt x="354" y="307"/>
                  </a:cubicBezTo>
                  <a:cubicBezTo>
                    <a:pt x="355" y="308"/>
                    <a:pt x="352" y="308"/>
                    <a:pt x="352" y="312"/>
                  </a:cubicBezTo>
                  <a:cubicBezTo>
                    <a:pt x="351" y="316"/>
                    <a:pt x="359" y="322"/>
                    <a:pt x="361" y="324"/>
                  </a:cubicBezTo>
                  <a:cubicBezTo>
                    <a:pt x="363" y="327"/>
                    <a:pt x="369" y="323"/>
                    <a:pt x="372" y="323"/>
                  </a:cubicBezTo>
                  <a:cubicBezTo>
                    <a:pt x="376" y="323"/>
                    <a:pt x="378" y="309"/>
                    <a:pt x="378" y="309"/>
                  </a:cubicBezTo>
                  <a:cubicBezTo>
                    <a:pt x="378" y="309"/>
                    <a:pt x="381" y="317"/>
                    <a:pt x="381" y="317"/>
                  </a:cubicBezTo>
                  <a:cubicBezTo>
                    <a:pt x="381" y="318"/>
                    <a:pt x="392" y="306"/>
                    <a:pt x="392" y="306"/>
                  </a:cubicBezTo>
                  <a:cubicBezTo>
                    <a:pt x="392" y="306"/>
                    <a:pt x="396" y="298"/>
                    <a:pt x="396" y="298"/>
                  </a:cubicBezTo>
                  <a:cubicBezTo>
                    <a:pt x="396" y="297"/>
                    <a:pt x="392" y="296"/>
                    <a:pt x="392" y="296"/>
                  </a:cubicBezTo>
                  <a:cubicBezTo>
                    <a:pt x="392" y="296"/>
                    <a:pt x="392" y="291"/>
                    <a:pt x="392" y="289"/>
                  </a:cubicBezTo>
                  <a:cubicBezTo>
                    <a:pt x="392" y="287"/>
                    <a:pt x="386" y="286"/>
                    <a:pt x="386" y="286"/>
                  </a:cubicBezTo>
                  <a:cubicBezTo>
                    <a:pt x="386" y="286"/>
                    <a:pt x="387" y="271"/>
                    <a:pt x="387" y="269"/>
                  </a:cubicBezTo>
                  <a:cubicBezTo>
                    <a:pt x="387" y="267"/>
                    <a:pt x="378" y="270"/>
                    <a:pt x="377" y="270"/>
                  </a:cubicBezTo>
                  <a:cubicBezTo>
                    <a:pt x="376" y="270"/>
                    <a:pt x="374" y="262"/>
                    <a:pt x="374" y="261"/>
                  </a:cubicBezTo>
                  <a:cubicBezTo>
                    <a:pt x="373" y="260"/>
                    <a:pt x="368" y="260"/>
                    <a:pt x="364" y="256"/>
                  </a:cubicBezTo>
                  <a:cubicBezTo>
                    <a:pt x="360" y="252"/>
                    <a:pt x="362" y="240"/>
                    <a:pt x="362" y="240"/>
                  </a:cubicBezTo>
                  <a:cubicBezTo>
                    <a:pt x="357" y="243"/>
                    <a:pt x="357" y="243"/>
                    <a:pt x="357" y="243"/>
                  </a:cubicBezTo>
                  <a:cubicBezTo>
                    <a:pt x="359" y="228"/>
                    <a:pt x="359" y="228"/>
                    <a:pt x="359" y="228"/>
                  </a:cubicBezTo>
                  <a:cubicBezTo>
                    <a:pt x="359" y="228"/>
                    <a:pt x="367" y="228"/>
                    <a:pt x="368" y="227"/>
                  </a:cubicBezTo>
                  <a:cubicBezTo>
                    <a:pt x="369" y="227"/>
                    <a:pt x="364" y="221"/>
                    <a:pt x="363" y="220"/>
                  </a:cubicBezTo>
                  <a:cubicBezTo>
                    <a:pt x="362" y="219"/>
                    <a:pt x="364" y="213"/>
                    <a:pt x="364" y="213"/>
                  </a:cubicBezTo>
                  <a:cubicBezTo>
                    <a:pt x="355" y="209"/>
                    <a:pt x="355" y="209"/>
                    <a:pt x="355" y="209"/>
                  </a:cubicBezTo>
                  <a:cubicBezTo>
                    <a:pt x="355" y="209"/>
                    <a:pt x="366" y="202"/>
                    <a:pt x="366" y="201"/>
                  </a:cubicBezTo>
                  <a:cubicBezTo>
                    <a:pt x="367" y="201"/>
                    <a:pt x="384" y="213"/>
                    <a:pt x="385" y="213"/>
                  </a:cubicBezTo>
                  <a:cubicBezTo>
                    <a:pt x="387" y="213"/>
                    <a:pt x="395" y="209"/>
                    <a:pt x="396" y="209"/>
                  </a:cubicBezTo>
                  <a:cubicBezTo>
                    <a:pt x="398" y="208"/>
                    <a:pt x="398" y="202"/>
                    <a:pt x="398" y="201"/>
                  </a:cubicBezTo>
                  <a:cubicBezTo>
                    <a:pt x="398" y="201"/>
                    <a:pt x="398" y="194"/>
                    <a:pt x="398" y="194"/>
                  </a:cubicBezTo>
                  <a:cubicBezTo>
                    <a:pt x="398" y="194"/>
                    <a:pt x="395" y="190"/>
                    <a:pt x="396" y="189"/>
                  </a:cubicBezTo>
                  <a:cubicBezTo>
                    <a:pt x="396" y="188"/>
                    <a:pt x="397" y="188"/>
                    <a:pt x="399" y="188"/>
                  </a:cubicBezTo>
                  <a:cubicBezTo>
                    <a:pt x="402" y="187"/>
                    <a:pt x="409" y="181"/>
                    <a:pt x="410" y="180"/>
                  </a:cubicBezTo>
                  <a:cubicBezTo>
                    <a:pt x="411" y="179"/>
                    <a:pt x="414" y="180"/>
                    <a:pt x="414" y="180"/>
                  </a:cubicBezTo>
                  <a:cubicBezTo>
                    <a:pt x="415" y="180"/>
                    <a:pt x="416" y="175"/>
                    <a:pt x="417" y="174"/>
                  </a:cubicBezTo>
                  <a:cubicBezTo>
                    <a:pt x="417" y="172"/>
                    <a:pt x="422" y="174"/>
                    <a:pt x="423" y="174"/>
                  </a:cubicBezTo>
                  <a:cubicBezTo>
                    <a:pt x="424" y="174"/>
                    <a:pt x="431" y="162"/>
                    <a:pt x="431" y="162"/>
                  </a:cubicBezTo>
                  <a:cubicBezTo>
                    <a:pt x="431" y="162"/>
                    <a:pt x="436" y="158"/>
                    <a:pt x="437" y="157"/>
                  </a:cubicBezTo>
                  <a:cubicBezTo>
                    <a:pt x="438" y="155"/>
                    <a:pt x="435" y="149"/>
                    <a:pt x="434" y="147"/>
                  </a:cubicBezTo>
                  <a:cubicBezTo>
                    <a:pt x="433" y="144"/>
                    <a:pt x="438" y="136"/>
                    <a:pt x="438" y="135"/>
                  </a:cubicBezTo>
                  <a:cubicBezTo>
                    <a:pt x="439" y="134"/>
                    <a:pt x="439" y="127"/>
                    <a:pt x="440" y="126"/>
                  </a:cubicBezTo>
                  <a:cubicBezTo>
                    <a:pt x="441" y="125"/>
                    <a:pt x="446" y="120"/>
                    <a:pt x="446" y="119"/>
                  </a:cubicBezTo>
                  <a:cubicBezTo>
                    <a:pt x="446" y="118"/>
                    <a:pt x="433" y="115"/>
                    <a:pt x="433" y="115"/>
                  </a:cubicBezTo>
                  <a:close/>
                </a:path>
              </a:pathLst>
            </a:custGeom>
            <a:solidFill>
              <a:srgbClr val="92D05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srgbClr val="C00000"/>
                </a:solidFill>
                <a:latin typeface="Arial" pitchFamily="34" charset="0"/>
                <a:cs typeface="Arial" pitchFamily="34" charset="0"/>
              </a:endParaRPr>
            </a:p>
          </p:txBody>
        </p:sp>
        <p:sp>
          <p:nvSpPr>
            <p:cNvPr id="31" name="Freeform 1192"/>
            <p:cNvSpPr>
              <a:spLocks noChangeAspect="1"/>
            </p:cNvSpPr>
            <p:nvPr/>
          </p:nvSpPr>
          <p:spPr bwMode="auto">
            <a:xfrm>
              <a:off x="9654670" y="2822124"/>
              <a:ext cx="644382" cy="496051"/>
            </a:xfrm>
            <a:custGeom>
              <a:avLst/>
              <a:gdLst>
                <a:gd name="T0" fmla="*/ 91 w 173"/>
                <a:gd name="T1" fmla="*/ 177 h 178"/>
                <a:gd name="T2" fmla="*/ 93 w 173"/>
                <a:gd name="T3" fmla="*/ 172 h 178"/>
                <a:gd name="T4" fmla="*/ 111 w 173"/>
                <a:gd name="T5" fmla="*/ 174 h 178"/>
                <a:gd name="T6" fmla="*/ 108 w 173"/>
                <a:gd name="T7" fmla="*/ 156 h 178"/>
                <a:gd name="T8" fmla="*/ 110 w 173"/>
                <a:gd name="T9" fmla="*/ 144 h 178"/>
                <a:gd name="T10" fmla="*/ 110 w 173"/>
                <a:gd name="T11" fmla="*/ 135 h 178"/>
                <a:gd name="T12" fmla="*/ 121 w 173"/>
                <a:gd name="T13" fmla="*/ 128 h 178"/>
                <a:gd name="T14" fmla="*/ 131 w 173"/>
                <a:gd name="T15" fmla="*/ 129 h 178"/>
                <a:gd name="T16" fmla="*/ 138 w 173"/>
                <a:gd name="T17" fmla="*/ 125 h 178"/>
                <a:gd name="T18" fmla="*/ 160 w 173"/>
                <a:gd name="T19" fmla="*/ 136 h 178"/>
                <a:gd name="T20" fmla="*/ 168 w 173"/>
                <a:gd name="T21" fmla="*/ 129 h 178"/>
                <a:gd name="T22" fmla="*/ 166 w 173"/>
                <a:gd name="T23" fmla="*/ 127 h 178"/>
                <a:gd name="T24" fmla="*/ 169 w 173"/>
                <a:gd name="T25" fmla="*/ 119 h 178"/>
                <a:gd name="T26" fmla="*/ 164 w 173"/>
                <a:gd name="T27" fmla="*/ 113 h 178"/>
                <a:gd name="T28" fmla="*/ 173 w 173"/>
                <a:gd name="T29" fmla="*/ 107 h 178"/>
                <a:gd name="T30" fmla="*/ 162 w 173"/>
                <a:gd name="T31" fmla="*/ 94 h 178"/>
                <a:gd name="T32" fmla="*/ 170 w 173"/>
                <a:gd name="T33" fmla="*/ 83 h 178"/>
                <a:gd name="T34" fmla="*/ 162 w 173"/>
                <a:gd name="T35" fmla="*/ 76 h 178"/>
                <a:gd name="T36" fmla="*/ 152 w 173"/>
                <a:gd name="T37" fmla="*/ 65 h 178"/>
                <a:gd name="T38" fmla="*/ 154 w 173"/>
                <a:gd name="T39" fmla="*/ 54 h 178"/>
                <a:gd name="T40" fmla="*/ 150 w 173"/>
                <a:gd name="T41" fmla="*/ 55 h 178"/>
                <a:gd name="T42" fmla="*/ 150 w 173"/>
                <a:gd name="T43" fmla="*/ 46 h 178"/>
                <a:gd name="T44" fmla="*/ 150 w 173"/>
                <a:gd name="T45" fmla="*/ 45 h 178"/>
                <a:gd name="T46" fmla="*/ 145 w 173"/>
                <a:gd name="T47" fmla="*/ 41 h 178"/>
                <a:gd name="T48" fmla="*/ 133 w 173"/>
                <a:gd name="T49" fmla="*/ 32 h 178"/>
                <a:gd name="T50" fmla="*/ 123 w 173"/>
                <a:gd name="T51" fmla="*/ 36 h 178"/>
                <a:gd name="T52" fmla="*/ 113 w 173"/>
                <a:gd name="T53" fmla="*/ 27 h 178"/>
                <a:gd name="T54" fmla="*/ 95 w 173"/>
                <a:gd name="T55" fmla="*/ 14 h 178"/>
                <a:gd name="T56" fmla="*/ 88 w 173"/>
                <a:gd name="T57" fmla="*/ 27 h 178"/>
                <a:gd name="T58" fmla="*/ 63 w 173"/>
                <a:gd name="T59" fmla="*/ 16 h 178"/>
                <a:gd name="T60" fmla="*/ 62 w 173"/>
                <a:gd name="T61" fmla="*/ 10 h 178"/>
                <a:gd name="T62" fmla="*/ 51 w 173"/>
                <a:gd name="T63" fmla="*/ 9 h 178"/>
                <a:gd name="T64" fmla="*/ 50 w 173"/>
                <a:gd name="T65" fmla="*/ 5 h 178"/>
                <a:gd name="T66" fmla="*/ 32 w 173"/>
                <a:gd name="T67" fmla="*/ 1 h 178"/>
                <a:gd name="T68" fmla="*/ 27 w 173"/>
                <a:gd name="T69" fmla="*/ 7 h 178"/>
                <a:gd name="T70" fmla="*/ 15 w 173"/>
                <a:gd name="T71" fmla="*/ 12 h 178"/>
                <a:gd name="T72" fmla="*/ 17 w 173"/>
                <a:gd name="T73" fmla="*/ 17 h 178"/>
                <a:gd name="T74" fmla="*/ 9 w 173"/>
                <a:gd name="T75" fmla="*/ 26 h 178"/>
                <a:gd name="T76" fmla="*/ 8 w 173"/>
                <a:gd name="T77" fmla="*/ 26 h 178"/>
                <a:gd name="T78" fmla="*/ 12 w 173"/>
                <a:gd name="T79" fmla="*/ 31 h 178"/>
                <a:gd name="T80" fmla="*/ 5 w 173"/>
                <a:gd name="T81" fmla="*/ 44 h 178"/>
                <a:gd name="T82" fmla="*/ 12 w 173"/>
                <a:gd name="T83" fmla="*/ 60 h 178"/>
                <a:gd name="T84" fmla="*/ 1 w 173"/>
                <a:gd name="T85" fmla="*/ 76 h 178"/>
                <a:gd name="T86" fmla="*/ 39 w 173"/>
                <a:gd name="T87" fmla="*/ 133 h 178"/>
                <a:gd name="T88" fmla="*/ 57 w 173"/>
                <a:gd name="T89" fmla="*/ 133 h 178"/>
                <a:gd name="T90" fmla="*/ 54 w 173"/>
                <a:gd name="T91" fmla="*/ 143 h 178"/>
                <a:gd name="T92" fmla="*/ 83 w 173"/>
                <a:gd name="T93" fmla="*/ 166 h 178"/>
                <a:gd name="T94" fmla="*/ 78 w 173"/>
                <a:gd name="T95" fmla="*/ 170 h 178"/>
                <a:gd name="T96" fmla="*/ 79 w 173"/>
                <a:gd name="T97" fmla="*/ 176 h 178"/>
                <a:gd name="T98" fmla="*/ 91 w 173"/>
                <a:gd name="T99" fmla="*/ 17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3" h="178">
                  <a:moveTo>
                    <a:pt x="91" y="177"/>
                  </a:moveTo>
                  <a:cubicBezTo>
                    <a:pt x="92" y="176"/>
                    <a:pt x="89" y="172"/>
                    <a:pt x="93" y="172"/>
                  </a:cubicBezTo>
                  <a:cubicBezTo>
                    <a:pt x="97" y="172"/>
                    <a:pt x="112" y="177"/>
                    <a:pt x="111" y="174"/>
                  </a:cubicBezTo>
                  <a:cubicBezTo>
                    <a:pt x="110" y="170"/>
                    <a:pt x="105" y="160"/>
                    <a:pt x="108" y="156"/>
                  </a:cubicBezTo>
                  <a:cubicBezTo>
                    <a:pt x="111" y="152"/>
                    <a:pt x="110" y="144"/>
                    <a:pt x="110" y="144"/>
                  </a:cubicBezTo>
                  <a:cubicBezTo>
                    <a:pt x="110" y="144"/>
                    <a:pt x="108" y="138"/>
                    <a:pt x="110" y="135"/>
                  </a:cubicBezTo>
                  <a:cubicBezTo>
                    <a:pt x="112" y="133"/>
                    <a:pt x="116" y="129"/>
                    <a:pt x="121" y="128"/>
                  </a:cubicBezTo>
                  <a:cubicBezTo>
                    <a:pt x="125" y="128"/>
                    <a:pt x="130" y="131"/>
                    <a:pt x="131" y="129"/>
                  </a:cubicBezTo>
                  <a:cubicBezTo>
                    <a:pt x="132" y="128"/>
                    <a:pt x="129" y="122"/>
                    <a:pt x="138" y="125"/>
                  </a:cubicBezTo>
                  <a:cubicBezTo>
                    <a:pt x="147" y="128"/>
                    <a:pt x="158" y="135"/>
                    <a:pt x="160" y="136"/>
                  </a:cubicBezTo>
                  <a:cubicBezTo>
                    <a:pt x="161" y="136"/>
                    <a:pt x="165" y="132"/>
                    <a:pt x="168" y="129"/>
                  </a:cubicBezTo>
                  <a:cubicBezTo>
                    <a:pt x="167" y="129"/>
                    <a:pt x="167" y="128"/>
                    <a:pt x="166" y="127"/>
                  </a:cubicBezTo>
                  <a:cubicBezTo>
                    <a:pt x="163" y="124"/>
                    <a:pt x="169" y="119"/>
                    <a:pt x="169" y="119"/>
                  </a:cubicBezTo>
                  <a:cubicBezTo>
                    <a:pt x="164" y="113"/>
                    <a:pt x="164" y="113"/>
                    <a:pt x="164" y="113"/>
                  </a:cubicBezTo>
                  <a:cubicBezTo>
                    <a:pt x="173" y="107"/>
                    <a:pt x="173" y="107"/>
                    <a:pt x="173" y="107"/>
                  </a:cubicBezTo>
                  <a:cubicBezTo>
                    <a:pt x="173" y="107"/>
                    <a:pt x="164" y="96"/>
                    <a:pt x="162" y="94"/>
                  </a:cubicBezTo>
                  <a:cubicBezTo>
                    <a:pt x="161" y="92"/>
                    <a:pt x="169" y="87"/>
                    <a:pt x="170" y="83"/>
                  </a:cubicBezTo>
                  <a:cubicBezTo>
                    <a:pt x="171" y="80"/>
                    <a:pt x="166" y="81"/>
                    <a:pt x="162" y="76"/>
                  </a:cubicBezTo>
                  <a:cubicBezTo>
                    <a:pt x="158" y="70"/>
                    <a:pt x="153" y="65"/>
                    <a:pt x="152" y="65"/>
                  </a:cubicBezTo>
                  <a:cubicBezTo>
                    <a:pt x="152" y="64"/>
                    <a:pt x="154" y="55"/>
                    <a:pt x="154" y="54"/>
                  </a:cubicBezTo>
                  <a:cubicBezTo>
                    <a:pt x="154" y="54"/>
                    <a:pt x="150" y="55"/>
                    <a:pt x="150" y="55"/>
                  </a:cubicBezTo>
                  <a:cubicBezTo>
                    <a:pt x="150" y="55"/>
                    <a:pt x="150" y="47"/>
                    <a:pt x="150" y="46"/>
                  </a:cubicBezTo>
                  <a:cubicBezTo>
                    <a:pt x="150" y="46"/>
                    <a:pt x="150" y="46"/>
                    <a:pt x="150" y="45"/>
                  </a:cubicBezTo>
                  <a:cubicBezTo>
                    <a:pt x="145" y="41"/>
                    <a:pt x="145" y="41"/>
                    <a:pt x="145" y="41"/>
                  </a:cubicBezTo>
                  <a:cubicBezTo>
                    <a:pt x="145" y="41"/>
                    <a:pt x="135" y="33"/>
                    <a:pt x="133" y="32"/>
                  </a:cubicBezTo>
                  <a:cubicBezTo>
                    <a:pt x="131" y="30"/>
                    <a:pt x="125" y="35"/>
                    <a:pt x="123" y="36"/>
                  </a:cubicBezTo>
                  <a:cubicBezTo>
                    <a:pt x="121" y="37"/>
                    <a:pt x="115" y="29"/>
                    <a:pt x="113" y="27"/>
                  </a:cubicBezTo>
                  <a:cubicBezTo>
                    <a:pt x="111" y="25"/>
                    <a:pt x="95" y="14"/>
                    <a:pt x="95" y="14"/>
                  </a:cubicBezTo>
                  <a:cubicBezTo>
                    <a:pt x="88" y="27"/>
                    <a:pt x="88" y="27"/>
                    <a:pt x="88" y="27"/>
                  </a:cubicBezTo>
                  <a:cubicBezTo>
                    <a:pt x="88" y="27"/>
                    <a:pt x="63" y="17"/>
                    <a:pt x="63" y="16"/>
                  </a:cubicBezTo>
                  <a:cubicBezTo>
                    <a:pt x="62" y="15"/>
                    <a:pt x="62" y="12"/>
                    <a:pt x="62" y="10"/>
                  </a:cubicBezTo>
                  <a:cubicBezTo>
                    <a:pt x="62" y="7"/>
                    <a:pt x="53" y="9"/>
                    <a:pt x="51" y="9"/>
                  </a:cubicBezTo>
                  <a:cubicBezTo>
                    <a:pt x="49" y="9"/>
                    <a:pt x="51" y="5"/>
                    <a:pt x="50" y="5"/>
                  </a:cubicBezTo>
                  <a:cubicBezTo>
                    <a:pt x="49" y="5"/>
                    <a:pt x="36" y="0"/>
                    <a:pt x="32" y="1"/>
                  </a:cubicBezTo>
                  <a:cubicBezTo>
                    <a:pt x="27" y="1"/>
                    <a:pt x="31" y="3"/>
                    <a:pt x="27" y="7"/>
                  </a:cubicBezTo>
                  <a:cubicBezTo>
                    <a:pt x="23" y="12"/>
                    <a:pt x="15" y="12"/>
                    <a:pt x="15" y="12"/>
                  </a:cubicBezTo>
                  <a:cubicBezTo>
                    <a:pt x="14" y="13"/>
                    <a:pt x="17" y="17"/>
                    <a:pt x="17" y="17"/>
                  </a:cubicBezTo>
                  <a:cubicBezTo>
                    <a:pt x="17" y="17"/>
                    <a:pt x="13" y="22"/>
                    <a:pt x="9" y="26"/>
                  </a:cubicBezTo>
                  <a:cubicBezTo>
                    <a:pt x="8" y="26"/>
                    <a:pt x="8" y="26"/>
                    <a:pt x="8" y="26"/>
                  </a:cubicBezTo>
                  <a:cubicBezTo>
                    <a:pt x="10" y="28"/>
                    <a:pt x="11" y="30"/>
                    <a:pt x="12" y="31"/>
                  </a:cubicBezTo>
                  <a:cubicBezTo>
                    <a:pt x="14" y="37"/>
                    <a:pt x="8" y="41"/>
                    <a:pt x="5" y="44"/>
                  </a:cubicBezTo>
                  <a:cubicBezTo>
                    <a:pt x="1" y="48"/>
                    <a:pt x="9" y="54"/>
                    <a:pt x="12" y="60"/>
                  </a:cubicBezTo>
                  <a:cubicBezTo>
                    <a:pt x="14" y="65"/>
                    <a:pt x="0" y="69"/>
                    <a:pt x="1" y="76"/>
                  </a:cubicBezTo>
                  <a:cubicBezTo>
                    <a:pt x="2" y="82"/>
                    <a:pt x="39" y="133"/>
                    <a:pt x="39" y="133"/>
                  </a:cubicBezTo>
                  <a:cubicBezTo>
                    <a:pt x="39" y="133"/>
                    <a:pt x="55" y="131"/>
                    <a:pt x="57" y="133"/>
                  </a:cubicBezTo>
                  <a:cubicBezTo>
                    <a:pt x="58" y="134"/>
                    <a:pt x="51" y="138"/>
                    <a:pt x="54" y="143"/>
                  </a:cubicBezTo>
                  <a:cubicBezTo>
                    <a:pt x="56" y="149"/>
                    <a:pt x="82" y="164"/>
                    <a:pt x="83" y="166"/>
                  </a:cubicBezTo>
                  <a:cubicBezTo>
                    <a:pt x="85" y="168"/>
                    <a:pt x="81" y="169"/>
                    <a:pt x="78" y="170"/>
                  </a:cubicBezTo>
                  <a:cubicBezTo>
                    <a:pt x="77" y="171"/>
                    <a:pt x="78" y="174"/>
                    <a:pt x="79" y="176"/>
                  </a:cubicBezTo>
                  <a:cubicBezTo>
                    <a:pt x="84" y="177"/>
                    <a:pt x="90" y="178"/>
                    <a:pt x="91" y="177"/>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2" name="Freeform 1195"/>
            <p:cNvSpPr>
              <a:spLocks noChangeAspect="1"/>
            </p:cNvSpPr>
            <p:nvPr/>
          </p:nvSpPr>
          <p:spPr bwMode="auto">
            <a:xfrm>
              <a:off x="9966981" y="3144062"/>
              <a:ext cx="772865" cy="517404"/>
            </a:xfrm>
            <a:custGeom>
              <a:avLst/>
              <a:gdLst>
                <a:gd name="T0" fmla="*/ 161849904 w 207"/>
                <a:gd name="T1" fmla="*/ 555288877 h 185"/>
                <a:gd name="T2" fmla="*/ 332692636 w 207"/>
                <a:gd name="T3" fmla="*/ 730643401 h 185"/>
                <a:gd name="T4" fmla="*/ 395633433 w 207"/>
                <a:gd name="T5" fmla="*/ 774484059 h 185"/>
                <a:gd name="T6" fmla="*/ 323699809 w 207"/>
                <a:gd name="T7" fmla="*/ 949838584 h 185"/>
                <a:gd name="T8" fmla="*/ 350675293 w 207"/>
                <a:gd name="T9" fmla="*/ 1015595516 h 185"/>
                <a:gd name="T10" fmla="*/ 341682465 w 207"/>
                <a:gd name="T11" fmla="*/ 1081352449 h 185"/>
                <a:gd name="T12" fmla="*/ 377650776 w 207"/>
                <a:gd name="T13" fmla="*/ 1095965101 h 185"/>
                <a:gd name="T14" fmla="*/ 440591573 w 207"/>
                <a:gd name="T15" fmla="*/ 1285934980 h 185"/>
                <a:gd name="T16" fmla="*/ 872193317 w 207"/>
                <a:gd name="T17" fmla="*/ 1117886782 h 185"/>
                <a:gd name="T18" fmla="*/ 1034043221 w 207"/>
                <a:gd name="T19" fmla="*/ 1256706974 h 185"/>
                <a:gd name="T20" fmla="*/ 1285809406 w 207"/>
                <a:gd name="T21" fmla="*/ 1344385587 h 185"/>
                <a:gd name="T22" fmla="*/ 1438666483 w 207"/>
                <a:gd name="T23" fmla="*/ 1293241306 h 185"/>
                <a:gd name="T24" fmla="*/ 1429676654 w 207"/>
                <a:gd name="T25" fmla="*/ 1285934980 h 185"/>
                <a:gd name="T26" fmla="*/ 1384715515 w 207"/>
                <a:gd name="T27" fmla="*/ 1234787996 h 185"/>
                <a:gd name="T28" fmla="*/ 1429676654 w 207"/>
                <a:gd name="T29" fmla="*/ 1198256367 h 185"/>
                <a:gd name="T30" fmla="*/ 1411690999 w 207"/>
                <a:gd name="T31" fmla="*/ 1154418411 h 185"/>
                <a:gd name="T32" fmla="*/ 1492617450 w 207"/>
                <a:gd name="T33" fmla="*/ 1117886782 h 185"/>
                <a:gd name="T34" fmla="*/ 1528582763 w 207"/>
                <a:gd name="T35" fmla="*/ 1066739798 h 185"/>
                <a:gd name="T36" fmla="*/ 1474634794 w 207"/>
                <a:gd name="T37" fmla="*/ 986370213 h 185"/>
                <a:gd name="T38" fmla="*/ 1573540903 w 207"/>
                <a:gd name="T39" fmla="*/ 891385273 h 185"/>
                <a:gd name="T40" fmla="*/ 1546568418 w 207"/>
                <a:gd name="T41" fmla="*/ 832934666 h 185"/>
                <a:gd name="T42" fmla="*/ 1717408151 w 207"/>
                <a:gd name="T43" fmla="*/ 708724423 h 185"/>
                <a:gd name="T44" fmla="*/ 1852282572 w 207"/>
                <a:gd name="T45" fmla="*/ 577207854 h 185"/>
                <a:gd name="T46" fmla="*/ 1780348948 w 207"/>
                <a:gd name="T47" fmla="*/ 569901528 h 185"/>
                <a:gd name="T48" fmla="*/ 1681442839 w 207"/>
                <a:gd name="T49" fmla="*/ 489531944 h 185"/>
                <a:gd name="T50" fmla="*/ 1636484698 w 207"/>
                <a:gd name="T51" fmla="*/ 496838269 h 185"/>
                <a:gd name="T52" fmla="*/ 1546568418 w 207"/>
                <a:gd name="T53" fmla="*/ 453000314 h 185"/>
                <a:gd name="T54" fmla="*/ 1483624623 w 207"/>
                <a:gd name="T55" fmla="*/ 438387662 h 185"/>
                <a:gd name="T56" fmla="*/ 1483624623 w 207"/>
                <a:gd name="T57" fmla="*/ 350709049 h 185"/>
                <a:gd name="T58" fmla="*/ 1393708343 w 207"/>
                <a:gd name="T59" fmla="*/ 336096397 h 185"/>
                <a:gd name="T60" fmla="*/ 1384715515 w 207"/>
                <a:gd name="T61" fmla="*/ 299564767 h 185"/>
                <a:gd name="T62" fmla="*/ 1303792062 w 207"/>
                <a:gd name="T63" fmla="*/ 292258442 h 185"/>
                <a:gd name="T64" fmla="*/ 1330767546 w 207"/>
                <a:gd name="T65" fmla="*/ 263033138 h 185"/>
                <a:gd name="T66" fmla="*/ 1294799235 w 207"/>
                <a:gd name="T67" fmla="*/ 233805131 h 185"/>
                <a:gd name="T68" fmla="*/ 1276816578 w 207"/>
                <a:gd name="T69" fmla="*/ 248417783 h 185"/>
                <a:gd name="T70" fmla="*/ 1231858438 w 207"/>
                <a:gd name="T71" fmla="*/ 233805131 h 185"/>
                <a:gd name="T72" fmla="*/ 1159924814 w 207"/>
                <a:gd name="T73" fmla="*/ 270339464 h 185"/>
                <a:gd name="T74" fmla="*/ 1105973847 w 207"/>
                <a:gd name="T75" fmla="*/ 175354524 h 185"/>
                <a:gd name="T76" fmla="*/ 1052025878 w 207"/>
                <a:gd name="T77" fmla="*/ 182660850 h 185"/>
                <a:gd name="T78" fmla="*/ 1007067737 w 207"/>
                <a:gd name="T79" fmla="*/ 116903917 h 185"/>
                <a:gd name="T80" fmla="*/ 917151457 w 207"/>
                <a:gd name="T81" fmla="*/ 14612652 h 185"/>
                <a:gd name="T82" fmla="*/ 872193317 w 207"/>
                <a:gd name="T83" fmla="*/ 65756933 h 185"/>
                <a:gd name="T84" fmla="*/ 809249522 w 207"/>
                <a:gd name="T85" fmla="*/ 109597591 h 185"/>
                <a:gd name="T86" fmla="*/ 755301553 w 207"/>
                <a:gd name="T87" fmla="*/ 94984940 h 185"/>
                <a:gd name="T88" fmla="*/ 683367929 w 207"/>
                <a:gd name="T89" fmla="*/ 146129221 h 185"/>
                <a:gd name="T90" fmla="*/ 485549713 w 207"/>
                <a:gd name="T91" fmla="*/ 65756933 h 185"/>
                <a:gd name="T92" fmla="*/ 422608917 w 207"/>
                <a:gd name="T93" fmla="*/ 94984940 h 185"/>
                <a:gd name="T94" fmla="*/ 332692636 w 207"/>
                <a:gd name="T95" fmla="*/ 87678614 h 185"/>
                <a:gd name="T96" fmla="*/ 233783528 w 207"/>
                <a:gd name="T97" fmla="*/ 138822895 h 185"/>
                <a:gd name="T98" fmla="*/ 233783528 w 207"/>
                <a:gd name="T99" fmla="*/ 204579828 h 185"/>
                <a:gd name="T100" fmla="*/ 215800872 w 207"/>
                <a:gd name="T101" fmla="*/ 292258442 h 185"/>
                <a:gd name="T102" fmla="*/ 242776356 w 207"/>
                <a:gd name="T103" fmla="*/ 423775011 h 185"/>
                <a:gd name="T104" fmla="*/ 80926451 w 207"/>
                <a:gd name="T105" fmla="*/ 409159656 h 185"/>
                <a:gd name="T106" fmla="*/ 62940797 w 207"/>
                <a:gd name="T107" fmla="*/ 445693988 h 185"/>
                <a:gd name="T108" fmla="*/ 0 w 207"/>
                <a:gd name="T109" fmla="*/ 445693988 h 185"/>
                <a:gd name="T110" fmla="*/ 0 w 207"/>
                <a:gd name="T111" fmla="*/ 482225618 h 185"/>
                <a:gd name="T112" fmla="*/ 107898937 w 207"/>
                <a:gd name="T113" fmla="*/ 518757247 h 185"/>
                <a:gd name="T114" fmla="*/ 98909108 w 207"/>
                <a:gd name="T115" fmla="*/ 555288877 h 185"/>
                <a:gd name="T116" fmla="*/ 161849904 w 207"/>
                <a:gd name="T117" fmla="*/ 555288877 h 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07" h="185">
                  <a:moveTo>
                    <a:pt x="18" y="76"/>
                  </a:moveTo>
                  <a:cubicBezTo>
                    <a:pt x="19" y="77"/>
                    <a:pt x="35" y="98"/>
                    <a:pt x="37" y="100"/>
                  </a:cubicBezTo>
                  <a:cubicBezTo>
                    <a:pt x="40" y="101"/>
                    <a:pt x="44" y="103"/>
                    <a:pt x="44" y="106"/>
                  </a:cubicBezTo>
                  <a:cubicBezTo>
                    <a:pt x="43" y="110"/>
                    <a:pt x="36" y="129"/>
                    <a:pt x="36" y="130"/>
                  </a:cubicBezTo>
                  <a:cubicBezTo>
                    <a:pt x="36" y="131"/>
                    <a:pt x="39" y="138"/>
                    <a:pt x="39" y="139"/>
                  </a:cubicBezTo>
                  <a:cubicBezTo>
                    <a:pt x="39" y="140"/>
                    <a:pt x="38" y="147"/>
                    <a:pt x="38" y="148"/>
                  </a:cubicBezTo>
                  <a:cubicBezTo>
                    <a:pt x="39" y="149"/>
                    <a:pt x="42" y="149"/>
                    <a:pt x="42" y="150"/>
                  </a:cubicBezTo>
                  <a:cubicBezTo>
                    <a:pt x="42" y="151"/>
                    <a:pt x="44" y="177"/>
                    <a:pt x="49" y="176"/>
                  </a:cubicBezTo>
                  <a:cubicBezTo>
                    <a:pt x="53" y="176"/>
                    <a:pt x="92" y="149"/>
                    <a:pt x="97" y="153"/>
                  </a:cubicBezTo>
                  <a:cubicBezTo>
                    <a:pt x="101" y="157"/>
                    <a:pt x="109" y="168"/>
                    <a:pt x="115" y="172"/>
                  </a:cubicBezTo>
                  <a:cubicBezTo>
                    <a:pt x="121" y="177"/>
                    <a:pt x="133" y="185"/>
                    <a:pt x="143" y="184"/>
                  </a:cubicBezTo>
                  <a:cubicBezTo>
                    <a:pt x="148" y="184"/>
                    <a:pt x="155" y="180"/>
                    <a:pt x="160" y="177"/>
                  </a:cubicBezTo>
                  <a:cubicBezTo>
                    <a:pt x="160" y="176"/>
                    <a:pt x="159" y="176"/>
                    <a:pt x="159" y="176"/>
                  </a:cubicBezTo>
                  <a:cubicBezTo>
                    <a:pt x="159" y="175"/>
                    <a:pt x="154" y="174"/>
                    <a:pt x="154" y="169"/>
                  </a:cubicBezTo>
                  <a:cubicBezTo>
                    <a:pt x="154" y="165"/>
                    <a:pt x="158" y="165"/>
                    <a:pt x="159" y="164"/>
                  </a:cubicBezTo>
                  <a:cubicBezTo>
                    <a:pt x="160" y="163"/>
                    <a:pt x="159" y="163"/>
                    <a:pt x="157" y="158"/>
                  </a:cubicBezTo>
                  <a:cubicBezTo>
                    <a:pt x="156" y="154"/>
                    <a:pt x="166" y="153"/>
                    <a:pt x="166" y="153"/>
                  </a:cubicBezTo>
                  <a:cubicBezTo>
                    <a:pt x="166" y="153"/>
                    <a:pt x="167" y="149"/>
                    <a:pt x="170" y="146"/>
                  </a:cubicBezTo>
                  <a:cubicBezTo>
                    <a:pt x="172" y="142"/>
                    <a:pt x="166" y="136"/>
                    <a:pt x="164" y="135"/>
                  </a:cubicBezTo>
                  <a:cubicBezTo>
                    <a:pt x="162" y="134"/>
                    <a:pt x="173" y="124"/>
                    <a:pt x="175" y="122"/>
                  </a:cubicBezTo>
                  <a:cubicBezTo>
                    <a:pt x="177" y="119"/>
                    <a:pt x="172" y="115"/>
                    <a:pt x="172" y="114"/>
                  </a:cubicBezTo>
                  <a:cubicBezTo>
                    <a:pt x="172" y="114"/>
                    <a:pt x="186" y="99"/>
                    <a:pt x="191" y="97"/>
                  </a:cubicBezTo>
                  <a:cubicBezTo>
                    <a:pt x="195" y="95"/>
                    <a:pt x="207" y="80"/>
                    <a:pt x="206" y="79"/>
                  </a:cubicBezTo>
                  <a:cubicBezTo>
                    <a:pt x="205" y="79"/>
                    <a:pt x="201" y="79"/>
                    <a:pt x="198" y="78"/>
                  </a:cubicBezTo>
                  <a:cubicBezTo>
                    <a:pt x="195" y="78"/>
                    <a:pt x="189" y="69"/>
                    <a:pt x="187" y="67"/>
                  </a:cubicBezTo>
                  <a:cubicBezTo>
                    <a:pt x="186" y="65"/>
                    <a:pt x="186" y="67"/>
                    <a:pt x="182" y="68"/>
                  </a:cubicBezTo>
                  <a:cubicBezTo>
                    <a:pt x="178" y="68"/>
                    <a:pt x="173" y="62"/>
                    <a:pt x="172" y="62"/>
                  </a:cubicBezTo>
                  <a:cubicBezTo>
                    <a:pt x="172" y="62"/>
                    <a:pt x="166" y="61"/>
                    <a:pt x="165" y="60"/>
                  </a:cubicBezTo>
                  <a:cubicBezTo>
                    <a:pt x="165" y="60"/>
                    <a:pt x="167" y="54"/>
                    <a:pt x="165" y="48"/>
                  </a:cubicBezTo>
                  <a:cubicBezTo>
                    <a:pt x="162" y="42"/>
                    <a:pt x="157" y="47"/>
                    <a:pt x="155" y="46"/>
                  </a:cubicBezTo>
                  <a:cubicBezTo>
                    <a:pt x="154" y="45"/>
                    <a:pt x="154" y="41"/>
                    <a:pt x="154" y="41"/>
                  </a:cubicBezTo>
                  <a:cubicBezTo>
                    <a:pt x="154" y="40"/>
                    <a:pt x="145" y="40"/>
                    <a:pt x="145" y="40"/>
                  </a:cubicBezTo>
                  <a:cubicBezTo>
                    <a:pt x="145" y="40"/>
                    <a:pt x="147" y="37"/>
                    <a:pt x="148" y="36"/>
                  </a:cubicBezTo>
                  <a:cubicBezTo>
                    <a:pt x="149" y="35"/>
                    <a:pt x="145" y="32"/>
                    <a:pt x="144" y="32"/>
                  </a:cubicBezTo>
                  <a:cubicBezTo>
                    <a:pt x="143" y="31"/>
                    <a:pt x="142" y="34"/>
                    <a:pt x="142" y="34"/>
                  </a:cubicBezTo>
                  <a:cubicBezTo>
                    <a:pt x="142" y="34"/>
                    <a:pt x="137" y="32"/>
                    <a:pt x="137" y="32"/>
                  </a:cubicBezTo>
                  <a:cubicBezTo>
                    <a:pt x="137" y="32"/>
                    <a:pt x="134" y="36"/>
                    <a:pt x="129" y="37"/>
                  </a:cubicBezTo>
                  <a:cubicBezTo>
                    <a:pt x="125" y="37"/>
                    <a:pt x="123" y="25"/>
                    <a:pt x="123" y="24"/>
                  </a:cubicBezTo>
                  <a:cubicBezTo>
                    <a:pt x="123" y="24"/>
                    <a:pt x="117" y="25"/>
                    <a:pt x="117" y="25"/>
                  </a:cubicBezTo>
                  <a:cubicBezTo>
                    <a:pt x="116" y="24"/>
                    <a:pt x="113" y="20"/>
                    <a:pt x="112" y="16"/>
                  </a:cubicBezTo>
                  <a:cubicBezTo>
                    <a:pt x="110" y="12"/>
                    <a:pt x="104" y="4"/>
                    <a:pt x="102" y="2"/>
                  </a:cubicBezTo>
                  <a:cubicBezTo>
                    <a:pt x="101" y="0"/>
                    <a:pt x="98" y="7"/>
                    <a:pt x="97" y="9"/>
                  </a:cubicBezTo>
                  <a:cubicBezTo>
                    <a:pt x="95" y="10"/>
                    <a:pt x="91" y="14"/>
                    <a:pt x="90" y="15"/>
                  </a:cubicBezTo>
                  <a:cubicBezTo>
                    <a:pt x="89" y="15"/>
                    <a:pt x="87" y="15"/>
                    <a:pt x="84" y="13"/>
                  </a:cubicBezTo>
                  <a:cubicBezTo>
                    <a:pt x="81" y="16"/>
                    <a:pt x="77" y="20"/>
                    <a:pt x="76" y="20"/>
                  </a:cubicBezTo>
                  <a:cubicBezTo>
                    <a:pt x="74" y="19"/>
                    <a:pt x="63" y="12"/>
                    <a:pt x="54" y="9"/>
                  </a:cubicBezTo>
                  <a:cubicBezTo>
                    <a:pt x="45" y="6"/>
                    <a:pt x="48" y="12"/>
                    <a:pt x="47" y="13"/>
                  </a:cubicBezTo>
                  <a:cubicBezTo>
                    <a:pt x="46" y="15"/>
                    <a:pt x="41" y="12"/>
                    <a:pt x="37" y="12"/>
                  </a:cubicBezTo>
                  <a:cubicBezTo>
                    <a:pt x="32" y="13"/>
                    <a:pt x="28" y="17"/>
                    <a:pt x="26" y="19"/>
                  </a:cubicBezTo>
                  <a:cubicBezTo>
                    <a:pt x="24" y="22"/>
                    <a:pt x="26" y="28"/>
                    <a:pt x="26" y="28"/>
                  </a:cubicBezTo>
                  <a:cubicBezTo>
                    <a:pt x="26" y="28"/>
                    <a:pt x="27" y="36"/>
                    <a:pt x="24" y="40"/>
                  </a:cubicBezTo>
                  <a:cubicBezTo>
                    <a:pt x="21" y="44"/>
                    <a:pt x="26" y="54"/>
                    <a:pt x="27" y="58"/>
                  </a:cubicBezTo>
                  <a:cubicBezTo>
                    <a:pt x="28" y="61"/>
                    <a:pt x="13" y="56"/>
                    <a:pt x="9" y="56"/>
                  </a:cubicBezTo>
                  <a:cubicBezTo>
                    <a:pt x="5" y="56"/>
                    <a:pt x="8" y="60"/>
                    <a:pt x="7" y="61"/>
                  </a:cubicBezTo>
                  <a:cubicBezTo>
                    <a:pt x="6" y="61"/>
                    <a:pt x="3" y="61"/>
                    <a:pt x="0" y="61"/>
                  </a:cubicBezTo>
                  <a:cubicBezTo>
                    <a:pt x="0" y="63"/>
                    <a:pt x="0" y="64"/>
                    <a:pt x="0" y="66"/>
                  </a:cubicBezTo>
                  <a:cubicBezTo>
                    <a:pt x="1" y="71"/>
                    <a:pt x="13" y="69"/>
                    <a:pt x="12" y="71"/>
                  </a:cubicBezTo>
                  <a:cubicBezTo>
                    <a:pt x="12" y="72"/>
                    <a:pt x="12" y="74"/>
                    <a:pt x="11" y="76"/>
                  </a:cubicBezTo>
                  <a:cubicBezTo>
                    <a:pt x="15" y="76"/>
                    <a:pt x="17" y="75"/>
                    <a:pt x="18" y="76"/>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3" name="Freeform 1196"/>
            <p:cNvSpPr>
              <a:spLocks noChangeAspect="1"/>
            </p:cNvSpPr>
            <p:nvPr/>
          </p:nvSpPr>
          <p:spPr bwMode="auto">
            <a:xfrm>
              <a:off x="9899774" y="3352670"/>
              <a:ext cx="1626772" cy="1182637"/>
            </a:xfrm>
            <a:custGeom>
              <a:avLst/>
              <a:gdLst>
                <a:gd name="T0" fmla="*/ 104 w 437"/>
                <a:gd name="T1" fmla="*/ 244 h 422"/>
                <a:gd name="T2" fmla="*/ 95 w 437"/>
                <a:gd name="T3" fmla="*/ 291 h 422"/>
                <a:gd name="T4" fmla="*/ 63 w 437"/>
                <a:gd name="T5" fmla="*/ 324 h 422"/>
                <a:gd name="T6" fmla="*/ 69 w 437"/>
                <a:gd name="T7" fmla="*/ 360 h 422"/>
                <a:gd name="T8" fmla="*/ 87 w 437"/>
                <a:gd name="T9" fmla="*/ 390 h 422"/>
                <a:gd name="T10" fmla="*/ 94 w 437"/>
                <a:gd name="T11" fmla="*/ 368 h 422"/>
                <a:gd name="T12" fmla="*/ 85 w 437"/>
                <a:gd name="T13" fmla="*/ 335 h 422"/>
                <a:gd name="T14" fmla="*/ 96 w 437"/>
                <a:gd name="T15" fmla="*/ 338 h 422"/>
                <a:gd name="T16" fmla="*/ 127 w 437"/>
                <a:gd name="T17" fmla="*/ 335 h 422"/>
                <a:gd name="T18" fmla="*/ 141 w 437"/>
                <a:gd name="T19" fmla="*/ 331 h 422"/>
                <a:gd name="T20" fmla="*/ 164 w 437"/>
                <a:gd name="T21" fmla="*/ 331 h 422"/>
                <a:gd name="T22" fmla="*/ 179 w 437"/>
                <a:gd name="T23" fmla="*/ 346 h 422"/>
                <a:gd name="T24" fmla="*/ 199 w 437"/>
                <a:gd name="T25" fmla="*/ 336 h 422"/>
                <a:gd name="T26" fmla="*/ 232 w 437"/>
                <a:gd name="T27" fmla="*/ 353 h 422"/>
                <a:gd name="T28" fmla="*/ 276 w 437"/>
                <a:gd name="T29" fmla="*/ 352 h 422"/>
                <a:gd name="T30" fmla="*/ 309 w 437"/>
                <a:gd name="T31" fmla="*/ 367 h 422"/>
                <a:gd name="T32" fmla="*/ 336 w 437"/>
                <a:gd name="T33" fmla="*/ 420 h 422"/>
                <a:gd name="T34" fmla="*/ 364 w 437"/>
                <a:gd name="T35" fmla="*/ 384 h 422"/>
                <a:gd name="T36" fmla="*/ 353 w 437"/>
                <a:gd name="T37" fmla="*/ 342 h 422"/>
                <a:gd name="T38" fmla="*/ 422 w 437"/>
                <a:gd name="T39" fmla="*/ 295 h 422"/>
                <a:gd name="T40" fmla="*/ 406 w 437"/>
                <a:gd name="T41" fmla="*/ 259 h 422"/>
                <a:gd name="T42" fmla="*/ 416 w 437"/>
                <a:gd name="T43" fmla="*/ 247 h 422"/>
                <a:gd name="T44" fmla="*/ 388 w 437"/>
                <a:gd name="T45" fmla="*/ 201 h 422"/>
                <a:gd name="T46" fmla="*/ 365 w 437"/>
                <a:gd name="T47" fmla="*/ 187 h 422"/>
                <a:gd name="T48" fmla="*/ 342 w 437"/>
                <a:gd name="T49" fmla="*/ 191 h 422"/>
                <a:gd name="T50" fmla="*/ 320 w 437"/>
                <a:gd name="T51" fmla="*/ 172 h 422"/>
                <a:gd name="T52" fmla="*/ 284 w 437"/>
                <a:gd name="T53" fmla="*/ 159 h 422"/>
                <a:gd name="T54" fmla="*/ 248 w 437"/>
                <a:gd name="T55" fmla="*/ 144 h 422"/>
                <a:gd name="T56" fmla="*/ 235 w 437"/>
                <a:gd name="T57" fmla="*/ 129 h 422"/>
                <a:gd name="T58" fmla="*/ 198 w 437"/>
                <a:gd name="T59" fmla="*/ 116 h 422"/>
                <a:gd name="T60" fmla="*/ 178 w 437"/>
                <a:gd name="T61" fmla="*/ 102 h 422"/>
                <a:gd name="T62" fmla="*/ 115 w 437"/>
                <a:gd name="T63" fmla="*/ 78 h 422"/>
                <a:gd name="T64" fmla="*/ 56 w 437"/>
                <a:gd name="T65" fmla="*/ 73 h 422"/>
                <a:gd name="T66" fmla="*/ 62 w 437"/>
                <a:gd name="T67" fmla="*/ 31 h 422"/>
                <a:gd name="T68" fmla="*/ 29 w 437"/>
                <a:gd name="T69" fmla="*/ 1 h 422"/>
                <a:gd name="T70" fmla="*/ 0 w 437"/>
                <a:gd name="T71" fmla="*/ 72 h 422"/>
                <a:gd name="T72" fmla="*/ 26 w 437"/>
                <a:gd name="T73" fmla="*/ 104 h 422"/>
                <a:gd name="T74" fmla="*/ 24 w 437"/>
                <a:gd name="T75" fmla="*/ 140 h 422"/>
                <a:gd name="T76" fmla="*/ 26 w 437"/>
                <a:gd name="T77" fmla="*/ 163 h 422"/>
                <a:gd name="T78" fmla="*/ 13 w 437"/>
                <a:gd name="T79" fmla="*/ 179 h 422"/>
                <a:gd name="T80" fmla="*/ 21 w 437"/>
                <a:gd name="T81" fmla="*/ 210 h 422"/>
                <a:gd name="T82" fmla="*/ 19 w 437"/>
                <a:gd name="T83" fmla="*/ 235 h 422"/>
                <a:gd name="T84" fmla="*/ 54 w 437"/>
                <a:gd name="T85" fmla="*/ 233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7" h="422">
                  <a:moveTo>
                    <a:pt x="69" y="232"/>
                  </a:moveTo>
                  <a:cubicBezTo>
                    <a:pt x="73" y="236"/>
                    <a:pt x="80" y="243"/>
                    <a:pt x="82" y="243"/>
                  </a:cubicBezTo>
                  <a:cubicBezTo>
                    <a:pt x="83" y="243"/>
                    <a:pt x="101" y="241"/>
                    <a:pt x="104" y="244"/>
                  </a:cubicBezTo>
                  <a:cubicBezTo>
                    <a:pt x="108" y="246"/>
                    <a:pt x="120" y="260"/>
                    <a:pt x="120" y="264"/>
                  </a:cubicBezTo>
                  <a:cubicBezTo>
                    <a:pt x="120" y="268"/>
                    <a:pt x="122" y="276"/>
                    <a:pt x="116" y="280"/>
                  </a:cubicBezTo>
                  <a:cubicBezTo>
                    <a:pt x="111" y="284"/>
                    <a:pt x="95" y="289"/>
                    <a:pt x="95" y="291"/>
                  </a:cubicBezTo>
                  <a:cubicBezTo>
                    <a:pt x="95" y="293"/>
                    <a:pt x="97" y="297"/>
                    <a:pt x="95" y="301"/>
                  </a:cubicBezTo>
                  <a:cubicBezTo>
                    <a:pt x="92" y="306"/>
                    <a:pt x="82" y="305"/>
                    <a:pt x="79" y="306"/>
                  </a:cubicBezTo>
                  <a:cubicBezTo>
                    <a:pt x="77" y="307"/>
                    <a:pt x="62" y="322"/>
                    <a:pt x="63" y="324"/>
                  </a:cubicBezTo>
                  <a:cubicBezTo>
                    <a:pt x="64" y="326"/>
                    <a:pt x="72" y="331"/>
                    <a:pt x="69" y="337"/>
                  </a:cubicBezTo>
                  <a:cubicBezTo>
                    <a:pt x="65" y="343"/>
                    <a:pt x="61" y="347"/>
                    <a:pt x="61" y="348"/>
                  </a:cubicBezTo>
                  <a:cubicBezTo>
                    <a:pt x="61" y="348"/>
                    <a:pt x="70" y="359"/>
                    <a:pt x="69" y="360"/>
                  </a:cubicBezTo>
                  <a:cubicBezTo>
                    <a:pt x="69" y="362"/>
                    <a:pt x="61" y="370"/>
                    <a:pt x="63" y="376"/>
                  </a:cubicBezTo>
                  <a:cubicBezTo>
                    <a:pt x="64" y="383"/>
                    <a:pt x="66" y="387"/>
                    <a:pt x="69" y="389"/>
                  </a:cubicBezTo>
                  <a:cubicBezTo>
                    <a:pt x="72" y="392"/>
                    <a:pt x="82" y="390"/>
                    <a:pt x="87" y="390"/>
                  </a:cubicBezTo>
                  <a:cubicBezTo>
                    <a:pt x="92" y="390"/>
                    <a:pt x="106" y="386"/>
                    <a:pt x="107" y="384"/>
                  </a:cubicBezTo>
                  <a:cubicBezTo>
                    <a:pt x="107" y="383"/>
                    <a:pt x="110" y="377"/>
                    <a:pt x="104" y="375"/>
                  </a:cubicBezTo>
                  <a:cubicBezTo>
                    <a:pt x="98" y="373"/>
                    <a:pt x="92" y="370"/>
                    <a:pt x="94" y="368"/>
                  </a:cubicBezTo>
                  <a:cubicBezTo>
                    <a:pt x="96" y="367"/>
                    <a:pt x="95" y="364"/>
                    <a:pt x="94" y="360"/>
                  </a:cubicBezTo>
                  <a:cubicBezTo>
                    <a:pt x="93" y="356"/>
                    <a:pt x="91" y="351"/>
                    <a:pt x="88" y="346"/>
                  </a:cubicBezTo>
                  <a:cubicBezTo>
                    <a:pt x="85" y="340"/>
                    <a:pt x="84" y="340"/>
                    <a:pt x="85" y="335"/>
                  </a:cubicBezTo>
                  <a:cubicBezTo>
                    <a:pt x="86" y="330"/>
                    <a:pt x="91" y="313"/>
                    <a:pt x="94" y="316"/>
                  </a:cubicBezTo>
                  <a:cubicBezTo>
                    <a:pt x="97" y="319"/>
                    <a:pt x="107" y="324"/>
                    <a:pt x="105" y="326"/>
                  </a:cubicBezTo>
                  <a:cubicBezTo>
                    <a:pt x="104" y="328"/>
                    <a:pt x="88" y="335"/>
                    <a:pt x="96" y="338"/>
                  </a:cubicBezTo>
                  <a:cubicBezTo>
                    <a:pt x="104" y="341"/>
                    <a:pt x="102" y="340"/>
                    <a:pt x="108" y="340"/>
                  </a:cubicBezTo>
                  <a:cubicBezTo>
                    <a:pt x="114" y="341"/>
                    <a:pt x="118" y="342"/>
                    <a:pt x="120" y="341"/>
                  </a:cubicBezTo>
                  <a:cubicBezTo>
                    <a:pt x="122" y="340"/>
                    <a:pt x="127" y="336"/>
                    <a:pt x="127" y="335"/>
                  </a:cubicBezTo>
                  <a:cubicBezTo>
                    <a:pt x="126" y="334"/>
                    <a:pt x="112" y="332"/>
                    <a:pt x="119" y="327"/>
                  </a:cubicBezTo>
                  <a:cubicBezTo>
                    <a:pt x="125" y="323"/>
                    <a:pt x="128" y="318"/>
                    <a:pt x="133" y="322"/>
                  </a:cubicBezTo>
                  <a:cubicBezTo>
                    <a:pt x="137" y="326"/>
                    <a:pt x="141" y="329"/>
                    <a:pt x="141" y="331"/>
                  </a:cubicBezTo>
                  <a:cubicBezTo>
                    <a:pt x="141" y="333"/>
                    <a:pt x="140" y="340"/>
                    <a:pt x="140" y="340"/>
                  </a:cubicBezTo>
                  <a:cubicBezTo>
                    <a:pt x="140" y="340"/>
                    <a:pt x="162" y="344"/>
                    <a:pt x="162" y="342"/>
                  </a:cubicBezTo>
                  <a:cubicBezTo>
                    <a:pt x="163" y="339"/>
                    <a:pt x="161" y="334"/>
                    <a:pt x="164" y="331"/>
                  </a:cubicBezTo>
                  <a:cubicBezTo>
                    <a:pt x="167" y="328"/>
                    <a:pt x="171" y="326"/>
                    <a:pt x="174" y="326"/>
                  </a:cubicBezTo>
                  <a:cubicBezTo>
                    <a:pt x="177" y="327"/>
                    <a:pt x="190" y="333"/>
                    <a:pt x="188" y="336"/>
                  </a:cubicBezTo>
                  <a:cubicBezTo>
                    <a:pt x="187" y="338"/>
                    <a:pt x="178" y="346"/>
                    <a:pt x="179" y="346"/>
                  </a:cubicBezTo>
                  <a:cubicBezTo>
                    <a:pt x="179" y="346"/>
                    <a:pt x="187" y="354"/>
                    <a:pt x="188" y="353"/>
                  </a:cubicBezTo>
                  <a:cubicBezTo>
                    <a:pt x="188" y="353"/>
                    <a:pt x="196" y="348"/>
                    <a:pt x="197" y="345"/>
                  </a:cubicBezTo>
                  <a:cubicBezTo>
                    <a:pt x="197" y="342"/>
                    <a:pt x="194" y="335"/>
                    <a:pt x="199" y="336"/>
                  </a:cubicBezTo>
                  <a:cubicBezTo>
                    <a:pt x="204" y="336"/>
                    <a:pt x="213" y="332"/>
                    <a:pt x="215" y="336"/>
                  </a:cubicBezTo>
                  <a:cubicBezTo>
                    <a:pt x="218" y="341"/>
                    <a:pt x="212" y="354"/>
                    <a:pt x="220" y="353"/>
                  </a:cubicBezTo>
                  <a:cubicBezTo>
                    <a:pt x="227" y="353"/>
                    <a:pt x="231" y="354"/>
                    <a:pt x="232" y="353"/>
                  </a:cubicBezTo>
                  <a:cubicBezTo>
                    <a:pt x="233" y="351"/>
                    <a:pt x="234" y="341"/>
                    <a:pt x="239" y="341"/>
                  </a:cubicBezTo>
                  <a:cubicBezTo>
                    <a:pt x="245" y="341"/>
                    <a:pt x="265" y="339"/>
                    <a:pt x="269" y="341"/>
                  </a:cubicBezTo>
                  <a:cubicBezTo>
                    <a:pt x="272" y="344"/>
                    <a:pt x="273" y="351"/>
                    <a:pt x="276" y="352"/>
                  </a:cubicBezTo>
                  <a:cubicBezTo>
                    <a:pt x="279" y="352"/>
                    <a:pt x="282" y="350"/>
                    <a:pt x="284" y="353"/>
                  </a:cubicBezTo>
                  <a:cubicBezTo>
                    <a:pt x="286" y="355"/>
                    <a:pt x="298" y="376"/>
                    <a:pt x="299" y="375"/>
                  </a:cubicBezTo>
                  <a:cubicBezTo>
                    <a:pt x="301" y="374"/>
                    <a:pt x="303" y="367"/>
                    <a:pt x="309" y="367"/>
                  </a:cubicBezTo>
                  <a:cubicBezTo>
                    <a:pt x="314" y="367"/>
                    <a:pt x="318" y="357"/>
                    <a:pt x="319" y="366"/>
                  </a:cubicBezTo>
                  <a:cubicBezTo>
                    <a:pt x="320" y="374"/>
                    <a:pt x="317" y="401"/>
                    <a:pt x="317" y="401"/>
                  </a:cubicBezTo>
                  <a:cubicBezTo>
                    <a:pt x="317" y="401"/>
                    <a:pt x="324" y="420"/>
                    <a:pt x="336" y="420"/>
                  </a:cubicBezTo>
                  <a:cubicBezTo>
                    <a:pt x="347" y="421"/>
                    <a:pt x="352" y="422"/>
                    <a:pt x="353" y="420"/>
                  </a:cubicBezTo>
                  <a:cubicBezTo>
                    <a:pt x="353" y="418"/>
                    <a:pt x="346" y="405"/>
                    <a:pt x="355" y="403"/>
                  </a:cubicBezTo>
                  <a:cubicBezTo>
                    <a:pt x="364" y="402"/>
                    <a:pt x="365" y="385"/>
                    <a:pt x="364" y="384"/>
                  </a:cubicBezTo>
                  <a:cubicBezTo>
                    <a:pt x="364" y="382"/>
                    <a:pt x="362" y="375"/>
                    <a:pt x="362" y="374"/>
                  </a:cubicBezTo>
                  <a:cubicBezTo>
                    <a:pt x="362" y="373"/>
                    <a:pt x="372" y="369"/>
                    <a:pt x="369" y="360"/>
                  </a:cubicBezTo>
                  <a:cubicBezTo>
                    <a:pt x="365" y="352"/>
                    <a:pt x="349" y="348"/>
                    <a:pt x="353" y="342"/>
                  </a:cubicBezTo>
                  <a:cubicBezTo>
                    <a:pt x="357" y="336"/>
                    <a:pt x="374" y="320"/>
                    <a:pt x="380" y="314"/>
                  </a:cubicBezTo>
                  <a:cubicBezTo>
                    <a:pt x="385" y="309"/>
                    <a:pt x="387" y="299"/>
                    <a:pt x="392" y="299"/>
                  </a:cubicBezTo>
                  <a:cubicBezTo>
                    <a:pt x="397" y="299"/>
                    <a:pt x="419" y="297"/>
                    <a:pt x="422" y="295"/>
                  </a:cubicBezTo>
                  <a:cubicBezTo>
                    <a:pt x="424" y="293"/>
                    <a:pt x="437" y="290"/>
                    <a:pt x="431" y="284"/>
                  </a:cubicBezTo>
                  <a:cubicBezTo>
                    <a:pt x="426" y="278"/>
                    <a:pt x="408" y="281"/>
                    <a:pt x="408" y="274"/>
                  </a:cubicBezTo>
                  <a:cubicBezTo>
                    <a:pt x="408" y="268"/>
                    <a:pt x="412" y="263"/>
                    <a:pt x="406" y="259"/>
                  </a:cubicBezTo>
                  <a:cubicBezTo>
                    <a:pt x="400" y="255"/>
                    <a:pt x="385" y="251"/>
                    <a:pt x="386" y="248"/>
                  </a:cubicBezTo>
                  <a:cubicBezTo>
                    <a:pt x="387" y="246"/>
                    <a:pt x="392" y="237"/>
                    <a:pt x="395" y="237"/>
                  </a:cubicBezTo>
                  <a:cubicBezTo>
                    <a:pt x="398" y="238"/>
                    <a:pt x="420" y="252"/>
                    <a:pt x="416" y="247"/>
                  </a:cubicBezTo>
                  <a:cubicBezTo>
                    <a:pt x="413" y="241"/>
                    <a:pt x="403" y="238"/>
                    <a:pt x="403" y="232"/>
                  </a:cubicBezTo>
                  <a:cubicBezTo>
                    <a:pt x="404" y="226"/>
                    <a:pt x="406" y="221"/>
                    <a:pt x="403" y="217"/>
                  </a:cubicBezTo>
                  <a:cubicBezTo>
                    <a:pt x="400" y="213"/>
                    <a:pt x="389" y="202"/>
                    <a:pt x="388" y="201"/>
                  </a:cubicBezTo>
                  <a:cubicBezTo>
                    <a:pt x="388" y="201"/>
                    <a:pt x="388" y="197"/>
                    <a:pt x="388" y="192"/>
                  </a:cubicBezTo>
                  <a:cubicBezTo>
                    <a:pt x="387" y="193"/>
                    <a:pt x="387" y="193"/>
                    <a:pt x="386" y="193"/>
                  </a:cubicBezTo>
                  <a:cubicBezTo>
                    <a:pt x="383" y="194"/>
                    <a:pt x="372" y="188"/>
                    <a:pt x="365" y="187"/>
                  </a:cubicBezTo>
                  <a:cubicBezTo>
                    <a:pt x="358" y="186"/>
                    <a:pt x="364" y="196"/>
                    <a:pt x="362" y="198"/>
                  </a:cubicBezTo>
                  <a:cubicBezTo>
                    <a:pt x="359" y="199"/>
                    <a:pt x="355" y="190"/>
                    <a:pt x="354" y="190"/>
                  </a:cubicBezTo>
                  <a:cubicBezTo>
                    <a:pt x="353" y="189"/>
                    <a:pt x="343" y="191"/>
                    <a:pt x="342" y="191"/>
                  </a:cubicBezTo>
                  <a:cubicBezTo>
                    <a:pt x="340" y="191"/>
                    <a:pt x="338" y="186"/>
                    <a:pt x="338" y="186"/>
                  </a:cubicBezTo>
                  <a:cubicBezTo>
                    <a:pt x="338" y="186"/>
                    <a:pt x="327" y="187"/>
                    <a:pt x="326" y="187"/>
                  </a:cubicBezTo>
                  <a:cubicBezTo>
                    <a:pt x="324" y="186"/>
                    <a:pt x="324" y="174"/>
                    <a:pt x="320" y="172"/>
                  </a:cubicBezTo>
                  <a:cubicBezTo>
                    <a:pt x="317" y="170"/>
                    <a:pt x="316" y="175"/>
                    <a:pt x="316" y="175"/>
                  </a:cubicBezTo>
                  <a:cubicBezTo>
                    <a:pt x="316" y="175"/>
                    <a:pt x="314" y="175"/>
                    <a:pt x="310" y="177"/>
                  </a:cubicBezTo>
                  <a:cubicBezTo>
                    <a:pt x="306" y="179"/>
                    <a:pt x="289" y="160"/>
                    <a:pt x="284" y="159"/>
                  </a:cubicBezTo>
                  <a:cubicBezTo>
                    <a:pt x="279" y="157"/>
                    <a:pt x="277" y="164"/>
                    <a:pt x="276" y="164"/>
                  </a:cubicBezTo>
                  <a:cubicBezTo>
                    <a:pt x="276" y="165"/>
                    <a:pt x="264" y="155"/>
                    <a:pt x="260" y="153"/>
                  </a:cubicBezTo>
                  <a:cubicBezTo>
                    <a:pt x="255" y="150"/>
                    <a:pt x="249" y="144"/>
                    <a:pt x="248" y="144"/>
                  </a:cubicBezTo>
                  <a:cubicBezTo>
                    <a:pt x="247" y="144"/>
                    <a:pt x="244" y="146"/>
                    <a:pt x="243" y="146"/>
                  </a:cubicBezTo>
                  <a:cubicBezTo>
                    <a:pt x="241" y="146"/>
                    <a:pt x="242" y="138"/>
                    <a:pt x="242" y="137"/>
                  </a:cubicBezTo>
                  <a:cubicBezTo>
                    <a:pt x="242" y="136"/>
                    <a:pt x="237" y="131"/>
                    <a:pt x="235" y="129"/>
                  </a:cubicBezTo>
                  <a:cubicBezTo>
                    <a:pt x="233" y="127"/>
                    <a:pt x="227" y="129"/>
                    <a:pt x="224" y="128"/>
                  </a:cubicBezTo>
                  <a:cubicBezTo>
                    <a:pt x="220" y="127"/>
                    <a:pt x="200" y="110"/>
                    <a:pt x="199" y="109"/>
                  </a:cubicBezTo>
                  <a:cubicBezTo>
                    <a:pt x="198" y="108"/>
                    <a:pt x="198" y="116"/>
                    <a:pt x="198" y="116"/>
                  </a:cubicBezTo>
                  <a:cubicBezTo>
                    <a:pt x="197" y="117"/>
                    <a:pt x="194" y="113"/>
                    <a:pt x="193" y="112"/>
                  </a:cubicBezTo>
                  <a:cubicBezTo>
                    <a:pt x="193" y="111"/>
                    <a:pt x="188" y="113"/>
                    <a:pt x="188" y="113"/>
                  </a:cubicBezTo>
                  <a:cubicBezTo>
                    <a:pt x="188" y="113"/>
                    <a:pt x="181" y="105"/>
                    <a:pt x="178" y="102"/>
                  </a:cubicBezTo>
                  <a:cubicBezTo>
                    <a:pt x="173" y="105"/>
                    <a:pt x="166" y="109"/>
                    <a:pt x="161" y="109"/>
                  </a:cubicBezTo>
                  <a:cubicBezTo>
                    <a:pt x="151" y="110"/>
                    <a:pt x="139" y="102"/>
                    <a:pt x="133" y="97"/>
                  </a:cubicBezTo>
                  <a:cubicBezTo>
                    <a:pt x="127" y="93"/>
                    <a:pt x="119" y="82"/>
                    <a:pt x="115" y="78"/>
                  </a:cubicBezTo>
                  <a:cubicBezTo>
                    <a:pt x="110" y="74"/>
                    <a:pt x="71" y="101"/>
                    <a:pt x="67" y="101"/>
                  </a:cubicBezTo>
                  <a:cubicBezTo>
                    <a:pt x="62" y="102"/>
                    <a:pt x="60" y="76"/>
                    <a:pt x="60" y="75"/>
                  </a:cubicBezTo>
                  <a:cubicBezTo>
                    <a:pt x="60" y="74"/>
                    <a:pt x="57" y="74"/>
                    <a:pt x="56" y="73"/>
                  </a:cubicBezTo>
                  <a:cubicBezTo>
                    <a:pt x="56" y="72"/>
                    <a:pt x="57" y="65"/>
                    <a:pt x="57" y="64"/>
                  </a:cubicBezTo>
                  <a:cubicBezTo>
                    <a:pt x="57" y="63"/>
                    <a:pt x="54" y="56"/>
                    <a:pt x="54" y="55"/>
                  </a:cubicBezTo>
                  <a:cubicBezTo>
                    <a:pt x="54" y="54"/>
                    <a:pt x="61" y="35"/>
                    <a:pt x="62" y="31"/>
                  </a:cubicBezTo>
                  <a:cubicBezTo>
                    <a:pt x="62" y="28"/>
                    <a:pt x="58" y="26"/>
                    <a:pt x="55" y="25"/>
                  </a:cubicBezTo>
                  <a:cubicBezTo>
                    <a:pt x="53" y="23"/>
                    <a:pt x="37" y="2"/>
                    <a:pt x="36" y="1"/>
                  </a:cubicBezTo>
                  <a:cubicBezTo>
                    <a:pt x="35" y="0"/>
                    <a:pt x="33" y="1"/>
                    <a:pt x="29" y="1"/>
                  </a:cubicBezTo>
                  <a:cubicBezTo>
                    <a:pt x="27" y="5"/>
                    <a:pt x="24" y="12"/>
                    <a:pt x="19" y="16"/>
                  </a:cubicBezTo>
                  <a:cubicBezTo>
                    <a:pt x="12" y="23"/>
                    <a:pt x="10" y="23"/>
                    <a:pt x="5" y="34"/>
                  </a:cubicBezTo>
                  <a:cubicBezTo>
                    <a:pt x="1" y="46"/>
                    <a:pt x="1" y="70"/>
                    <a:pt x="0" y="72"/>
                  </a:cubicBezTo>
                  <a:cubicBezTo>
                    <a:pt x="0" y="75"/>
                    <a:pt x="11" y="75"/>
                    <a:pt x="16" y="79"/>
                  </a:cubicBezTo>
                  <a:cubicBezTo>
                    <a:pt x="20" y="82"/>
                    <a:pt x="17" y="91"/>
                    <a:pt x="17" y="91"/>
                  </a:cubicBezTo>
                  <a:cubicBezTo>
                    <a:pt x="17" y="91"/>
                    <a:pt x="20" y="94"/>
                    <a:pt x="26" y="104"/>
                  </a:cubicBezTo>
                  <a:cubicBezTo>
                    <a:pt x="32" y="114"/>
                    <a:pt x="16" y="114"/>
                    <a:pt x="16" y="115"/>
                  </a:cubicBezTo>
                  <a:cubicBezTo>
                    <a:pt x="15" y="116"/>
                    <a:pt x="26" y="128"/>
                    <a:pt x="27" y="130"/>
                  </a:cubicBezTo>
                  <a:cubicBezTo>
                    <a:pt x="28" y="131"/>
                    <a:pt x="24" y="139"/>
                    <a:pt x="24" y="140"/>
                  </a:cubicBezTo>
                  <a:cubicBezTo>
                    <a:pt x="24" y="142"/>
                    <a:pt x="32" y="145"/>
                    <a:pt x="32" y="145"/>
                  </a:cubicBezTo>
                  <a:cubicBezTo>
                    <a:pt x="32" y="145"/>
                    <a:pt x="32" y="153"/>
                    <a:pt x="34" y="157"/>
                  </a:cubicBezTo>
                  <a:cubicBezTo>
                    <a:pt x="35" y="161"/>
                    <a:pt x="30" y="163"/>
                    <a:pt x="26" y="163"/>
                  </a:cubicBezTo>
                  <a:cubicBezTo>
                    <a:pt x="22" y="163"/>
                    <a:pt x="23" y="170"/>
                    <a:pt x="24" y="172"/>
                  </a:cubicBezTo>
                  <a:cubicBezTo>
                    <a:pt x="24" y="174"/>
                    <a:pt x="19" y="169"/>
                    <a:pt x="12" y="169"/>
                  </a:cubicBezTo>
                  <a:cubicBezTo>
                    <a:pt x="6" y="168"/>
                    <a:pt x="13" y="179"/>
                    <a:pt x="13" y="179"/>
                  </a:cubicBezTo>
                  <a:cubicBezTo>
                    <a:pt x="13" y="179"/>
                    <a:pt x="12" y="178"/>
                    <a:pt x="11" y="178"/>
                  </a:cubicBezTo>
                  <a:cubicBezTo>
                    <a:pt x="16" y="185"/>
                    <a:pt x="26" y="200"/>
                    <a:pt x="26" y="200"/>
                  </a:cubicBezTo>
                  <a:cubicBezTo>
                    <a:pt x="26" y="201"/>
                    <a:pt x="26" y="206"/>
                    <a:pt x="21" y="210"/>
                  </a:cubicBezTo>
                  <a:cubicBezTo>
                    <a:pt x="16" y="215"/>
                    <a:pt x="24" y="216"/>
                    <a:pt x="25" y="219"/>
                  </a:cubicBezTo>
                  <a:cubicBezTo>
                    <a:pt x="25" y="222"/>
                    <a:pt x="20" y="224"/>
                    <a:pt x="17" y="227"/>
                  </a:cubicBezTo>
                  <a:cubicBezTo>
                    <a:pt x="14" y="230"/>
                    <a:pt x="19" y="229"/>
                    <a:pt x="19" y="235"/>
                  </a:cubicBezTo>
                  <a:cubicBezTo>
                    <a:pt x="19" y="240"/>
                    <a:pt x="28" y="234"/>
                    <a:pt x="30" y="233"/>
                  </a:cubicBezTo>
                  <a:cubicBezTo>
                    <a:pt x="31" y="231"/>
                    <a:pt x="42" y="225"/>
                    <a:pt x="42" y="225"/>
                  </a:cubicBezTo>
                  <a:cubicBezTo>
                    <a:pt x="42" y="225"/>
                    <a:pt x="51" y="230"/>
                    <a:pt x="54" y="233"/>
                  </a:cubicBezTo>
                  <a:cubicBezTo>
                    <a:pt x="61" y="231"/>
                    <a:pt x="67" y="230"/>
                    <a:pt x="69" y="232"/>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r>
                <a:rPr lang="en-US" sz="347" dirty="0">
                  <a:solidFill>
                    <a:prstClr val="white">
                      <a:lumMod val="85000"/>
                    </a:prstClr>
                  </a:solidFill>
                  <a:latin typeface="Arial" pitchFamily="34" charset="0"/>
                  <a:cs typeface="Arial" pitchFamily="34" charset="0"/>
                </a:rPr>
                <a:t> </a:t>
              </a:r>
            </a:p>
          </p:txBody>
        </p:sp>
        <p:sp>
          <p:nvSpPr>
            <p:cNvPr id="34" name="Freeform 1199"/>
            <p:cNvSpPr>
              <a:spLocks noChangeAspect="1"/>
            </p:cNvSpPr>
            <p:nvPr/>
          </p:nvSpPr>
          <p:spPr bwMode="auto">
            <a:xfrm>
              <a:off x="9251437" y="3998191"/>
              <a:ext cx="1885711" cy="1054518"/>
            </a:xfrm>
            <a:custGeom>
              <a:avLst/>
              <a:gdLst>
                <a:gd name="T0" fmla="*/ 206040433 w 506"/>
                <a:gd name="T1" fmla="*/ 2147483647 h 378"/>
                <a:gd name="T2" fmla="*/ 429997165 w 506"/>
                <a:gd name="T3" fmla="*/ 2147483647 h 378"/>
                <a:gd name="T4" fmla="*/ 940617675 w 506"/>
                <a:gd name="T5" fmla="*/ 2147483647 h 378"/>
                <a:gd name="T6" fmla="*/ 994366573 w 506"/>
                <a:gd name="T7" fmla="*/ 2147483647 h 378"/>
                <a:gd name="T8" fmla="*/ 1442277044 w 506"/>
                <a:gd name="T9" fmla="*/ 2147483647 h 378"/>
                <a:gd name="T10" fmla="*/ 1746860115 w 506"/>
                <a:gd name="T11" fmla="*/ 2147483647 h 378"/>
                <a:gd name="T12" fmla="*/ 1809567161 w 506"/>
                <a:gd name="T13" fmla="*/ 2147483647 h 378"/>
                <a:gd name="T14" fmla="*/ 2147483647 w 506"/>
                <a:gd name="T15" fmla="*/ 2147483647 h 378"/>
                <a:gd name="T16" fmla="*/ 2147483647 w 506"/>
                <a:gd name="T17" fmla="*/ 2147483647 h 378"/>
                <a:gd name="T18" fmla="*/ 2147483647 w 506"/>
                <a:gd name="T19" fmla="*/ 2147483647 h 378"/>
                <a:gd name="T20" fmla="*/ 2147483647 w 506"/>
                <a:gd name="T21" fmla="*/ 2071853356 h 378"/>
                <a:gd name="T22" fmla="*/ 2147483647 w 506"/>
                <a:gd name="T23" fmla="*/ 1606594576 h 378"/>
                <a:gd name="T24" fmla="*/ 2147483647 w 506"/>
                <a:gd name="T25" fmla="*/ 1395773644 h 378"/>
                <a:gd name="T26" fmla="*/ 2147483647 w 506"/>
                <a:gd name="T27" fmla="*/ 988672548 h 378"/>
                <a:gd name="T28" fmla="*/ 2147483647 w 506"/>
                <a:gd name="T29" fmla="*/ 894166985 h 378"/>
                <a:gd name="T30" fmla="*/ 2147483647 w 506"/>
                <a:gd name="T31" fmla="*/ 806933154 h 378"/>
                <a:gd name="T32" fmla="*/ 2147483647 w 506"/>
                <a:gd name="T33" fmla="*/ 770582579 h 378"/>
                <a:gd name="T34" fmla="*/ 2147483647 w 506"/>
                <a:gd name="T35" fmla="*/ 894166985 h 378"/>
                <a:gd name="T36" fmla="*/ 2147483647 w 506"/>
                <a:gd name="T37" fmla="*/ 697886822 h 378"/>
                <a:gd name="T38" fmla="*/ 2147483647 w 506"/>
                <a:gd name="T39" fmla="*/ 799661422 h 378"/>
                <a:gd name="T40" fmla="*/ 2147483647 w 506"/>
                <a:gd name="T41" fmla="*/ 705155858 h 378"/>
                <a:gd name="T42" fmla="*/ 2147483647 w 506"/>
                <a:gd name="T43" fmla="*/ 799661422 h 378"/>
                <a:gd name="T44" fmla="*/ 2147483647 w 506"/>
                <a:gd name="T45" fmla="*/ 625191064 h 378"/>
                <a:gd name="T46" fmla="*/ 2147483647 w 506"/>
                <a:gd name="T47" fmla="*/ 945055633 h 378"/>
                <a:gd name="T48" fmla="*/ 2147483647 w 506"/>
                <a:gd name="T49" fmla="*/ 1119525990 h 378"/>
                <a:gd name="T50" fmla="*/ 2123105389 w 506"/>
                <a:gd name="T51" fmla="*/ 1061371002 h 378"/>
                <a:gd name="T52" fmla="*/ 2147483647 w 506"/>
                <a:gd name="T53" fmla="*/ 777854312 h 378"/>
                <a:gd name="T54" fmla="*/ 2147483647 w 506"/>
                <a:gd name="T55" fmla="*/ 516144732 h 378"/>
                <a:gd name="T56" fmla="*/ 2147483647 w 506"/>
                <a:gd name="T57" fmla="*/ 247168811 h 378"/>
                <a:gd name="T58" fmla="*/ 2147483647 w 506"/>
                <a:gd name="T59" fmla="*/ 14538073 h 378"/>
                <a:gd name="T60" fmla="*/ 1881232358 w 506"/>
                <a:gd name="T61" fmla="*/ 159932284 h 378"/>
                <a:gd name="T62" fmla="*/ 1549777831 w 506"/>
                <a:gd name="T63" fmla="*/ 276247653 h 378"/>
                <a:gd name="T64" fmla="*/ 1263114052 w 506"/>
                <a:gd name="T65" fmla="*/ 428910901 h 378"/>
                <a:gd name="T66" fmla="*/ 1325821099 w 506"/>
                <a:gd name="T67" fmla="*/ 661538943 h 378"/>
                <a:gd name="T68" fmla="*/ 1773734563 w 506"/>
                <a:gd name="T69" fmla="*/ 705155858 h 378"/>
                <a:gd name="T70" fmla="*/ 1424360744 w 506"/>
                <a:gd name="T71" fmla="*/ 865088143 h 378"/>
                <a:gd name="T72" fmla="*/ 1469154485 w 506"/>
                <a:gd name="T73" fmla="*/ 1119525990 h 378"/>
                <a:gd name="T74" fmla="*/ 1316862950 w 506"/>
                <a:gd name="T75" fmla="*/ 1243110396 h 378"/>
                <a:gd name="T76" fmla="*/ 1074989919 w 506"/>
                <a:gd name="T77" fmla="*/ 1221303286 h 378"/>
                <a:gd name="T78" fmla="*/ 716660944 w 506"/>
                <a:gd name="T79" fmla="*/ 1308537117 h 378"/>
                <a:gd name="T80" fmla="*/ 904782084 w 506"/>
                <a:gd name="T81" fmla="*/ 1323077886 h 378"/>
                <a:gd name="T82" fmla="*/ 976450274 w 506"/>
                <a:gd name="T83" fmla="*/ 908707754 h 378"/>
                <a:gd name="T84" fmla="*/ 627076455 w 506"/>
                <a:gd name="T85" fmla="*/ 930514864 h 378"/>
                <a:gd name="T86" fmla="*/ 528536810 w 506"/>
                <a:gd name="T87" fmla="*/ 777854312 h 378"/>
                <a:gd name="T88" fmla="*/ 394161573 w 506"/>
                <a:gd name="T89" fmla="*/ 1061371002 h 378"/>
                <a:gd name="T90" fmla="*/ 474787913 w 506"/>
                <a:gd name="T91" fmla="*/ 1453931328 h 378"/>
                <a:gd name="T92" fmla="*/ 134375236 w 506"/>
                <a:gd name="T93" fmla="*/ 1693831103 h 378"/>
                <a:gd name="T94" fmla="*/ 26874449 w 506"/>
                <a:gd name="T95" fmla="*/ 1933728181 h 378"/>
                <a:gd name="T96" fmla="*/ 188124134 w 506"/>
                <a:gd name="T97" fmla="*/ 2147483647 h 3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6" h="378">
                  <a:moveTo>
                    <a:pt x="21" y="308"/>
                  </a:moveTo>
                  <a:cubicBezTo>
                    <a:pt x="20" y="309"/>
                    <a:pt x="18" y="315"/>
                    <a:pt x="19" y="315"/>
                  </a:cubicBezTo>
                  <a:cubicBezTo>
                    <a:pt x="20" y="315"/>
                    <a:pt x="24" y="316"/>
                    <a:pt x="23" y="317"/>
                  </a:cubicBezTo>
                  <a:cubicBezTo>
                    <a:pt x="23" y="319"/>
                    <a:pt x="18" y="320"/>
                    <a:pt x="18" y="323"/>
                  </a:cubicBezTo>
                  <a:cubicBezTo>
                    <a:pt x="19" y="326"/>
                    <a:pt x="25" y="340"/>
                    <a:pt x="34" y="338"/>
                  </a:cubicBezTo>
                  <a:cubicBezTo>
                    <a:pt x="43" y="336"/>
                    <a:pt x="46" y="331"/>
                    <a:pt x="48" y="331"/>
                  </a:cubicBezTo>
                  <a:cubicBezTo>
                    <a:pt x="49" y="332"/>
                    <a:pt x="59" y="347"/>
                    <a:pt x="61" y="347"/>
                  </a:cubicBezTo>
                  <a:cubicBezTo>
                    <a:pt x="63" y="348"/>
                    <a:pt x="86" y="341"/>
                    <a:pt x="93" y="344"/>
                  </a:cubicBezTo>
                  <a:cubicBezTo>
                    <a:pt x="99" y="348"/>
                    <a:pt x="104" y="351"/>
                    <a:pt x="105" y="351"/>
                  </a:cubicBezTo>
                  <a:cubicBezTo>
                    <a:pt x="105" y="350"/>
                    <a:pt x="109" y="347"/>
                    <a:pt x="111" y="349"/>
                  </a:cubicBezTo>
                  <a:cubicBezTo>
                    <a:pt x="112" y="351"/>
                    <a:pt x="124" y="360"/>
                    <a:pt x="124" y="360"/>
                  </a:cubicBezTo>
                  <a:cubicBezTo>
                    <a:pt x="111" y="368"/>
                    <a:pt x="111" y="368"/>
                    <a:pt x="111" y="368"/>
                  </a:cubicBezTo>
                  <a:cubicBezTo>
                    <a:pt x="111" y="368"/>
                    <a:pt x="129" y="378"/>
                    <a:pt x="129" y="377"/>
                  </a:cubicBezTo>
                  <a:cubicBezTo>
                    <a:pt x="130" y="376"/>
                    <a:pt x="161" y="351"/>
                    <a:pt x="161" y="345"/>
                  </a:cubicBezTo>
                  <a:cubicBezTo>
                    <a:pt x="161" y="339"/>
                    <a:pt x="159" y="335"/>
                    <a:pt x="161" y="332"/>
                  </a:cubicBezTo>
                  <a:cubicBezTo>
                    <a:pt x="163" y="330"/>
                    <a:pt x="166" y="326"/>
                    <a:pt x="166" y="326"/>
                  </a:cubicBezTo>
                  <a:cubicBezTo>
                    <a:pt x="167" y="327"/>
                    <a:pt x="181" y="335"/>
                    <a:pt x="181" y="335"/>
                  </a:cubicBezTo>
                  <a:cubicBezTo>
                    <a:pt x="181" y="334"/>
                    <a:pt x="191" y="325"/>
                    <a:pt x="195" y="328"/>
                  </a:cubicBezTo>
                  <a:cubicBezTo>
                    <a:pt x="199" y="332"/>
                    <a:pt x="210" y="340"/>
                    <a:pt x="207" y="340"/>
                  </a:cubicBezTo>
                  <a:cubicBezTo>
                    <a:pt x="204" y="340"/>
                    <a:pt x="193" y="338"/>
                    <a:pt x="195" y="343"/>
                  </a:cubicBezTo>
                  <a:cubicBezTo>
                    <a:pt x="198" y="348"/>
                    <a:pt x="200" y="352"/>
                    <a:pt x="202" y="352"/>
                  </a:cubicBezTo>
                  <a:cubicBezTo>
                    <a:pt x="204" y="351"/>
                    <a:pt x="211" y="349"/>
                    <a:pt x="215" y="349"/>
                  </a:cubicBezTo>
                  <a:cubicBezTo>
                    <a:pt x="219" y="349"/>
                    <a:pt x="222" y="358"/>
                    <a:pt x="226" y="356"/>
                  </a:cubicBezTo>
                  <a:cubicBezTo>
                    <a:pt x="231" y="354"/>
                    <a:pt x="242" y="342"/>
                    <a:pt x="246" y="342"/>
                  </a:cubicBezTo>
                  <a:cubicBezTo>
                    <a:pt x="250" y="342"/>
                    <a:pt x="257" y="343"/>
                    <a:pt x="260" y="343"/>
                  </a:cubicBezTo>
                  <a:cubicBezTo>
                    <a:pt x="264" y="343"/>
                    <a:pt x="277" y="347"/>
                    <a:pt x="279" y="344"/>
                  </a:cubicBezTo>
                  <a:cubicBezTo>
                    <a:pt x="282" y="342"/>
                    <a:pt x="288" y="328"/>
                    <a:pt x="290" y="329"/>
                  </a:cubicBezTo>
                  <a:cubicBezTo>
                    <a:pt x="292" y="330"/>
                    <a:pt x="303" y="343"/>
                    <a:pt x="308" y="342"/>
                  </a:cubicBezTo>
                  <a:cubicBezTo>
                    <a:pt x="314" y="341"/>
                    <a:pt x="322" y="333"/>
                    <a:pt x="325" y="334"/>
                  </a:cubicBezTo>
                  <a:cubicBezTo>
                    <a:pt x="328" y="336"/>
                    <a:pt x="337" y="343"/>
                    <a:pt x="339" y="342"/>
                  </a:cubicBezTo>
                  <a:cubicBezTo>
                    <a:pt x="341" y="340"/>
                    <a:pt x="339" y="333"/>
                    <a:pt x="346" y="335"/>
                  </a:cubicBezTo>
                  <a:cubicBezTo>
                    <a:pt x="353" y="336"/>
                    <a:pt x="357" y="336"/>
                    <a:pt x="358" y="335"/>
                  </a:cubicBezTo>
                  <a:cubicBezTo>
                    <a:pt x="358" y="335"/>
                    <a:pt x="384" y="294"/>
                    <a:pt x="395" y="285"/>
                  </a:cubicBezTo>
                  <a:cubicBezTo>
                    <a:pt x="405" y="276"/>
                    <a:pt x="438" y="255"/>
                    <a:pt x="435" y="251"/>
                  </a:cubicBezTo>
                  <a:cubicBezTo>
                    <a:pt x="432" y="248"/>
                    <a:pt x="411" y="232"/>
                    <a:pt x="412" y="228"/>
                  </a:cubicBezTo>
                  <a:cubicBezTo>
                    <a:pt x="412" y="223"/>
                    <a:pt x="413" y="220"/>
                    <a:pt x="415" y="221"/>
                  </a:cubicBezTo>
                  <a:cubicBezTo>
                    <a:pt x="417" y="221"/>
                    <a:pt x="454" y="233"/>
                    <a:pt x="456" y="229"/>
                  </a:cubicBezTo>
                  <a:cubicBezTo>
                    <a:pt x="458" y="224"/>
                    <a:pt x="459" y="214"/>
                    <a:pt x="467" y="212"/>
                  </a:cubicBezTo>
                  <a:cubicBezTo>
                    <a:pt x="475" y="209"/>
                    <a:pt x="498" y="199"/>
                    <a:pt x="504" y="192"/>
                  </a:cubicBezTo>
                  <a:cubicBezTo>
                    <a:pt x="504" y="191"/>
                    <a:pt x="505" y="190"/>
                    <a:pt x="506" y="189"/>
                  </a:cubicBezTo>
                  <a:cubicBezTo>
                    <a:pt x="497" y="185"/>
                    <a:pt x="491" y="171"/>
                    <a:pt x="491" y="171"/>
                  </a:cubicBezTo>
                  <a:cubicBezTo>
                    <a:pt x="491" y="171"/>
                    <a:pt x="494" y="144"/>
                    <a:pt x="493" y="136"/>
                  </a:cubicBezTo>
                  <a:cubicBezTo>
                    <a:pt x="492" y="127"/>
                    <a:pt x="488" y="137"/>
                    <a:pt x="483" y="137"/>
                  </a:cubicBezTo>
                  <a:cubicBezTo>
                    <a:pt x="477" y="137"/>
                    <a:pt x="475" y="144"/>
                    <a:pt x="473" y="145"/>
                  </a:cubicBezTo>
                  <a:cubicBezTo>
                    <a:pt x="472" y="146"/>
                    <a:pt x="460" y="125"/>
                    <a:pt x="458" y="123"/>
                  </a:cubicBezTo>
                  <a:cubicBezTo>
                    <a:pt x="456" y="120"/>
                    <a:pt x="453" y="122"/>
                    <a:pt x="450" y="122"/>
                  </a:cubicBezTo>
                  <a:cubicBezTo>
                    <a:pt x="447" y="121"/>
                    <a:pt x="446" y="114"/>
                    <a:pt x="443" y="111"/>
                  </a:cubicBezTo>
                  <a:cubicBezTo>
                    <a:pt x="439" y="109"/>
                    <a:pt x="419" y="111"/>
                    <a:pt x="413" y="111"/>
                  </a:cubicBezTo>
                  <a:cubicBezTo>
                    <a:pt x="408" y="111"/>
                    <a:pt x="407" y="121"/>
                    <a:pt x="406" y="123"/>
                  </a:cubicBezTo>
                  <a:cubicBezTo>
                    <a:pt x="405" y="124"/>
                    <a:pt x="401" y="123"/>
                    <a:pt x="394" y="123"/>
                  </a:cubicBezTo>
                  <a:cubicBezTo>
                    <a:pt x="386" y="124"/>
                    <a:pt x="392" y="111"/>
                    <a:pt x="389" y="106"/>
                  </a:cubicBezTo>
                  <a:cubicBezTo>
                    <a:pt x="387" y="102"/>
                    <a:pt x="378" y="106"/>
                    <a:pt x="373" y="106"/>
                  </a:cubicBezTo>
                  <a:cubicBezTo>
                    <a:pt x="368" y="105"/>
                    <a:pt x="371" y="112"/>
                    <a:pt x="371" y="115"/>
                  </a:cubicBezTo>
                  <a:cubicBezTo>
                    <a:pt x="370" y="118"/>
                    <a:pt x="362" y="123"/>
                    <a:pt x="362" y="123"/>
                  </a:cubicBezTo>
                  <a:cubicBezTo>
                    <a:pt x="361" y="124"/>
                    <a:pt x="353" y="116"/>
                    <a:pt x="353" y="116"/>
                  </a:cubicBezTo>
                  <a:cubicBezTo>
                    <a:pt x="352" y="116"/>
                    <a:pt x="361" y="108"/>
                    <a:pt x="362" y="106"/>
                  </a:cubicBezTo>
                  <a:cubicBezTo>
                    <a:pt x="364" y="103"/>
                    <a:pt x="351" y="97"/>
                    <a:pt x="348" y="96"/>
                  </a:cubicBezTo>
                  <a:cubicBezTo>
                    <a:pt x="345" y="96"/>
                    <a:pt x="341" y="98"/>
                    <a:pt x="338" y="101"/>
                  </a:cubicBezTo>
                  <a:cubicBezTo>
                    <a:pt x="335" y="104"/>
                    <a:pt x="337" y="109"/>
                    <a:pt x="336" y="112"/>
                  </a:cubicBezTo>
                  <a:cubicBezTo>
                    <a:pt x="336" y="114"/>
                    <a:pt x="314" y="110"/>
                    <a:pt x="314" y="110"/>
                  </a:cubicBezTo>
                  <a:cubicBezTo>
                    <a:pt x="314" y="110"/>
                    <a:pt x="315" y="103"/>
                    <a:pt x="315" y="101"/>
                  </a:cubicBezTo>
                  <a:cubicBezTo>
                    <a:pt x="315" y="99"/>
                    <a:pt x="311" y="96"/>
                    <a:pt x="307" y="92"/>
                  </a:cubicBezTo>
                  <a:cubicBezTo>
                    <a:pt x="302" y="88"/>
                    <a:pt x="299" y="93"/>
                    <a:pt x="293" y="97"/>
                  </a:cubicBezTo>
                  <a:cubicBezTo>
                    <a:pt x="286" y="102"/>
                    <a:pt x="300" y="104"/>
                    <a:pt x="301" y="105"/>
                  </a:cubicBezTo>
                  <a:cubicBezTo>
                    <a:pt x="301" y="106"/>
                    <a:pt x="296" y="110"/>
                    <a:pt x="294" y="111"/>
                  </a:cubicBezTo>
                  <a:cubicBezTo>
                    <a:pt x="292" y="112"/>
                    <a:pt x="288" y="111"/>
                    <a:pt x="282" y="110"/>
                  </a:cubicBezTo>
                  <a:cubicBezTo>
                    <a:pt x="276" y="110"/>
                    <a:pt x="278" y="111"/>
                    <a:pt x="270" y="108"/>
                  </a:cubicBezTo>
                  <a:cubicBezTo>
                    <a:pt x="262" y="105"/>
                    <a:pt x="278" y="98"/>
                    <a:pt x="279" y="96"/>
                  </a:cubicBezTo>
                  <a:cubicBezTo>
                    <a:pt x="281" y="94"/>
                    <a:pt x="271" y="89"/>
                    <a:pt x="268" y="86"/>
                  </a:cubicBezTo>
                  <a:cubicBezTo>
                    <a:pt x="265" y="83"/>
                    <a:pt x="260" y="100"/>
                    <a:pt x="259" y="105"/>
                  </a:cubicBezTo>
                  <a:cubicBezTo>
                    <a:pt x="258" y="110"/>
                    <a:pt x="259" y="110"/>
                    <a:pt x="262" y="116"/>
                  </a:cubicBezTo>
                  <a:cubicBezTo>
                    <a:pt x="265" y="121"/>
                    <a:pt x="267" y="126"/>
                    <a:pt x="268" y="130"/>
                  </a:cubicBezTo>
                  <a:cubicBezTo>
                    <a:pt x="269" y="134"/>
                    <a:pt x="270" y="137"/>
                    <a:pt x="268" y="138"/>
                  </a:cubicBezTo>
                  <a:cubicBezTo>
                    <a:pt x="266" y="140"/>
                    <a:pt x="272" y="143"/>
                    <a:pt x="278" y="145"/>
                  </a:cubicBezTo>
                  <a:cubicBezTo>
                    <a:pt x="284" y="147"/>
                    <a:pt x="281" y="153"/>
                    <a:pt x="281" y="154"/>
                  </a:cubicBezTo>
                  <a:cubicBezTo>
                    <a:pt x="280" y="156"/>
                    <a:pt x="266" y="160"/>
                    <a:pt x="261" y="160"/>
                  </a:cubicBezTo>
                  <a:cubicBezTo>
                    <a:pt x="256" y="160"/>
                    <a:pt x="246" y="162"/>
                    <a:pt x="243" y="159"/>
                  </a:cubicBezTo>
                  <a:cubicBezTo>
                    <a:pt x="240" y="157"/>
                    <a:pt x="238" y="153"/>
                    <a:pt x="237" y="146"/>
                  </a:cubicBezTo>
                  <a:cubicBezTo>
                    <a:pt x="235" y="140"/>
                    <a:pt x="243" y="132"/>
                    <a:pt x="243" y="130"/>
                  </a:cubicBezTo>
                  <a:cubicBezTo>
                    <a:pt x="244" y="129"/>
                    <a:pt x="235" y="118"/>
                    <a:pt x="235" y="118"/>
                  </a:cubicBezTo>
                  <a:cubicBezTo>
                    <a:pt x="235" y="117"/>
                    <a:pt x="239" y="113"/>
                    <a:pt x="243" y="107"/>
                  </a:cubicBezTo>
                  <a:cubicBezTo>
                    <a:pt x="246" y="101"/>
                    <a:pt x="238" y="96"/>
                    <a:pt x="237" y="94"/>
                  </a:cubicBezTo>
                  <a:cubicBezTo>
                    <a:pt x="236" y="92"/>
                    <a:pt x="251" y="77"/>
                    <a:pt x="253" y="76"/>
                  </a:cubicBezTo>
                  <a:cubicBezTo>
                    <a:pt x="256" y="75"/>
                    <a:pt x="266" y="76"/>
                    <a:pt x="269" y="71"/>
                  </a:cubicBezTo>
                  <a:cubicBezTo>
                    <a:pt x="271" y="67"/>
                    <a:pt x="269" y="63"/>
                    <a:pt x="269" y="61"/>
                  </a:cubicBezTo>
                  <a:cubicBezTo>
                    <a:pt x="269" y="59"/>
                    <a:pt x="285" y="54"/>
                    <a:pt x="290" y="50"/>
                  </a:cubicBezTo>
                  <a:cubicBezTo>
                    <a:pt x="296" y="46"/>
                    <a:pt x="294" y="38"/>
                    <a:pt x="294" y="34"/>
                  </a:cubicBezTo>
                  <a:cubicBezTo>
                    <a:pt x="294" y="30"/>
                    <a:pt x="282" y="16"/>
                    <a:pt x="278" y="14"/>
                  </a:cubicBezTo>
                  <a:cubicBezTo>
                    <a:pt x="275" y="11"/>
                    <a:pt x="257" y="13"/>
                    <a:pt x="256" y="13"/>
                  </a:cubicBezTo>
                  <a:cubicBezTo>
                    <a:pt x="254" y="13"/>
                    <a:pt x="247" y="6"/>
                    <a:pt x="243" y="2"/>
                  </a:cubicBezTo>
                  <a:cubicBezTo>
                    <a:pt x="241" y="0"/>
                    <a:pt x="235" y="1"/>
                    <a:pt x="228" y="3"/>
                  </a:cubicBezTo>
                  <a:cubicBezTo>
                    <a:pt x="228" y="3"/>
                    <a:pt x="228" y="3"/>
                    <a:pt x="228" y="3"/>
                  </a:cubicBezTo>
                  <a:cubicBezTo>
                    <a:pt x="232" y="6"/>
                    <a:pt x="213" y="20"/>
                    <a:pt x="210" y="22"/>
                  </a:cubicBezTo>
                  <a:cubicBezTo>
                    <a:pt x="207" y="23"/>
                    <a:pt x="193" y="25"/>
                    <a:pt x="190" y="26"/>
                  </a:cubicBezTo>
                  <a:cubicBezTo>
                    <a:pt x="186" y="28"/>
                    <a:pt x="185" y="37"/>
                    <a:pt x="182" y="37"/>
                  </a:cubicBezTo>
                  <a:cubicBezTo>
                    <a:pt x="180" y="38"/>
                    <a:pt x="173" y="38"/>
                    <a:pt x="173" y="38"/>
                  </a:cubicBezTo>
                  <a:cubicBezTo>
                    <a:pt x="172" y="38"/>
                    <a:pt x="163" y="44"/>
                    <a:pt x="161" y="44"/>
                  </a:cubicBezTo>
                  <a:cubicBezTo>
                    <a:pt x="158" y="44"/>
                    <a:pt x="161" y="52"/>
                    <a:pt x="155" y="56"/>
                  </a:cubicBezTo>
                  <a:cubicBezTo>
                    <a:pt x="149" y="60"/>
                    <a:pt x="143" y="59"/>
                    <a:pt x="141" y="59"/>
                  </a:cubicBezTo>
                  <a:cubicBezTo>
                    <a:pt x="139" y="59"/>
                    <a:pt x="140" y="70"/>
                    <a:pt x="138" y="76"/>
                  </a:cubicBezTo>
                  <a:cubicBezTo>
                    <a:pt x="136" y="81"/>
                    <a:pt x="145" y="81"/>
                    <a:pt x="147" y="82"/>
                  </a:cubicBezTo>
                  <a:cubicBezTo>
                    <a:pt x="149" y="83"/>
                    <a:pt x="147" y="90"/>
                    <a:pt x="148" y="91"/>
                  </a:cubicBezTo>
                  <a:cubicBezTo>
                    <a:pt x="149" y="92"/>
                    <a:pt x="177" y="92"/>
                    <a:pt x="179" y="92"/>
                  </a:cubicBezTo>
                  <a:cubicBezTo>
                    <a:pt x="181" y="92"/>
                    <a:pt x="191" y="87"/>
                    <a:pt x="193" y="87"/>
                  </a:cubicBezTo>
                  <a:cubicBezTo>
                    <a:pt x="195" y="87"/>
                    <a:pt x="195" y="91"/>
                    <a:pt x="198" y="97"/>
                  </a:cubicBezTo>
                  <a:cubicBezTo>
                    <a:pt x="200" y="103"/>
                    <a:pt x="196" y="99"/>
                    <a:pt x="192" y="104"/>
                  </a:cubicBezTo>
                  <a:cubicBezTo>
                    <a:pt x="188" y="110"/>
                    <a:pt x="170" y="107"/>
                    <a:pt x="170" y="106"/>
                  </a:cubicBezTo>
                  <a:cubicBezTo>
                    <a:pt x="169" y="106"/>
                    <a:pt x="160" y="111"/>
                    <a:pt x="159" y="119"/>
                  </a:cubicBezTo>
                  <a:cubicBezTo>
                    <a:pt x="157" y="127"/>
                    <a:pt x="161" y="128"/>
                    <a:pt x="161" y="133"/>
                  </a:cubicBezTo>
                  <a:cubicBezTo>
                    <a:pt x="161" y="137"/>
                    <a:pt x="172" y="157"/>
                    <a:pt x="172" y="160"/>
                  </a:cubicBezTo>
                  <a:cubicBezTo>
                    <a:pt x="172" y="163"/>
                    <a:pt x="167" y="157"/>
                    <a:pt x="164" y="154"/>
                  </a:cubicBezTo>
                  <a:cubicBezTo>
                    <a:pt x="162" y="152"/>
                    <a:pt x="159" y="158"/>
                    <a:pt x="158" y="158"/>
                  </a:cubicBezTo>
                  <a:cubicBezTo>
                    <a:pt x="157" y="159"/>
                    <a:pt x="158" y="171"/>
                    <a:pt x="157" y="173"/>
                  </a:cubicBezTo>
                  <a:cubicBezTo>
                    <a:pt x="157" y="174"/>
                    <a:pt x="150" y="172"/>
                    <a:pt x="147" y="171"/>
                  </a:cubicBezTo>
                  <a:cubicBezTo>
                    <a:pt x="143" y="170"/>
                    <a:pt x="146" y="175"/>
                    <a:pt x="144" y="177"/>
                  </a:cubicBezTo>
                  <a:cubicBezTo>
                    <a:pt x="142" y="178"/>
                    <a:pt x="137" y="174"/>
                    <a:pt x="136" y="173"/>
                  </a:cubicBezTo>
                  <a:cubicBezTo>
                    <a:pt x="135" y="171"/>
                    <a:pt x="124" y="168"/>
                    <a:pt x="120" y="168"/>
                  </a:cubicBezTo>
                  <a:cubicBezTo>
                    <a:pt x="117" y="169"/>
                    <a:pt x="111" y="193"/>
                    <a:pt x="107" y="197"/>
                  </a:cubicBezTo>
                  <a:cubicBezTo>
                    <a:pt x="103" y="201"/>
                    <a:pt x="85" y="196"/>
                    <a:pt x="79" y="195"/>
                  </a:cubicBezTo>
                  <a:cubicBezTo>
                    <a:pt x="73" y="193"/>
                    <a:pt x="79" y="181"/>
                    <a:pt x="80" y="180"/>
                  </a:cubicBezTo>
                  <a:cubicBezTo>
                    <a:pt x="80" y="179"/>
                    <a:pt x="85" y="180"/>
                    <a:pt x="87" y="179"/>
                  </a:cubicBezTo>
                  <a:cubicBezTo>
                    <a:pt x="89" y="178"/>
                    <a:pt x="89" y="181"/>
                    <a:pt x="89" y="182"/>
                  </a:cubicBezTo>
                  <a:cubicBezTo>
                    <a:pt x="88" y="183"/>
                    <a:pt x="99" y="183"/>
                    <a:pt x="101" y="182"/>
                  </a:cubicBezTo>
                  <a:cubicBezTo>
                    <a:pt x="104" y="181"/>
                    <a:pt x="97" y="172"/>
                    <a:pt x="95" y="167"/>
                  </a:cubicBezTo>
                  <a:cubicBezTo>
                    <a:pt x="93" y="161"/>
                    <a:pt x="109" y="155"/>
                    <a:pt x="109" y="155"/>
                  </a:cubicBezTo>
                  <a:cubicBezTo>
                    <a:pt x="109" y="155"/>
                    <a:pt x="110" y="128"/>
                    <a:pt x="109" y="125"/>
                  </a:cubicBezTo>
                  <a:cubicBezTo>
                    <a:pt x="108" y="121"/>
                    <a:pt x="106" y="126"/>
                    <a:pt x="102" y="125"/>
                  </a:cubicBezTo>
                  <a:cubicBezTo>
                    <a:pt x="99" y="124"/>
                    <a:pt x="95" y="130"/>
                    <a:pt x="92" y="131"/>
                  </a:cubicBezTo>
                  <a:cubicBezTo>
                    <a:pt x="88" y="132"/>
                    <a:pt x="79" y="131"/>
                    <a:pt x="70" y="128"/>
                  </a:cubicBezTo>
                  <a:cubicBezTo>
                    <a:pt x="61" y="124"/>
                    <a:pt x="68" y="123"/>
                    <a:pt x="68" y="120"/>
                  </a:cubicBezTo>
                  <a:cubicBezTo>
                    <a:pt x="68" y="117"/>
                    <a:pt x="74" y="111"/>
                    <a:pt x="70" y="105"/>
                  </a:cubicBezTo>
                  <a:cubicBezTo>
                    <a:pt x="66" y="100"/>
                    <a:pt x="59" y="107"/>
                    <a:pt x="59" y="107"/>
                  </a:cubicBezTo>
                  <a:cubicBezTo>
                    <a:pt x="59" y="107"/>
                    <a:pt x="59" y="121"/>
                    <a:pt x="57" y="124"/>
                  </a:cubicBezTo>
                  <a:cubicBezTo>
                    <a:pt x="56" y="128"/>
                    <a:pt x="54" y="128"/>
                    <a:pt x="48" y="129"/>
                  </a:cubicBezTo>
                  <a:cubicBezTo>
                    <a:pt x="42" y="131"/>
                    <a:pt x="46" y="139"/>
                    <a:pt x="44" y="146"/>
                  </a:cubicBezTo>
                  <a:cubicBezTo>
                    <a:pt x="43" y="154"/>
                    <a:pt x="58" y="169"/>
                    <a:pt x="59" y="171"/>
                  </a:cubicBezTo>
                  <a:cubicBezTo>
                    <a:pt x="61" y="174"/>
                    <a:pt x="58" y="174"/>
                    <a:pt x="54" y="177"/>
                  </a:cubicBezTo>
                  <a:cubicBezTo>
                    <a:pt x="51" y="181"/>
                    <a:pt x="56" y="198"/>
                    <a:pt x="53" y="200"/>
                  </a:cubicBezTo>
                  <a:cubicBezTo>
                    <a:pt x="51" y="202"/>
                    <a:pt x="32" y="213"/>
                    <a:pt x="29" y="214"/>
                  </a:cubicBezTo>
                  <a:cubicBezTo>
                    <a:pt x="27" y="216"/>
                    <a:pt x="33" y="226"/>
                    <a:pt x="33" y="227"/>
                  </a:cubicBezTo>
                  <a:cubicBezTo>
                    <a:pt x="33" y="229"/>
                    <a:pt x="20" y="232"/>
                    <a:pt x="15" y="233"/>
                  </a:cubicBezTo>
                  <a:cubicBezTo>
                    <a:pt x="15" y="234"/>
                    <a:pt x="15" y="234"/>
                    <a:pt x="16" y="234"/>
                  </a:cubicBezTo>
                  <a:cubicBezTo>
                    <a:pt x="16" y="236"/>
                    <a:pt x="16" y="240"/>
                    <a:pt x="18" y="252"/>
                  </a:cubicBezTo>
                  <a:cubicBezTo>
                    <a:pt x="20" y="264"/>
                    <a:pt x="5" y="266"/>
                    <a:pt x="3" y="266"/>
                  </a:cubicBezTo>
                  <a:cubicBezTo>
                    <a:pt x="0" y="266"/>
                    <a:pt x="1" y="297"/>
                    <a:pt x="2" y="303"/>
                  </a:cubicBezTo>
                  <a:cubicBezTo>
                    <a:pt x="6" y="303"/>
                    <a:pt x="9" y="302"/>
                    <a:pt x="10" y="302"/>
                  </a:cubicBezTo>
                  <a:cubicBezTo>
                    <a:pt x="10" y="302"/>
                    <a:pt x="22" y="308"/>
                    <a:pt x="21" y="308"/>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5" name="Freeform 1200"/>
            <p:cNvSpPr>
              <a:spLocks noChangeAspect="1"/>
            </p:cNvSpPr>
            <p:nvPr/>
          </p:nvSpPr>
          <p:spPr bwMode="auto">
            <a:xfrm>
              <a:off x="11198423" y="3868431"/>
              <a:ext cx="1010062" cy="599531"/>
            </a:xfrm>
            <a:custGeom>
              <a:avLst/>
              <a:gdLst>
                <a:gd name="T0" fmla="*/ 394261492 w 271"/>
                <a:gd name="T1" fmla="*/ 1480935374 h 214"/>
                <a:gd name="T2" fmla="*/ 645153807 w 271"/>
                <a:gd name="T3" fmla="*/ 1539585770 h 214"/>
                <a:gd name="T4" fmla="*/ 734758420 w 271"/>
                <a:gd name="T5" fmla="*/ 1458941137 h 214"/>
                <a:gd name="T6" fmla="*/ 1003572257 w 271"/>
                <a:gd name="T7" fmla="*/ 1466273451 h 214"/>
                <a:gd name="T8" fmla="*/ 1326150657 w 271"/>
                <a:gd name="T9" fmla="*/ 1334308029 h 214"/>
                <a:gd name="T10" fmla="*/ 1478476103 w 271"/>
                <a:gd name="T11" fmla="*/ 1319646106 h 214"/>
                <a:gd name="T12" fmla="*/ 1738330677 w 271"/>
                <a:gd name="T13" fmla="*/ 1414952662 h 214"/>
                <a:gd name="T14" fmla="*/ 1935461422 w 271"/>
                <a:gd name="T15" fmla="*/ 1304984184 h 214"/>
                <a:gd name="T16" fmla="*/ 1953382944 w 271"/>
                <a:gd name="T17" fmla="*/ 1077709498 h 214"/>
                <a:gd name="T18" fmla="*/ 2147483647 w 271"/>
                <a:gd name="T19" fmla="*/ 960408705 h 214"/>
                <a:gd name="T20" fmla="*/ 2147483647 w 271"/>
                <a:gd name="T21" fmla="*/ 835775597 h 214"/>
                <a:gd name="T22" fmla="*/ 2147483647 w 271"/>
                <a:gd name="T23" fmla="*/ 681815936 h 214"/>
                <a:gd name="T24" fmla="*/ 2147483647 w 271"/>
                <a:gd name="T25" fmla="*/ 505864747 h 214"/>
                <a:gd name="T26" fmla="*/ 2147483647 w 271"/>
                <a:gd name="T27" fmla="*/ 483870510 h 214"/>
                <a:gd name="T28" fmla="*/ 2147483647 w 271"/>
                <a:gd name="T29" fmla="*/ 542520906 h 214"/>
                <a:gd name="T30" fmla="*/ 2147483647 w 271"/>
                <a:gd name="T31" fmla="*/ 498532432 h 214"/>
                <a:gd name="T32" fmla="*/ 2123629911 w 271"/>
                <a:gd name="T33" fmla="*/ 520526669 h 214"/>
                <a:gd name="T34" fmla="*/ 2060909077 w 271"/>
                <a:gd name="T35" fmla="*/ 417887798 h 214"/>
                <a:gd name="T36" fmla="*/ 1908580637 w 271"/>
                <a:gd name="T37" fmla="*/ 505864747 h 214"/>
                <a:gd name="T38" fmla="*/ 1666647585 w 271"/>
                <a:gd name="T39" fmla="*/ 403225876 h 214"/>
                <a:gd name="T40" fmla="*/ 1603923758 w 271"/>
                <a:gd name="T41" fmla="*/ 439882035 h 214"/>
                <a:gd name="T42" fmla="*/ 1514319146 w 271"/>
                <a:gd name="T43" fmla="*/ 381231639 h 214"/>
                <a:gd name="T44" fmla="*/ 1505359882 w 271"/>
                <a:gd name="T45" fmla="*/ 410555483 h 214"/>
                <a:gd name="T46" fmla="*/ 1433673797 w 271"/>
                <a:gd name="T47" fmla="*/ 447214350 h 214"/>
                <a:gd name="T48" fmla="*/ 1361990706 w 271"/>
                <a:gd name="T49" fmla="*/ 403225876 h 214"/>
                <a:gd name="T50" fmla="*/ 1361990706 w 271"/>
                <a:gd name="T51" fmla="*/ 337243165 h 214"/>
                <a:gd name="T52" fmla="*/ 1299266879 w 271"/>
                <a:gd name="T53" fmla="*/ 300587005 h 214"/>
                <a:gd name="T54" fmla="*/ 1111098390 w 271"/>
                <a:gd name="T55" fmla="*/ 359237402 h 214"/>
                <a:gd name="T56" fmla="*/ 1057333827 w 271"/>
                <a:gd name="T57" fmla="*/ 307916613 h 214"/>
                <a:gd name="T58" fmla="*/ 985650736 w 271"/>
                <a:gd name="T59" fmla="*/ 307916613 h 214"/>
                <a:gd name="T60" fmla="*/ 896046123 w 271"/>
                <a:gd name="T61" fmla="*/ 256598531 h 214"/>
                <a:gd name="T62" fmla="*/ 779560726 w 271"/>
                <a:gd name="T63" fmla="*/ 212610057 h 214"/>
                <a:gd name="T64" fmla="*/ 815403768 w 271"/>
                <a:gd name="T65" fmla="*/ 139295030 h 214"/>
                <a:gd name="T66" fmla="*/ 761639205 w 271"/>
                <a:gd name="T67" fmla="*/ 73312319 h 214"/>
                <a:gd name="T68" fmla="*/ 636194544 w 271"/>
                <a:gd name="T69" fmla="*/ 73312319 h 214"/>
                <a:gd name="T70" fmla="*/ 519706153 w 271"/>
                <a:gd name="T71" fmla="*/ 0 h 214"/>
                <a:gd name="T72" fmla="*/ 483866104 w 271"/>
                <a:gd name="T73" fmla="*/ 36656159 h 214"/>
                <a:gd name="T74" fmla="*/ 376339970 w 271"/>
                <a:gd name="T75" fmla="*/ 36656159 h 214"/>
                <a:gd name="T76" fmla="*/ 349459185 w 271"/>
                <a:gd name="T77" fmla="*/ 58650397 h 214"/>
                <a:gd name="T78" fmla="*/ 349459185 w 271"/>
                <a:gd name="T79" fmla="*/ 124633108 h 214"/>
                <a:gd name="T80" fmla="*/ 483866104 w 271"/>
                <a:gd name="T81" fmla="*/ 241933901 h 214"/>
                <a:gd name="T82" fmla="*/ 483866104 w 271"/>
                <a:gd name="T83" fmla="*/ 351905087 h 214"/>
                <a:gd name="T84" fmla="*/ 600351501 w 271"/>
                <a:gd name="T85" fmla="*/ 461876273 h 214"/>
                <a:gd name="T86" fmla="*/ 412183013 w 271"/>
                <a:gd name="T87" fmla="*/ 388561246 h 214"/>
                <a:gd name="T88" fmla="*/ 331537664 w 271"/>
                <a:gd name="T89" fmla="*/ 469208588 h 214"/>
                <a:gd name="T90" fmla="*/ 510746889 w 271"/>
                <a:gd name="T91" fmla="*/ 549853221 h 214"/>
                <a:gd name="T92" fmla="*/ 528668410 w 271"/>
                <a:gd name="T93" fmla="*/ 659821699 h 214"/>
                <a:gd name="T94" fmla="*/ 734758420 w 271"/>
                <a:gd name="T95" fmla="*/ 733136726 h 214"/>
                <a:gd name="T96" fmla="*/ 654113071 w 271"/>
                <a:gd name="T97" fmla="*/ 813781359 h 214"/>
                <a:gd name="T98" fmla="*/ 385299234 w 271"/>
                <a:gd name="T99" fmla="*/ 843107911 h 214"/>
                <a:gd name="T100" fmla="*/ 277773101 w 271"/>
                <a:gd name="T101" fmla="*/ 953076390 h 214"/>
                <a:gd name="T102" fmla="*/ 35843042 w 271"/>
                <a:gd name="T103" fmla="*/ 1158356839 h 214"/>
                <a:gd name="T104" fmla="*/ 179209225 w 271"/>
                <a:gd name="T105" fmla="*/ 1290319554 h 214"/>
                <a:gd name="T106" fmla="*/ 116485397 w 271"/>
                <a:gd name="T107" fmla="*/ 1392958425 h 214"/>
                <a:gd name="T108" fmla="*/ 134406918 w 271"/>
                <a:gd name="T109" fmla="*/ 1458941137 h 214"/>
                <a:gd name="T110" fmla="*/ 268813837 w 271"/>
                <a:gd name="T111" fmla="*/ 1473605766 h 214"/>
                <a:gd name="T112" fmla="*/ 394261492 w 271"/>
                <a:gd name="T113" fmla="*/ 1480935374 h 21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1" h="214">
                  <a:moveTo>
                    <a:pt x="44" y="202"/>
                  </a:moveTo>
                  <a:cubicBezTo>
                    <a:pt x="47" y="202"/>
                    <a:pt x="68" y="214"/>
                    <a:pt x="72" y="210"/>
                  </a:cubicBezTo>
                  <a:cubicBezTo>
                    <a:pt x="75" y="206"/>
                    <a:pt x="73" y="199"/>
                    <a:pt x="82" y="199"/>
                  </a:cubicBezTo>
                  <a:cubicBezTo>
                    <a:pt x="92" y="199"/>
                    <a:pt x="107" y="201"/>
                    <a:pt x="112" y="200"/>
                  </a:cubicBezTo>
                  <a:cubicBezTo>
                    <a:pt x="116" y="199"/>
                    <a:pt x="135" y="184"/>
                    <a:pt x="148" y="182"/>
                  </a:cubicBezTo>
                  <a:cubicBezTo>
                    <a:pt x="162" y="180"/>
                    <a:pt x="161" y="177"/>
                    <a:pt x="165" y="180"/>
                  </a:cubicBezTo>
                  <a:cubicBezTo>
                    <a:pt x="169" y="183"/>
                    <a:pt x="186" y="199"/>
                    <a:pt x="194" y="193"/>
                  </a:cubicBezTo>
                  <a:cubicBezTo>
                    <a:pt x="202" y="188"/>
                    <a:pt x="215" y="180"/>
                    <a:pt x="216" y="178"/>
                  </a:cubicBezTo>
                  <a:cubicBezTo>
                    <a:pt x="216" y="176"/>
                    <a:pt x="212" y="147"/>
                    <a:pt x="218" y="147"/>
                  </a:cubicBezTo>
                  <a:cubicBezTo>
                    <a:pt x="223" y="146"/>
                    <a:pt x="233" y="135"/>
                    <a:pt x="245" y="131"/>
                  </a:cubicBezTo>
                  <a:cubicBezTo>
                    <a:pt x="257" y="127"/>
                    <a:pt x="271" y="121"/>
                    <a:pt x="269" y="114"/>
                  </a:cubicBezTo>
                  <a:cubicBezTo>
                    <a:pt x="267" y="107"/>
                    <a:pt x="255" y="100"/>
                    <a:pt x="256" y="93"/>
                  </a:cubicBezTo>
                  <a:cubicBezTo>
                    <a:pt x="256" y="88"/>
                    <a:pt x="259" y="77"/>
                    <a:pt x="260" y="69"/>
                  </a:cubicBezTo>
                  <a:cubicBezTo>
                    <a:pt x="259" y="68"/>
                    <a:pt x="257" y="67"/>
                    <a:pt x="256" y="66"/>
                  </a:cubicBezTo>
                  <a:cubicBezTo>
                    <a:pt x="253" y="65"/>
                    <a:pt x="250" y="74"/>
                    <a:pt x="250" y="74"/>
                  </a:cubicBezTo>
                  <a:cubicBezTo>
                    <a:pt x="250" y="75"/>
                    <a:pt x="240" y="68"/>
                    <a:pt x="240" y="68"/>
                  </a:cubicBezTo>
                  <a:cubicBezTo>
                    <a:pt x="240" y="68"/>
                    <a:pt x="239" y="70"/>
                    <a:pt x="237" y="71"/>
                  </a:cubicBezTo>
                  <a:cubicBezTo>
                    <a:pt x="235" y="72"/>
                    <a:pt x="230" y="57"/>
                    <a:pt x="230" y="57"/>
                  </a:cubicBezTo>
                  <a:cubicBezTo>
                    <a:pt x="229" y="56"/>
                    <a:pt x="217" y="68"/>
                    <a:pt x="213" y="69"/>
                  </a:cubicBezTo>
                  <a:cubicBezTo>
                    <a:pt x="208" y="70"/>
                    <a:pt x="192" y="58"/>
                    <a:pt x="186" y="55"/>
                  </a:cubicBezTo>
                  <a:cubicBezTo>
                    <a:pt x="179" y="53"/>
                    <a:pt x="184" y="59"/>
                    <a:pt x="179" y="60"/>
                  </a:cubicBezTo>
                  <a:cubicBezTo>
                    <a:pt x="175" y="61"/>
                    <a:pt x="170" y="53"/>
                    <a:pt x="169" y="52"/>
                  </a:cubicBezTo>
                  <a:cubicBezTo>
                    <a:pt x="168" y="52"/>
                    <a:pt x="168" y="55"/>
                    <a:pt x="168" y="56"/>
                  </a:cubicBezTo>
                  <a:cubicBezTo>
                    <a:pt x="167" y="57"/>
                    <a:pt x="164" y="59"/>
                    <a:pt x="160" y="61"/>
                  </a:cubicBezTo>
                  <a:cubicBezTo>
                    <a:pt x="156" y="62"/>
                    <a:pt x="155" y="57"/>
                    <a:pt x="152" y="55"/>
                  </a:cubicBezTo>
                  <a:cubicBezTo>
                    <a:pt x="149" y="53"/>
                    <a:pt x="153" y="52"/>
                    <a:pt x="152" y="46"/>
                  </a:cubicBezTo>
                  <a:cubicBezTo>
                    <a:pt x="151" y="41"/>
                    <a:pt x="150" y="45"/>
                    <a:pt x="145" y="41"/>
                  </a:cubicBezTo>
                  <a:cubicBezTo>
                    <a:pt x="139" y="37"/>
                    <a:pt x="125" y="50"/>
                    <a:pt x="124" y="49"/>
                  </a:cubicBezTo>
                  <a:cubicBezTo>
                    <a:pt x="123" y="49"/>
                    <a:pt x="118" y="43"/>
                    <a:pt x="118" y="42"/>
                  </a:cubicBezTo>
                  <a:cubicBezTo>
                    <a:pt x="117" y="42"/>
                    <a:pt x="111" y="43"/>
                    <a:pt x="110" y="42"/>
                  </a:cubicBezTo>
                  <a:cubicBezTo>
                    <a:pt x="109" y="41"/>
                    <a:pt x="104" y="35"/>
                    <a:pt x="100" y="35"/>
                  </a:cubicBezTo>
                  <a:cubicBezTo>
                    <a:pt x="96" y="35"/>
                    <a:pt x="88" y="31"/>
                    <a:pt x="87" y="29"/>
                  </a:cubicBezTo>
                  <a:cubicBezTo>
                    <a:pt x="85" y="28"/>
                    <a:pt x="92" y="20"/>
                    <a:pt x="91" y="19"/>
                  </a:cubicBezTo>
                  <a:cubicBezTo>
                    <a:pt x="91" y="18"/>
                    <a:pt x="89" y="13"/>
                    <a:pt x="85" y="10"/>
                  </a:cubicBezTo>
                  <a:cubicBezTo>
                    <a:pt x="82" y="7"/>
                    <a:pt x="79" y="10"/>
                    <a:pt x="71" y="10"/>
                  </a:cubicBezTo>
                  <a:cubicBezTo>
                    <a:pt x="63" y="11"/>
                    <a:pt x="58" y="0"/>
                    <a:pt x="58" y="0"/>
                  </a:cubicBezTo>
                  <a:cubicBezTo>
                    <a:pt x="57" y="0"/>
                    <a:pt x="55" y="4"/>
                    <a:pt x="54" y="5"/>
                  </a:cubicBezTo>
                  <a:cubicBezTo>
                    <a:pt x="53" y="5"/>
                    <a:pt x="45" y="5"/>
                    <a:pt x="42" y="5"/>
                  </a:cubicBezTo>
                  <a:cubicBezTo>
                    <a:pt x="40" y="5"/>
                    <a:pt x="40" y="7"/>
                    <a:pt x="39" y="8"/>
                  </a:cubicBezTo>
                  <a:cubicBezTo>
                    <a:pt x="39" y="13"/>
                    <a:pt x="39" y="17"/>
                    <a:pt x="39" y="17"/>
                  </a:cubicBezTo>
                  <a:cubicBezTo>
                    <a:pt x="40" y="18"/>
                    <a:pt x="51" y="29"/>
                    <a:pt x="54" y="33"/>
                  </a:cubicBezTo>
                  <a:cubicBezTo>
                    <a:pt x="57" y="37"/>
                    <a:pt x="55" y="42"/>
                    <a:pt x="54" y="48"/>
                  </a:cubicBezTo>
                  <a:cubicBezTo>
                    <a:pt x="54" y="54"/>
                    <a:pt x="64" y="57"/>
                    <a:pt x="67" y="63"/>
                  </a:cubicBezTo>
                  <a:cubicBezTo>
                    <a:pt x="71" y="68"/>
                    <a:pt x="49" y="54"/>
                    <a:pt x="46" y="53"/>
                  </a:cubicBezTo>
                  <a:cubicBezTo>
                    <a:pt x="43" y="53"/>
                    <a:pt x="38" y="62"/>
                    <a:pt x="37" y="64"/>
                  </a:cubicBezTo>
                  <a:cubicBezTo>
                    <a:pt x="36" y="67"/>
                    <a:pt x="51" y="71"/>
                    <a:pt x="57" y="75"/>
                  </a:cubicBezTo>
                  <a:cubicBezTo>
                    <a:pt x="63" y="79"/>
                    <a:pt x="59" y="84"/>
                    <a:pt x="59" y="90"/>
                  </a:cubicBezTo>
                  <a:cubicBezTo>
                    <a:pt x="59" y="97"/>
                    <a:pt x="77" y="94"/>
                    <a:pt x="82" y="100"/>
                  </a:cubicBezTo>
                  <a:cubicBezTo>
                    <a:pt x="88" y="106"/>
                    <a:pt x="75" y="109"/>
                    <a:pt x="73" y="111"/>
                  </a:cubicBezTo>
                  <a:cubicBezTo>
                    <a:pt x="70" y="113"/>
                    <a:pt x="48" y="115"/>
                    <a:pt x="43" y="115"/>
                  </a:cubicBezTo>
                  <a:cubicBezTo>
                    <a:pt x="38" y="115"/>
                    <a:pt x="36" y="125"/>
                    <a:pt x="31" y="130"/>
                  </a:cubicBezTo>
                  <a:cubicBezTo>
                    <a:pt x="25" y="136"/>
                    <a:pt x="8" y="152"/>
                    <a:pt x="4" y="158"/>
                  </a:cubicBezTo>
                  <a:cubicBezTo>
                    <a:pt x="0" y="164"/>
                    <a:pt x="16" y="168"/>
                    <a:pt x="20" y="176"/>
                  </a:cubicBezTo>
                  <a:cubicBezTo>
                    <a:pt x="23" y="185"/>
                    <a:pt x="13" y="189"/>
                    <a:pt x="13" y="190"/>
                  </a:cubicBezTo>
                  <a:cubicBezTo>
                    <a:pt x="13" y="190"/>
                    <a:pt x="14" y="196"/>
                    <a:pt x="15" y="199"/>
                  </a:cubicBezTo>
                  <a:cubicBezTo>
                    <a:pt x="21" y="200"/>
                    <a:pt x="29" y="200"/>
                    <a:pt x="30" y="201"/>
                  </a:cubicBezTo>
                  <a:cubicBezTo>
                    <a:pt x="32" y="202"/>
                    <a:pt x="42" y="201"/>
                    <a:pt x="44" y="202"/>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6" name="Freeform 1202"/>
            <p:cNvSpPr>
              <a:spLocks noChangeAspect="1"/>
            </p:cNvSpPr>
            <p:nvPr/>
          </p:nvSpPr>
          <p:spPr bwMode="auto">
            <a:xfrm>
              <a:off x="8979004" y="5960395"/>
              <a:ext cx="260917" cy="183965"/>
            </a:xfrm>
            <a:custGeom>
              <a:avLst/>
              <a:gdLst>
                <a:gd name="T0" fmla="*/ 573535356 w 70"/>
                <a:gd name="T1" fmla="*/ 333835664 h 66"/>
                <a:gd name="T2" fmla="*/ 573535356 w 70"/>
                <a:gd name="T3" fmla="*/ 217718794 h 66"/>
                <a:gd name="T4" fmla="*/ 600417628 w 70"/>
                <a:gd name="T5" fmla="*/ 94344452 h 66"/>
                <a:gd name="T6" fmla="*/ 483919802 w 70"/>
                <a:gd name="T7" fmla="*/ 7257473 h 66"/>
                <a:gd name="T8" fmla="*/ 421189513 w 70"/>
                <a:gd name="T9" fmla="*/ 65314561 h 66"/>
                <a:gd name="T10" fmla="*/ 295728934 w 70"/>
                <a:gd name="T11" fmla="*/ 0 h 66"/>
                <a:gd name="T12" fmla="*/ 125460579 w 70"/>
                <a:gd name="T13" fmla="*/ 72572033 h 66"/>
                <a:gd name="T14" fmla="*/ 35845024 w 70"/>
                <a:gd name="T15" fmla="*/ 72572033 h 66"/>
                <a:gd name="T16" fmla="*/ 26885265 w 70"/>
                <a:gd name="T17" fmla="*/ 79829506 h 66"/>
                <a:gd name="T18" fmla="*/ 98575314 w 70"/>
                <a:gd name="T19" fmla="*/ 181431430 h 66"/>
                <a:gd name="T20" fmla="*/ 152345844 w 70"/>
                <a:gd name="T21" fmla="*/ 239491212 h 66"/>
                <a:gd name="T22" fmla="*/ 125460579 w 70"/>
                <a:gd name="T23" fmla="*/ 312063245 h 66"/>
                <a:gd name="T24" fmla="*/ 170268356 w 70"/>
                <a:gd name="T25" fmla="*/ 326578191 h 66"/>
                <a:gd name="T26" fmla="*/ 179228115 w 70"/>
                <a:gd name="T27" fmla="*/ 384637973 h 66"/>
                <a:gd name="T28" fmla="*/ 215076133 w 70"/>
                <a:gd name="T29" fmla="*/ 413667864 h 66"/>
                <a:gd name="T30" fmla="*/ 224035892 w 70"/>
                <a:gd name="T31" fmla="*/ 457210006 h 66"/>
                <a:gd name="T32" fmla="*/ 250921157 w 70"/>
                <a:gd name="T33" fmla="*/ 478982424 h 66"/>
                <a:gd name="T34" fmla="*/ 573535356 w 70"/>
                <a:gd name="T35" fmla="*/ 333835664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0" h="66">
                  <a:moveTo>
                    <a:pt x="64" y="46"/>
                  </a:moveTo>
                  <a:cubicBezTo>
                    <a:pt x="65" y="42"/>
                    <a:pt x="62" y="35"/>
                    <a:pt x="64" y="30"/>
                  </a:cubicBezTo>
                  <a:cubicBezTo>
                    <a:pt x="66" y="25"/>
                    <a:pt x="70" y="17"/>
                    <a:pt x="67" y="13"/>
                  </a:cubicBezTo>
                  <a:cubicBezTo>
                    <a:pt x="65" y="10"/>
                    <a:pt x="59" y="5"/>
                    <a:pt x="54" y="1"/>
                  </a:cubicBezTo>
                  <a:cubicBezTo>
                    <a:pt x="50" y="1"/>
                    <a:pt x="48" y="8"/>
                    <a:pt x="47" y="9"/>
                  </a:cubicBezTo>
                  <a:cubicBezTo>
                    <a:pt x="46" y="10"/>
                    <a:pt x="34" y="0"/>
                    <a:pt x="33" y="0"/>
                  </a:cubicBezTo>
                  <a:cubicBezTo>
                    <a:pt x="32" y="0"/>
                    <a:pt x="17" y="9"/>
                    <a:pt x="14" y="10"/>
                  </a:cubicBezTo>
                  <a:cubicBezTo>
                    <a:pt x="13" y="11"/>
                    <a:pt x="8" y="11"/>
                    <a:pt x="4" y="10"/>
                  </a:cubicBezTo>
                  <a:cubicBezTo>
                    <a:pt x="4" y="11"/>
                    <a:pt x="3" y="11"/>
                    <a:pt x="3" y="11"/>
                  </a:cubicBezTo>
                  <a:cubicBezTo>
                    <a:pt x="0" y="15"/>
                    <a:pt x="8" y="21"/>
                    <a:pt x="11" y="25"/>
                  </a:cubicBezTo>
                  <a:cubicBezTo>
                    <a:pt x="13" y="28"/>
                    <a:pt x="18" y="32"/>
                    <a:pt x="17" y="33"/>
                  </a:cubicBezTo>
                  <a:cubicBezTo>
                    <a:pt x="17" y="34"/>
                    <a:pt x="14" y="43"/>
                    <a:pt x="14" y="43"/>
                  </a:cubicBezTo>
                  <a:cubicBezTo>
                    <a:pt x="14" y="43"/>
                    <a:pt x="18" y="45"/>
                    <a:pt x="19" y="45"/>
                  </a:cubicBezTo>
                  <a:cubicBezTo>
                    <a:pt x="19" y="46"/>
                    <a:pt x="20" y="49"/>
                    <a:pt x="20" y="53"/>
                  </a:cubicBezTo>
                  <a:cubicBezTo>
                    <a:pt x="21" y="57"/>
                    <a:pt x="24" y="57"/>
                    <a:pt x="24" y="57"/>
                  </a:cubicBezTo>
                  <a:cubicBezTo>
                    <a:pt x="24" y="57"/>
                    <a:pt x="27" y="61"/>
                    <a:pt x="25" y="63"/>
                  </a:cubicBezTo>
                  <a:cubicBezTo>
                    <a:pt x="24" y="64"/>
                    <a:pt x="26" y="65"/>
                    <a:pt x="28" y="66"/>
                  </a:cubicBezTo>
                  <a:cubicBezTo>
                    <a:pt x="39" y="62"/>
                    <a:pt x="63" y="49"/>
                    <a:pt x="64" y="46"/>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37" name="Freeform 1204"/>
            <p:cNvSpPr>
              <a:spLocks noChangeAspect="1"/>
            </p:cNvSpPr>
            <p:nvPr/>
          </p:nvSpPr>
          <p:spPr bwMode="auto">
            <a:xfrm>
              <a:off x="9714664" y="5244959"/>
              <a:ext cx="1804668" cy="1304186"/>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5" h="467">
                  <a:moveTo>
                    <a:pt x="471" y="66"/>
                  </a:moveTo>
                  <a:cubicBezTo>
                    <a:pt x="465" y="62"/>
                    <a:pt x="453" y="79"/>
                    <a:pt x="453" y="78"/>
                  </a:cubicBezTo>
                  <a:cubicBezTo>
                    <a:pt x="453" y="77"/>
                    <a:pt x="448" y="73"/>
                    <a:pt x="444" y="73"/>
                  </a:cubicBezTo>
                  <a:cubicBezTo>
                    <a:pt x="439" y="74"/>
                    <a:pt x="440" y="68"/>
                    <a:pt x="436" y="63"/>
                  </a:cubicBezTo>
                  <a:cubicBezTo>
                    <a:pt x="432" y="57"/>
                    <a:pt x="440" y="57"/>
                    <a:pt x="442" y="55"/>
                  </a:cubicBezTo>
                  <a:cubicBezTo>
                    <a:pt x="443" y="52"/>
                    <a:pt x="435" y="47"/>
                    <a:pt x="428" y="44"/>
                  </a:cubicBezTo>
                  <a:cubicBezTo>
                    <a:pt x="421" y="42"/>
                    <a:pt x="425" y="45"/>
                    <a:pt x="422" y="48"/>
                  </a:cubicBezTo>
                  <a:cubicBezTo>
                    <a:pt x="419" y="51"/>
                    <a:pt x="413" y="49"/>
                    <a:pt x="409" y="50"/>
                  </a:cubicBezTo>
                  <a:cubicBezTo>
                    <a:pt x="405" y="51"/>
                    <a:pt x="409" y="57"/>
                    <a:pt x="410" y="61"/>
                  </a:cubicBezTo>
                  <a:cubicBezTo>
                    <a:pt x="410" y="65"/>
                    <a:pt x="413" y="62"/>
                    <a:pt x="414" y="64"/>
                  </a:cubicBezTo>
                  <a:cubicBezTo>
                    <a:pt x="415" y="66"/>
                    <a:pt x="411" y="71"/>
                    <a:pt x="411" y="72"/>
                  </a:cubicBezTo>
                  <a:cubicBezTo>
                    <a:pt x="411" y="72"/>
                    <a:pt x="403" y="74"/>
                    <a:pt x="403" y="74"/>
                  </a:cubicBezTo>
                  <a:cubicBezTo>
                    <a:pt x="403" y="74"/>
                    <a:pt x="395" y="80"/>
                    <a:pt x="395" y="80"/>
                  </a:cubicBezTo>
                  <a:cubicBezTo>
                    <a:pt x="394" y="81"/>
                    <a:pt x="402" y="88"/>
                    <a:pt x="402" y="88"/>
                  </a:cubicBezTo>
                  <a:cubicBezTo>
                    <a:pt x="402" y="88"/>
                    <a:pt x="401" y="89"/>
                    <a:pt x="401" y="94"/>
                  </a:cubicBezTo>
                  <a:cubicBezTo>
                    <a:pt x="400" y="98"/>
                    <a:pt x="391" y="99"/>
                    <a:pt x="386" y="101"/>
                  </a:cubicBezTo>
                  <a:cubicBezTo>
                    <a:pt x="380" y="104"/>
                    <a:pt x="380" y="110"/>
                    <a:pt x="379" y="113"/>
                  </a:cubicBezTo>
                  <a:cubicBezTo>
                    <a:pt x="377" y="116"/>
                    <a:pt x="363" y="90"/>
                    <a:pt x="361" y="89"/>
                  </a:cubicBezTo>
                  <a:cubicBezTo>
                    <a:pt x="360" y="88"/>
                    <a:pt x="356" y="95"/>
                    <a:pt x="354" y="97"/>
                  </a:cubicBezTo>
                  <a:cubicBezTo>
                    <a:pt x="351" y="99"/>
                    <a:pt x="360" y="103"/>
                    <a:pt x="364" y="107"/>
                  </a:cubicBezTo>
                  <a:cubicBezTo>
                    <a:pt x="367" y="110"/>
                    <a:pt x="361" y="111"/>
                    <a:pt x="356" y="114"/>
                  </a:cubicBezTo>
                  <a:cubicBezTo>
                    <a:pt x="351" y="116"/>
                    <a:pt x="357" y="117"/>
                    <a:pt x="358" y="119"/>
                  </a:cubicBezTo>
                  <a:cubicBezTo>
                    <a:pt x="359" y="121"/>
                    <a:pt x="347" y="128"/>
                    <a:pt x="342" y="131"/>
                  </a:cubicBezTo>
                  <a:cubicBezTo>
                    <a:pt x="337" y="133"/>
                    <a:pt x="334" y="125"/>
                    <a:pt x="325" y="121"/>
                  </a:cubicBezTo>
                  <a:cubicBezTo>
                    <a:pt x="316" y="118"/>
                    <a:pt x="283" y="146"/>
                    <a:pt x="279" y="146"/>
                  </a:cubicBezTo>
                  <a:cubicBezTo>
                    <a:pt x="275" y="146"/>
                    <a:pt x="275" y="135"/>
                    <a:pt x="275" y="135"/>
                  </a:cubicBezTo>
                  <a:cubicBezTo>
                    <a:pt x="269" y="128"/>
                    <a:pt x="269" y="128"/>
                    <a:pt x="269" y="128"/>
                  </a:cubicBezTo>
                  <a:cubicBezTo>
                    <a:pt x="271" y="120"/>
                    <a:pt x="271" y="120"/>
                    <a:pt x="271" y="120"/>
                  </a:cubicBezTo>
                  <a:cubicBezTo>
                    <a:pt x="271" y="120"/>
                    <a:pt x="266" y="113"/>
                    <a:pt x="265" y="112"/>
                  </a:cubicBezTo>
                  <a:cubicBezTo>
                    <a:pt x="264" y="111"/>
                    <a:pt x="260" y="112"/>
                    <a:pt x="256" y="111"/>
                  </a:cubicBezTo>
                  <a:cubicBezTo>
                    <a:pt x="251" y="110"/>
                    <a:pt x="257" y="101"/>
                    <a:pt x="258" y="100"/>
                  </a:cubicBezTo>
                  <a:cubicBezTo>
                    <a:pt x="259" y="99"/>
                    <a:pt x="252" y="97"/>
                    <a:pt x="251" y="96"/>
                  </a:cubicBezTo>
                  <a:cubicBezTo>
                    <a:pt x="250" y="95"/>
                    <a:pt x="244" y="82"/>
                    <a:pt x="244" y="82"/>
                  </a:cubicBezTo>
                  <a:cubicBezTo>
                    <a:pt x="244" y="82"/>
                    <a:pt x="236" y="83"/>
                    <a:pt x="235" y="82"/>
                  </a:cubicBezTo>
                  <a:cubicBezTo>
                    <a:pt x="235" y="82"/>
                    <a:pt x="226" y="75"/>
                    <a:pt x="226" y="75"/>
                  </a:cubicBezTo>
                  <a:cubicBezTo>
                    <a:pt x="226" y="75"/>
                    <a:pt x="226" y="74"/>
                    <a:pt x="226" y="72"/>
                  </a:cubicBezTo>
                  <a:cubicBezTo>
                    <a:pt x="222" y="75"/>
                    <a:pt x="219" y="76"/>
                    <a:pt x="218" y="76"/>
                  </a:cubicBezTo>
                  <a:cubicBezTo>
                    <a:pt x="216" y="76"/>
                    <a:pt x="209" y="69"/>
                    <a:pt x="208" y="69"/>
                  </a:cubicBezTo>
                  <a:cubicBezTo>
                    <a:pt x="207" y="68"/>
                    <a:pt x="212" y="60"/>
                    <a:pt x="213" y="59"/>
                  </a:cubicBezTo>
                  <a:cubicBezTo>
                    <a:pt x="213" y="57"/>
                    <a:pt x="207" y="55"/>
                    <a:pt x="205" y="51"/>
                  </a:cubicBezTo>
                  <a:cubicBezTo>
                    <a:pt x="203" y="47"/>
                    <a:pt x="209" y="46"/>
                    <a:pt x="211" y="39"/>
                  </a:cubicBezTo>
                  <a:cubicBezTo>
                    <a:pt x="213" y="31"/>
                    <a:pt x="195" y="25"/>
                    <a:pt x="191" y="23"/>
                  </a:cubicBezTo>
                  <a:cubicBezTo>
                    <a:pt x="187" y="22"/>
                    <a:pt x="186" y="26"/>
                    <a:pt x="179" y="28"/>
                  </a:cubicBezTo>
                  <a:cubicBezTo>
                    <a:pt x="173" y="29"/>
                    <a:pt x="167" y="22"/>
                    <a:pt x="156" y="19"/>
                  </a:cubicBezTo>
                  <a:cubicBezTo>
                    <a:pt x="146" y="17"/>
                    <a:pt x="153" y="23"/>
                    <a:pt x="147" y="25"/>
                  </a:cubicBezTo>
                  <a:cubicBezTo>
                    <a:pt x="142" y="27"/>
                    <a:pt x="143" y="14"/>
                    <a:pt x="125" y="7"/>
                  </a:cubicBezTo>
                  <a:cubicBezTo>
                    <a:pt x="108" y="0"/>
                    <a:pt x="113" y="29"/>
                    <a:pt x="107" y="32"/>
                  </a:cubicBezTo>
                  <a:cubicBezTo>
                    <a:pt x="100" y="35"/>
                    <a:pt x="113" y="41"/>
                    <a:pt x="107" y="47"/>
                  </a:cubicBezTo>
                  <a:cubicBezTo>
                    <a:pt x="102" y="54"/>
                    <a:pt x="100" y="40"/>
                    <a:pt x="94" y="35"/>
                  </a:cubicBezTo>
                  <a:cubicBezTo>
                    <a:pt x="89" y="30"/>
                    <a:pt x="84" y="52"/>
                    <a:pt x="79" y="55"/>
                  </a:cubicBezTo>
                  <a:cubicBezTo>
                    <a:pt x="74" y="59"/>
                    <a:pt x="84" y="61"/>
                    <a:pt x="90" y="71"/>
                  </a:cubicBezTo>
                  <a:cubicBezTo>
                    <a:pt x="96" y="80"/>
                    <a:pt x="77" y="90"/>
                    <a:pt x="70" y="90"/>
                  </a:cubicBezTo>
                  <a:cubicBezTo>
                    <a:pt x="69" y="90"/>
                    <a:pt x="69" y="90"/>
                    <a:pt x="68" y="90"/>
                  </a:cubicBezTo>
                  <a:cubicBezTo>
                    <a:pt x="71" y="93"/>
                    <a:pt x="75" y="98"/>
                    <a:pt x="76" y="101"/>
                  </a:cubicBezTo>
                  <a:cubicBezTo>
                    <a:pt x="78" y="105"/>
                    <a:pt x="68" y="111"/>
                    <a:pt x="66" y="112"/>
                  </a:cubicBezTo>
                  <a:cubicBezTo>
                    <a:pt x="64" y="114"/>
                    <a:pt x="73" y="119"/>
                    <a:pt x="73" y="119"/>
                  </a:cubicBezTo>
                  <a:cubicBezTo>
                    <a:pt x="73" y="119"/>
                    <a:pt x="72" y="127"/>
                    <a:pt x="70" y="130"/>
                  </a:cubicBezTo>
                  <a:cubicBezTo>
                    <a:pt x="69" y="133"/>
                    <a:pt x="69" y="132"/>
                    <a:pt x="66" y="136"/>
                  </a:cubicBezTo>
                  <a:cubicBezTo>
                    <a:pt x="64" y="140"/>
                    <a:pt x="73" y="146"/>
                    <a:pt x="73" y="148"/>
                  </a:cubicBezTo>
                  <a:cubicBezTo>
                    <a:pt x="74" y="150"/>
                    <a:pt x="62" y="164"/>
                    <a:pt x="61" y="167"/>
                  </a:cubicBezTo>
                  <a:cubicBezTo>
                    <a:pt x="59" y="170"/>
                    <a:pt x="67" y="175"/>
                    <a:pt x="70" y="178"/>
                  </a:cubicBezTo>
                  <a:cubicBezTo>
                    <a:pt x="72" y="182"/>
                    <a:pt x="57" y="192"/>
                    <a:pt x="54" y="197"/>
                  </a:cubicBezTo>
                  <a:cubicBezTo>
                    <a:pt x="51" y="203"/>
                    <a:pt x="60" y="206"/>
                    <a:pt x="62" y="207"/>
                  </a:cubicBezTo>
                  <a:cubicBezTo>
                    <a:pt x="63" y="208"/>
                    <a:pt x="54" y="216"/>
                    <a:pt x="50" y="223"/>
                  </a:cubicBezTo>
                  <a:cubicBezTo>
                    <a:pt x="46" y="231"/>
                    <a:pt x="66" y="229"/>
                    <a:pt x="66" y="229"/>
                  </a:cubicBezTo>
                  <a:cubicBezTo>
                    <a:pt x="66" y="229"/>
                    <a:pt x="64" y="239"/>
                    <a:pt x="61" y="242"/>
                  </a:cubicBezTo>
                  <a:cubicBezTo>
                    <a:pt x="58" y="245"/>
                    <a:pt x="65" y="254"/>
                    <a:pt x="65" y="257"/>
                  </a:cubicBezTo>
                  <a:cubicBezTo>
                    <a:pt x="65" y="260"/>
                    <a:pt x="48" y="257"/>
                    <a:pt x="45" y="258"/>
                  </a:cubicBezTo>
                  <a:cubicBezTo>
                    <a:pt x="42" y="258"/>
                    <a:pt x="29" y="257"/>
                    <a:pt x="24" y="257"/>
                  </a:cubicBezTo>
                  <a:cubicBezTo>
                    <a:pt x="20" y="257"/>
                    <a:pt x="28" y="268"/>
                    <a:pt x="29" y="272"/>
                  </a:cubicBezTo>
                  <a:cubicBezTo>
                    <a:pt x="30" y="277"/>
                    <a:pt x="19" y="289"/>
                    <a:pt x="19" y="289"/>
                  </a:cubicBezTo>
                  <a:cubicBezTo>
                    <a:pt x="19" y="289"/>
                    <a:pt x="30" y="295"/>
                    <a:pt x="30" y="294"/>
                  </a:cubicBezTo>
                  <a:cubicBezTo>
                    <a:pt x="30" y="294"/>
                    <a:pt x="29" y="307"/>
                    <a:pt x="30" y="313"/>
                  </a:cubicBezTo>
                  <a:cubicBezTo>
                    <a:pt x="31" y="319"/>
                    <a:pt x="19" y="313"/>
                    <a:pt x="16" y="310"/>
                  </a:cubicBezTo>
                  <a:cubicBezTo>
                    <a:pt x="12" y="308"/>
                    <a:pt x="5" y="313"/>
                    <a:pt x="3" y="313"/>
                  </a:cubicBezTo>
                  <a:cubicBezTo>
                    <a:pt x="0" y="314"/>
                    <a:pt x="8" y="318"/>
                    <a:pt x="10" y="320"/>
                  </a:cubicBezTo>
                  <a:cubicBezTo>
                    <a:pt x="13" y="322"/>
                    <a:pt x="10" y="321"/>
                    <a:pt x="6" y="335"/>
                  </a:cubicBezTo>
                  <a:cubicBezTo>
                    <a:pt x="3" y="350"/>
                    <a:pt x="17" y="360"/>
                    <a:pt x="20" y="365"/>
                  </a:cubicBezTo>
                  <a:cubicBezTo>
                    <a:pt x="23" y="371"/>
                    <a:pt x="31" y="360"/>
                    <a:pt x="37" y="359"/>
                  </a:cubicBezTo>
                  <a:cubicBezTo>
                    <a:pt x="43" y="359"/>
                    <a:pt x="55" y="380"/>
                    <a:pt x="56" y="381"/>
                  </a:cubicBezTo>
                  <a:cubicBezTo>
                    <a:pt x="56" y="381"/>
                    <a:pt x="50" y="388"/>
                    <a:pt x="46" y="391"/>
                  </a:cubicBezTo>
                  <a:cubicBezTo>
                    <a:pt x="42" y="394"/>
                    <a:pt x="24" y="376"/>
                    <a:pt x="22" y="373"/>
                  </a:cubicBezTo>
                  <a:cubicBezTo>
                    <a:pt x="20" y="370"/>
                    <a:pt x="18" y="378"/>
                    <a:pt x="18" y="378"/>
                  </a:cubicBezTo>
                  <a:cubicBezTo>
                    <a:pt x="17" y="379"/>
                    <a:pt x="23" y="384"/>
                    <a:pt x="24" y="390"/>
                  </a:cubicBezTo>
                  <a:cubicBezTo>
                    <a:pt x="26" y="396"/>
                    <a:pt x="15" y="401"/>
                    <a:pt x="14" y="404"/>
                  </a:cubicBezTo>
                  <a:cubicBezTo>
                    <a:pt x="12" y="408"/>
                    <a:pt x="24" y="410"/>
                    <a:pt x="27" y="410"/>
                  </a:cubicBezTo>
                  <a:cubicBezTo>
                    <a:pt x="30" y="410"/>
                    <a:pt x="35" y="398"/>
                    <a:pt x="36" y="397"/>
                  </a:cubicBezTo>
                  <a:cubicBezTo>
                    <a:pt x="36" y="396"/>
                    <a:pt x="51" y="410"/>
                    <a:pt x="52" y="411"/>
                  </a:cubicBezTo>
                  <a:cubicBezTo>
                    <a:pt x="53" y="412"/>
                    <a:pt x="60" y="406"/>
                    <a:pt x="63" y="404"/>
                  </a:cubicBezTo>
                  <a:cubicBezTo>
                    <a:pt x="65" y="402"/>
                    <a:pt x="66" y="409"/>
                    <a:pt x="66" y="409"/>
                  </a:cubicBezTo>
                  <a:cubicBezTo>
                    <a:pt x="66" y="409"/>
                    <a:pt x="72" y="398"/>
                    <a:pt x="72" y="397"/>
                  </a:cubicBezTo>
                  <a:cubicBezTo>
                    <a:pt x="73" y="397"/>
                    <a:pt x="90" y="398"/>
                    <a:pt x="91" y="399"/>
                  </a:cubicBezTo>
                  <a:cubicBezTo>
                    <a:pt x="91" y="399"/>
                    <a:pt x="88" y="403"/>
                    <a:pt x="86" y="406"/>
                  </a:cubicBezTo>
                  <a:cubicBezTo>
                    <a:pt x="84" y="408"/>
                    <a:pt x="91" y="411"/>
                    <a:pt x="91" y="413"/>
                  </a:cubicBezTo>
                  <a:cubicBezTo>
                    <a:pt x="92" y="415"/>
                    <a:pt x="105" y="410"/>
                    <a:pt x="106" y="408"/>
                  </a:cubicBezTo>
                  <a:cubicBezTo>
                    <a:pt x="107" y="407"/>
                    <a:pt x="109" y="415"/>
                    <a:pt x="109" y="415"/>
                  </a:cubicBezTo>
                  <a:cubicBezTo>
                    <a:pt x="109" y="415"/>
                    <a:pt x="104" y="423"/>
                    <a:pt x="103" y="424"/>
                  </a:cubicBezTo>
                  <a:cubicBezTo>
                    <a:pt x="102" y="425"/>
                    <a:pt x="110" y="428"/>
                    <a:pt x="112" y="429"/>
                  </a:cubicBezTo>
                  <a:cubicBezTo>
                    <a:pt x="113" y="430"/>
                    <a:pt x="113" y="438"/>
                    <a:pt x="114" y="440"/>
                  </a:cubicBezTo>
                  <a:cubicBezTo>
                    <a:pt x="115" y="442"/>
                    <a:pt x="101" y="452"/>
                    <a:pt x="98" y="453"/>
                  </a:cubicBezTo>
                  <a:cubicBezTo>
                    <a:pt x="97" y="454"/>
                    <a:pt x="101" y="460"/>
                    <a:pt x="103" y="465"/>
                  </a:cubicBezTo>
                  <a:cubicBezTo>
                    <a:pt x="109" y="466"/>
                    <a:pt x="119" y="467"/>
                    <a:pt x="119" y="467"/>
                  </a:cubicBezTo>
                  <a:cubicBezTo>
                    <a:pt x="120" y="466"/>
                    <a:pt x="125" y="446"/>
                    <a:pt x="127" y="445"/>
                  </a:cubicBezTo>
                  <a:cubicBezTo>
                    <a:pt x="129" y="444"/>
                    <a:pt x="157" y="442"/>
                    <a:pt x="157" y="442"/>
                  </a:cubicBezTo>
                  <a:cubicBezTo>
                    <a:pt x="157" y="442"/>
                    <a:pt x="166" y="422"/>
                    <a:pt x="170" y="426"/>
                  </a:cubicBezTo>
                  <a:cubicBezTo>
                    <a:pt x="175" y="429"/>
                    <a:pt x="194" y="443"/>
                    <a:pt x="197" y="440"/>
                  </a:cubicBezTo>
                  <a:cubicBezTo>
                    <a:pt x="198" y="438"/>
                    <a:pt x="206" y="421"/>
                    <a:pt x="210" y="414"/>
                  </a:cubicBezTo>
                  <a:cubicBezTo>
                    <a:pt x="209" y="412"/>
                    <a:pt x="209" y="411"/>
                    <a:pt x="209" y="410"/>
                  </a:cubicBezTo>
                  <a:cubicBezTo>
                    <a:pt x="209" y="406"/>
                    <a:pt x="216" y="396"/>
                    <a:pt x="218" y="394"/>
                  </a:cubicBezTo>
                  <a:cubicBezTo>
                    <a:pt x="219" y="391"/>
                    <a:pt x="214" y="386"/>
                    <a:pt x="213" y="383"/>
                  </a:cubicBezTo>
                  <a:cubicBezTo>
                    <a:pt x="212" y="381"/>
                    <a:pt x="207" y="374"/>
                    <a:pt x="207" y="373"/>
                  </a:cubicBezTo>
                  <a:cubicBezTo>
                    <a:pt x="207" y="373"/>
                    <a:pt x="214" y="363"/>
                    <a:pt x="213" y="363"/>
                  </a:cubicBezTo>
                  <a:cubicBezTo>
                    <a:pt x="212" y="363"/>
                    <a:pt x="214" y="347"/>
                    <a:pt x="216" y="345"/>
                  </a:cubicBezTo>
                  <a:cubicBezTo>
                    <a:pt x="217" y="343"/>
                    <a:pt x="208" y="333"/>
                    <a:pt x="205" y="327"/>
                  </a:cubicBezTo>
                  <a:cubicBezTo>
                    <a:pt x="202" y="322"/>
                    <a:pt x="208" y="308"/>
                    <a:pt x="209" y="306"/>
                  </a:cubicBezTo>
                  <a:cubicBezTo>
                    <a:pt x="210" y="304"/>
                    <a:pt x="209" y="301"/>
                    <a:pt x="213" y="296"/>
                  </a:cubicBezTo>
                  <a:cubicBezTo>
                    <a:pt x="216" y="291"/>
                    <a:pt x="215" y="289"/>
                    <a:pt x="215" y="287"/>
                  </a:cubicBezTo>
                  <a:cubicBezTo>
                    <a:pt x="216" y="284"/>
                    <a:pt x="224" y="274"/>
                    <a:pt x="227" y="270"/>
                  </a:cubicBezTo>
                  <a:cubicBezTo>
                    <a:pt x="230" y="266"/>
                    <a:pt x="245" y="263"/>
                    <a:pt x="251" y="261"/>
                  </a:cubicBezTo>
                  <a:cubicBezTo>
                    <a:pt x="256" y="259"/>
                    <a:pt x="253" y="263"/>
                    <a:pt x="255" y="265"/>
                  </a:cubicBezTo>
                  <a:cubicBezTo>
                    <a:pt x="257" y="267"/>
                    <a:pt x="253" y="266"/>
                    <a:pt x="252" y="268"/>
                  </a:cubicBezTo>
                  <a:cubicBezTo>
                    <a:pt x="252" y="270"/>
                    <a:pt x="254" y="274"/>
                    <a:pt x="259" y="274"/>
                  </a:cubicBezTo>
                  <a:cubicBezTo>
                    <a:pt x="263" y="274"/>
                    <a:pt x="266" y="269"/>
                    <a:pt x="267" y="266"/>
                  </a:cubicBezTo>
                  <a:cubicBezTo>
                    <a:pt x="268" y="263"/>
                    <a:pt x="274" y="261"/>
                    <a:pt x="276" y="259"/>
                  </a:cubicBezTo>
                  <a:cubicBezTo>
                    <a:pt x="277" y="257"/>
                    <a:pt x="278" y="246"/>
                    <a:pt x="278" y="245"/>
                  </a:cubicBezTo>
                  <a:cubicBezTo>
                    <a:pt x="279" y="243"/>
                    <a:pt x="291" y="230"/>
                    <a:pt x="295" y="230"/>
                  </a:cubicBezTo>
                  <a:cubicBezTo>
                    <a:pt x="299" y="230"/>
                    <a:pt x="303" y="238"/>
                    <a:pt x="310" y="239"/>
                  </a:cubicBezTo>
                  <a:cubicBezTo>
                    <a:pt x="317" y="240"/>
                    <a:pt x="310" y="234"/>
                    <a:pt x="309" y="232"/>
                  </a:cubicBezTo>
                  <a:cubicBezTo>
                    <a:pt x="308" y="230"/>
                    <a:pt x="315" y="230"/>
                    <a:pt x="319" y="225"/>
                  </a:cubicBezTo>
                  <a:cubicBezTo>
                    <a:pt x="323" y="221"/>
                    <a:pt x="322" y="227"/>
                    <a:pt x="329" y="230"/>
                  </a:cubicBezTo>
                  <a:cubicBezTo>
                    <a:pt x="335" y="232"/>
                    <a:pt x="338" y="223"/>
                    <a:pt x="344" y="221"/>
                  </a:cubicBezTo>
                  <a:cubicBezTo>
                    <a:pt x="341" y="220"/>
                    <a:pt x="338" y="219"/>
                    <a:pt x="338" y="219"/>
                  </a:cubicBezTo>
                  <a:cubicBezTo>
                    <a:pt x="337" y="219"/>
                    <a:pt x="320" y="210"/>
                    <a:pt x="319" y="210"/>
                  </a:cubicBezTo>
                  <a:cubicBezTo>
                    <a:pt x="317" y="210"/>
                    <a:pt x="324" y="204"/>
                    <a:pt x="325" y="202"/>
                  </a:cubicBezTo>
                  <a:cubicBezTo>
                    <a:pt x="326" y="200"/>
                    <a:pt x="337" y="198"/>
                    <a:pt x="346" y="196"/>
                  </a:cubicBezTo>
                  <a:cubicBezTo>
                    <a:pt x="345" y="196"/>
                    <a:pt x="345" y="195"/>
                    <a:pt x="344" y="194"/>
                  </a:cubicBezTo>
                  <a:cubicBezTo>
                    <a:pt x="343" y="190"/>
                    <a:pt x="355" y="182"/>
                    <a:pt x="360" y="179"/>
                  </a:cubicBezTo>
                  <a:cubicBezTo>
                    <a:pt x="364" y="176"/>
                    <a:pt x="366" y="173"/>
                    <a:pt x="372" y="171"/>
                  </a:cubicBezTo>
                  <a:cubicBezTo>
                    <a:pt x="379" y="168"/>
                    <a:pt x="397" y="154"/>
                    <a:pt x="402" y="155"/>
                  </a:cubicBezTo>
                  <a:cubicBezTo>
                    <a:pt x="407" y="156"/>
                    <a:pt x="409" y="148"/>
                    <a:pt x="411" y="145"/>
                  </a:cubicBezTo>
                  <a:cubicBezTo>
                    <a:pt x="414" y="142"/>
                    <a:pt x="422" y="134"/>
                    <a:pt x="429" y="126"/>
                  </a:cubicBezTo>
                  <a:cubicBezTo>
                    <a:pt x="437" y="118"/>
                    <a:pt x="456" y="110"/>
                    <a:pt x="461" y="109"/>
                  </a:cubicBezTo>
                  <a:cubicBezTo>
                    <a:pt x="466" y="107"/>
                    <a:pt x="463" y="105"/>
                    <a:pt x="463" y="102"/>
                  </a:cubicBezTo>
                  <a:cubicBezTo>
                    <a:pt x="463" y="100"/>
                    <a:pt x="473" y="91"/>
                    <a:pt x="476" y="91"/>
                  </a:cubicBezTo>
                  <a:cubicBezTo>
                    <a:pt x="478" y="90"/>
                    <a:pt x="482" y="83"/>
                    <a:pt x="485" y="78"/>
                  </a:cubicBezTo>
                  <a:cubicBezTo>
                    <a:pt x="482" y="75"/>
                    <a:pt x="477" y="69"/>
                    <a:pt x="471" y="66"/>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8" name="Freeform 1206"/>
            <p:cNvSpPr>
              <a:spLocks noChangeAspect="1"/>
            </p:cNvSpPr>
            <p:nvPr/>
          </p:nvSpPr>
          <p:spPr bwMode="auto">
            <a:xfrm>
              <a:off x="10554037" y="4477049"/>
              <a:ext cx="853907" cy="1169497"/>
            </a:xfrm>
            <a:custGeom>
              <a:avLst/>
              <a:gdLst>
                <a:gd name="T0" fmla="*/ 75 w 229"/>
                <a:gd name="T1" fmla="*/ 380 h 419"/>
                <a:gd name="T2" fmla="*/ 94 w 229"/>
                <a:gd name="T3" fmla="*/ 355 h 419"/>
                <a:gd name="T4" fmla="*/ 115 w 229"/>
                <a:gd name="T5" fmla="*/ 331 h 419"/>
                <a:gd name="T6" fmla="*/ 112 w 229"/>
                <a:gd name="T7" fmla="*/ 318 h 419"/>
                <a:gd name="T8" fmla="*/ 102 w 229"/>
                <a:gd name="T9" fmla="*/ 297 h 419"/>
                <a:gd name="T10" fmla="*/ 88 w 229"/>
                <a:gd name="T11" fmla="*/ 271 h 419"/>
                <a:gd name="T12" fmla="*/ 110 w 229"/>
                <a:gd name="T13" fmla="*/ 273 h 419"/>
                <a:gd name="T14" fmla="*/ 133 w 229"/>
                <a:gd name="T15" fmla="*/ 288 h 419"/>
                <a:gd name="T16" fmla="*/ 143 w 229"/>
                <a:gd name="T17" fmla="*/ 265 h 419"/>
                <a:gd name="T18" fmla="*/ 125 w 229"/>
                <a:gd name="T19" fmla="*/ 262 h 419"/>
                <a:gd name="T20" fmla="*/ 131 w 229"/>
                <a:gd name="T21" fmla="*/ 243 h 419"/>
                <a:gd name="T22" fmla="*/ 121 w 229"/>
                <a:gd name="T23" fmla="*/ 213 h 419"/>
                <a:gd name="T24" fmla="*/ 165 w 229"/>
                <a:gd name="T25" fmla="*/ 198 h 419"/>
                <a:gd name="T26" fmla="*/ 190 w 229"/>
                <a:gd name="T27" fmla="*/ 164 h 419"/>
                <a:gd name="T28" fmla="*/ 194 w 229"/>
                <a:gd name="T29" fmla="*/ 127 h 419"/>
                <a:gd name="T30" fmla="*/ 219 w 229"/>
                <a:gd name="T31" fmla="*/ 89 h 419"/>
                <a:gd name="T32" fmla="*/ 218 w 229"/>
                <a:gd name="T33" fmla="*/ 62 h 419"/>
                <a:gd name="T34" fmla="*/ 217 w 229"/>
                <a:gd name="T35" fmla="*/ 27 h 419"/>
                <a:gd name="T36" fmla="*/ 202 w 229"/>
                <a:gd name="T37" fmla="*/ 36 h 419"/>
                <a:gd name="T38" fmla="*/ 188 w 229"/>
                <a:gd name="T39" fmla="*/ 9 h 419"/>
                <a:gd name="T40" fmla="*/ 179 w 229"/>
                <a:gd name="T41" fmla="*/ 1 h 419"/>
                <a:gd name="T42" fmla="*/ 160 w 229"/>
                <a:gd name="T43" fmla="*/ 18 h 419"/>
                <a:gd name="T44" fmla="*/ 154 w 229"/>
                <a:gd name="T45" fmla="*/ 20 h 419"/>
                <a:gd name="T46" fmla="*/ 106 w 229"/>
                <a:gd name="T47" fmla="*/ 57 h 419"/>
                <a:gd name="T48" fmla="*/ 62 w 229"/>
                <a:gd name="T49" fmla="*/ 56 h 419"/>
                <a:gd name="T50" fmla="*/ 45 w 229"/>
                <a:gd name="T51" fmla="*/ 113 h 419"/>
                <a:gd name="T52" fmla="*/ 7 w 229"/>
                <a:gd name="T53" fmla="*/ 164 h 419"/>
                <a:gd name="T54" fmla="*/ 22 w 229"/>
                <a:gd name="T55" fmla="*/ 180 h 419"/>
                <a:gd name="T56" fmla="*/ 10 w 229"/>
                <a:gd name="T57" fmla="*/ 202 h 419"/>
                <a:gd name="T58" fmla="*/ 17 w 229"/>
                <a:gd name="T59" fmla="*/ 233 h 419"/>
                <a:gd name="T60" fmla="*/ 29 w 229"/>
                <a:gd name="T61" fmla="*/ 264 h 419"/>
                <a:gd name="T62" fmla="*/ 13 w 229"/>
                <a:gd name="T63" fmla="*/ 283 h 419"/>
                <a:gd name="T64" fmla="*/ 43 w 229"/>
                <a:gd name="T65" fmla="*/ 300 h 419"/>
                <a:gd name="T66" fmla="*/ 19 w 229"/>
                <a:gd name="T67" fmla="*/ 308 h 419"/>
                <a:gd name="T68" fmla="*/ 10 w 229"/>
                <a:gd name="T69" fmla="*/ 331 h 419"/>
                <a:gd name="T70" fmla="*/ 1 w 229"/>
                <a:gd name="T71" fmla="*/ 348 h 419"/>
                <a:gd name="T72" fmla="*/ 19 w 229"/>
                <a:gd name="T73" fmla="*/ 355 h 419"/>
                <a:gd name="T74" fmla="*/ 33 w 229"/>
                <a:gd name="T75" fmla="*/ 373 h 419"/>
                <a:gd name="T76" fmla="*/ 40 w 229"/>
                <a:gd name="T77" fmla="*/ 385 h 419"/>
                <a:gd name="T78" fmla="*/ 44 w 229"/>
                <a:gd name="T79" fmla="*/ 401 h 419"/>
                <a:gd name="T80" fmla="*/ 54 w 229"/>
                <a:gd name="T81" fmla="*/ 419 h 419"/>
                <a:gd name="T82" fmla="*/ 64 w 229"/>
                <a:gd name="T83" fmla="*/ 40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 h="419">
                  <a:moveTo>
                    <a:pt x="64" y="401"/>
                  </a:moveTo>
                  <a:cubicBezTo>
                    <a:pt x="66" y="395"/>
                    <a:pt x="71" y="384"/>
                    <a:pt x="75" y="380"/>
                  </a:cubicBezTo>
                  <a:cubicBezTo>
                    <a:pt x="80" y="375"/>
                    <a:pt x="89" y="369"/>
                    <a:pt x="90" y="363"/>
                  </a:cubicBezTo>
                  <a:cubicBezTo>
                    <a:pt x="92" y="358"/>
                    <a:pt x="89" y="358"/>
                    <a:pt x="94" y="355"/>
                  </a:cubicBezTo>
                  <a:cubicBezTo>
                    <a:pt x="99" y="353"/>
                    <a:pt x="116" y="347"/>
                    <a:pt x="116" y="345"/>
                  </a:cubicBezTo>
                  <a:cubicBezTo>
                    <a:pt x="115" y="342"/>
                    <a:pt x="116" y="332"/>
                    <a:pt x="115" y="331"/>
                  </a:cubicBezTo>
                  <a:cubicBezTo>
                    <a:pt x="114" y="330"/>
                    <a:pt x="112" y="328"/>
                    <a:pt x="112" y="327"/>
                  </a:cubicBezTo>
                  <a:cubicBezTo>
                    <a:pt x="112" y="325"/>
                    <a:pt x="112" y="319"/>
                    <a:pt x="112" y="318"/>
                  </a:cubicBezTo>
                  <a:cubicBezTo>
                    <a:pt x="112" y="317"/>
                    <a:pt x="112" y="308"/>
                    <a:pt x="110" y="306"/>
                  </a:cubicBezTo>
                  <a:cubicBezTo>
                    <a:pt x="109" y="303"/>
                    <a:pt x="100" y="300"/>
                    <a:pt x="102" y="297"/>
                  </a:cubicBezTo>
                  <a:cubicBezTo>
                    <a:pt x="104" y="295"/>
                    <a:pt x="113" y="288"/>
                    <a:pt x="111" y="287"/>
                  </a:cubicBezTo>
                  <a:cubicBezTo>
                    <a:pt x="109" y="285"/>
                    <a:pt x="85" y="273"/>
                    <a:pt x="88" y="271"/>
                  </a:cubicBezTo>
                  <a:cubicBezTo>
                    <a:pt x="92" y="268"/>
                    <a:pt x="102" y="259"/>
                    <a:pt x="102" y="260"/>
                  </a:cubicBezTo>
                  <a:cubicBezTo>
                    <a:pt x="101" y="261"/>
                    <a:pt x="106" y="273"/>
                    <a:pt x="110" y="273"/>
                  </a:cubicBezTo>
                  <a:cubicBezTo>
                    <a:pt x="113" y="272"/>
                    <a:pt x="119" y="271"/>
                    <a:pt x="121" y="273"/>
                  </a:cubicBezTo>
                  <a:cubicBezTo>
                    <a:pt x="122" y="275"/>
                    <a:pt x="129" y="291"/>
                    <a:pt x="133" y="288"/>
                  </a:cubicBezTo>
                  <a:cubicBezTo>
                    <a:pt x="137" y="285"/>
                    <a:pt x="149" y="274"/>
                    <a:pt x="148" y="272"/>
                  </a:cubicBezTo>
                  <a:cubicBezTo>
                    <a:pt x="146" y="270"/>
                    <a:pt x="144" y="264"/>
                    <a:pt x="143" y="265"/>
                  </a:cubicBezTo>
                  <a:cubicBezTo>
                    <a:pt x="141" y="267"/>
                    <a:pt x="135" y="276"/>
                    <a:pt x="131" y="270"/>
                  </a:cubicBezTo>
                  <a:cubicBezTo>
                    <a:pt x="128" y="265"/>
                    <a:pt x="125" y="266"/>
                    <a:pt x="125" y="262"/>
                  </a:cubicBezTo>
                  <a:cubicBezTo>
                    <a:pt x="125" y="257"/>
                    <a:pt x="124" y="253"/>
                    <a:pt x="125" y="252"/>
                  </a:cubicBezTo>
                  <a:cubicBezTo>
                    <a:pt x="126" y="250"/>
                    <a:pt x="134" y="245"/>
                    <a:pt x="131" y="243"/>
                  </a:cubicBezTo>
                  <a:cubicBezTo>
                    <a:pt x="127" y="241"/>
                    <a:pt x="117" y="235"/>
                    <a:pt x="118" y="232"/>
                  </a:cubicBezTo>
                  <a:cubicBezTo>
                    <a:pt x="119" y="228"/>
                    <a:pt x="119" y="215"/>
                    <a:pt x="121" y="213"/>
                  </a:cubicBezTo>
                  <a:cubicBezTo>
                    <a:pt x="123" y="212"/>
                    <a:pt x="146" y="191"/>
                    <a:pt x="154" y="193"/>
                  </a:cubicBezTo>
                  <a:cubicBezTo>
                    <a:pt x="162" y="195"/>
                    <a:pt x="163" y="198"/>
                    <a:pt x="165" y="198"/>
                  </a:cubicBezTo>
                  <a:cubicBezTo>
                    <a:pt x="168" y="198"/>
                    <a:pt x="175" y="198"/>
                    <a:pt x="176" y="198"/>
                  </a:cubicBezTo>
                  <a:cubicBezTo>
                    <a:pt x="177" y="197"/>
                    <a:pt x="190" y="170"/>
                    <a:pt x="190" y="164"/>
                  </a:cubicBezTo>
                  <a:cubicBezTo>
                    <a:pt x="191" y="158"/>
                    <a:pt x="200" y="154"/>
                    <a:pt x="198" y="145"/>
                  </a:cubicBezTo>
                  <a:cubicBezTo>
                    <a:pt x="196" y="136"/>
                    <a:pt x="187" y="134"/>
                    <a:pt x="194" y="127"/>
                  </a:cubicBezTo>
                  <a:cubicBezTo>
                    <a:pt x="201" y="121"/>
                    <a:pt x="223" y="116"/>
                    <a:pt x="221" y="103"/>
                  </a:cubicBezTo>
                  <a:cubicBezTo>
                    <a:pt x="219" y="91"/>
                    <a:pt x="215" y="91"/>
                    <a:pt x="219" y="89"/>
                  </a:cubicBezTo>
                  <a:cubicBezTo>
                    <a:pt x="223" y="87"/>
                    <a:pt x="226" y="87"/>
                    <a:pt x="228" y="82"/>
                  </a:cubicBezTo>
                  <a:cubicBezTo>
                    <a:pt x="229" y="77"/>
                    <a:pt x="220" y="69"/>
                    <a:pt x="218" y="62"/>
                  </a:cubicBezTo>
                  <a:cubicBezTo>
                    <a:pt x="216" y="56"/>
                    <a:pt x="216" y="53"/>
                    <a:pt x="216" y="50"/>
                  </a:cubicBezTo>
                  <a:cubicBezTo>
                    <a:pt x="216" y="46"/>
                    <a:pt x="217" y="27"/>
                    <a:pt x="217" y="27"/>
                  </a:cubicBezTo>
                  <a:cubicBezTo>
                    <a:pt x="213" y="23"/>
                    <a:pt x="213" y="23"/>
                    <a:pt x="213" y="23"/>
                  </a:cubicBezTo>
                  <a:cubicBezTo>
                    <a:pt x="202" y="36"/>
                    <a:pt x="202" y="36"/>
                    <a:pt x="202" y="36"/>
                  </a:cubicBezTo>
                  <a:cubicBezTo>
                    <a:pt x="202" y="36"/>
                    <a:pt x="207" y="25"/>
                    <a:pt x="199" y="19"/>
                  </a:cubicBezTo>
                  <a:cubicBezTo>
                    <a:pt x="191" y="13"/>
                    <a:pt x="190" y="15"/>
                    <a:pt x="188" y="9"/>
                  </a:cubicBezTo>
                  <a:cubicBezTo>
                    <a:pt x="186" y="6"/>
                    <a:pt x="184" y="3"/>
                    <a:pt x="181" y="0"/>
                  </a:cubicBezTo>
                  <a:cubicBezTo>
                    <a:pt x="180" y="1"/>
                    <a:pt x="180" y="1"/>
                    <a:pt x="179" y="1"/>
                  </a:cubicBezTo>
                  <a:cubicBezTo>
                    <a:pt x="170" y="3"/>
                    <a:pt x="177" y="16"/>
                    <a:pt x="177" y="18"/>
                  </a:cubicBezTo>
                  <a:cubicBezTo>
                    <a:pt x="176" y="20"/>
                    <a:pt x="171" y="19"/>
                    <a:pt x="160" y="18"/>
                  </a:cubicBezTo>
                  <a:cubicBezTo>
                    <a:pt x="158" y="18"/>
                    <a:pt x="157" y="18"/>
                    <a:pt x="156" y="17"/>
                  </a:cubicBezTo>
                  <a:cubicBezTo>
                    <a:pt x="155" y="18"/>
                    <a:pt x="154" y="19"/>
                    <a:pt x="154" y="20"/>
                  </a:cubicBezTo>
                  <a:cubicBezTo>
                    <a:pt x="148" y="27"/>
                    <a:pt x="125" y="37"/>
                    <a:pt x="117" y="40"/>
                  </a:cubicBezTo>
                  <a:cubicBezTo>
                    <a:pt x="109" y="42"/>
                    <a:pt x="108" y="52"/>
                    <a:pt x="106" y="57"/>
                  </a:cubicBezTo>
                  <a:cubicBezTo>
                    <a:pt x="104" y="61"/>
                    <a:pt x="67" y="49"/>
                    <a:pt x="65" y="49"/>
                  </a:cubicBezTo>
                  <a:cubicBezTo>
                    <a:pt x="63" y="48"/>
                    <a:pt x="62" y="51"/>
                    <a:pt x="62" y="56"/>
                  </a:cubicBezTo>
                  <a:cubicBezTo>
                    <a:pt x="61" y="60"/>
                    <a:pt x="82" y="76"/>
                    <a:pt x="85" y="79"/>
                  </a:cubicBezTo>
                  <a:cubicBezTo>
                    <a:pt x="88" y="83"/>
                    <a:pt x="55" y="104"/>
                    <a:pt x="45" y="113"/>
                  </a:cubicBezTo>
                  <a:cubicBezTo>
                    <a:pt x="34" y="122"/>
                    <a:pt x="8" y="163"/>
                    <a:pt x="8" y="163"/>
                  </a:cubicBezTo>
                  <a:cubicBezTo>
                    <a:pt x="7" y="163"/>
                    <a:pt x="7" y="164"/>
                    <a:pt x="7" y="164"/>
                  </a:cubicBezTo>
                  <a:cubicBezTo>
                    <a:pt x="12" y="173"/>
                    <a:pt x="11" y="186"/>
                    <a:pt x="11" y="188"/>
                  </a:cubicBezTo>
                  <a:cubicBezTo>
                    <a:pt x="11" y="190"/>
                    <a:pt x="20" y="182"/>
                    <a:pt x="22" y="180"/>
                  </a:cubicBezTo>
                  <a:cubicBezTo>
                    <a:pt x="24" y="179"/>
                    <a:pt x="25" y="183"/>
                    <a:pt x="27" y="183"/>
                  </a:cubicBezTo>
                  <a:cubicBezTo>
                    <a:pt x="29" y="184"/>
                    <a:pt x="12" y="201"/>
                    <a:pt x="10" y="202"/>
                  </a:cubicBezTo>
                  <a:cubicBezTo>
                    <a:pt x="8" y="204"/>
                    <a:pt x="23" y="219"/>
                    <a:pt x="23" y="220"/>
                  </a:cubicBezTo>
                  <a:cubicBezTo>
                    <a:pt x="24" y="222"/>
                    <a:pt x="22" y="228"/>
                    <a:pt x="17" y="233"/>
                  </a:cubicBezTo>
                  <a:cubicBezTo>
                    <a:pt x="12" y="239"/>
                    <a:pt x="27" y="250"/>
                    <a:pt x="27" y="250"/>
                  </a:cubicBezTo>
                  <a:cubicBezTo>
                    <a:pt x="27" y="250"/>
                    <a:pt x="29" y="264"/>
                    <a:pt x="29" y="264"/>
                  </a:cubicBezTo>
                  <a:cubicBezTo>
                    <a:pt x="30" y="264"/>
                    <a:pt x="14" y="274"/>
                    <a:pt x="11" y="276"/>
                  </a:cubicBezTo>
                  <a:cubicBezTo>
                    <a:pt x="8" y="278"/>
                    <a:pt x="12" y="279"/>
                    <a:pt x="13" y="283"/>
                  </a:cubicBezTo>
                  <a:cubicBezTo>
                    <a:pt x="15" y="288"/>
                    <a:pt x="27" y="285"/>
                    <a:pt x="27" y="285"/>
                  </a:cubicBezTo>
                  <a:cubicBezTo>
                    <a:pt x="27" y="285"/>
                    <a:pt x="42" y="292"/>
                    <a:pt x="43" y="300"/>
                  </a:cubicBezTo>
                  <a:cubicBezTo>
                    <a:pt x="44" y="308"/>
                    <a:pt x="42" y="314"/>
                    <a:pt x="39" y="320"/>
                  </a:cubicBezTo>
                  <a:cubicBezTo>
                    <a:pt x="36" y="326"/>
                    <a:pt x="24" y="311"/>
                    <a:pt x="19" y="308"/>
                  </a:cubicBezTo>
                  <a:cubicBezTo>
                    <a:pt x="13" y="306"/>
                    <a:pt x="11" y="309"/>
                    <a:pt x="5" y="310"/>
                  </a:cubicBezTo>
                  <a:cubicBezTo>
                    <a:pt x="0" y="311"/>
                    <a:pt x="6" y="325"/>
                    <a:pt x="10" y="331"/>
                  </a:cubicBezTo>
                  <a:cubicBezTo>
                    <a:pt x="13" y="335"/>
                    <a:pt x="6" y="342"/>
                    <a:pt x="1" y="345"/>
                  </a:cubicBezTo>
                  <a:cubicBezTo>
                    <a:pt x="1" y="347"/>
                    <a:pt x="1" y="348"/>
                    <a:pt x="1" y="348"/>
                  </a:cubicBezTo>
                  <a:cubicBezTo>
                    <a:pt x="1" y="348"/>
                    <a:pt x="10" y="355"/>
                    <a:pt x="10" y="355"/>
                  </a:cubicBezTo>
                  <a:cubicBezTo>
                    <a:pt x="11" y="356"/>
                    <a:pt x="19" y="355"/>
                    <a:pt x="19" y="355"/>
                  </a:cubicBezTo>
                  <a:cubicBezTo>
                    <a:pt x="19" y="355"/>
                    <a:pt x="25" y="368"/>
                    <a:pt x="26" y="369"/>
                  </a:cubicBezTo>
                  <a:cubicBezTo>
                    <a:pt x="27" y="370"/>
                    <a:pt x="34" y="372"/>
                    <a:pt x="33" y="373"/>
                  </a:cubicBezTo>
                  <a:cubicBezTo>
                    <a:pt x="32" y="374"/>
                    <a:pt x="26" y="383"/>
                    <a:pt x="31" y="384"/>
                  </a:cubicBezTo>
                  <a:cubicBezTo>
                    <a:pt x="35" y="385"/>
                    <a:pt x="39" y="384"/>
                    <a:pt x="40" y="385"/>
                  </a:cubicBezTo>
                  <a:cubicBezTo>
                    <a:pt x="41" y="386"/>
                    <a:pt x="46" y="393"/>
                    <a:pt x="46" y="393"/>
                  </a:cubicBezTo>
                  <a:cubicBezTo>
                    <a:pt x="44" y="401"/>
                    <a:pt x="44" y="401"/>
                    <a:pt x="44" y="401"/>
                  </a:cubicBezTo>
                  <a:cubicBezTo>
                    <a:pt x="50" y="408"/>
                    <a:pt x="50" y="408"/>
                    <a:pt x="50" y="408"/>
                  </a:cubicBezTo>
                  <a:cubicBezTo>
                    <a:pt x="50" y="408"/>
                    <a:pt x="50" y="419"/>
                    <a:pt x="54" y="419"/>
                  </a:cubicBezTo>
                  <a:cubicBezTo>
                    <a:pt x="55" y="419"/>
                    <a:pt x="59" y="417"/>
                    <a:pt x="64" y="413"/>
                  </a:cubicBezTo>
                  <a:cubicBezTo>
                    <a:pt x="64" y="409"/>
                    <a:pt x="63" y="405"/>
                    <a:pt x="64" y="401"/>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39" name="Freeform 1207"/>
            <p:cNvSpPr>
              <a:spLocks noChangeAspect="1"/>
            </p:cNvSpPr>
            <p:nvPr/>
          </p:nvSpPr>
          <p:spPr bwMode="auto">
            <a:xfrm>
              <a:off x="10788203" y="4758691"/>
              <a:ext cx="1348067" cy="873838"/>
            </a:xfrm>
            <a:custGeom>
              <a:avLst/>
              <a:gdLst>
                <a:gd name="T0" fmla="*/ 286 w 362"/>
                <a:gd name="T1" fmla="*/ 12 h 313"/>
                <a:gd name="T2" fmla="*/ 274 w 362"/>
                <a:gd name="T3" fmla="*/ 16 h 313"/>
                <a:gd name="T4" fmla="*/ 264 w 362"/>
                <a:gd name="T5" fmla="*/ 41 h 313"/>
                <a:gd name="T6" fmla="*/ 235 w 362"/>
                <a:gd name="T7" fmla="*/ 28 h 313"/>
                <a:gd name="T8" fmla="*/ 216 w 362"/>
                <a:gd name="T9" fmla="*/ 32 h 313"/>
                <a:gd name="T10" fmla="*/ 184 w 362"/>
                <a:gd name="T11" fmla="*/ 16 h 313"/>
                <a:gd name="T12" fmla="*/ 131 w 362"/>
                <a:gd name="T13" fmla="*/ 27 h 313"/>
                <a:gd name="T14" fmla="*/ 127 w 362"/>
                <a:gd name="T15" fmla="*/ 64 h 313"/>
                <a:gd name="T16" fmla="*/ 102 w 362"/>
                <a:gd name="T17" fmla="*/ 98 h 313"/>
                <a:gd name="T18" fmla="*/ 58 w 362"/>
                <a:gd name="T19" fmla="*/ 113 h 313"/>
                <a:gd name="T20" fmla="*/ 68 w 362"/>
                <a:gd name="T21" fmla="*/ 143 h 313"/>
                <a:gd name="T22" fmla="*/ 62 w 362"/>
                <a:gd name="T23" fmla="*/ 162 h 313"/>
                <a:gd name="T24" fmla="*/ 80 w 362"/>
                <a:gd name="T25" fmla="*/ 165 h 313"/>
                <a:gd name="T26" fmla="*/ 70 w 362"/>
                <a:gd name="T27" fmla="*/ 188 h 313"/>
                <a:gd name="T28" fmla="*/ 47 w 362"/>
                <a:gd name="T29" fmla="*/ 173 h 313"/>
                <a:gd name="T30" fmla="*/ 25 w 362"/>
                <a:gd name="T31" fmla="*/ 171 h 313"/>
                <a:gd name="T32" fmla="*/ 39 w 362"/>
                <a:gd name="T33" fmla="*/ 197 h 313"/>
                <a:gd name="T34" fmla="*/ 49 w 362"/>
                <a:gd name="T35" fmla="*/ 218 h 313"/>
                <a:gd name="T36" fmla="*/ 52 w 362"/>
                <a:gd name="T37" fmla="*/ 231 h 313"/>
                <a:gd name="T38" fmla="*/ 31 w 362"/>
                <a:gd name="T39" fmla="*/ 255 h 313"/>
                <a:gd name="T40" fmla="*/ 12 w 362"/>
                <a:gd name="T41" fmla="*/ 280 h 313"/>
                <a:gd name="T42" fmla="*/ 1 w 362"/>
                <a:gd name="T43" fmla="*/ 313 h 313"/>
                <a:gd name="T44" fmla="*/ 54 w 362"/>
                <a:gd name="T45" fmla="*/ 304 h 313"/>
                <a:gd name="T46" fmla="*/ 68 w 362"/>
                <a:gd name="T47" fmla="*/ 287 h 313"/>
                <a:gd name="T48" fmla="*/ 66 w 362"/>
                <a:gd name="T49" fmla="*/ 270 h 313"/>
                <a:gd name="T50" fmla="*/ 91 w 362"/>
                <a:gd name="T51" fmla="*/ 286 h 313"/>
                <a:gd name="T52" fmla="*/ 113 w 362"/>
                <a:gd name="T53" fmla="*/ 267 h 313"/>
                <a:gd name="T54" fmla="*/ 107 w 362"/>
                <a:gd name="T55" fmla="*/ 253 h 313"/>
                <a:gd name="T56" fmla="*/ 123 w 362"/>
                <a:gd name="T57" fmla="*/ 245 h 313"/>
                <a:gd name="T58" fmla="*/ 122 w 362"/>
                <a:gd name="T59" fmla="*/ 234 h 313"/>
                <a:gd name="T60" fmla="*/ 134 w 362"/>
                <a:gd name="T61" fmla="*/ 221 h 313"/>
                <a:gd name="T62" fmla="*/ 154 w 362"/>
                <a:gd name="T63" fmla="*/ 228 h 313"/>
                <a:gd name="T64" fmla="*/ 156 w 362"/>
                <a:gd name="T65" fmla="*/ 246 h 313"/>
                <a:gd name="T66" fmla="*/ 183 w 362"/>
                <a:gd name="T67" fmla="*/ 239 h 313"/>
                <a:gd name="T68" fmla="*/ 201 w 362"/>
                <a:gd name="T69" fmla="*/ 245 h 313"/>
                <a:gd name="T70" fmla="*/ 251 w 362"/>
                <a:gd name="T71" fmla="*/ 195 h 313"/>
                <a:gd name="T72" fmla="*/ 244 w 362"/>
                <a:gd name="T73" fmla="*/ 190 h 313"/>
                <a:gd name="T74" fmla="*/ 242 w 362"/>
                <a:gd name="T75" fmla="*/ 183 h 313"/>
                <a:gd name="T76" fmla="*/ 261 w 362"/>
                <a:gd name="T77" fmla="*/ 188 h 313"/>
                <a:gd name="T78" fmla="*/ 318 w 362"/>
                <a:gd name="T79" fmla="*/ 157 h 313"/>
                <a:gd name="T80" fmla="*/ 332 w 362"/>
                <a:gd name="T81" fmla="*/ 137 h 313"/>
                <a:gd name="T82" fmla="*/ 345 w 362"/>
                <a:gd name="T83" fmla="*/ 115 h 313"/>
                <a:gd name="T84" fmla="*/ 353 w 362"/>
                <a:gd name="T85" fmla="*/ 68 h 313"/>
                <a:gd name="T86" fmla="*/ 333 w 362"/>
                <a:gd name="T87" fmla="*/ 4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2" h="313">
                  <a:moveTo>
                    <a:pt x="305" y="13"/>
                  </a:moveTo>
                  <a:cubicBezTo>
                    <a:pt x="304" y="13"/>
                    <a:pt x="286" y="12"/>
                    <a:pt x="286" y="12"/>
                  </a:cubicBezTo>
                  <a:cubicBezTo>
                    <a:pt x="286" y="12"/>
                    <a:pt x="278" y="0"/>
                    <a:pt x="272" y="0"/>
                  </a:cubicBezTo>
                  <a:cubicBezTo>
                    <a:pt x="267" y="0"/>
                    <a:pt x="274" y="16"/>
                    <a:pt x="274" y="16"/>
                  </a:cubicBezTo>
                  <a:cubicBezTo>
                    <a:pt x="274" y="16"/>
                    <a:pt x="270" y="20"/>
                    <a:pt x="270" y="23"/>
                  </a:cubicBezTo>
                  <a:cubicBezTo>
                    <a:pt x="269" y="26"/>
                    <a:pt x="270" y="37"/>
                    <a:pt x="264" y="41"/>
                  </a:cubicBezTo>
                  <a:cubicBezTo>
                    <a:pt x="259" y="45"/>
                    <a:pt x="260" y="32"/>
                    <a:pt x="260" y="31"/>
                  </a:cubicBezTo>
                  <a:cubicBezTo>
                    <a:pt x="260" y="30"/>
                    <a:pt x="235" y="28"/>
                    <a:pt x="235" y="28"/>
                  </a:cubicBezTo>
                  <a:cubicBezTo>
                    <a:pt x="229" y="41"/>
                    <a:pt x="229" y="41"/>
                    <a:pt x="229" y="41"/>
                  </a:cubicBezTo>
                  <a:cubicBezTo>
                    <a:pt x="216" y="32"/>
                    <a:pt x="216" y="32"/>
                    <a:pt x="216" y="32"/>
                  </a:cubicBezTo>
                  <a:cubicBezTo>
                    <a:pt x="216" y="32"/>
                    <a:pt x="217" y="7"/>
                    <a:pt x="217" y="4"/>
                  </a:cubicBezTo>
                  <a:cubicBezTo>
                    <a:pt x="216" y="1"/>
                    <a:pt x="186" y="16"/>
                    <a:pt x="184" y="16"/>
                  </a:cubicBezTo>
                  <a:cubicBezTo>
                    <a:pt x="183" y="17"/>
                    <a:pt x="167" y="8"/>
                    <a:pt x="158" y="4"/>
                  </a:cubicBezTo>
                  <a:cubicBezTo>
                    <a:pt x="159" y="16"/>
                    <a:pt x="138" y="21"/>
                    <a:pt x="131" y="27"/>
                  </a:cubicBezTo>
                  <a:cubicBezTo>
                    <a:pt x="124" y="34"/>
                    <a:pt x="133" y="36"/>
                    <a:pt x="135" y="45"/>
                  </a:cubicBezTo>
                  <a:cubicBezTo>
                    <a:pt x="137" y="54"/>
                    <a:pt x="128" y="58"/>
                    <a:pt x="127" y="64"/>
                  </a:cubicBezTo>
                  <a:cubicBezTo>
                    <a:pt x="127" y="70"/>
                    <a:pt x="114" y="97"/>
                    <a:pt x="113" y="98"/>
                  </a:cubicBezTo>
                  <a:cubicBezTo>
                    <a:pt x="112" y="98"/>
                    <a:pt x="105" y="98"/>
                    <a:pt x="102" y="98"/>
                  </a:cubicBezTo>
                  <a:cubicBezTo>
                    <a:pt x="100" y="98"/>
                    <a:pt x="99" y="95"/>
                    <a:pt x="91" y="93"/>
                  </a:cubicBezTo>
                  <a:cubicBezTo>
                    <a:pt x="83" y="91"/>
                    <a:pt x="60" y="112"/>
                    <a:pt x="58" y="113"/>
                  </a:cubicBezTo>
                  <a:cubicBezTo>
                    <a:pt x="56" y="115"/>
                    <a:pt x="56" y="128"/>
                    <a:pt x="55" y="132"/>
                  </a:cubicBezTo>
                  <a:cubicBezTo>
                    <a:pt x="54" y="135"/>
                    <a:pt x="64" y="141"/>
                    <a:pt x="68" y="143"/>
                  </a:cubicBezTo>
                  <a:cubicBezTo>
                    <a:pt x="71" y="145"/>
                    <a:pt x="63" y="150"/>
                    <a:pt x="62" y="152"/>
                  </a:cubicBezTo>
                  <a:cubicBezTo>
                    <a:pt x="61" y="153"/>
                    <a:pt x="62" y="157"/>
                    <a:pt x="62" y="162"/>
                  </a:cubicBezTo>
                  <a:cubicBezTo>
                    <a:pt x="62" y="166"/>
                    <a:pt x="65" y="165"/>
                    <a:pt x="68" y="170"/>
                  </a:cubicBezTo>
                  <a:cubicBezTo>
                    <a:pt x="72" y="176"/>
                    <a:pt x="78" y="167"/>
                    <a:pt x="80" y="165"/>
                  </a:cubicBezTo>
                  <a:cubicBezTo>
                    <a:pt x="81" y="164"/>
                    <a:pt x="83" y="170"/>
                    <a:pt x="85" y="172"/>
                  </a:cubicBezTo>
                  <a:cubicBezTo>
                    <a:pt x="86" y="174"/>
                    <a:pt x="74" y="185"/>
                    <a:pt x="70" y="188"/>
                  </a:cubicBezTo>
                  <a:cubicBezTo>
                    <a:pt x="66" y="191"/>
                    <a:pt x="59" y="175"/>
                    <a:pt x="58" y="173"/>
                  </a:cubicBezTo>
                  <a:cubicBezTo>
                    <a:pt x="56" y="171"/>
                    <a:pt x="50" y="172"/>
                    <a:pt x="47" y="173"/>
                  </a:cubicBezTo>
                  <a:cubicBezTo>
                    <a:pt x="43" y="173"/>
                    <a:pt x="38" y="161"/>
                    <a:pt x="39" y="160"/>
                  </a:cubicBezTo>
                  <a:cubicBezTo>
                    <a:pt x="39" y="159"/>
                    <a:pt x="29" y="168"/>
                    <a:pt x="25" y="171"/>
                  </a:cubicBezTo>
                  <a:cubicBezTo>
                    <a:pt x="22" y="173"/>
                    <a:pt x="46" y="185"/>
                    <a:pt x="48" y="187"/>
                  </a:cubicBezTo>
                  <a:cubicBezTo>
                    <a:pt x="50" y="188"/>
                    <a:pt x="41" y="195"/>
                    <a:pt x="39" y="197"/>
                  </a:cubicBezTo>
                  <a:cubicBezTo>
                    <a:pt x="37" y="200"/>
                    <a:pt x="46" y="203"/>
                    <a:pt x="47" y="206"/>
                  </a:cubicBezTo>
                  <a:cubicBezTo>
                    <a:pt x="49" y="208"/>
                    <a:pt x="49" y="217"/>
                    <a:pt x="49" y="218"/>
                  </a:cubicBezTo>
                  <a:cubicBezTo>
                    <a:pt x="49" y="219"/>
                    <a:pt x="49" y="225"/>
                    <a:pt x="49" y="227"/>
                  </a:cubicBezTo>
                  <a:cubicBezTo>
                    <a:pt x="49" y="228"/>
                    <a:pt x="51" y="230"/>
                    <a:pt x="52" y="231"/>
                  </a:cubicBezTo>
                  <a:cubicBezTo>
                    <a:pt x="53" y="232"/>
                    <a:pt x="52" y="242"/>
                    <a:pt x="53" y="245"/>
                  </a:cubicBezTo>
                  <a:cubicBezTo>
                    <a:pt x="53" y="247"/>
                    <a:pt x="36" y="253"/>
                    <a:pt x="31" y="255"/>
                  </a:cubicBezTo>
                  <a:cubicBezTo>
                    <a:pt x="26" y="258"/>
                    <a:pt x="29" y="258"/>
                    <a:pt x="27" y="263"/>
                  </a:cubicBezTo>
                  <a:cubicBezTo>
                    <a:pt x="26" y="269"/>
                    <a:pt x="17" y="275"/>
                    <a:pt x="12" y="280"/>
                  </a:cubicBezTo>
                  <a:cubicBezTo>
                    <a:pt x="8" y="284"/>
                    <a:pt x="3" y="295"/>
                    <a:pt x="1" y="301"/>
                  </a:cubicBezTo>
                  <a:cubicBezTo>
                    <a:pt x="0" y="305"/>
                    <a:pt x="1" y="309"/>
                    <a:pt x="1" y="313"/>
                  </a:cubicBezTo>
                  <a:cubicBezTo>
                    <a:pt x="13" y="305"/>
                    <a:pt x="31" y="292"/>
                    <a:pt x="37" y="294"/>
                  </a:cubicBezTo>
                  <a:cubicBezTo>
                    <a:pt x="46" y="298"/>
                    <a:pt x="49" y="306"/>
                    <a:pt x="54" y="304"/>
                  </a:cubicBezTo>
                  <a:cubicBezTo>
                    <a:pt x="59" y="301"/>
                    <a:pt x="71" y="294"/>
                    <a:pt x="70" y="292"/>
                  </a:cubicBezTo>
                  <a:cubicBezTo>
                    <a:pt x="69" y="290"/>
                    <a:pt x="63" y="289"/>
                    <a:pt x="68" y="287"/>
                  </a:cubicBezTo>
                  <a:cubicBezTo>
                    <a:pt x="73" y="284"/>
                    <a:pt x="79" y="283"/>
                    <a:pt x="76" y="280"/>
                  </a:cubicBezTo>
                  <a:cubicBezTo>
                    <a:pt x="72" y="276"/>
                    <a:pt x="63" y="272"/>
                    <a:pt x="66" y="270"/>
                  </a:cubicBezTo>
                  <a:cubicBezTo>
                    <a:pt x="68" y="268"/>
                    <a:pt x="72" y="261"/>
                    <a:pt x="73" y="262"/>
                  </a:cubicBezTo>
                  <a:cubicBezTo>
                    <a:pt x="75" y="263"/>
                    <a:pt x="89" y="289"/>
                    <a:pt x="91" y="286"/>
                  </a:cubicBezTo>
                  <a:cubicBezTo>
                    <a:pt x="92" y="283"/>
                    <a:pt x="92" y="277"/>
                    <a:pt x="98" y="274"/>
                  </a:cubicBezTo>
                  <a:cubicBezTo>
                    <a:pt x="103" y="272"/>
                    <a:pt x="112" y="271"/>
                    <a:pt x="113" y="267"/>
                  </a:cubicBezTo>
                  <a:cubicBezTo>
                    <a:pt x="113" y="262"/>
                    <a:pt x="114" y="261"/>
                    <a:pt x="114" y="261"/>
                  </a:cubicBezTo>
                  <a:cubicBezTo>
                    <a:pt x="114" y="261"/>
                    <a:pt x="106" y="254"/>
                    <a:pt x="107" y="253"/>
                  </a:cubicBezTo>
                  <a:cubicBezTo>
                    <a:pt x="107" y="253"/>
                    <a:pt x="115" y="247"/>
                    <a:pt x="115" y="247"/>
                  </a:cubicBezTo>
                  <a:cubicBezTo>
                    <a:pt x="115" y="247"/>
                    <a:pt x="123" y="245"/>
                    <a:pt x="123" y="245"/>
                  </a:cubicBezTo>
                  <a:cubicBezTo>
                    <a:pt x="123" y="244"/>
                    <a:pt x="127" y="239"/>
                    <a:pt x="126" y="237"/>
                  </a:cubicBezTo>
                  <a:cubicBezTo>
                    <a:pt x="125" y="235"/>
                    <a:pt x="122" y="238"/>
                    <a:pt x="122" y="234"/>
                  </a:cubicBezTo>
                  <a:cubicBezTo>
                    <a:pt x="121" y="230"/>
                    <a:pt x="117" y="224"/>
                    <a:pt x="121" y="223"/>
                  </a:cubicBezTo>
                  <a:cubicBezTo>
                    <a:pt x="125" y="222"/>
                    <a:pt x="131" y="224"/>
                    <a:pt x="134" y="221"/>
                  </a:cubicBezTo>
                  <a:cubicBezTo>
                    <a:pt x="137" y="218"/>
                    <a:pt x="133" y="215"/>
                    <a:pt x="140" y="217"/>
                  </a:cubicBezTo>
                  <a:cubicBezTo>
                    <a:pt x="147" y="220"/>
                    <a:pt x="155" y="225"/>
                    <a:pt x="154" y="228"/>
                  </a:cubicBezTo>
                  <a:cubicBezTo>
                    <a:pt x="152" y="230"/>
                    <a:pt x="144" y="230"/>
                    <a:pt x="148" y="236"/>
                  </a:cubicBezTo>
                  <a:cubicBezTo>
                    <a:pt x="152" y="241"/>
                    <a:pt x="151" y="247"/>
                    <a:pt x="156" y="246"/>
                  </a:cubicBezTo>
                  <a:cubicBezTo>
                    <a:pt x="160" y="246"/>
                    <a:pt x="165" y="250"/>
                    <a:pt x="165" y="251"/>
                  </a:cubicBezTo>
                  <a:cubicBezTo>
                    <a:pt x="165" y="252"/>
                    <a:pt x="177" y="235"/>
                    <a:pt x="183" y="239"/>
                  </a:cubicBezTo>
                  <a:cubicBezTo>
                    <a:pt x="189" y="242"/>
                    <a:pt x="194" y="248"/>
                    <a:pt x="197" y="251"/>
                  </a:cubicBezTo>
                  <a:cubicBezTo>
                    <a:pt x="199" y="249"/>
                    <a:pt x="200" y="246"/>
                    <a:pt x="201" y="245"/>
                  </a:cubicBezTo>
                  <a:cubicBezTo>
                    <a:pt x="203" y="242"/>
                    <a:pt x="225" y="216"/>
                    <a:pt x="227" y="212"/>
                  </a:cubicBezTo>
                  <a:cubicBezTo>
                    <a:pt x="229" y="207"/>
                    <a:pt x="247" y="198"/>
                    <a:pt x="251" y="195"/>
                  </a:cubicBezTo>
                  <a:cubicBezTo>
                    <a:pt x="256" y="193"/>
                    <a:pt x="255" y="189"/>
                    <a:pt x="255" y="187"/>
                  </a:cubicBezTo>
                  <a:cubicBezTo>
                    <a:pt x="256" y="186"/>
                    <a:pt x="245" y="190"/>
                    <a:pt x="244" y="190"/>
                  </a:cubicBezTo>
                  <a:cubicBezTo>
                    <a:pt x="243" y="190"/>
                    <a:pt x="238" y="195"/>
                    <a:pt x="236" y="195"/>
                  </a:cubicBezTo>
                  <a:cubicBezTo>
                    <a:pt x="234" y="196"/>
                    <a:pt x="238" y="188"/>
                    <a:pt x="242" y="183"/>
                  </a:cubicBezTo>
                  <a:cubicBezTo>
                    <a:pt x="247" y="177"/>
                    <a:pt x="254" y="175"/>
                    <a:pt x="261" y="176"/>
                  </a:cubicBezTo>
                  <a:cubicBezTo>
                    <a:pt x="268" y="177"/>
                    <a:pt x="258" y="185"/>
                    <a:pt x="261" y="188"/>
                  </a:cubicBezTo>
                  <a:cubicBezTo>
                    <a:pt x="263" y="192"/>
                    <a:pt x="310" y="170"/>
                    <a:pt x="317" y="167"/>
                  </a:cubicBezTo>
                  <a:cubicBezTo>
                    <a:pt x="323" y="165"/>
                    <a:pt x="317" y="159"/>
                    <a:pt x="318" y="157"/>
                  </a:cubicBezTo>
                  <a:cubicBezTo>
                    <a:pt x="320" y="154"/>
                    <a:pt x="330" y="148"/>
                    <a:pt x="334" y="146"/>
                  </a:cubicBezTo>
                  <a:cubicBezTo>
                    <a:pt x="338" y="144"/>
                    <a:pt x="333" y="142"/>
                    <a:pt x="332" y="137"/>
                  </a:cubicBezTo>
                  <a:cubicBezTo>
                    <a:pt x="332" y="132"/>
                    <a:pt x="347" y="123"/>
                    <a:pt x="347" y="122"/>
                  </a:cubicBezTo>
                  <a:cubicBezTo>
                    <a:pt x="348" y="122"/>
                    <a:pt x="347" y="118"/>
                    <a:pt x="345" y="115"/>
                  </a:cubicBezTo>
                  <a:cubicBezTo>
                    <a:pt x="344" y="111"/>
                    <a:pt x="337" y="97"/>
                    <a:pt x="337" y="91"/>
                  </a:cubicBezTo>
                  <a:cubicBezTo>
                    <a:pt x="338" y="85"/>
                    <a:pt x="346" y="75"/>
                    <a:pt x="353" y="68"/>
                  </a:cubicBezTo>
                  <a:cubicBezTo>
                    <a:pt x="356" y="66"/>
                    <a:pt x="359" y="64"/>
                    <a:pt x="362" y="63"/>
                  </a:cubicBezTo>
                  <a:cubicBezTo>
                    <a:pt x="356" y="58"/>
                    <a:pt x="344" y="48"/>
                    <a:pt x="333" y="44"/>
                  </a:cubicBezTo>
                  <a:cubicBezTo>
                    <a:pt x="316" y="38"/>
                    <a:pt x="305" y="13"/>
                    <a:pt x="305" y="13"/>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0" name="Freeform 1208"/>
            <p:cNvSpPr>
              <a:spLocks noChangeAspect="1"/>
            </p:cNvSpPr>
            <p:nvPr/>
          </p:nvSpPr>
          <p:spPr bwMode="auto">
            <a:xfrm>
              <a:off x="11228073" y="4231433"/>
              <a:ext cx="956693" cy="652094"/>
            </a:xfrm>
            <a:custGeom>
              <a:avLst/>
              <a:gdLst>
                <a:gd name="T0" fmla="*/ 1810649790 w 256"/>
                <a:gd name="T1" fmla="*/ 1448646674 h 233"/>
                <a:gd name="T2" fmla="*/ 1531393583 w 256"/>
                <a:gd name="T3" fmla="*/ 1236470153 h 233"/>
                <a:gd name="T4" fmla="*/ 1522386480 w 256"/>
                <a:gd name="T5" fmla="*/ 1090144037 h 233"/>
                <a:gd name="T6" fmla="*/ 1360237618 w 256"/>
                <a:gd name="T7" fmla="*/ 1075510614 h 233"/>
                <a:gd name="T8" fmla="*/ 1360237618 w 256"/>
                <a:gd name="T9" fmla="*/ 1031613050 h 233"/>
                <a:gd name="T10" fmla="*/ 1252140377 w 256"/>
                <a:gd name="T11" fmla="*/ 1016979627 h 233"/>
                <a:gd name="T12" fmla="*/ 1333213307 w 256"/>
                <a:gd name="T13" fmla="*/ 892600940 h 233"/>
                <a:gd name="T14" fmla="*/ 1486355067 w 256"/>
                <a:gd name="T15" fmla="*/ 834069953 h 233"/>
                <a:gd name="T16" fmla="*/ 1558420894 w 256"/>
                <a:gd name="T17" fmla="*/ 929181793 h 233"/>
                <a:gd name="T18" fmla="*/ 1684535342 w 256"/>
                <a:gd name="T19" fmla="*/ 790169683 h 233"/>
                <a:gd name="T20" fmla="*/ 1864698410 w 256"/>
                <a:gd name="T21" fmla="*/ 797486395 h 233"/>
                <a:gd name="T22" fmla="*/ 1864698410 w 256"/>
                <a:gd name="T23" fmla="*/ 651160279 h 233"/>
                <a:gd name="T24" fmla="*/ 2147483647 w 256"/>
                <a:gd name="T25" fmla="*/ 607260009 h 233"/>
                <a:gd name="T26" fmla="*/ 2147483647 w 256"/>
                <a:gd name="T27" fmla="*/ 512148169 h 233"/>
                <a:gd name="T28" fmla="*/ 2147483647 w 256"/>
                <a:gd name="T29" fmla="*/ 417033624 h 233"/>
                <a:gd name="T30" fmla="*/ 2147483647 w 256"/>
                <a:gd name="T31" fmla="*/ 204859809 h 233"/>
                <a:gd name="T32" fmla="*/ 2147483647 w 256"/>
                <a:gd name="T33" fmla="*/ 0 h 233"/>
                <a:gd name="T34" fmla="*/ 2134944513 w 256"/>
                <a:gd name="T35" fmla="*/ 7316712 h 233"/>
                <a:gd name="T36" fmla="*/ 1891722721 w 256"/>
                <a:gd name="T37" fmla="*/ 124378686 h 233"/>
                <a:gd name="T38" fmla="*/ 1873705513 w 256"/>
                <a:gd name="T39" fmla="*/ 351185925 h 233"/>
                <a:gd name="T40" fmla="*/ 1675525238 w 256"/>
                <a:gd name="T41" fmla="*/ 460933893 h 233"/>
                <a:gd name="T42" fmla="*/ 1414289239 w 256"/>
                <a:gd name="T43" fmla="*/ 365819348 h 233"/>
                <a:gd name="T44" fmla="*/ 1261147480 w 256"/>
                <a:gd name="T45" fmla="*/ 380452771 h 233"/>
                <a:gd name="T46" fmla="*/ 936852757 w 256"/>
                <a:gd name="T47" fmla="*/ 512148169 h 233"/>
                <a:gd name="T48" fmla="*/ 666606654 w 256"/>
                <a:gd name="T49" fmla="*/ 504831458 h 233"/>
                <a:gd name="T50" fmla="*/ 576526620 w 256"/>
                <a:gd name="T51" fmla="*/ 585312580 h 233"/>
                <a:gd name="T52" fmla="*/ 324294723 w 256"/>
                <a:gd name="T53" fmla="*/ 526781592 h 233"/>
                <a:gd name="T54" fmla="*/ 198180275 w 256"/>
                <a:gd name="T55" fmla="*/ 519464881 h 233"/>
                <a:gd name="T56" fmla="*/ 63058725 w 256"/>
                <a:gd name="T57" fmla="*/ 504831458 h 233"/>
                <a:gd name="T58" fmla="*/ 63058725 w 256"/>
                <a:gd name="T59" fmla="*/ 512148169 h 233"/>
                <a:gd name="T60" fmla="*/ 0 w 256"/>
                <a:gd name="T61" fmla="*/ 643843567 h 233"/>
                <a:gd name="T62" fmla="*/ 63058725 w 256"/>
                <a:gd name="T63" fmla="*/ 709691266 h 233"/>
                <a:gd name="T64" fmla="*/ 162148862 w 256"/>
                <a:gd name="T65" fmla="*/ 782855677 h 233"/>
                <a:gd name="T66" fmla="*/ 189173172 w 256"/>
                <a:gd name="T67" fmla="*/ 907234363 h 233"/>
                <a:gd name="T68" fmla="*/ 288263310 w 256"/>
                <a:gd name="T69" fmla="*/ 812119818 h 233"/>
                <a:gd name="T70" fmla="*/ 324294723 w 256"/>
                <a:gd name="T71" fmla="*/ 841386664 h 233"/>
                <a:gd name="T72" fmla="*/ 315287620 w 256"/>
                <a:gd name="T73" fmla="*/ 1009662915 h 233"/>
                <a:gd name="T74" fmla="*/ 333304828 w 256"/>
                <a:gd name="T75" fmla="*/ 1097460749 h 233"/>
                <a:gd name="T76" fmla="*/ 423384861 w 256"/>
                <a:gd name="T77" fmla="*/ 1243786865 h 233"/>
                <a:gd name="T78" fmla="*/ 342311930 w 256"/>
                <a:gd name="T79" fmla="*/ 1295001141 h 233"/>
                <a:gd name="T80" fmla="*/ 360329138 w 256"/>
                <a:gd name="T81" fmla="*/ 1397432398 h 233"/>
                <a:gd name="T82" fmla="*/ 360329138 w 256"/>
                <a:gd name="T83" fmla="*/ 1404749109 h 233"/>
                <a:gd name="T84" fmla="*/ 594540826 w 256"/>
                <a:gd name="T85" fmla="*/ 1492544238 h 233"/>
                <a:gd name="T86" fmla="*/ 891811239 w 256"/>
                <a:gd name="T87" fmla="*/ 1404749109 h 233"/>
                <a:gd name="T88" fmla="*/ 882804136 w 256"/>
                <a:gd name="T89" fmla="*/ 1609608918 h 233"/>
                <a:gd name="T90" fmla="*/ 999911481 w 256"/>
                <a:gd name="T91" fmla="*/ 1675453912 h 233"/>
                <a:gd name="T92" fmla="*/ 1053960102 w 256"/>
                <a:gd name="T93" fmla="*/ 1580342072 h 233"/>
                <a:gd name="T94" fmla="*/ 1279164687 w 256"/>
                <a:gd name="T95" fmla="*/ 1602292206 h 233"/>
                <a:gd name="T96" fmla="*/ 1315199102 w 256"/>
                <a:gd name="T97" fmla="*/ 1675453912 h 233"/>
                <a:gd name="T98" fmla="*/ 1369247722 w 256"/>
                <a:gd name="T99" fmla="*/ 1543761219 h 233"/>
                <a:gd name="T100" fmla="*/ 1405279135 w 256"/>
                <a:gd name="T101" fmla="*/ 1492544238 h 233"/>
                <a:gd name="T102" fmla="*/ 1387264929 w 256"/>
                <a:gd name="T103" fmla="*/ 1375482263 h 233"/>
                <a:gd name="T104" fmla="*/ 1513379377 w 256"/>
                <a:gd name="T105" fmla="*/ 1463280097 h 233"/>
                <a:gd name="T106" fmla="*/ 1684535342 w 256"/>
                <a:gd name="T107" fmla="*/ 1470596808 h 233"/>
                <a:gd name="T108" fmla="*/ 1711559652 w 256"/>
                <a:gd name="T109" fmla="*/ 1507177661 h 233"/>
                <a:gd name="T110" fmla="*/ 1810649790 w 256"/>
                <a:gd name="T111" fmla="*/ 1448646674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 h="233">
                  <a:moveTo>
                    <a:pt x="201" y="198"/>
                  </a:moveTo>
                  <a:cubicBezTo>
                    <a:pt x="197" y="190"/>
                    <a:pt x="173" y="182"/>
                    <a:pt x="170" y="169"/>
                  </a:cubicBezTo>
                  <a:cubicBezTo>
                    <a:pt x="167" y="155"/>
                    <a:pt x="169" y="149"/>
                    <a:pt x="169" y="149"/>
                  </a:cubicBezTo>
                  <a:cubicBezTo>
                    <a:pt x="151" y="147"/>
                    <a:pt x="151" y="147"/>
                    <a:pt x="151" y="147"/>
                  </a:cubicBezTo>
                  <a:cubicBezTo>
                    <a:pt x="151" y="147"/>
                    <a:pt x="152" y="141"/>
                    <a:pt x="151" y="141"/>
                  </a:cubicBezTo>
                  <a:cubicBezTo>
                    <a:pt x="150" y="141"/>
                    <a:pt x="140" y="144"/>
                    <a:pt x="139" y="139"/>
                  </a:cubicBezTo>
                  <a:cubicBezTo>
                    <a:pt x="138" y="135"/>
                    <a:pt x="143" y="125"/>
                    <a:pt x="148" y="122"/>
                  </a:cubicBezTo>
                  <a:cubicBezTo>
                    <a:pt x="153" y="119"/>
                    <a:pt x="165" y="113"/>
                    <a:pt x="165" y="114"/>
                  </a:cubicBezTo>
                  <a:cubicBezTo>
                    <a:pt x="165" y="115"/>
                    <a:pt x="167" y="131"/>
                    <a:pt x="173" y="127"/>
                  </a:cubicBezTo>
                  <a:cubicBezTo>
                    <a:pt x="180" y="123"/>
                    <a:pt x="187" y="108"/>
                    <a:pt x="187" y="108"/>
                  </a:cubicBezTo>
                  <a:cubicBezTo>
                    <a:pt x="187" y="108"/>
                    <a:pt x="208" y="110"/>
                    <a:pt x="207" y="109"/>
                  </a:cubicBezTo>
                  <a:cubicBezTo>
                    <a:pt x="206" y="108"/>
                    <a:pt x="204" y="90"/>
                    <a:pt x="207" y="89"/>
                  </a:cubicBezTo>
                  <a:cubicBezTo>
                    <a:pt x="209" y="88"/>
                    <a:pt x="242" y="93"/>
                    <a:pt x="242" y="83"/>
                  </a:cubicBezTo>
                  <a:cubicBezTo>
                    <a:pt x="243" y="72"/>
                    <a:pt x="238" y="74"/>
                    <a:pt x="243" y="70"/>
                  </a:cubicBezTo>
                  <a:cubicBezTo>
                    <a:pt x="247" y="66"/>
                    <a:pt x="256" y="63"/>
                    <a:pt x="255" y="57"/>
                  </a:cubicBezTo>
                  <a:cubicBezTo>
                    <a:pt x="253" y="52"/>
                    <a:pt x="256" y="48"/>
                    <a:pt x="254" y="28"/>
                  </a:cubicBezTo>
                  <a:cubicBezTo>
                    <a:pt x="253" y="17"/>
                    <a:pt x="247" y="6"/>
                    <a:pt x="241" y="0"/>
                  </a:cubicBezTo>
                  <a:cubicBezTo>
                    <a:pt x="240" y="0"/>
                    <a:pt x="239" y="1"/>
                    <a:pt x="237" y="1"/>
                  </a:cubicBezTo>
                  <a:cubicBezTo>
                    <a:pt x="225" y="5"/>
                    <a:pt x="215" y="16"/>
                    <a:pt x="210" y="17"/>
                  </a:cubicBezTo>
                  <a:cubicBezTo>
                    <a:pt x="204" y="17"/>
                    <a:pt x="208" y="46"/>
                    <a:pt x="208" y="48"/>
                  </a:cubicBezTo>
                  <a:cubicBezTo>
                    <a:pt x="207" y="50"/>
                    <a:pt x="194" y="58"/>
                    <a:pt x="186" y="63"/>
                  </a:cubicBezTo>
                  <a:cubicBezTo>
                    <a:pt x="178" y="69"/>
                    <a:pt x="161" y="53"/>
                    <a:pt x="157" y="50"/>
                  </a:cubicBezTo>
                  <a:cubicBezTo>
                    <a:pt x="153" y="47"/>
                    <a:pt x="154" y="50"/>
                    <a:pt x="140" y="52"/>
                  </a:cubicBezTo>
                  <a:cubicBezTo>
                    <a:pt x="127" y="54"/>
                    <a:pt x="108" y="69"/>
                    <a:pt x="104" y="70"/>
                  </a:cubicBezTo>
                  <a:cubicBezTo>
                    <a:pt x="99" y="71"/>
                    <a:pt x="84" y="69"/>
                    <a:pt x="74" y="69"/>
                  </a:cubicBezTo>
                  <a:cubicBezTo>
                    <a:pt x="65" y="69"/>
                    <a:pt x="67" y="76"/>
                    <a:pt x="64" y="80"/>
                  </a:cubicBezTo>
                  <a:cubicBezTo>
                    <a:pt x="60" y="84"/>
                    <a:pt x="39" y="72"/>
                    <a:pt x="36" y="72"/>
                  </a:cubicBezTo>
                  <a:cubicBezTo>
                    <a:pt x="34" y="71"/>
                    <a:pt x="24" y="72"/>
                    <a:pt x="22" y="71"/>
                  </a:cubicBezTo>
                  <a:cubicBezTo>
                    <a:pt x="21" y="70"/>
                    <a:pt x="13" y="70"/>
                    <a:pt x="7" y="69"/>
                  </a:cubicBezTo>
                  <a:cubicBezTo>
                    <a:pt x="7" y="69"/>
                    <a:pt x="7" y="70"/>
                    <a:pt x="7" y="70"/>
                  </a:cubicBezTo>
                  <a:cubicBezTo>
                    <a:pt x="8" y="71"/>
                    <a:pt x="7" y="85"/>
                    <a:pt x="0" y="88"/>
                  </a:cubicBezTo>
                  <a:cubicBezTo>
                    <a:pt x="3" y="91"/>
                    <a:pt x="5" y="94"/>
                    <a:pt x="7" y="97"/>
                  </a:cubicBezTo>
                  <a:cubicBezTo>
                    <a:pt x="9" y="103"/>
                    <a:pt x="10" y="101"/>
                    <a:pt x="18" y="107"/>
                  </a:cubicBezTo>
                  <a:cubicBezTo>
                    <a:pt x="26" y="113"/>
                    <a:pt x="21" y="124"/>
                    <a:pt x="21" y="124"/>
                  </a:cubicBezTo>
                  <a:cubicBezTo>
                    <a:pt x="32" y="111"/>
                    <a:pt x="32" y="111"/>
                    <a:pt x="32" y="111"/>
                  </a:cubicBezTo>
                  <a:cubicBezTo>
                    <a:pt x="36" y="115"/>
                    <a:pt x="36" y="115"/>
                    <a:pt x="36" y="115"/>
                  </a:cubicBezTo>
                  <a:cubicBezTo>
                    <a:pt x="36" y="115"/>
                    <a:pt x="35" y="134"/>
                    <a:pt x="35" y="138"/>
                  </a:cubicBezTo>
                  <a:cubicBezTo>
                    <a:pt x="35" y="141"/>
                    <a:pt x="35" y="144"/>
                    <a:pt x="37" y="150"/>
                  </a:cubicBezTo>
                  <a:cubicBezTo>
                    <a:pt x="39" y="157"/>
                    <a:pt x="48" y="165"/>
                    <a:pt x="47" y="170"/>
                  </a:cubicBezTo>
                  <a:cubicBezTo>
                    <a:pt x="45" y="175"/>
                    <a:pt x="42" y="175"/>
                    <a:pt x="38" y="177"/>
                  </a:cubicBezTo>
                  <a:cubicBezTo>
                    <a:pt x="34" y="179"/>
                    <a:pt x="38" y="179"/>
                    <a:pt x="40" y="191"/>
                  </a:cubicBezTo>
                  <a:cubicBezTo>
                    <a:pt x="40" y="191"/>
                    <a:pt x="40" y="192"/>
                    <a:pt x="40" y="192"/>
                  </a:cubicBezTo>
                  <a:cubicBezTo>
                    <a:pt x="49" y="196"/>
                    <a:pt x="65" y="205"/>
                    <a:pt x="66" y="204"/>
                  </a:cubicBezTo>
                  <a:cubicBezTo>
                    <a:pt x="68" y="204"/>
                    <a:pt x="98" y="189"/>
                    <a:pt x="99" y="192"/>
                  </a:cubicBezTo>
                  <a:cubicBezTo>
                    <a:pt x="99" y="195"/>
                    <a:pt x="98" y="220"/>
                    <a:pt x="98" y="220"/>
                  </a:cubicBezTo>
                  <a:cubicBezTo>
                    <a:pt x="111" y="229"/>
                    <a:pt x="111" y="229"/>
                    <a:pt x="111" y="229"/>
                  </a:cubicBezTo>
                  <a:cubicBezTo>
                    <a:pt x="117" y="216"/>
                    <a:pt x="117" y="216"/>
                    <a:pt x="117" y="216"/>
                  </a:cubicBezTo>
                  <a:cubicBezTo>
                    <a:pt x="117" y="216"/>
                    <a:pt x="142" y="218"/>
                    <a:pt x="142" y="219"/>
                  </a:cubicBezTo>
                  <a:cubicBezTo>
                    <a:pt x="142" y="220"/>
                    <a:pt x="141" y="233"/>
                    <a:pt x="146" y="229"/>
                  </a:cubicBezTo>
                  <a:cubicBezTo>
                    <a:pt x="152" y="225"/>
                    <a:pt x="151" y="214"/>
                    <a:pt x="152" y="211"/>
                  </a:cubicBezTo>
                  <a:cubicBezTo>
                    <a:pt x="152" y="208"/>
                    <a:pt x="156" y="204"/>
                    <a:pt x="156" y="204"/>
                  </a:cubicBezTo>
                  <a:cubicBezTo>
                    <a:pt x="156" y="204"/>
                    <a:pt x="149" y="188"/>
                    <a:pt x="154" y="188"/>
                  </a:cubicBezTo>
                  <a:cubicBezTo>
                    <a:pt x="160" y="188"/>
                    <a:pt x="168" y="200"/>
                    <a:pt x="168" y="200"/>
                  </a:cubicBezTo>
                  <a:cubicBezTo>
                    <a:pt x="168" y="200"/>
                    <a:pt x="186" y="201"/>
                    <a:pt x="187" y="201"/>
                  </a:cubicBezTo>
                  <a:cubicBezTo>
                    <a:pt x="187" y="201"/>
                    <a:pt x="188" y="203"/>
                    <a:pt x="190" y="206"/>
                  </a:cubicBezTo>
                  <a:cubicBezTo>
                    <a:pt x="195" y="206"/>
                    <a:pt x="204" y="205"/>
                    <a:pt x="201" y="198"/>
                  </a:cubicBezTo>
                  <a:close/>
                </a:path>
              </a:pathLst>
            </a:custGeom>
            <a:solidFill>
              <a:srgbClr val="92D05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41" name="Freeform 1209"/>
            <p:cNvSpPr>
              <a:spLocks noChangeAspect="1"/>
            </p:cNvSpPr>
            <p:nvPr/>
          </p:nvSpPr>
          <p:spPr bwMode="auto">
            <a:xfrm>
              <a:off x="12257899" y="3756735"/>
              <a:ext cx="162084" cy="180682"/>
            </a:xfrm>
            <a:custGeom>
              <a:avLst/>
              <a:gdLst>
                <a:gd name="T0" fmla="*/ 61271006 w 44"/>
                <a:gd name="T1" fmla="*/ 433048508 h 65"/>
                <a:gd name="T2" fmla="*/ 140044632 w 44"/>
                <a:gd name="T3" fmla="*/ 425832465 h 65"/>
                <a:gd name="T4" fmla="*/ 236326795 w 44"/>
                <a:gd name="T5" fmla="*/ 461918050 h 65"/>
                <a:gd name="T6" fmla="*/ 262586643 w 44"/>
                <a:gd name="T7" fmla="*/ 411397694 h 65"/>
                <a:gd name="T8" fmla="*/ 332608959 w 44"/>
                <a:gd name="T9" fmla="*/ 346439881 h 65"/>
                <a:gd name="T10" fmla="*/ 376371427 w 44"/>
                <a:gd name="T11" fmla="*/ 353655923 h 65"/>
                <a:gd name="T12" fmla="*/ 385125696 w 44"/>
                <a:gd name="T13" fmla="*/ 288700796 h 65"/>
                <a:gd name="T14" fmla="*/ 280092222 w 44"/>
                <a:gd name="T15" fmla="*/ 36088271 h 65"/>
                <a:gd name="T16" fmla="*/ 43765427 w 44"/>
                <a:gd name="T17" fmla="*/ 79392585 h 65"/>
                <a:gd name="T18" fmla="*/ 8754269 w 44"/>
                <a:gd name="T19" fmla="*/ 259828567 h 65"/>
                <a:gd name="T20" fmla="*/ 17505579 w 44"/>
                <a:gd name="T21" fmla="*/ 339221152 h 65"/>
                <a:gd name="T22" fmla="*/ 61271006 w 44"/>
                <a:gd name="T23" fmla="*/ 433048508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 h="65">
                  <a:moveTo>
                    <a:pt x="7" y="60"/>
                  </a:moveTo>
                  <a:cubicBezTo>
                    <a:pt x="9" y="60"/>
                    <a:pt x="16" y="59"/>
                    <a:pt x="16" y="59"/>
                  </a:cubicBezTo>
                  <a:cubicBezTo>
                    <a:pt x="16" y="59"/>
                    <a:pt x="26" y="65"/>
                    <a:pt x="27" y="64"/>
                  </a:cubicBezTo>
                  <a:cubicBezTo>
                    <a:pt x="27" y="64"/>
                    <a:pt x="28" y="59"/>
                    <a:pt x="30" y="57"/>
                  </a:cubicBezTo>
                  <a:cubicBezTo>
                    <a:pt x="32" y="56"/>
                    <a:pt x="36" y="48"/>
                    <a:pt x="38" y="48"/>
                  </a:cubicBezTo>
                  <a:cubicBezTo>
                    <a:pt x="39" y="48"/>
                    <a:pt x="41" y="49"/>
                    <a:pt x="43" y="49"/>
                  </a:cubicBezTo>
                  <a:cubicBezTo>
                    <a:pt x="43" y="47"/>
                    <a:pt x="44" y="43"/>
                    <a:pt x="44" y="40"/>
                  </a:cubicBezTo>
                  <a:cubicBezTo>
                    <a:pt x="44" y="36"/>
                    <a:pt x="39" y="10"/>
                    <a:pt x="32" y="5"/>
                  </a:cubicBezTo>
                  <a:cubicBezTo>
                    <a:pt x="24" y="0"/>
                    <a:pt x="8" y="10"/>
                    <a:pt x="5" y="11"/>
                  </a:cubicBezTo>
                  <a:cubicBezTo>
                    <a:pt x="3" y="13"/>
                    <a:pt x="0" y="33"/>
                    <a:pt x="1" y="36"/>
                  </a:cubicBezTo>
                  <a:cubicBezTo>
                    <a:pt x="1" y="38"/>
                    <a:pt x="2" y="43"/>
                    <a:pt x="2" y="47"/>
                  </a:cubicBezTo>
                  <a:cubicBezTo>
                    <a:pt x="4" y="48"/>
                    <a:pt x="5" y="61"/>
                    <a:pt x="7" y="60"/>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42" name="Freeform 1210"/>
            <p:cNvSpPr>
              <a:spLocks noChangeAspect="1"/>
            </p:cNvSpPr>
            <p:nvPr/>
          </p:nvSpPr>
          <p:spPr bwMode="auto">
            <a:xfrm>
              <a:off x="11743976" y="3886496"/>
              <a:ext cx="875651" cy="1049592"/>
            </a:xfrm>
            <a:custGeom>
              <a:avLst/>
              <a:gdLst>
                <a:gd name="T0" fmla="*/ 218 w 235"/>
                <a:gd name="T1" fmla="*/ 27 h 376"/>
                <a:gd name="T2" fmla="*/ 191 w 235"/>
                <a:gd name="T3" fmla="*/ 26 h 376"/>
                <a:gd name="T4" fmla="*/ 184 w 235"/>
                <a:gd name="T5" fmla="*/ 5 h 376"/>
                <a:gd name="T6" fmla="*/ 168 w 235"/>
                <a:gd name="T7" fmla="*/ 11 h 376"/>
                <a:gd name="T8" fmla="*/ 145 w 235"/>
                <a:gd name="T9" fmla="*/ 14 h 376"/>
                <a:gd name="T10" fmla="*/ 139 w 235"/>
                <a:gd name="T11" fmla="*/ 15 h 376"/>
                <a:gd name="T12" fmla="*/ 145 w 235"/>
                <a:gd name="T13" fmla="*/ 48 h 376"/>
                <a:gd name="T14" fmla="*/ 131 w 235"/>
                <a:gd name="T15" fmla="*/ 57 h 376"/>
                <a:gd name="T16" fmla="*/ 114 w 235"/>
                <a:gd name="T17" fmla="*/ 63 h 376"/>
                <a:gd name="T18" fmla="*/ 103 w 235"/>
                <a:gd name="T19" fmla="*/ 124 h 376"/>
                <a:gd name="T20" fmla="*/ 105 w 235"/>
                <a:gd name="T21" fmla="*/ 194 h 376"/>
                <a:gd name="T22" fmla="*/ 69 w 235"/>
                <a:gd name="T23" fmla="*/ 233 h 376"/>
                <a:gd name="T24" fmla="*/ 27 w 235"/>
                <a:gd name="T25" fmla="*/ 238 h 376"/>
                <a:gd name="T26" fmla="*/ 13 w 235"/>
                <a:gd name="T27" fmla="*/ 265 h 376"/>
                <a:gd name="T28" fmla="*/ 32 w 235"/>
                <a:gd name="T29" fmla="*/ 293 h 376"/>
                <a:gd name="T30" fmla="*/ 77 w 235"/>
                <a:gd name="T31" fmla="*/ 356 h 376"/>
                <a:gd name="T32" fmla="*/ 132 w 235"/>
                <a:gd name="T33" fmla="*/ 370 h 376"/>
                <a:gd name="T34" fmla="*/ 153 w 235"/>
                <a:gd name="T35" fmla="*/ 344 h 376"/>
                <a:gd name="T36" fmla="*/ 161 w 235"/>
                <a:gd name="T37" fmla="*/ 347 h 376"/>
                <a:gd name="T38" fmla="*/ 162 w 235"/>
                <a:gd name="T39" fmla="*/ 372 h 376"/>
                <a:gd name="T40" fmla="*/ 183 w 235"/>
                <a:gd name="T41" fmla="*/ 374 h 376"/>
                <a:gd name="T42" fmla="*/ 188 w 235"/>
                <a:gd name="T43" fmla="*/ 343 h 376"/>
                <a:gd name="T44" fmla="*/ 189 w 235"/>
                <a:gd name="T45" fmla="*/ 351 h 376"/>
                <a:gd name="T46" fmla="*/ 204 w 235"/>
                <a:gd name="T47" fmla="*/ 362 h 376"/>
                <a:gd name="T48" fmla="*/ 211 w 235"/>
                <a:gd name="T49" fmla="*/ 355 h 376"/>
                <a:gd name="T50" fmla="*/ 209 w 235"/>
                <a:gd name="T51" fmla="*/ 325 h 376"/>
                <a:gd name="T52" fmla="*/ 206 w 235"/>
                <a:gd name="T53" fmla="*/ 304 h 376"/>
                <a:gd name="T54" fmla="*/ 198 w 235"/>
                <a:gd name="T55" fmla="*/ 280 h 376"/>
                <a:gd name="T56" fmla="*/ 199 w 235"/>
                <a:gd name="T57" fmla="*/ 263 h 376"/>
                <a:gd name="T58" fmla="*/ 189 w 235"/>
                <a:gd name="T59" fmla="*/ 246 h 376"/>
                <a:gd name="T60" fmla="*/ 192 w 235"/>
                <a:gd name="T61" fmla="*/ 221 h 376"/>
                <a:gd name="T62" fmla="*/ 186 w 235"/>
                <a:gd name="T63" fmla="*/ 206 h 376"/>
                <a:gd name="T64" fmla="*/ 164 w 235"/>
                <a:gd name="T65" fmla="*/ 188 h 376"/>
                <a:gd name="T66" fmla="*/ 145 w 235"/>
                <a:gd name="T67" fmla="*/ 169 h 376"/>
                <a:gd name="T68" fmla="*/ 169 w 235"/>
                <a:gd name="T69" fmla="*/ 150 h 376"/>
                <a:gd name="T70" fmla="*/ 183 w 235"/>
                <a:gd name="T71" fmla="*/ 136 h 376"/>
                <a:gd name="T72" fmla="*/ 195 w 235"/>
                <a:gd name="T73" fmla="*/ 126 h 376"/>
                <a:gd name="T74" fmla="*/ 182 w 235"/>
                <a:gd name="T75" fmla="*/ 118 h 376"/>
                <a:gd name="T76" fmla="*/ 155 w 235"/>
                <a:gd name="T77" fmla="*/ 98 h 376"/>
                <a:gd name="T78" fmla="*/ 151 w 235"/>
                <a:gd name="T79" fmla="*/ 87 h 376"/>
                <a:gd name="T80" fmla="*/ 176 w 235"/>
                <a:gd name="T81" fmla="*/ 57 h 376"/>
                <a:gd name="T82" fmla="*/ 187 w 235"/>
                <a:gd name="T83" fmla="*/ 70 h 376"/>
                <a:gd name="T84" fmla="*/ 206 w 235"/>
                <a:gd name="T85" fmla="*/ 63 h 376"/>
                <a:gd name="T86" fmla="*/ 214 w 235"/>
                <a:gd name="T87" fmla="*/ 71 h 376"/>
                <a:gd name="T88" fmla="*/ 235 w 235"/>
                <a:gd name="T89"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5" h="376">
                  <a:moveTo>
                    <a:pt x="233" y="32"/>
                  </a:moveTo>
                  <a:cubicBezTo>
                    <a:pt x="233" y="32"/>
                    <a:pt x="227" y="32"/>
                    <a:pt x="227" y="32"/>
                  </a:cubicBezTo>
                  <a:cubicBezTo>
                    <a:pt x="218" y="27"/>
                    <a:pt x="218" y="27"/>
                    <a:pt x="218" y="27"/>
                  </a:cubicBezTo>
                  <a:cubicBezTo>
                    <a:pt x="218" y="27"/>
                    <a:pt x="214" y="31"/>
                    <a:pt x="211" y="31"/>
                  </a:cubicBezTo>
                  <a:cubicBezTo>
                    <a:pt x="207" y="31"/>
                    <a:pt x="201" y="25"/>
                    <a:pt x="200" y="25"/>
                  </a:cubicBezTo>
                  <a:cubicBezTo>
                    <a:pt x="200" y="25"/>
                    <a:pt x="193" y="27"/>
                    <a:pt x="191" y="26"/>
                  </a:cubicBezTo>
                  <a:cubicBezTo>
                    <a:pt x="188" y="26"/>
                    <a:pt x="190" y="15"/>
                    <a:pt x="190" y="15"/>
                  </a:cubicBezTo>
                  <a:cubicBezTo>
                    <a:pt x="181" y="12"/>
                    <a:pt x="181" y="12"/>
                    <a:pt x="181" y="12"/>
                  </a:cubicBezTo>
                  <a:cubicBezTo>
                    <a:pt x="181" y="12"/>
                    <a:pt x="183" y="6"/>
                    <a:pt x="184" y="5"/>
                  </a:cubicBezTo>
                  <a:cubicBezTo>
                    <a:pt x="184" y="5"/>
                    <a:pt x="183" y="4"/>
                    <a:pt x="181" y="3"/>
                  </a:cubicBezTo>
                  <a:cubicBezTo>
                    <a:pt x="179" y="3"/>
                    <a:pt x="177" y="2"/>
                    <a:pt x="176" y="2"/>
                  </a:cubicBezTo>
                  <a:cubicBezTo>
                    <a:pt x="174" y="2"/>
                    <a:pt x="170" y="10"/>
                    <a:pt x="168" y="11"/>
                  </a:cubicBezTo>
                  <a:cubicBezTo>
                    <a:pt x="166" y="13"/>
                    <a:pt x="165" y="18"/>
                    <a:pt x="165" y="18"/>
                  </a:cubicBezTo>
                  <a:cubicBezTo>
                    <a:pt x="164" y="19"/>
                    <a:pt x="154" y="13"/>
                    <a:pt x="154" y="13"/>
                  </a:cubicBezTo>
                  <a:cubicBezTo>
                    <a:pt x="154" y="13"/>
                    <a:pt x="147" y="14"/>
                    <a:pt x="145" y="14"/>
                  </a:cubicBezTo>
                  <a:cubicBezTo>
                    <a:pt x="143" y="15"/>
                    <a:pt x="142" y="2"/>
                    <a:pt x="140" y="1"/>
                  </a:cubicBezTo>
                  <a:cubicBezTo>
                    <a:pt x="140" y="1"/>
                    <a:pt x="140" y="1"/>
                    <a:pt x="140" y="1"/>
                  </a:cubicBezTo>
                  <a:cubicBezTo>
                    <a:pt x="137" y="0"/>
                    <a:pt x="139" y="9"/>
                    <a:pt x="139" y="15"/>
                  </a:cubicBezTo>
                  <a:cubicBezTo>
                    <a:pt x="138" y="21"/>
                    <a:pt x="148" y="25"/>
                    <a:pt x="150" y="28"/>
                  </a:cubicBezTo>
                  <a:cubicBezTo>
                    <a:pt x="153" y="31"/>
                    <a:pt x="150" y="34"/>
                    <a:pt x="151" y="39"/>
                  </a:cubicBezTo>
                  <a:cubicBezTo>
                    <a:pt x="151" y="44"/>
                    <a:pt x="145" y="47"/>
                    <a:pt x="145" y="48"/>
                  </a:cubicBezTo>
                  <a:cubicBezTo>
                    <a:pt x="144" y="49"/>
                    <a:pt x="147" y="51"/>
                    <a:pt x="146" y="56"/>
                  </a:cubicBezTo>
                  <a:cubicBezTo>
                    <a:pt x="146" y="60"/>
                    <a:pt x="139" y="62"/>
                    <a:pt x="138" y="62"/>
                  </a:cubicBezTo>
                  <a:cubicBezTo>
                    <a:pt x="137" y="62"/>
                    <a:pt x="135" y="58"/>
                    <a:pt x="131" y="57"/>
                  </a:cubicBezTo>
                  <a:cubicBezTo>
                    <a:pt x="128" y="55"/>
                    <a:pt x="128" y="58"/>
                    <a:pt x="128" y="58"/>
                  </a:cubicBezTo>
                  <a:cubicBezTo>
                    <a:pt x="128" y="58"/>
                    <a:pt x="124" y="63"/>
                    <a:pt x="120" y="63"/>
                  </a:cubicBezTo>
                  <a:cubicBezTo>
                    <a:pt x="118" y="64"/>
                    <a:pt x="116" y="63"/>
                    <a:pt x="114" y="63"/>
                  </a:cubicBezTo>
                  <a:cubicBezTo>
                    <a:pt x="113" y="71"/>
                    <a:pt x="110" y="82"/>
                    <a:pt x="110" y="87"/>
                  </a:cubicBezTo>
                  <a:cubicBezTo>
                    <a:pt x="109" y="94"/>
                    <a:pt x="121" y="101"/>
                    <a:pt x="123" y="108"/>
                  </a:cubicBezTo>
                  <a:cubicBezTo>
                    <a:pt x="124" y="114"/>
                    <a:pt x="114" y="120"/>
                    <a:pt x="103" y="124"/>
                  </a:cubicBezTo>
                  <a:cubicBezTo>
                    <a:pt x="109" y="130"/>
                    <a:pt x="115" y="141"/>
                    <a:pt x="116" y="152"/>
                  </a:cubicBezTo>
                  <a:cubicBezTo>
                    <a:pt x="118" y="172"/>
                    <a:pt x="115" y="176"/>
                    <a:pt x="117" y="181"/>
                  </a:cubicBezTo>
                  <a:cubicBezTo>
                    <a:pt x="118" y="187"/>
                    <a:pt x="109" y="190"/>
                    <a:pt x="105" y="194"/>
                  </a:cubicBezTo>
                  <a:cubicBezTo>
                    <a:pt x="100" y="198"/>
                    <a:pt x="105" y="196"/>
                    <a:pt x="104" y="207"/>
                  </a:cubicBezTo>
                  <a:cubicBezTo>
                    <a:pt x="104" y="217"/>
                    <a:pt x="71" y="212"/>
                    <a:pt x="69" y="213"/>
                  </a:cubicBezTo>
                  <a:cubicBezTo>
                    <a:pt x="66" y="214"/>
                    <a:pt x="68" y="232"/>
                    <a:pt x="69" y="233"/>
                  </a:cubicBezTo>
                  <a:cubicBezTo>
                    <a:pt x="70" y="234"/>
                    <a:pt x="49" y="232"/>
                    <a:pt x="49" y="232"/>
                  </a:cubicBezTo>
                  <a:cubicBezTo>
                    <a:pt x="49" y="232"/>
                    <a:pt x="42" y="247"/>
                    <a:pt x="35" y="251"/>
                  </a:cubicBezTo>
                  <a:cubicBezTo>
                    <a:pt x="29" y="255"/>
                    <a:pt x="27" y="239"/>
                    <a:pt x="27" y="238"/>
                  </a:cubicBezTo>
                  <a:cubicBezTo>
                    <a:pt x="27" y="237"/>
                    <a:pt x="15" y="243"/>
                    <a:pt x="10" y="246"/>
                  </a:cubicBezTo>
                  <a:cubicBezTo>
                    <a:pt x="5" y="249"/>
                    <a:pt x="0" y="259"/>
                    <a:pt x="1" y="263"/>
                  </a:cubicBezTo>
                  <a:cubicBezTo>
                    <a:pt x="2" y="268"/>
                    <a:pt x="12" y="265"/>
                    <a:pt x="13" y="265"/>
                  </a:cubicBezTo>
                  <a:cubicBezTo>
                    <a:pt x="14" y="265"/>
                    <a:pt x="13" y="271"/>
                    <a:pt x="13" y="271"/>
                  </a:cubicBezTo>
                  <a:cubicBezTo>
                    <a:pt x="31" y="273"/>
                    <a:pt x="31" y="273"/>
                    <a:pt x="31" y="273"/>
                  </a:cubicBezTo>
                  <a:cubicBezTo>
                    <a:pt x="31" y="273"/>
                    <a:pt x="29" y="279"/>
                    <a:pt x="32" y="293"/>
                  </a:cubicBezTo>
                  <a:cubicBezTo>
                    <a:pt x="35" y="306"/>
                    <a:pt x="59" y="314"/>
                    <a:pt x="63" y="322"/>
                  </a:cubicBezTo>
                  <a:cubicBezTo>
                    <a:pt x="66" y="329"/>
                    <a:pt x="57" y="330"/>
                    <a:pt x="52" y="330"/>
                  </a:cubicBezTo>
                  <a:cubicBezTo>
                    <a:pt x="56" y="338"/>
                    <a:pt x="65" y="352"/>
                    <a:pt x="77" y="356"/>
                  </a:cubicBezTo>
                  <a:cubicBezTo>
                    <a:pt x="88" y="360"/>
                    <a:pt x="100" y="370"/>
                    <a:pt x="106" y="375"/>
                  </a:cubicBezTo>
                  <a:cubicBezTo>
                    <a:pt x="112" y="374"/>
                    <a:pt x="118" y="373"/>
                    <a:pt x="120" y="372"/>
                  </a:cubicBezTo>
                  <a:cubicBezTo>
                    <a:pt x="124" y="370"/>
                    <a:pt x="131" y="371"/>
                    <a:pt x="132" y="370"/>
                  </a:cubicBezTo>
                  <a:cubicBezTo>
                    <a:pt x="134" y="369"/>
                    <a:pt x="138" y="362"/>
                    <a:pt x="138" y="362"/>
                  </a:cubicBezTo>
                  <a:cubicBezTo>
                    <a:pt x="138" y="362"/>
                    <a:pt x="143" y="359"/>
                    <a:pt x="149" y="355"/>
                  </a:cubicBezTo>
                  <a:cubicBezTo>
                    <a:pt x="155" y="351"/>
                    <a:pt x="153" y="345"/>
                    <a:pt x="153" y="344"/>
                  </a:cubicBezTo>
                  <a:cubicBezTo>
                    <a:pt x="154" y="344"/>
                    <a:pt x="151" y="337"/>
                    <a:pt x="151" y="335"/>
                  </a:cubicBezTo>
                  <a:cubicBezTo>
                    <a:pt x="151" y="332"/>
                    <a:pt x="160" y="335"/>
                    <a:pt x="162" y="337"/>
                  </a:cubicBezTo>
                  <a:cubicBezTo>
                    <a:pt x="165" y="339"/>
                    <a:pt x="163" y="344"/>
                    <a:pt x="161" y="347"/>
                  </a:cubicBezTo>
                  <a:cubicBezTo>
                    <a:pt x="158" y="349"/>
                    <a:pt x="160" y="349"/>
                    <a:pt x="162" y="354"/>
                  </a:cubicBezTo>
                  <a:cubicBezTo>
                    <a:pt x="163" y="358"/>
                    <a:pt x="156" y="361"/>
                    <a:pt x="155" y="364"/>
                  </a:cubicBezTo>
                  <a:cubicBezTo>
                    <a:pt x="154" y="367"/>
                    <a:pt x="159" y="368"/>
                    <a:pt x="162" y="372"/>
                  </a:cubicBezTo>
                  <a:cubicBezTo>
                    <a:pt x="165" y="376"/>
                    <a:pt x="167" y="372"/>
                    <a:pt x="168" y="371"/>
                  </a:cubicBezTo>
                  <a:cubicBezTo>
                    <a:pt x="169" y="370"/>
                    <a:pt x="175" y="369"/>
                    <a:pt x="177" y="369"/>
                  </a:cubicBezTo>
                  <a:cubicBezTo>
                    <a:pt x="180" y="369"/>
                    <a:pt x="179" y="372"/>
                    <a:pt x="183" y="374"/>
                  </a:cubicBezTo>
                  <a:cubicBezTo>
                    <a:pt x="188" y="376"/>
                    <a:pt x="188" y="366"/>
                    <a:pt x="188" y="364"/>
                  </a:cubicBezTo>
                  <a:cubicBezTo>
                    <a:pt x="187" y="362"/>
                    <a:pt x="181" y="359"/>
                    <a:pt x="180" y="357"/>
                  </a:cubicBezTo>
                  <a:cubicBezTo>
                    <a:pt x="179" y="356"/>
                    <a:pt x="186" y="346"/>
                    <a:pt x="188" y="343"/>
                  </a:cubicBezTo>
                  <a:cubicBezTo>
                    <a:pt x="189" y="339"/>
                    <a:pt x="189" y="333"/>
                    <a:pt x="189" y="332"/>
                  </a:cubicBezTo>
                  <a:cubicBezTo>
                    <a:pt x="189" y="332"/>
                    <a:pt x="195" y="342"/>
                    <a:pt x="194" y="345"/>
                  </a:cubicBezTo>
                  <a:cubicBezTo>
                    <a:pt x="193" y="347"/>
                    <a:pt x="192" y="348"/>
                    <a:pt x="189" y="351"/>
                  </a:cubicBezTo>
                  <a:cubicBezTo>
                    <a:pt x="187" y="355"/>
                    <a:pt x="191" y="357"/>
                    <a:pt x="192" y="361"/>
                  </a:cubicBezTo>
                  <a:cubicBezTo>
                    <a:pt x="192" y="364"/>
                    <a:pt x="190" y="369"/>
                    <a:pt x="191" y="370"/>
                  </a:cubicBezTo>
                  <a:cubicBezTo>
                    <a:pt x="192" y="370"/>
                    <a:pt x="202" y="362"/>
                    <a:pt x="204" y="362"/>
                  </a:cubicBezTo>
                  <a:cubicBezTo>
                    <a:pt x="205" y="362"/>
                    <a:pt x="207" y="368"/>
                    <a:pt x="210" y="369"/>
                  </a:cubicBezTo>
                  <a:cubicBezTo>
                    <a:pt x="212" y="370"/>
                    <a:pt x="216" y="368"/>
                    <a:pt x="217" y="365"/>
                  </a:cubicBezTo>
                  <a:cubicBezTo>
                    <a:pt x="217" y="362"/>
                    <a:pt x="214" y="358"/>
                    <a:pt x="211" y="355"/>
                  </a:cubicBezTo>
                  <a:cubicBezTo>
                    <a:pt x="208" y="351"/>
                    <a:pt x="213" y="345"/>
                    <a:pt x="214" y="344"/>
                  </a:cubicBezTo>
                  <a:cubicBezTo>
                    <a:pt x="215" y="342"/>
                    <a:pt x="216" y="331"/>
                    <a:pt x="216" y="330"/>
                  </a:cubicBezTo>
                  <a:cubicBezTo>
                    <a:pt x="216" y="329"/>
                    <a:pt x="210" y="326"/>
                    <a:pt x="209" y="325"/>
                  </a:cubicBezTo>
                  <a:cubicBezTo>
                    <a:pt x="208" y="324"/>
                    <a:pt x="208" y="315"/>
                    <a:pt x="208" y="315"/>
                  </a:cubicBezTo>
                  <a:cubicBezTo>
                    <a:pt x="208" y="314"/>
                    <a:pt x="204" y="311"/>
                    <a:pt x="204" y="311"/>
                  </a:cubicBezTo>
                  <a:cubicBezTo>
                    <a:pt x="204" y="310"/>
                    <a:pt x="206" y="306"/>
                    <a:pt x="206" y="304"/>
                  </a:cubicBezTo>
                  <a:cubicBezTo>
                    <a:pt x="207" y="303"/>
                    <a:pt x="203" y="300"/>
                    <a:pt x="202" y="298"/>
                  </a:cubicBezTo>
                  <a:cubicBezTo>
                    <a:pt x="201" y="297"/>
                    <a:pt x="205" y="290"/>
                    <a:pt x="205" y="289"/>
                  </a:cubicBezTo>
                  <a:cubicBezTo>
                    <a:pt x="205" y="288"/>
                    <a:pt x="198" y="281"/>
                    <a:pt x="198" y="280"/>
                  </a:cubicBezTo>
                  <a:cubicBezTo>
                    <a:pt x="197" y="280"/>
                    <a:pt x="202" y="272"/>
                    <a:pt x="202" y="272"/>
                  </a:cubicBezTo>
                  <a:cubicBezTo>
                    <a:pt x="202" y="272"/>
                    <a:pt x="206" y="267"/>
                    <a:pt x="207" y="266"/>
                  </a:cubicBezTo>
                  <a:cubicBezTo>
                    <a:pt x="207" y="265"/>
                    <a:pt x="199" y="263"/>
                    <a:pt x="199" y="263"/>
                  </a:cubicBezTo>
                  <a:cubicBezTo>
                    <a:pt x="199" y="263"/>
                    <a:pt x="196" y="265"/>
                    <a:pt x="190" y="263"/>
                  </a:cubicBezTo>
                  <a:cubicBezTo>
                    <a:pt x="184" y="261"/>
                    <a:pt x="193" y="249"/>
                    <a:pt x="192" y="248"/>
                  </a:cubicBezTo>
                  <a:cubicBezTo>
                    <a:pt x="192" y="246"/>
                    <a:pt x="191" y="247"/>
                    <a:pt x="189" y="246"/>
                  </a:cubicBezTo>
                  <a:cubicBezTo>
                    <a:pt x="186" y="245"/>
                    <a:pt x="180" y="239"/>
                    <a:pt x="178" y="237"/>
                  </a:cubicBezTo>
                  <a:cubicBezTo>
                    <a:pt x="176" y="234"/>
                    <a:pt x="180" y="230"/>
                    <a:pt x="181" y="227"/>
                  </a:cubicBezTo>
                  <a:cubicBezTo>
                    <a:pt x="182" y="224"/>
                    <a:pt x="191" y="221"/>
                    <a:pt x="192" y="221"/>
                  </a:cubicBezTo>
                  <a:cubicBezTo>
                    <a:pt x="193" y="220"/>
                    <a:pt x="189" y="217"/>
                    <a:pt x="188" y="216"/>
                  </a:cubicBezTo>
                  <a:cubicBezTo>
                    <a:pt x="187" y="214"/>
                    <a:pt x="192" y="213"/>
                    <a:pt x="193" y="213"/>
                  </a:cubicBezTo>
                  <a:cubicBezTo>
                    <a:pt x="194" y="212"/>
                    <a:pt x="188" y="209"/>
                    <a:pt x="186" y="206"/>
                  </a:cubicBezTo>
                  <a:cubicBezTo>
                    <a:pt x="184" y="203"/>
                    <a:pt x="188" y="196"/>
                    <a:pt x="188" y="196"/>
                  </a:cubicBezTo>
                  <a:cubicBezTo>
                    <a:pt x="188" y="196"/>
                    <a:pt x="179" y="197"/>
                    <a:pt x="177" y="197"/>
                  </a:cubicBezTo>
                  <a:cubicBezTo>
                    <a:pt x="175" y="198"/>
                    <a:pt x="165" y="189"/>
                    <a:pt x="164" y="188"/>
                  </a:cubicBezTo>
                  <a:cubicBezTo>
                    <a:pt x="163" y="187"/>
                    <a:pt x="161" y="189"/>
                    <a:pt x="159" y="187"/>
                  </a:cubicBezTo>
                  <a:cubicBezTo>
                    <a:pt x="156" y="186"/>
                    <a:pt x="154" y="183"/>
                    <a:pt x="153" y="182"/>
                  </a:cubicBezTo>
                  <a:cubicBezTo>
                    <a:pt x="153" y="180"/>
                    <a:pt x="145" y="170"/>
                    <a:pt x="145" y="169"/>
                  </a:cubicBezTo>
                  <a:cubicBezTo>
                    <a:pt x="146" y="169"/>
                    <a:pt x="156" y="157"/>
                    <a:pt x="158" y="155"/>
                  </a:cubicBezTo>
                  <a:cubicBezTo>
                    <a:pt x="159" y="153"/>
                    <a:pt x="162" y="160"/>
                    <a:pt x="162" y="160"/>
                  </a:cubicBezTo>
                  <a:cubicBezTo>
                    <a:pt x="162" y="160"/>
                    <a:pt x="165" y="157"/>
                    <a:pt x="169" y="150"/>
                  </a:cubicBezTo>
                  <a:cubicBezTo>
                    <a:pt x="172" y="144"/>
                    <a:pt x="170" y="140"/>
                    <a:pt x="170" y="140"/>
                  </a:cubicBezTo>
                  <a:cubicBezTo>
                    <a:pt x="170" y="140"/>
                    <a:pt x="176" y="140"/>
                    <a:pt x="177" y="140"/>
                  </a:cubicBezTo>
                  <a:cubicBezTo>
                    <a:pt x="178" y="139"/>
                    <a:pt x="182" y="137"/>
                    <a:pt x="183" y="136"/>
                  </a:cubicBezTo>
                  <a:cubicBezTo>
                    <a:pt x="184" y="134"/>
                    <a:pt x="197" y="138"/>
                    <a:pt x="198" y="138"/>
                  </a:cubicBezTo>
                  <a:cubicBezTo>
                    <a:pt x="200" y="138"/>
                    <a:pt x="202" y="130"/>
                    <a:pt x="202" y="129"/>
                  </a:cubicBezTo>
                  <a:cubicBezTo>
                    <a:pt x="203" y="128"/>
                    <a:pt x="195" y="126"/>
                    <a:pt x="195" y="126"/>
                  </a:cubicBezTo>
                  <a:cubicBezTo>
                    <a:pt x="195" y="126"/>
                    <a:pt x="189" y="116"/>
                    <a:pt x="188" y="115"/>
                  </a:cubicBezTo>
                  <a:cubicBezTo>
                    <a:pt x="187" y="114"/>
                    <a:pt x="184" y="119"/>
                    <a:pt x="183" y="121"/>
                  </a:cubicBezTo>
                  <a:cubicBezTo>
                    <a:pt x="183" y="122"/>
                    <a:pt x="182" y="119"/>
                    <a:pt x="182" y="118"/>
                  </a:cubicBezTo>
                  <a:cubicBezTo>
                    <a:pt x="181" y="117"/>
                    <a:pt x="178" y="121"/>
                    <a:pt x="175" y="121"/>
                  </a:cubicBezTo>
                  <a:cubicBezTo>
                    <a:pt x="172" y="121"/>
                    <a:pt x="169" y="114"/>
                    <a:pt x="168" y="110"/>
                  </a:cubicBezTo>
                  <a:cubicBezTo>
                    <a:pt x="167" y="105"/>
                    <a:pt x="155" y="98"/>
                    <a:pt x="155" y="98"/>
                  </a:cubicBezTo>
                  <a:cubicBezTo>
                    <a:pt x="155" y="97"/>
                    <a:pt x="149" y="102"/>
                    <a:pt x="149" y="102"/>
                  </a:cubicBezTo>
                  <a:cubicBezTo>
                    <a:pt x="149" y="102"/>
                    <a:pt x="146" y="93"/>
                    <a:pt x="147" y="92"/>
                  </a:cubicBezTo>
                  <a:cubicBezTo>
                    <a:pt x="147" y="90"/>
                    <a:pt x="151" y="87"/>
                    <a:pt x="151" y="87"/>
                  </a:cubicBezTo>
                  <a:cubicBezTo>
                    <a:pt x="151" y="87"/>
                    <a:pt x="149" y="84"/>
                    <a:pt x="149" y="82"/>
                  </a:cubicBezTo>
                  <a:cubicBezTo>
                    <a:pt x="149" y="79"/>
                    <a:pt x="163" y="66"/>
                    <a:pt x="165" y="64"/>
                  </a:cubicBezTo>
                  <a:cubicBezTo>
                    <a:pt x="166" y="62"/>
                    <a:pt x="176" y="57"/>
                    <a:pt x="176" y="57"/>
                  </a:cubicBezTo>
                  <a:cubicBezTo>
                    <a:pt x="176" y="58"/>
                    <a:pt x="177" y="66"/>
                    <a:pt x="177" y="68"/>
                  </a:cubicBezTo>
                  <a:cubicBezTo>
                    <a:pt x="177" y="70"/>
                    <a:pt x="181" y="63"/>
                    <a:pt x="181" y="62"/>
                  </a:cubicBezTo>
                  <a:cubicBezTo>
                    <a:pt x="181" y="62"/>
                    <a:pt x="185" y="69"/>
                    <a:pt x="187" y="70"/>
                  </a:cubicBezTo>
                  <a:cubicBezTo>
                    <a:pt x="188" y="71"/>
                    <a:pt x="190" y="69"/>
                    <a:pt x="191" y="69"/>
                  </a:cubicBezTo>
                  <a:cubicBezTo>
                    <a:pt x="193" y="68"/>
                    <a:pt x="195" y="54"/>
                    <a:pt x="195" y="53"/>
                  </a:cubicBezTo>
                  <a:cubicBezTo>
                    <a:pt x="196" y="51"/>
                    <a:pt x="204" y="61"/>
                    <a:pt x="206" y="63"/>
                  </a:cubicBezTo>
                  <a:cubicBezTo>
                    <a:pt x="208" y="65"/>
                    <a:pt x="203" y="71"/>
                    <a:pt x="202" y="72"/>
                  </a:cubicBezTo>
                  <a:cubicBezTo>
                    <a:pt x="202" y="72"/>
                    <a:pt x="205" y="75"/>
                    <a:pt x="208" y="77"/>
                  </a:cubicBezTo>
                  <a:cubicBezTo>
                    <a:pt x="212" y="75"/>
                    <a:pt x="216" y="73"/>
                    <a:pt x="214" y="71"/>
                  </a:cubicBezTo>
                  <a:cubicBezTo>
                    <a:pt x="212" y="68"/>
                    <a:pt x="207" y="59"/>
                    <a:pt x="214" y="58"/>
                  </a:cubicBezTo>
                  <a:cubicBezTo>
                    <a:pt x="221" y="57"/>
                    <a:pt x="224" y="59"/>
                    <a:pt x="224" y="57"/>
                  </a:cubicBezTo>
                  <a:cubicBezTo>
                    <a:pt x="225" y="56"/>
                    <a:pt x="232" y="43"/>
                    <a:pt x="235" y="36"/>
                  </a:cubicBezTo>
                  <a:cubicBezTo>
                    <a:pt x="234" y="34"/>
                    <a:pt x="233" y="32"/>
                    <a:pt x="233" y="32"/>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3" name="Freeform 1211"/>
            <p:cNvSpPr>
              <a:spLocks noChangeAspect="1"/>
            </p:cNvSpPr>
            <p:nvPr/>
          </p:nvSpPr>
          <p:spPr bwMode="auto">
            <a:xfrm>
              <a:off x="12667064" y="4085247"/>
              <a:ext cx="707638" cy="190537"/>
            </a:xfrm>
            <a:custGeom>
              <a:avLst/>
              <a:gdLst>
                <a:gd name="T0" fmla="*/ 187 w 190"/>
                <a:gd name="T1" fmla="*/ 35 h 68"/>
                <a:gd name="T2" fmla="*/ 171 w 190"/>
                <a:gd name="T3" fmla="*/ 34 h 68"/>
                <a:gd name="T4" fmla="*/ 174 w 190"/>
                <a:gd name="T5" fmla="*/ 23 h 68"/>
                <a:gd name="T6" fmla="*/ 166 w 190"/>
                <a:gd name="T7" fmla="*/ 10 h 68"/>
                <a:gd name="T8" fmla="*/ 151 w 190"/>
                <a:gd name="T9" fmla="*/ 15 h 68"/>
                <a:gd name="T10" fmla="*/ 103 w 190"/>
                <a:gd name="T11" fmla="*/ 9 h 68"/>
                <a:gd name="T12" fmla="*/ 96 w 190"/>
                <a:gd name="T13" fmla="*/ 17 h 68"/>
                <a:gd name="T14" fmla="*/ 48 w 190"/>
                <a:gd name="T15" fmla="*/ 1 h 68"/>
                <a:gd name="T16" fmla="*/ 23 w 190"/>
                <a:gd name="T17" fmla="*/ 6 h 68"/>
                <a:gd name="T18" fmla="*/ 22 w 190"/>
                <a:gd name="T19" fmla="*/ 28 h 68"/>
                <a:gd name="T20" fmla="*/ 11 w 190"/>
                <a:gd name="T21" fmla="*/ 30 h 68"/>
                <a:gd name="T22" fmla="*/ 13 w 190"/>
                <a:gd name="T23" fmla="*/ 35 h 68"/>
                <a:gd name="T24" fmla="*/ 6 w 190"/>
                <a:gd name="T25" fmla="*/ 42 h 68"/>
                <a:gd name="T26" fmla="*/ 0 w 190"/>
                <a:gd name="T27" fmla="*/ 53 h 68"/>
                <a:gd name="T28" fmla="*/ 15 w 190"/>
                <a:gd name="T29" fmla="*/ 57 h 68"/>
                <a:gd name="T30" fmla="*/ 29 w 190"/>
                <a:gd name="T31" fmla="*/ 60 h 68"/>
                <a:gd name="T32" fmla="*/ 34 w 190"/>
                <a:gd name="T33" fmla="*/ 66 h 68"/>
                <a:gd name="T34" fmla="*/ 42 w 190"/>
                <a:gd name="T35" fmla="*/ 62 h 68"/>
                <a:gd name="T36" fmla="*/ 67 w 190"/>
                <a:gd name="T37" fmla="*/ 62 h 68"/>
                <a:gd name="T38" fmla="*/ 79 w 190"/>
                <a:gd name="T39" fmla="*/ 58 h 68"/>
                <a:gd name="T40" fmla="*/ 108 w 190"/>
                <a:gd name="T41" fmla="*/ 62 h 68"/>
                <a:gd name="T42" fmla="*/ 119 w 190"/>
                <a:gd name="T43" fmla="*/ 56 h 68"/>
                <a:gd name="T44" fmla="*/ 127 w 190"/>
                <a:gd name="T45" fmla="*/ 58 h 68"/>
                <a:gd name="T46" fmla="*/ 138 w 190"/>
                <a:gd name="T47" fmla="*/ 57 h 68"/>
                <a:gd name="T48" fmla="*/ 160 w 190"/>
                <a:gd name="T49" fmla="*/ 68 h 68"/>
                <a:gd name="T50" fmla="*/ 183 w 190"/>
                <a:gd name="T51" fmla="*/ 50 h 68"/>
                <a:gd name="T52" fmla="*/ 187 w 190"/>
                <a:gd name="T53" fmla="*/ 3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0" h="68">
                  <a:moveTo>
                    <a:pt x="187" y="35"/>
                  </a:moveTo>
                  <a:cubicBezTo>
                    <a:pt x="187" y="35"/>
                    <a:pt x="172" y="34"/>
                    <a:pt x="171" y="34"/>
                  </a:cubicBezTo>
                  <a:cubicBezTo>
                    <a:pt x="169" y="34"/>
                    <a:pt x="173" y="25"/>
                    <a:pt x="174" y="23"/>
                  </a:cubicBezTo>
                  <a:cubicBezTo>
                    <a:pt x="174" y="20"/>
                    <a:pt x="166" y="12"/>
                    <a:pt x="166" y="10"/>
                  </a:cubicBezTo>
                  <a:cubicBezTo>
                    <a:pt x="166" y="7"/>
                    <a:pt x="155" y="14"/>
                    <a:pt x="151" y="15"/>
                  </a:cubicBezTo>
                  <a:cubicBezTo>
                    <a:pt x="148" y="17"/>
                    <a:pt x="106" y="8"/>
                    <a:pt x="103" y="9"/>
                  </a:cubicBezTo>
                  <a:cubicBezTo>
                    <a:pt x="101" y="9"/>
                    <a:pt x="100" y="11"/>
                    <a:pt x="96" y="17"/>
                  </a:cubicBezTo>
                  <a:cubicBezTo>
                    <a:pt x="93" y="22"/>
                    <a:pt x="52" y="0"/>
                    <a:pt x="48" y="1"/>
                  </a:cubicBezTo>
                  <a:cubicBezTo>
                    <a:pt x="43" y="1"/>
                    <a:pt x="30" y="5"/>
                    <a:pt x="23" y="6"/>
                  </a:cubicBezTo>
                  <a:cubicBezTo>
                    <a:pt x="17" y="7"/>
                    <a:pt x="21" y="24"/>
                    <a:pt x="22" y="28"/>
                  </a:cubicBezTo>
                  <a:cubicBezTo>
                    <a:pt x="22" y="31"/>
                    <a:pt x="16" y="30"/>
                    <a:pt x="11" y="30"/>
                  </a:cubicBezTo>
                  <a:cubicBezTo>
                    <a:pt x="11" y="32"/>
                    <a:pt x="12" y="34"/>
                    <a:pt x="13" y="35"/>
                  </a:cubicBezTo>
                  <a:cubicBezTo>
                    <a:pt x="15" y="40"/>
                    <a:pt x="8" y="38"/>
                    <a:pt x="6" y="42"/>
                  </a:cubicBezTo>
                  <a:cubicBezTo>
                    <a:pt x="3" y="46"/>
                    <a:pt x="0" y="53"/>
                    <a:pt x="0" y="53"/>
                  </a:cubicBezTo>
                  <a:cubicBezTo>
                    <a:pt x="1" y="53"/>
                    <a:pt x="9" y="55"/>
                    <a:pt x="15" y="57"/>
                  </a:cubicBezTo>
                  <a:cubicBezTo>
                    <a:pt x="22" y="59"/>
                    <a:pt x="27" y="61"/>
                    <a:pt x="29" y="60"/>
                  </a:cubicBezTo>
                  <a:cubicBezTo>
                    <a:pt x="31" y="60"/>
                    <a:pt x="32" y="64"/>
                    <a:pt x="34" y="66"/>
                  </a:cubicBezTo>
                  <a:cubicBezTo>
                    <a:pt x="37" y="67"/>
                    <a:pt x="42" y="62"/>
                    <a:pt x="42" y="62"/>
                  </a:cubicBezTo>
                  <a:cubicBezTo>
                    <a:pt x="42" y="62"/>
                    <a:pt x="67" y="62"/>
                    <a:pt x="67" y="62"/>
                  </a:cubicBezTo>
                  <a:cubicBezTo>
                    <a:pt x="68" y="62"/>
                    <a:pt x="75" y="58"/>
                    <a:pt x="79" y="58"/>
                  </a:cubicBezTo>
                  <a:cubicBezTo>
                    <a:pt x="83" y="57"/>
                    <a:pt x="105" y="62"/>
                    <a:pt x="108" y="62"/>
                  </a:cubicBezTo>
                  <a:cubicBezTo>
                    <a:pt x="112" y="62"/>
                    <a:pt x="115" y="58"/>
                    <a:pt x="119" y="56"/>
                  </a:cubicBezTo>
                  <a:cubicBezTo>
                    <a:pt x="123" y="55"/>
                    <a:pt x="127" y="58"/>
                    <a:pt x="127" y="58"/>
                  </a:cubicBezTo>
                  <a:cubicBezTo>
                    <a:pt x="128" y="58"/>
                    <a:pt x="129" y="57"/>
                    <a:pt x="138" y="57"/>
                  </a:cubicBezTo>
                  <a:cubicBezTo>
                    <a:pt x="145" y="56"/>
                    <a:pt x="154" y="63"/>
                    <a:pt x="160" y="68"/>
                  </a:cubicBezTo>
                  <a:cubicBezTo>
                    <a:pt x="166" y="63"/>
                    <a:pt x="177" y="53"/>
                    <a:pt x="183" y="50"/>
                  </a:cubicBezTo>
                  <a:cubicBezTo>
                    <a:pt x="190" y="48"/>
                    <a:pt x="187" y="35"/>
                    <a:pt x="187" y="35"/>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4" name="Freeform 1212"/>
            <p:cNvSpPr>
              <a:spLocks noChangeAspect="1"/>
            </p:cNvSpPr>
            <p:nvPr/>
          </p:nvSpPr>
          <p:spPr bwMode="auto">
            <a:xfrm>
              <a:off x="12995185" y="4372692"/>
              <a:ext cx="278706" cy="290732"/>
            </a:xfrm>
            <a:custGeom>
              <a:avLst/>
              <a:gdLst>
                <a:gd name="T0" fmla="*/ 74 w 75"/>
                <a:gd name="T1" fmla="*/ 33 h 104"/>
                <a:gd name="T2" fmla="*/ 68 w 75"/>
                <a:gd name="T3" fmla="*/ 12 h 104"/>
                <a:gd name="T4" fmla="*/ 66 w 75"/>
                <a:gd name="T5" fmla="*/ 12 h 104"/>
                <a:gd name="T6" fmla="*/ 53 w 75"/>
                <a:gd name="T7" fmla="*/ 0 h 104"/>
                <a:gd name="T8" fmla="*/ 53 w 75"/>
                <a:gd name="T9" fmla="*/ 1 h 104"/>
                <a:gd name="T10" fmla="*/ 43 w 75"/>
                <a:gd name="T11" fmla="*/ 3 h 104"/>
                <a:gd name="T12" fmla="*/ 41 w 75"/>
                <a:gd name="T13" fmla="*/ 17 h 104"/>
                <a:gd name="T14" fmla="*/ 31 w 75"/>
                <a:gd name="T15" fmla="*/ 17 h 104"/>
                <a:gd name="T16" fmla="*/ 26 w 75"/>
                <a:gd name="T17" fmla="*/ 25 h 104"/>
                <a:gd name="T18" fmla="*/ 17 w 75"/>
                <a:gd name="T19" fmla="*/ 25 h 104"/>
                <a:gd name="T20" fmla="*/ 4 w 75"/>
                <a:gd name="T21" fmla="*/ 32 h 104"/>
                <a:gd name="T22" fmla="*/ 5 w 75"/>
                <a:gd name="T23" fmla="*/ 43 h 104"/>
                <a:gd name="T24" fmla="*/ 0 w 75"/>
                <a:gd name="T25" fmla="*/ 52 h 104"/>
                <a:gd name="T26" fmla="*/ 3 w 75"/>
                <a:gd name="T27" fmla="*/ 63 h 104"/>
                <a:gd name="T28" fmla="*/ 3 w 75"/>
                <a:gd name="T29" fmla="*/ 70 h 104"/>
                <a:gd name="T30" fmla="*/ 8 w 75"/>
                <a:gd name="T31" fmla="*/ 78 h 104"/>
                <a:gd name="T32" fmla="*/ 10 w 75"/>
                <a:gd name="T33" fmla="*/ 90 h 104"/>
                <a:gd name="T34" fmla="*/ 22 w 75"/>
                <a:gd name="T35" fmla="*/ 90 h 104"/>
                <a:gd name="T36" fmla="*/ 28 w 75"/>
                <a:gd name="T37" fmla="*/ 101 h 104"/>
                <a:gd name="T38" fmla="*/ 40 w 75"/>
                <a:gd name="T39" fmla="*/ 90 h 104"/>
                <a:gd name="T40" fmla="*/ 34 w 75"/>
                <a:gd name="T41" fmla="*/ 80 h 104"/>
                <a:gd name="T42" fmla="*/ 40 w 75"/>
                <a:gd name="T43" fmla="*/ 69 h 104"/>
                <a:gd name="T44" fmla="*/ 44 w 75"/>
                <a:gd name="T45" fmla="*/ 67 h 104"/>
                <a:gd name="T46" fmla="*/ 48 w 75"/>
                <a:gd name="T47" fmla="*/ 59 h 104"/>
                <a:gd name="T48" fmla="*/ 43 w 75"/>
                <a:gd name="T49" fmla="*/ 51 h 104"/>
                <a:gd name="T50" fmla="*/ 47 w 75"/>
                <a:gd name="T51" fmla="*/ 45 h 104"/>
                <a:gd name="T52" fmla="*/ 51 w 75"/>
                <a:gd name="T53" fmla="*/ 53 h 104"/>
                <a:gd name="T54" fmla="*/ 55 w 75"/>
                <a:gd name="T55" fmla="*/ 48 h 104"/>
                <a:gd name="T56" fmla="*/ 63 w 75"/>
                <a:gd name="T57" fmla="*/ 44 h 104"/>
                <a:gd name="T58" fmla="*/ 66 w 75"/>
                <a:gd name="T59" fmla="*/ 51 h 104"/>
                <a:gd name="T60" fmla="*/ 66 w 75"/>
                <a:gd name="T61" fmla="*/ 52 h 104"/>
                <a:gd name="T62" fmla="*/ 74 w 75"/>
                <a:gd name="T63" fmla="*/ 3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104">
                  <a:moveTo>
                    <a:pt x="74" y="33"/>
                  </a:moveTo>
                  <a:cubicBezTo>
                    <a:pt x="74" y="32"/>
                    <a:pt x="70" y="22"/>
                    <a:pt x="68" y="12"/>
                  </a:cubicBezTo>
                  <a:cubicBezTo>
                    <a:pt x="67" y="12"/>
                    <a:pt x="66" y="12"/>
                    <a:pt x="66" y="12"/>
                  </a:cubicBezTo>
                  <a:cubicBezTo>
                    <a:pt x="65" y="12"/>
                    <a:pt x="60" y="7"/>
                    <a:pt x="53" y="0"/>
                  </a:cubicBezTo>
                  <a:cubicBezTo>
                    <a:pt x="53" y="0"/>
                    <a:pt x="53" y="1"/>
                    <a:pt x="53" y="1"/>
                  </a:cubicBezTo>
                  <a:cubicBezTo>
                    <a:pt x="51" y="5"/>
                    <a:pt x="44" y="3"/>
                    <a:pt x="43" y="3"/>
                  </a:cubicBezTo>
                  <a:cubicBezTo>
                    <a:pt x="41" y="3"/>
                    <a:pt x="44" y="13"/>
                    <a:pt x="41" y="17"/>
                  </a:cubicBezTo>
                  <a:cubicBezTo>
                    <a:pt x="39" y="22"/>
                    <a:pt x="32" y="17"/>
                    <a:pt x="31" y="17"/>
                  </a:cubicBezTo>
                  <a:cubicBezTo>
                    <a:pt x="30" y="17"/>
                    <a:pt x="28" y="22"/>
                    <a:pt x="26" y="25"/>
                  </a:cubicBezTo>
                  <a:cubicBezTo>
                    <a:pt x="24" y="29"/>
                    <a:pt x="21" y="25"/>
                    <a:pt x="17" y="25"/>
                  </a:cubicBezTo>
                  <a:cubicBezTo>
                    <a:pt x="14" y="25"/>
                    <a:pt x="6" y="31"/>
                    <a:pt x="4" y="32"/>
                  </a:cubicBezTo>
                  <a:cubicBezTo>
                    <a:pt x="2" y="34"/>
                    <a:pt x="4" y="39"/>
                    <a:pt x="5" y="43"/>
                  </a:cubicBezTo>
                  <a:cubicBezTo>
                    <a:pt x="6" y="48"/>
                    <a:pt x="1" y="49"/>
                    <a:pt x="0" y="52"/>
                  </a:cubicBezTo>
                  <a:cubicBezTo>
                    <a:pt x="0" y="55"/>
                    <a:pt x="2" y="61"/>
                    <a:pt x="3" y="63"/>
                  </a:cubicBezTo>
                  <a:cubicBezTo>
                    <a:pt x="4" y="64"/>
                    <a:pt x="3" y="67"/>
                    <a:pt x="3" y="70"/>
                  </a:cubicBezTo>
                  <a:cubicBezTo>
                    <a:pt x="2" y="73"/>
                    <a:pt x="7" y="78"/>
                    <a:pt x="8" y="78"/>
                  </a:cubicBezTo>
                  <a:cubicBezTo>
                    <a:pt x="8" y="79"/>
                    <a:pt x="8" y="85"/>
                    <a:pt x="10" y="90"/>
                  </a:cubicBezTo>
                  <a:cubicBezTo>
                    <a:pt x="11" y="94"/>
                    <a:pt x="16" y="88"/>
                    <a:pt x="22" y="90"/>
                  </a:cubicBezTo>
                  <a:cubicBezTo>
                    <a:pt x="28" y="91"/>
                    <a:pt x="25" y="97"/>
                    <a:pt x="28" y="101"/>
                  </a:cubicBezTo>
                  <a:cubicBezTo>
                    <a:pt x="31" y="104"/>
                    <a:pt x="40" y="92"/>
                    <a:pt x="40" y="90"/>
                  </a:cubicBezTo>
                  <a:cubicBezTo>
                    <a:pt x="40" y="87"/>
                    <a:pt x="34" y="81"/>
                    <a:pt x="34" y="80"/>
                  </a:cubicBezTo>
                  <a:cubicBezTo>
                    <a:pt x="33" y="78"/>
                    <a:pt x="39" y="71"/>
                    <a:pt x="40" y="69"/>
                  </a:cubicBezTo>
                  <a:cubicBezTo>
                    <a:pt x="41" y="67"/>
                    <a:pt x="44" y="67"/>
                    <a:pt x="44" y="67"/>
                  </a:cubicBezTo>
                  <a:cubicBezTo>
                    <a:pt x="45" y="66"/>
                    <a:pt x="47" y="62"/>
                    <a:pt x="48" y="59"/>
                  </a:cubicBezTo>
                  <a:cubicBezTo>
                    <a:pt x="49" y="55"/>
                    <a:pt x="43" y="51"/>
                    <a:pt x="43" y="51"/>
                  </a:cubicBezTo>
                  <a:cubicBezTo>
                    <a:pt x="43" y="50"/>
                    <a:pt x="46" y="47"/>
                    <a:pt x="47" y="45"/>
                  </a:cubicBezTo>
                  <a:cubicBezTo>
                    <a:pt x="48" y="44"/>
                    <a:pt x="51" y="53"/>
                    <a:pt x="51" y="53"/>
                  </a:cubicBezTo>
                  <a:cubicBezTo>
                    <a:pt x="51" y="53"/>
                    <a:pt x="55" y="49"/>
                    <a:pt x="55" y="48"/>
                  </a:cubicBezTo>
                  <a:cubicBezTo>
                    <a:pt x="56" y="47"/>
                    <a:pt x="63" y="45"/>
                    <a:pt x="63" y="44"/>
                  </a:cubicBezTo>
                  <a:cubicBezTo>
                    <a:pt x="64" y="43"/>
                    <a:pt x="65" y="48"/>
                    <a:pt x="66" y="51"/>
                  </a:cubicBezTo>
                  <a:cubicBezTo>
                    <a:pt x="66" y="52"/>
                    <a:pt x="66" y="52"/>
                    <a:pt x="66" y="52"/>
                  </a:cubicBezTo>
                  <a:cubicBezTo>
                    <a:pt x="69" y="45"/>
                    <a:pt x="75" y="34"/>
                    <a:pt x="74" y="33"/>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5" name="Freeform 1213"/>
            <p:cNvSpPr>
              <a:spLocks noChangeAspect="1"/>
            </p:cNvSpPr>
            <p:nvPr/>
          </p:nvSpPr>
          <p:spPr bwMode="auto">
            <a:xfrm>
              <a:off x="12514863" y="3608907"/>
              <a:ext cx="1514104" cy="804850"/>
            </a:xfrm>
            <a:custGeom>
              <a:avLst/>
              <a:gdLst>
                <a:gd name="T0" fmla="*/ 369 w 407"/>
                <a:gd name="T1" fmla="*/ 19 h 288"/>
                <a:gd name="T2" fmla="*/ 336 w 407"/>
                <a:gd name="T3" fmla="*/ 20 h 288"/>
                <a:gd name="T4" fmla="*/ 313 w 407"/>
                <a:gd name="T5" fmla="*/ 31 h 288"/>
                <a:gd name="T6" fmla="*/ 297 w 407"/>
                <a:gd name="T7" fmla="*/ 36 h 288"/>
                <a:gd name="T8" fmla="*/ 248 w 407"/>
                <a:gd name="T9" fmla="*/ 96 h 288"/>
                <a:gd name="T10" fmla="*/ 206 w 407"/>
                <a:gd name="T11" fmla="*/ 92 h 288"/>
                <a:gd name="T12" fmla="*/ 168 w 407"/>
                <a:gd name="T13" fmla="*/ 109 h 288"/>
                <a:gd name="T14" fmla="*/ 166 w 407"/>
                <a:gd name="T15" fmla="*/ 119 h 288"/>
                <a:gd name="T16" fmla="*/ 155 w 407"/>
                <a:gd name="T17" fmla="*/ 119 h 288"/>
                <a:gd name="T18" fmla="*/ 145 w 407"/>
                <a:gd name="T19" fmla="*/ 125 h 288"/>
                <a:gd name="T20" fmla="*/ 126 w 407"/>
                <a:gd name="T21" fmla="*/ 128 h 288"/>
                <a:gd name="T22" fmla="*/ 96 w 407"/>
                <a:gd name="T23" fmla="*/ 131 h 288"/>
                <a:gd name="T24" fmla="*/ 71 w 407"/>
                <a:gd name="T25" fmla="*/ 119 h 288"/>
                <a:gd name="T26" fmla="*/ 57 w 407"/>
                <a:gd name="T27" fmla="*/ 132 h 288"/>
                <a:gd name="T28" fmla="*/ 28 w 407"/>
                <a:gd name="T29" fmla="*/ 136 h 288"/>
                <a:gd name="T30" fmla="*/ 17 w 407"/>
                <a:gd name="T31" fmla="*/ 156 h 288"/>
                <a:gd name="T32" fmla="*/ 7 w 407"/>
                <a:gd name="T33" fmla="*/ 170 h 288"/>
                <a:gd name="T34" fmla="*/ 8 w 407"/>
                <a:gd name="T35" fmla="*/ 182 h 288"/>
                <a:gd name="T36" fmla="*/ 32 w 407"/>
                <a:gd name="T37" fmla="*/ 169 h 288"/>
                <a:gd name="T38" fmla="*/ 50 w 407"/>
                <a:gd name="T39" fmla="*/ 193 h 288"/>
                <a:gd name="T40" fmla="*/ 63 w 407"/>
                <a:gd name="T41" fmla="*/ 199 h 288"/>
                <a:gd name="T42" fmla="*/ 89 w 407"/>
                <a:gd name="T43" fmla="*/ 172 h 288"/>
                <a:gd name="T44" fmla="*/ 144 w 407"/>
                <a:gd name="T45" fmla="*/ 180 h 288"/>
                <a:gd name="T46" fmla="*/ 207 w 407"/>
                <a:gd name="T47" fmla="*/ 181 h 288"/>
                <a:gd name="T48" fmla="*/ 212 w 407"/>
                <a:gd name="T49" fmla="*/ 205 h 288"/>
                <a:gd name="T50" fmla="*/ 224 w 407"/>
                <a:gd name="T51" fmla="*/ 221 h 288"/>
                <a:gd name="T52" fmla="*/ 205 w 407"/>
                <a:gd name="T53" fmla="*/ 242 h 288"/>
                <a:gd name="T54" fmla="*/ 184 w 407"/>
                <a:gd name="T55" fmla="*/ 260 h 288"/>
                <a:gd name="T56" fmla="*/ 195 w 407"/>
                <a:gd name="T57" fmla="*/ 285 h 288"/>
                <a:gd name="T58" fmla="*/ 215 w 407"/>
                <a:gd name="T59" fmla="*/ 266 h 288"/>
                <a:gd name="T60" fmla="*/ 215 w 407"/>
                <a:gd name="T61" fmla="*/ 266 h 288"/>
                <a:gd name="T62" fmla="*/ 226 w 407"/>
                <a:gd name="T63" fmla="*/ 265 h 288"/>
                <a:gd name="T64" fmla="*/ 227 w 407"/>
                <a:gd name="T65" fmla="*/ 265 h 288"/>
                <a:gd name="T66" fmla="*/ 229 w 407"/>
                <a:gd name="T67" fmla="*/ 265 h 288"/>
                <a:gd name="T68" fmla="*/ 230 w 407"/>
                <a:gd name="T69" fmla="*/ 264 h 288"/>
                <a:gd name="T70" fmla="*/ 231 w 407"/>
                <a:gd name="T71" fmla="*/ 263 h 288"/>
                <a:gd name="T72" fmla="*/ 231 w 407"/>
                <a:gd name="T73" fmla="*/ 262 h 288"/>
                <a:gd name="T74" fmla="*/ 231 w 407"/>
                <a:gd name="T75" fmla="*/ 262 h 288"/>
                <a:gd name="T76" fmla="*/ 250 w 407"/>
                <a:gd name="T77" fmla="*/ 189 h 288"/>
                <a:gd name="T78" fmla="*/ 292 w 407"/>
                <a:gd name="T79" fmla="*/ 117 h 288"/>
                <a:gd name="T80" fmla="*/ 318 w 407"/>
                <a:gd name="T81" fmla="*/ 81 h 288"/>
                <a:gd name="T82" fmla="*/ 346 w 407"/>
                <a:gd name="T83" fmla="*/ 56 h 288"/>
                <a:gd name="T84" fmla="*/ 394 w 407"/>
                <a:gd name="T85" fmla="*/ 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7" h="288">
                  <a:moveTo>
                    <a:pt x="394" y="25"/>
                  </a:moveTo>
                  <a:cubicBezTo>
                    <a:pt x="381" y="22"/>
                    <a:pt x="363" y="25"/>
                    <a:pt x="369" y="19"/>
                  </a:cubicBezTo>
                  <a:cubicBezTo>
                    <a:pt x="375" y="13"/>
                    <a:pt x="385" y="2"/>
                    <a:pt x="381" y="1"/>
                  </a:cubicBezTo>
                  <a:cubicBezTo>
                    <a:pt x="376" y="0"/>
                    <a:pt x="343" y="12"/>
                    <a:pt x="336" y="20"/>
                  </a:cubicBezTo>
                  <a:cubicBezTo>
                    <a:pt x="330" y="27"/>
                    <a:pt x="328" y="37"/>
                    <a:pt x="322" y="38"/>
                  </a:cubicBezTo>
                  <a:cubicBezTo>
                    <a:pt x="317" y="39"/>
                    <a:pt x="316" y="28"/>
                    <a:pt x="313" y="31"/>
                  </a:cubicBezTo>
                  <a:cubicBezTo>
                    <a:pt x="310" y="34"/>
                    <a:pt x="304" y="39"/>
                    <a:pt x="304" y="39"/>
                  </a:cubicBezTo>
                  <a:cubicBezTo>
                    <a:pt x="297" y="36"/>
                    <a:pt x="297" y="36"/>
                    <a:pt x="297" y="36"/>
                  </a:cubicBezTo>
                  <a:cubicBezTo>
                    <a:pt x="297" y="36"/>
                    <a:pt x="286" y="52"/>
                    <a:pt x="273" y="64"/>
                  </a:cubicBezTo>
                  <a:cubicBezTo>
                    <a:pt x="261" y="76"/>
                    <a:pt x="252" y="95"/>
                    <a:pt x="248" y="96"/>
                  </a:cubicBezTo>
                  <a:cubicBezTo>
                    <a:pt x="244" y="97"/>
                    <a:pt x="222" y="97"/>
                    <a:pt x="218" y="97"/>
                  </a:cubicBezTo>
                  <a:cubicBezTo>
                    <a:pt x="214" y="96"/>
                    <a:pt x="206" y="92"/>
                    <a:pt x="206" y="92"/>
                  </a:cubicBezTo>
                  <a:cubicBezTo>
                    <a:pt x="206" y="92"/>
                    <a:pt x="179" y="105"/>
                    <a:pt x="176" y="107"/>
                  </a:cubicBezTo>
                  <a:cubicBezTo>
                    <a:pt x="175" y="107"/>
                    <a:pt x="172" y="108"/>
                    <a:pt x="168" y="109"/>
                  </a:cubicBezTo>
                  <a:cubicBezTo>
                    <a:pt x="171" y="111"/>
                    <a:pt x="173" y="114"/>
                    <a:pt x="174" y="115"/>
                  </a:cubicBezTo>
                  <a:cubicBezTo>
                    <a:pt x="175" y="120"/>
                    <a:pt x="169" y="119"/>
                    <a:pt x="166" y="119"/>
                  </a:cubicBezTo>
                  <a:cubicBezTo>
                    <a:pt x="163" y="119"/>
                    <a:pt x="165" y="122"/>
                    <a:pt x="164" y="123"/>
                  </a:cubicBezTo>
                  <a:cubicBezTo>
                    <a:pt x="163" y="125"/>
                    <a:pt x="157" y="120"/>
                    <a:pt x="155" y="119"/>
                  </a:cubicBezTo>
                  <a:cubicBezTo>
                    <a:pt x="153" y="119"/>
                    <a:pt x="153" y="124"/>
                    <a:pt x="151" y="125"/>
                  </a:cubicBezTo>
                  <a:cubicBezTo>
                    <a:pt x="150" y="125"/>
                    <a:pt x="150" y="124"/>
                    <a:pt x="145" y="125"/>
                  </a:cubicBezTo>
                  <a:cubicBezTo>
                    <a:pt x="139" y="125"/>
                    <a:pt x="142" y="120"/>
                    <a:pt x="135" y="118"/>
                  </a:cubicBezTo>
                  <a:cubicBezTo>
                    <a:pt x="128" y="116"/>
                    <a:pt x="126" y="128"/>
                    <a:pt x="126" y="128"/>
                  </a:cubicBezTo>
                  <a:cubicBezTo>
                    <a:pt x="126" y="128"/>
                    <a:pt x="123" y="123"/>
                    <a:pt x="117" y="123"/>
                  </a:cubicBezTo>
                  <a:cubicBezTo>
                    <a:pt x="112" y="123"/>
                    <a:pt x="100" y="129"/>
                    <a:pt x="96" y="131"/>
                  </a:cubicBezTo>
                  <a:cubicBezTo>
                    <a:pt x="92" y="134"/>
                    <a:pt x="89" y="129"/>
                    <a:pt x="84" y="129"/>
                  </a:cubicBezTo>
                  <a:cubicBezTo>
                    <a:pt x="80" y="128"/>
                    <a:pt x="73" y="119"/>
                    <a:pt x="71" y="119"/>
                  </a:cubicBezTo>
                  <a:cubicBezTo>
                    <a:pt x="70" y="119"/>
                    <a:pt x="70" y="120"/>
                    <a:pt x="64" y="123"/>
                  </a:cubicBezTo>
                  <a:cubicBezTo>
                    <a:pt x="58" y="125"/>
                    <a:pt x="60" y="129"/>
                    <a:pt x="57" y="132"/>
                  </a:cubicBezTo>
                  <a:cubicBezTo>
                    <a:pt x="55" y="135"/>
                    <a:pt x="50" y="133"/>
                    <a:pt x="44" y="134"/>
                  </a:cubicBezTo>
                  <a:cubicBezTo>
                    <a:pt x="39" y="135"/>
                    <a:pt x="28" y="136"/>
                    <a:pt x="28" y="136"/>
                  </a:cubicBezTo>
                  <a:cubicBezTo>
                    <a:pt x="28" y="136"/>
                    <a:pt x="28" y="135"/>
                    <a:pt x="28" y="135"/>
                  </a:cubicBezTo>
                  <a:cubicBezTo>
                    <a:pt x="25" y="142"/>
                    <a:pt x="18" y="155"/>
                    <a:pt x="17" y="156"/>
                  </a:cubicBezTo>
                  <a:cubicBezTo>
                    <a:pt x="17" y="158"/>
                    <a:pt x="14" y="156"/>
                    <a:pt x="7" y="157"/>
                  </a:cubicBezTo>
                  <a:cubicBezTo>
                    <a:pt x="0" y="158"/>
                    <a:pt x="5" y="167"/>
                    <a:pt x="7" y="170"/>
                  </a:cubicBezTo>
                  <a:cubicBezTo>
                    <a:pt x="9" y="172"/>
                    <a:pt x="5" y="174"/>
                    <a:pt x="1" y="176"/>
                  </a:cubicBezTo>
                  <a:cubicBezTo>
                    <a:pt x="4" y="178"/>
                    <a:pt x="7" y="180"/>
                    <a:pt x="8" y="182"/>
                  </a:cubicBezTo>
                  <a:cubicBezTo>
                    <a:pt x="10" y="184"/>
                    <a:pt x="23" y="182"/>
                    <a:pt x="23" y="182"/>
                  </a:cubicBezTo>
                  <a:cubicBezTo>
                    <a:pt x="23" y="182"/>
                    <a:pt x="30" y="173"/>
                    <a:pt x="32" y="169"/>
                  </a:cubicBezTo>
                  <a:cubicBezTo>
                    <a:pt x="33" y="165"/>
                    <a:pt x="36" y="176"/>
                    <a:pt x="37" y="179"/>
                  </a:cubicBezTo>
                  <a:cubicBezTo>
                    <a:pt x="37" y="182"/>
                    <a:pt x="50" y="189"/>
                    <a:pt x="50" y="193"/>
                  </a:cubicBezTo>
                  <a:cubicBezTo>
                    <a:pt x="50" y="195"/>
                    <a:pt x="51" y="198"/>
                    <a:pt x="52" y="201"/>
                  </a:cubicBezTo>
                  <a:cubicBezTo>
                    <a:pt x="57" y="201"/>
                    <a:pt x="63" y="202"/>
                    <a:pt x="63" y="199"/>
                  </a:cubicBezTo>
                  <a:cubicBezTo>
                    <a:pt x="62" y="195"/>
                    <a:pt x="58" y="178"/>
                    <a:pt x="64" y="177"/>
                  </a:cubicBezTo>
                  <a:cubicBezTo>
                    <a:pt x="71" y="176"/>
                    <a:pt x="84" y="172"/>
                    <a:pt x="89" y="172"/>
                  </a:cubicBezTo>
                  <a:cubicBezTo>
                    <a:pt x="93" y="171"/>
                    <a:pt x="134" y="193"/>
                    <a:pt x="137" y="188"/>
                  </a:cubicBezTo>
                  <a:cubicBezTo>
                    <a:pt x="141" y="182"/>
                    <a:pt x="142" y="180"/>
                    <a:pt x="144" y="180"/>
                  </a:cubicBezTo>
                  <a:cubicBezTo>
                    <a:pt x="147" y="179"/>
                    <a:pt x="189" y="188"/>
                    <a:pt x="192" y="186"/>
                  </a:cubicBezTo>
                  <a:cubicBezTo>
                    <a:pt x="196" y="185"/>
                    <a:pt x="207" y="178"/>
                    <a:pt x="207" y="181"/>
                  </a:cubicBezTo>
                  <a:cubicBezTo>
                    <a:pt x="207" y="183"/>
                    <a:pt x="215" y="191"/>
                    <a:pt x="215" y="194"/>
                  </a:cubicBezTo>
                  <a:cubicBezTo>
                    <a:pt x="214" y="196"/>
                    <a:pt x="210" y="205"/>
                    <a:pt x="212" y="205"/>
                  </a:cubicBezTo>
                  <a:cubicBezTo>
                    <a:pt x="213" y="205"/>
                    <a:pt x="228" y="206"/>
                    <a:pt x="228" y="206"/>
                  </a:cubicBezTo>
                  <a:cubicBezTo>
                    <a:pt x="228" y="206"/>
                    <a:pt x="231" y="219"/>
                    <a:pt x="224" y="221"/>
                  </a:cubicBezTo>
                  <a:cubicBezTo>
                    <a:pt x="218" y="224"/>
                    <a:pt x="207" y="234"/>
                    <a:pt x="201" y="239"/>
                  </a:cubicBezTo>
                  <a:cubicBezTo>
                    <a:pt x="203" y="240"/>
                    <a:pt x="205" y="242"/>
                    <a:pt x="205" y="242"/>
                  </a:cubicBezTo>
                  <a:cubicBezTo>
                    <a:pt x="207" y="244"/>
                    <a:pt x="194" y="249"/>
                    <a:pt x="192" y="249"/>
                  </a:cubicBezTo>
                  <a:cubicBezTo>
                    <a:pt x="191" y="249"/>
                    <a:pt x="184" y="259"/>
                    <a:pt x="184" y="260"/>
                  </a:cubicBezTo>
                  <a:cubicBezTo>
                    <a:pt x="183" y="261"/>
                    <a:pt x="183" y="269"/>
                    <a:pt x="182" y="273"/>
                  </a:cubicBezTo>
                  <a:cubicBezTo>
                    <a:pt x="189" y="280"/>
                    <a:pt x="194" y="285"/>
                    <a:pt x="195" y="285"/>
                  </a:cubicBezTo>
                  <a:cubicBezTo>
                    <a:pt x="197" y="285"/>
                    <a:pt x="213" y="288"/>
                    <a:pt x="212" y="285"/>
                  </a:cubicBezTo>
                  <a:cubicBezTo>
                    <a:pt x="211" y="281"/>
                    <a:pt x="211" y="266"/>
                    <a:pt x="215" y="266"/>
                  </a:cubicBezTo>
                  <a:cubicBezTo>
                    <a:pt x="214" y="266"/>
                    <a:pt x="214" y="266"/>
                    <a:pt x="214" y="266"/>
                  </a:cubicBezTo>
                  <a:cubicBezTo>
                    <a:pt x="214" y="266"/>
                    <a:pt x="215" y="266"/>
                    <a:pt x="215" y="266"/>
                  </a:cubicBezTo>
                  <a:cubicBezTo>
                    <a:pt x="215" y="266"/>
                    <a:pt x="215" y="266"/>
                    <a:pt x="215" y="266"/>
                  </a:cubicBezTo>
                  <a:cubicBezTo>
                    <a:pt x="218" y="265"/>
                    <a:pt x="222" y="265"/>
                    <a:pt x="226" y="265"/>
                  </a:cubicBezTo>
                  <a:cubicBezTo>
                    <a:pt x="226" y="265"/>
                    <a:pt x="226" y="265"/>
                    <a:pt x="226" y="265"/>
                  </a:cubicBezTo>
                  <a:cubicBezTo>
                    <a:pt x="226" y="265"/>
                    <a:pt x="227" y="265"/>
                    <a:pt x="227" y="265"/>
                  </a:cubicBezTo>
                  <a:cubicBezTo>
                    <a:pt x="227" y="265"/>
                    <a:pt x="228" y="265"/>
                    <a:pt x="228" y="265"/>
                  </a:cubicBezTo>
                  <a:cubicBezTo>
                    <a:pt x="228" y="265"/>
                    <a:pt x="229" y="265"/>
                    <a:pt x="229" y="265"/>
                  </a:cubicBezTo>
                  <a:cubicBezTo>
                    <a:pt x="229" y="265"/>
                    <a:pt x="229" y="265"/>
                    <a:pt x="229" y="265"/>
                  </a:cubicBezTo>
                  <a:cubicBezTo>
                    <a:pt x="230" y="264"/>
                    <a:pt x="230" y="264"/>
                    <a:pt x="230" y="264"/>
                  </a:cubicBezTo>
                  <a:cubicBezTo>
                    <a:pt x="230" y="264"/>
                    <a:pt x="230" y="264"/>
                    <a:pt x="230" y="263"/>
                  </a:cubicBezTo>
                  <a:cubicBezTo>
                    <a:pt x="230" y="263"/>
                    <a:pt x="230" y="263"/>
                    <a:pt x="231" y="263"/>
                  </a:cubicBezTo>
                  <a:cubicBezTo>
                    <a:pt x="231" y="263"/>
                    <a:pt x="231" y="263"/>
                    <a:pt x="231" y="263"/>
                  </a:cubicBezTo>
                  <a:cubicBezTo>
                    <a:pt x="231" y="263"/>
                    <a:pt x="231" y="263"/>
                    <a:pt x="231" y="262"/>
                  </a:cubicBezTo>
                  <a:cubicBezTo>
                    <a:pt x="231" y="262"/>
                    <a:pt x="231" y="262"/>
                    <a:pt x="231" y="262"/>
                  </a:cubicBezTo>
                  <a:cubicBezTo>
                    <a:pt x="231" y="262"/>
                    <a:pt x="231" y="262"/>
                    <a:pt x="231" y="262"/>
                  </a:cubicBezTo>
                  <a:cubicBezTo>
                    <a:pt x="237" y="250"/>
                    <a:pt x="259" y="204"/>
                    <a:pt x="257" y="199"/>
                  </a:cubicBezTo>
                  <a:cubicBezTo>
                    <a:pt x="254" y="194"/>
                    <a:pt x="247" y="191"/>
                    <a:pt x="250" y="189"/>
                  </a:cubicBezTo>
                  <a:cubicBezTo>
                    <a:pt x="252" y="187"/>
                    <a:pt x="282" y="163"/>
                    <a:pt x="280" y="158"/>
                  </a:cubicBezTo>
                  <a:cubicBezTo>
                    <a:pt x="279" y="154"/>
                    <a:pt x="283" y="125"/>
                    <a:pt x="292" y="117"/>
                  </a:cubicBezTo>
                  <a:cubicBezTo>
                    <a:pt x="301" y="109"/>
                    <a:pt x="317" y="104"/>
                    <a:pt x="318" y="99"/>
                  </a:cubicBezTo>
                  <a:cubicBezTo>
                    <a:pt x="318" y="94"/>
                    <a:pt x="313" y="80"/>
                    <a:pt x="318" y="81"/>
                  </a:cubicBezTo>
                  <a:cubicBezTo>
                    <a:pt x="322" y="81"/>
                    <a:pt x="338" y="88"/>
                    <a:pt x="343" y="78"/>
                  </a:cubicBezTo>
                  <a:cubicBezTo>
                    <a:pt x="348" y="68"/>
                    <a:pt x="342" y="56"/>
                    <a:pt x="346" y="56"/>
                  </a:cubicBezTo>
                  <a:cubicBezTo>
                    <a:pt x="350" y="56"/>
                    <a:pt x="377" y="59"/>
                    <a:pt x="384" y="47"/>
                  </a:cubicBezTo>
                  <a:cubicBezTo>
                    <a:pt x="391" y="35"/>
                    <a:pt x="407" y="29"/>
                    <a:pt x="394" y="25"/>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noFill/>
                <a:latin typeface="Arial" pitchFamily="34" charset="0"/>
                <a:cs typeface="Arial" pitchFamily="34" charset="0"/>
              </a:endParaRPr>
            </a:p>
          </p:txBody>
        </p:sp>
        <p:sp>
          <p:nvSpPr>
            <p:cNvPr id="46" name="Freeform 1214"/>
            <p:cNvSpPr>
              <a:spLocks noChangeAspect="1"/>
            </p:cNvSpPr>
            <p:nvPr/>
          </p:nvSpPr>
          <p:spPr bwMode="auto">
            <a:xfrm>
              <a:off x="13240288" y="4334916"/>
              <a:ext cx="264869" cy="484553"/>
            </a:xfrm>
            <a:custGeom>
              <a:avLst/>
              <a:gdLst>
                <a:gd name="T0" fmla="*/ 377023603 w 71"/>
                <a:gd name="T1" fmla="*/ 190524481 h 173"/>
                <a:gd name="T2" fmla="*/ 332141624 w 71"/>
                <a:gd name="T3" fmla="*/ 0 h 173"/>
                <a:gd name="T4" fmla="*/ 314185837 w 71"/>
                <a:gd name="T5" fmla="*/ 29311459 h 173"/>
                <a:gd name="T6" fmla="*/ 179536904 w 71"/>
                <a:gd name="T7" fmla="*/ 43967188 h 173"/>
                <a:gd name="T8" fmla="*/ 170557512 w 71"/>
                <a:gd name="T9" fmla="*/ 43967188 h 173"/>
                <a:gd name="T10" fmla="*/ 152604720 w 71"/>
                <a:gd name="T11" fmla="*/ 183196616 h 173"/>
                <a:gd name="T12" fmla="*/ 17952792 w 71"/>
                <a:gd name="T13" fmla="*/ 183196616 h 173"/>
                <a:gd name="T14" fmla="*/ 71814162 w 71"/>
                <a:gd name="T15" fmla="*/ 337081774 h 173"/>
                <a:gd name="T16" fmla="*/ 0 w 71"/>
                <a:gd name="T17" fmla="*/ 476311202 h 173"/>
                <a:gd name="T18" fmla="*/ 71814162 w 71"/>
                <a:gd name="T19" fmla="*/ 622868495 h 173"/>
                <a:gd name="T20" fmla="*/ 44884975 w 71"/>
                <a:gd name="T21" fmla="*/ 696149849 h 173"/>
                <a:gd name="T22" fmla="*/ 53861371 w 71"/>
                <a:gd name="T23" fmla="*/ 784084224 h 173"/>
                <a:gd name="T24" fmla="*/ 116699137 w 71"/>
                <a:gd name="T25" fmla="*/ 842707141 h 173"/>
                <a:gd name="T26" fmla="*/ 152604720 w 71"/>
                <a:gd name="T27" fmla="*/ 908657923 h 173"/>
                <a:gd name="T28" fmla="*/ 188513300 w 71"/>
                <a:gd name="T29" fmla="*/ 1055215216 h 173"/>
                <a:gd name="T30" fmla="*/ 260327462 w 71"/>
                <a:gd name="T31" fmla="*/ 1216428238 h 173"/>
                <a:gd name="T32" fmla="*/ 305209441 w 71"/>
                <a:gd name="T33" fmla="*/ 1150477457 h 173"/>
                <a:gd name="T34" fmla="*/ 403955787 w 71"/>
                <a:gd name="T35" fmla="*/ 1260395426 h 173"/>
                <a:gd name="T36" fmla="*/ 475769949 w 71"/>
                <a:gd name="T37" fmla="*/ 1135821727 h 173"/>
                <a:gd name="T38" fmla="*/ 547584111 w 71"/>
                <a:gd name="T39" fmla="*/ 1135821727 h 173"/>
                <a:gd name="T40" fmla="*/ 529628324 w 71"/>
                <a:gd name="T41" fmla="*/ 1025903758 h 173"/>
                <a:gd name="T42" fmla="*/ 484746345 w 71"/>
                <a:gd name="T43" fmla="*/ 996592299 h 173"/>
                <a:gd name="T44" fmla="*/ 493722740 w 71"/>
                <a:gd name="T45" fmla="*/ 923313653 h 173"/>
                <a:gd name="T46" fmla="*/ 430884974 w 71"/>
                <a:gd name="T47" fmla="*/ 776756360 h 173"/>
                <a:gd name="T48" fmla="*/ 520651928 w 71"/>
                <a:gd name="T49" fmla="*/ 718133442 h 173"/>
                <a:gd name="T50" fmla="*/ 547584111 w 71"/>
                <a:gd name="T51" fmla="*/ 769428495 h 173"/>
                <a:gd name="T52" fmla="*/ 610421878 w 71"/>
                <a:gd name="T53" fmla="*/ 732789172 h 173"/>
                <a:gd name="T54" fmla="*/ 601442486 w 71"/>
                <a:gd name="T55" fmla="*/ 359065368 h 173"/>
                <a:gd name="T56" fmla="*/ 538607715 w 71"/>
                <a:gd name="T57" fmla="*/ 278458857 h 173"/>
                <a:gd name="T58" fmla="*/ 547584111 w 71"/>
                <a:gd name="T59" fmla="*/ 241819533 h 173"/>
                <a:gd name="T60" fmla="*/ 377023603 w 71"/>
                <a:gd name="T61" fmla="*/ 190524481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1" h="173">
                  <a:moveTo>
                    <a:pt x="42" y="26"/>
                  </a:moveTo>
                  <a:cubicBezTo>
                    <a:pt x="41" y="25"/>
                    <a:pt x="38" y="5"/>
                    <a:pt x="37" y="0"/>
                  </a:cubicBezTo>
                  <a:cubicBezTo>
                    <a:pt x="36" y="2"/>
                    <a:pt x="35" y="4"/>
                    <a:pt x="35" y="4"/>
                  </a:cubicBezTo>
                  <a:cubicBezTo>
                    <a:pt x="34" y="6"/>
                    <a:pt x="24" y="5"/>
                    <a:pt x="20" y="6"/>
                  </a:cubicBezTo>
                  <a:cubicBezTo>
                    <a:pt x="20" y="6"/>
                    <a:pt x="19" y="6"/>
                    <a:pt x="19" y="6"/>
                  </a:cubicBezTo>
                  <a:cubicBezTo>
                    <a:pt x="16" y="9"/>
                    <a:pt x="16" y="21"/>
                    <a:pt x="17" y="25"/>
                  </a:cubicBezTo>
                  <a:cubicBezTo>
                    <a:pt x="18" y="28"/>
                    <a:pt x="6" y="25"/>
                    <a:pt x="2" y="25"/>
                  </a:cubicBezTo>
                  <a:cubicBezTo>
                    <a:pt x="4" y="35"/>
                    <a:pt x="8" y="45"/>
                    <a:pt x="8" y="46"/>
                  </a:cubicBezTo>
                  <a:cubicBezTo>
                    <a:pt x="9" y="47"/>
                    <a:pt x="3" y="58"/>
                    <a:pt x="0" y="65"/>
                  </a:cubicBezTo>
                  <a:cubicBezTo>
                    <a:pt x="2" y="70"/>
                    <a:pt x="8" y="85"/>
                    <a:pt x="8" y="85"/>
                  </a:cubicBezTo>
                  <a:cubicBezTo>
                    <a:pt x="7" y="86"/>
                    <a:pt x="5" y="94"/>
                    <a:pt x="5" y="95"/>
                  </a:cubicBezTo>
                  <a:cubicBezTo>
                    <a:pt x="4" y="96"/>
                    <a:pt x="6" y="105"/>
                    <a:pt x="6" y="107"/>
                  </a:cubicBezTo>
                  <a:cubicBezTo>
                    <a:pt x="6" y="110"/>
                    <a:pt x="10" y="112"/>
                    <a:pt x="13" y="115"/>
                  </a:cubicBezTo>
                  <a:cubicBezTo>
                    <a:pt x="15" y="118"/>
                    <a:pt x="17" y="122"/>
                    <a:pt x="17" y="124"/>
                  </a:cubicBezTo>
                  <a:cubicBezTo>
                    <a:pt x="18" y="125"/>
                    <a:pt x="18" y="137"/>
                    <a:pt x="21" y="144"/>
                  </a:cubicBezTo>
                  <a:cubicBezTo>
                    <a:pt x="25" y="151"/>
                    <a:pt x="25" y="164"/>
                    <a:pt x="29" y="166"/>
                  </a:cubicBezTo>
                  <a:cubicBezTo>
                    <a:pt x="33" y="167"/>
                    <a:pt x="33" y="157"/>
                    <a:pt x="34" y="157"/>
                  </a:cubicBezTo>
                  <a:cubicBezTo>
                    <a:pt x="36" y="156"/>
                    <a:pt x="42" y="171"/>
                    <a:pt x="45" y="172"/>
                  </a:cubicBezTo>
                  <a:cubicBezTo>
                    <a:pt x="48" y="173"/>
                    <a:pt x="51" y="159"/>
                    <a:pt x="53" y="155"/>
                  </a:cubicBezTo>
                  <a:cubicBezTo>
                    <a:pt x="55" y="152"/>
                    <a:pt x="59" y="155"/>
                    <a:pt x="61" y="155"/>
                  </a:cubicBezTo>
                  <a:cubicBezTo>
                    <a:pt x="62" y="155"/>
                    <a:pt x="59" y="140"/>
                    <a:pt x="59" y="140"/>
                  </a:cubicBezTo>
                  <a:cubicBezTo>
                    <a:pt x="59" y="140"/>
                    <a:pt x="54" y="137"/>
                    <a:pt x="54" y="136"/>
                  </a:cubicBezTo>
                  <a:cubicBezTo>
                    <a:pt x="54" y="136"/>
                    <a:pt x="55" y="128"/>
                    <a:pt x="55" y="126"/>
                  </a:cubicBezTo>
                  <a:cubicBezTo>
                    <a:pt x="54" y="123"/>
                    <a:pt x="49" y="110"/>
                    <a:pt x="48" y="106"/>
                  </a:cubicBezTo>
                  <a:cubicBezTo>
                    <a:pt x="48" y="103"/>
                    <a:pt x="54" y="100"/>
                    <a:pt x="58" y="98"/>
                  </a:cubicBezTo>
                  <a:cubicBezTo>
                    <a:pt x="62" y="96"/>
                    <a:pt x="59" y="103"/>
                    <a:pt x="61" y="105"/>
                  </a:cubicBezTo>
                  <a:cubicBezTo>
                    <a:pt x="63" y="106"/>
                    <a:pt x="64" y="101"/>
                    <a:pt x="68" y="100"/>
                  </a:cubicBezTo>
                  <a:cubicBezTo>
                    <a:pt x="71" y="98"/>
                    <a:pt x="67" y="53"/>
                    <a:pt x="67" y="49"/>
                  </a:cubicBezTo>
                  <a:cubicBezTo>
                    <a:pt x="67" y="45"/>
                    <a:pt x="60" y="39"/>
                    <a:pt x="60" y="38"/>
                  </a:cubicBezTo>
                  <a:cubicBezTo>
                    <a:pt x="60" y="37"/>
                    <a:pt x="60" y="35"/>
                    <a:pt x="61" y="33"/>
                  </a:cubicBezTo>
                  <a:cubicBezTo>
                    <a:pt x="55" y="31"/>
                    <a:pt x="42" y="27"/>
                    <a:pt x="42" y="26"/>
                  </a:cubicBezTo>
                  <a:close/>
                </a:path>
              </a:pathLst>
            </a:custGeom>
            <a:solidFill>
              <a:srgbClr val="FFC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47" name="Freeform 1215"/>
            <p:cNvSpPr>
              <a:spLocks noChangeAspect="1"/>
            </p:cNvSpPr>
            <p:nvPr/>
          </p:nvSpPr>
          <p:spPr bwMode="auto">
            <a:xfrm>
              <a:off x="13378652" y="4116455"/>
              <a:ext cx="375562" cy="340009"/>
            </a:xfrm>
            <a:custGeom>
              <a:avLst/>
              <a:gdLst>
                <a:gd name="T0" fmla="*/ 87 w 101"/>
                <a:gd name="T1" fmla="*/ 0 h 121"/>
                <a:gd name="T2" fmla="*/ 43 w 101"/>
                <a:gd name="T3" fmla="*/ 4 h 121"/>
                <a:gd name="T4" fmla="*/ 41 w 101"/>
                <a:gd name="T5" fmla="*/ 19 h 121"/>
                <a:gd name="T6" fmla="*/ 33 w 101"/>
                <a:gd name="T7" fmla="*/ 34 h 121"/>
                <a:gd name="T8" fmla="*/ 20 w 101"/>
                <a:gd name="T9" fmla="*/ 34 h 121"/>
                <a:gd name="T10" fmla="*/ 0 w 101"/>
                <a:gd name="T11" fmla="*/ 78 h 121"/>
                <a:gd name="T12" fmla="*/ 5 w 101"/>
                <a:gd name="T13" fmla="*/ 104 h 121"/>
                <a:gd name="T14" fmla="*/ 24 w 101"/>
                <a:gd name="T15" fmla="*/ 111 h 121"/>
                <a:gd name="T16" fmla="*/ 28 w 101"/>
                <a:gd name="T17" fmla="*/ 108 h 121"/>
                <a:gd name="T18" fmla="*/ 32 w 101"/>
                <a:gd name="T19" fmla="*/ 116 h 121"/>
                <a:gd name="T20" fmla="*/ 39 w 101"/>
                <a:gd name="T21" fmla="*/ 117 h 121"/>
                <a:gd name="T22" fmla="*/ 47 w 101"/>
                <a:gd name="T23" fmla="*/ 113 h 121"/>
                <a:gd name="T24" fmla="*/ 53 w 101"/>
                <a:gd name="T25" fmla="*/ 119 h 121"/>
                <a:gd name="T26" fmla="*/ 58 w 101"/>
                <a:gd name="T27" fmla="*/ 115 h 121"/>
                <a:gd name="T28" fmla="*/ 73 w 101"/>
                <a:gd name="T29" fmla="*/ 121 h 121"/>
                <a:gd name="T30" fmla="*/ 83 w 101"/>
                <a:gd name="T31" fmla="*/ 85 h 121"/>
                <a:gd name="T32" fmla="*/ 99 w 101"/>
                <a:gd name="T33" fmla="*/ 47 h 121"/>
                <a:gd name="T34" fmla="*/ 93 w 101"/>
                <a:gd name="T35" fmla="*/ 26 h 121"/>
                <a:gd name="T36" fmla="*/ 101 w 101"/>
                <a:gd name="T37" fmla="*/ 12 h 121"/>
                <a:gd name="T38" fmla="*/ 87 w 101"/>
                <a:gd name="T3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121">
                  <a:moveTo>
                    <a:pt x="87" y="0"/>
                  </a:moveTo>
                  <a:cubicBezTo>
                    <a:pt x="82" y="0"/>
                    <a:pt x="53" y="2"/>
                    <a:pt x="43" y="4"/>
                  </a:cubicBezTo>
                  <a:cubicBezTo>
                    <a:pt x="34" y="5"/>
                    <a:pt x="39" y="18"/>
                    <a:pt x="41" y="19"/>
                  </a:cubicBezTo>
                  <a:cubicBezTo>
                    <a:pt x="42" y="20"/>
                    <a:pt x="38" y="26"/>
                    <a:pt x="33" y="34"/>
                  </a:cubicBezTo>
                  <a:cubicBezTo>
                    <a:pt x="30" y="39"/>
                    <a:pt x="24" y="37"/>
                    <a:pt x="20" y="34"/>
                  </a:cubicBezTo>
                  <a:cubicBezTo>
                    <a:pt x="14" y="49"/>
                    <a:pt x="4" y="70"/>
                    <a:pt x="0" y="78"/>
                  </a:cubicBezTo>
                  <a:cubicBezTo>
                    <a:pt x="1" y="83"/>
                    <a:pt x="4" y="103"/>
                    <a:pt x="5" y="104"/>
                  </a:cubicBezTo>
                  <a:cubicBezTo>
                    <a:pt x="5" y="105"/>
                    <a:pt x="18" y="109"/>
                    <a:pt x="24" y="111"/>
                  </a:cubicBezTo>
                  <a:cubicBezTo>
                    <a:pt x="25" y="110"/>
                    <a:pt x="26" y="109"/>
                    <a:pt x="28" y="108"/>
                  </a:cubicBezTo>
                  <a:cubicBezTo>
                    <a:pt x="32" y="106"/>
                    <a:pt x="30" y="111"/>
                    <a:pt x="32" y="116"/>
                  </a:cubicBezTo>
                  <a:cubicBezTo>
                    <a:pt x="33" y="121"/>
                    <a:pt x="34" y="116"/>
                    <a:pt x="39" y="117"/>
                  </a:cubicBezTo>
                  <a:cubicBezTo>
                    <a:pt x="44" y="118"/>
                    <a:pt x="46" y="113"/>
                    <a:pt x="47" y="113"/>
                  </a:cubicBezTo>
                  <a:cubicBezTo>
                    <a:pt x="48" y="113"/>
                    <a:pt x="52" y="118"/>
                    <a:pt x="53" y="119"/>
                  </a:cubicBezTo>
                  <a:cubicBezTo>
                    <a:pt x="54" y="120"/>
                    <a:pt x="58" y="115"/>
                    <a:pt x="58" y="115"/>
                  </a:cubicBezTo>
                  <a:cubicBezTo>
                    <a:pt x="59" y="115"/>
                    <a:pt x="73" y="120"/>
                    <a:pt x="73" y="121"/>
                  </a:cubicBezTo>
                  <a:cubicBezTo>
                    <a:pt x="72" y="121"/>
                    <a:pt x="80" y="89"/>
                    <a:pt x="83" y="85"/>
                  </a:cubicBezTo>
                  <a:cubicBezTo>
                    <a:pt x="87" y="81"/>
                    <a:pt x="100" y="49"/>
                    <a:pt x="99" y="47"/>
                  </a:cubicBezTo>
                  <a:cubicBezTo>
                    <a:pt x="98" y="44"/>
                    <a:pt x="92" y="28"/>
                    <a:pt x="93" y="26"/>
                  </a:cubicBezTo>
                  <a:cubicBezTo>
                    <a:pt x="94" y="25"/>
                    <a:pt x="97" y="19"/>
                    <a:pt x="101" y="12"/>
                  </a:cubicBezTo>
                  <a:cubicBezTo>
                    <a:pt x="95" y="6"/>
                    <a:pt x="89" y="0"/>
                    <a:pt x="87" y="0"/>
                  </a:cubicBezTo>
                  <a:close/>
                </a:path>
              </a:pathLst>
            </a:custGeom>
            <a:solidFill>
              <a:srgbClr val="FFC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8" name="Freeform 1217"/>
            <p:cNvSpPr>
              <a:spLocks noChangeAspect="1"/>
            </p:cNvSpPr>
            <p:nvPr/>
          </p:nvSpPr>
          <p:spPr bwMode="auto">
            <a:xfrm>
              <a:off x="13434000" y="3832293"/>
              <a:ext cx="442765" cy="392570"/>
            </a:xfrm>
            <a:custGeom>
              <a:avLst/>
              <a:gdLst>
                <a:gd name="T0" fmla="*/ 94 w 119"/>
                <a:gd name="T1" fmla="*/ 1 h 141"/>
                <a:gd name="T2" fmla="*/ 71 w 119"/>
                <a:gd name="T3" fmla="*/ 1 h 141"/>
                <a:gd name="T4" fmla="*/ 71 w 119"/>
                <a:gd name="T5" fmla="*/ 19 h 141"/>
                <a:gd name="T6" fmla="*/ 45 w 119"/>
                <a:gd name="T7" fmla="*/ 37 h 141"/>
                <a:gd name="T8" fmla="*/ 33 w 119"/>
                <a:gd name="T9" fmla="*/ 78 h 141"/>
                <a:gd name="T10" fmla="*/ 3 w 119"/>
                <a:gd name="T11" fmla="*/ 109 h 141"/>
                <a:gd name="T12" fmla="*/ 10 w 119"/>
                <a:gd name="T13" fmla="*/ 119 h 141"/>
                <a:gd name="T14" fmla="*/ 5 w 119"/>
                <a:gd name="T15" fmla="*/ 136 h 141"/>
                <a:gd name="T16" fmla="*/ 18 w 119"/>
                <a:gd name="T17" fmla="*/ 136 h 141"/>
                <a:gd name="T18" fmla="*/ 26 w 119"/>
                <a:gd name="T19" fmla="*/ 121 h 141"/>
                <a:gd name="T20" fmla="*/ 28 w 119"/>
                <a:gd name="T21" fmla="*/ 106 h 141"/>
                <a:gd name="T22" fmla="*/ 72 w 119"/>
                <a:gd name="T23" fmla="*/ 102 h 141"/>
                <a:gd name="T24" fmla="*/ 86 w 119"/>
                <a:gd name="T25" fmla="*/ 114 h 141"/>
                <a:gd name="T26" fmla="*/ 86 w 119"/>
                <a:gd name="T27" fmla="*/ 114 h 141"/>
                <a:gd name="T28" fmla="*/ 97 w 119"/>
                <a:gd name="T29" fmla="*/ 101 h 141"/>
                <a:gd name="T30" fmla="*/ 110 w 119"/>
                <a:gd name="T31" fmla="*/ 92 h 141"/>
                <a:gd name="T32" fmla="*/ 107 w 119"/>
                <a:gd name="T33" fmla="*/ 77 h 141"/>
                <a:gd name="T34" fmla="*/ 113 w 119"/>
                <a:gd name="T35" fmla="*/ 78 h 141"/>
                <a:gd name="T36" fmla="*/ 112 w 119"/>
                <a:gd name="T37" fmla="*/ 63 h 141"/>
                <a:gd name="T38" fmla="*/ 102 w 119"/>
                <a:gd name="T39" fmla="*/ 56 h 141"/>
                <a:gd name="T40" fmla="*/ 100 w 119"/>
                <a:gd name="T41" fmla="*/ 49 h 141"/>
                <a:gd name="T42" fmla="*/ 106 w 119"/>
                <a:gd name="T43" fmla="*/ 38 h 141"/>
                <a:gd name="T44" fmla="*/ 119 w 119"/>
                <a:gd name="T45" fmla="*/ 35 h 141"/>
                <a:gd name="T46" fmla="*/ 107 w 119"/>
                <a:gd name="T47" fmla="*/ 18 h 141"/>
                <a:gd name="T48" fmla="*/ 94 w 119"/>
                <a:gd name="T49" fmla="*/ 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41">
                  <a:moveTo>
                    <a:pt x="94" y="1"/>
                  </a:moveTo>
                  <a:cubicBezTo>
                    <a:pt x="88" y="7"/>
                    <a:pt x="74" y="1"/>
                    <a:pt x="71" y="1"/>
                  </a:cubicBezTo>
                  <a:cubicBezTo>
                    <a:pt x="66" y="0"/>
                    <a:pt x="71" y="14"/>
                    <a:pt x="71" y="19"/>
                  </a:cubicBezTo>
                  <a:cubicBezTo>
                    <a:pt x="70" y="24"/>
                    <a:pt x="54" y="29"/>
                    <a:pt x="45" y="37"/>
                  </a:cubicBezTo>
                  <a:cubicBezTo>
                    <a:pt x="36" y="45"/>
                    <a:pt x="32" y="74"/>
                    <a:pt x="33" y="78"/>
                  </a:cubicBezTo>
                  <a:cubicBezTo>
                    <a:pt x="35" y="83"/>
                    <a:pt x="5" y="107"/>
                    <a:pt x="3" y="109"/>
                  </a:cubicBezTo>
                  <a:cubicBezTo>
                    <a:pt x="0" y="111"/>
                    <a:pt x="7" y="114"/>
                    <a:pt x="10" y="119"/>
                  </a:cubicBezTo>
                  <a:cubicBezTo>
                    <a:pt x="10" y="121"/>
                    <a:pt x="8" y="128"/>
                    <a:pt x="5" y="136"/>
                  </a:cubicBezTo>
                  <a:cubicBezTo>
                    <a:pt x="9" y="139"/>
                    <a:pt x="15" y="141"/>
                    <a:pt x="18" y="136"/>
                  </a:cubicBezTo>
                  <a:cubicBezTo>
                    <a:pt x="23" y="128"/>
                    <a:pt x="27" y="122"/>
                    <a:pt x="26" y="121"/>
                  </a:cubicBezTo>
                  <a:cubicBezTo>
                    <a:pt x="24" y="120"/>
                    <a:pt x="19" y="107"/>
                    <a:pt x="28" y="106"/>
                  </a:cubicBezTo>
                  <a:cubicBezTo>
                    <a:pt x="38" y="104"/>
                    <a:pt x="67" y="102"/>
                    <a:pt x="72" y="102"/>
                  </a:cubicBezTo>
                  <a:cubicBezTo>
                    <a:pt x="74" y="102"/>
                    <a:pt x="80" y="108"/>
                    <a:pt x="86" y="114"/>
                  </a:cubicBezTo>
                  <a:cubicBezTo>
                    <a:pt x="86" y="114"/>
                    <a:pt x="86" y="114"/>
                    <a:pt x="86" y="114"/>
                  </a:cubicBezTo>
                  <a:cubicBezTo>
                    <a:pt x="91" y="107"/>
                    <a:pt x="97" y="101"/>
                    <a:pt x="97" y="101"/>
                  </a:cubicBezTo>
                  <a:cubicBezTo>
                    <a:pt x="97" y="101"/>
                    <a:pt x="111" y="92"/>
                    <a:pt x="110" y="92"/>
                  </a:cubicBezTo>
                  <a:cubicBezTo>
                    <a:pt x="110" y="91"/>
                    <a:pt x="106" y="77"/>
                    <a:pt x="107" y="77"/>
                  </a:cubicBezTo>
                  <a:cubicBezTo>
                    <a:pt x="107" y="76"/>
                    <a:pt x="111" y="79"/>
                    <a:pt x="113" y="78"/>
                  </a:cubicBezTo>
                  <a:cubicBezTo>
                    <a:pt x="115" y="78"/>
                    <a:pt x="113" y="65"/>
                    <a:pt x="112" y="63"/>
                  </a:cubicBezTo>
                  <a:cubicBezTo>
                    <a:pt x="110" y="62"/>
                    <a:pt x="103" y="57"/>
                    <a:pt x="102" y="56"/>
                  </a:cubicBezTo>
                  <a:cubicBezTo>
                    <a:pt x="101" y="55"/>
                    <a:pt x="99" y="51"/>
                    <a:pt x="100" y="49"/>
                  </a:cubicBezTo>
                  <a:cubicBezTo>
                    <a:pt x="100" y="48"/>
                    <a:pt x="101" y="45"/>
                    <a:pt x="106" y="38"/>
                  </a:cubicBezTo>
                  <a:cubicBezTo>
                    <a:pt x="109" y="32"/>
                    <a:pt x="115" y="35"/>
                    <a:pt x="119" y="35"/>
                  </a:cubicBezTo>
                  <a:cubicBezTo>
                    <a:pt x="114" y="28"/>
                    <a:pt x="110" y="21"/>
                    <a:pt x="107" y="18"/>
                  </a:cubicBezTo>
                  <a:cubicBezTo>
                    <a:pt x="103" y="15"/>
                    <a:pt x="98" y="7"/>
                    <a:pt x="94" y="1"/>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49" name="Freeform 1222"/>
            <p:cNvSpPr>
              <a:spLocks noChangeAspect="1"/>
            </p:cNvSpPr>
            <p:nvPr/>
          </p:nvSpPr>
          <p:spPr bwMode="auto">
            <a:xfrm>
              <a:off x="9876862" y="3244990"/>
              <a:ext cx="84996" cy="54205"/>
            </a:xfrm>
            <a:custGeom>
              <a:avLst/>
              <a:gdLst>
                <a:gd name="T0" fmla="*/ 8 w 23"/>
                <a:gd name="T1" fmla="*/ 19 h 19"/>
                <a:gd name="T2" fmla="*/ 23 w 23"/>
                <a:gd name="T3" fmla="*/ 14 h 19"/>
                <a:gd name="T4" fmla="*/ 2 w 23"/>
                <a:gd name="T5" fmla="*/ 0 h 19"/>
                <a:gd name="T6" fmla="*/ 8 w 23"/>
                <a:gd name="T7" fmla="*/ 19 h 19"/>
              </a:gdLst>
              <a:ahLst/>
              <a:cxnLst>
                <a:cxn ang="0">
                  <a:pos x="T0" y="T1"/>
                </a:cxn>
                <a:cxn ang="0">
                  <a:pos x="T2" y="T3"/>
                </a:cxn>
                <a:cxn ang="0">
                  <a:pos x="T4" y="T5"/>
                </a:cxn>
                <a:cxn ang="0">
                  <a:pos x="T6" y="T7"/>
                </a:cxn>
              </a:cxnLst>
              <a:rect l="0" t="0" r="r" b="b"/>
              <a:pathLst>
                <a:path w="23" h="19">
                  <a:moveTo>
                    <a:pt x="8" y="19"/>
                  </a:moveTo>
                  <a:cubicBezTo>
                    <a:pt x="10" y="19"/>
                    <a:pt x="16" y="17"/>
                    <a:pt x="23" y="14"/>
                  </a:cubicBezTo>
                  <a:cubicBezTo>
                    <a:pt x="18" y="11"/>
                    <a:pt x="8" y="5"/>
                    <a:pt x="2" y="0"/>
                  </a:cubicBezTo>
                  <a:cubicBezTo>
                    <a:pt x="0" y="6"/>
                    <a:pt x="3" y="18"/>
                    <a:pt x="8" y="19"/>
                  </a:cubicBezTo>
                  <a:close/>
                </a:path>
              </a:pathLst>
            </a:custGeom>
            <a:no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0" name="Freeform 1194"/>
            <p:cNvSpPr>
              <a:spLocks noChangeAspect="1"/>
            </p:cNvSpPr>
            <p:nvPr/>
          </p:nvSpPr>
          <p:spPr bwMode="auto">
            <a:xfrm>
              <a:off x="9893843" y="3561271"/>
              <a:ext cx="126505" cy="118264"/>
            </a:xfrm>
            <a:custGeom>
              <a:avLst/>
              <a:gdLst>
                <a:gd name="T0" fmla="*/ 0 w 34"/>
                <a:gd name="T1" fmla="*/ 26 h 42"/>
                <a:gd name="T2" fmla="*/ 4 w 34"/>
                <a:gd name="T3" fmla="*/ 38 h 42"/>
                <a:gd name="T4" fmla="*/ 18 w 34"/>
                <a:gd name="T5" fmla="*/ 42 h 42"/>
                <a:gd name="T6" fmla="*/ 18 w 34"/>
                <a:gd name="T7" fmla="*/ 41 h 42"/>
                <a:gd name="T8" fmla="*/ 28 w 34"/>
                <a:gd name="T9" fmla="*/ 30 h 42"/>
                <a:gd name="T10" fmla="*/ 19 w 34"/>
                <a:gd name="T11" fmla="*/ 17 h 42"/>
                <a:gd name="T12" fmla="*/ 18 w 34"/>
                <a:gd name="T13" fmla="*/ 5 h 42"/>
                <a:gd name="T14" fmla="*/ 4 w 34"/>
                <a:gd name="T15" fmla="*/ 0 h 42"/>
                <a:gd name="T16" fmla="*/ 1 w 34"/>
                <a:gd name="T17" fmla="*/ 7 h 42"/>
                <a:gd name="T18" fmla="*/ 0 w 34"/>
                <a:gd name="T1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42">
                  <a:moveTo>
                    <a:pt x="0" y="26"/>
                  </a:moveTo>
                  <a:cubicBezTo>
                    <a:pt x="0" y="26"/>
                    <a:pt x="0" y="35"/>
                    <a:pt x="4" y="38"/>
                  </a:cubicBezTo>
                  <a:cubicBezTo>
                    <a:pt x="6" y="40"/>
                    <a:pt x="13" y="41"/>
                    <a:pt x="18" y="42"/>
                  </a:cubicBezTo>
                  <a:cubicBezTo>
                    <a:pt x="18" y="42"/>
                    <a:pt x="18" y="41"/>
                    <a:pt x="18" y="41"/>
                  </a:cubicBezTo>
                  <a:cubicBezTo>
                    <a:pt x="18" y="40"/>
                    <a:pt x="34" y="40"/>
                    <a:pt x="28" y="30"/>
                  </a:cubicBezTo>
                  <a:cubicBezTo>
                    <a:pt x="22" y="20"/>
                    <a:pt x="19" y="17"/>
                    <a:pt x="19" y="17"/>
                  </a:cubicBezTo>
                  <a:cubicBezTo>
                    <a:pt x="19" y="17"/>
                    <a:pt x="22" y="8"/>
                    <a:pt x="18" y="5"/>
                  </a:cubicBezTo>
                  <a:cubicBezTo>
                    <a:pt x="14" y="2"/>
                    <a:pt x="7" y="1"/>
                    <a:pt x="4" y="0"/>
                  </a:cubicBezTo>
                  <a:cubicBezTo>
                    <a:pt x="2" y="2"/>
                    <a:pt x="1" y="5"/>
                    <a:pt x="1" y="7"/>
                  </a:cubicBezTo>
                  <a:cubicBezTo>
                    <a:pt x="2" y="12"/>
                    <a:pt x="0" y="25"/>
                    <a:pt x="0" y="26"/>
                  </a:cubicBezTo>
                  <a:close/>
                </a:path>
              </a:pathLst>
            </a:custGeom>
            <a:no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1" name="Freeform 1197"/>
            <p:cNvSpPr>
              <a:spLocks noChangeAspect="1"/>
            </p:cNvSpPr>
            <p:nvPr/>
          </p:nvSpPr>
          <p:spPr bwMode="auto">
            <a:xfrm>
              <a:off x="7863840" y="4302063"/>
              <a:ext cx="1462711" cy="901762"/>
            </a:xfrm>
            <a:custGeom>
              <a:avLst/>
              <a:gdLst>
                <a:gd name="T0" fmla="*/ 2147483647 w 393"/>
                <a:gd name="T1" fmla="*/ 910073506 h 323"/>
                <a:gd name="T2" fmla="*/ 2147483647 w 393"/>
                <a:gd name="T3" fmla="*/ 793584356 h 323"/>
                <a:gd name="T4" fmla="*/ 2147483647 w 393"/>
                <a:gd name="T5" fmla="*/ 509641379 h 323"/>
                <a:gd name="T6" fmla="*/ 2147483647 w 393"/>
                <a:gd name="T7" fmla="*/ 422274517 h 323"/>
                <a:gd name="T8" fmla="*/ 2147483647 w 393"/>
                <a:gd name="T9" fmla="*/ 152891334 h 323"/>
                <a:gd name="T10" fmla="*/ 2147483647 w 393"/>
                <a:gd name="T11" fmla="*/ 182013622 h 323"/>
                <a:gd name="T12" fmla="*/ 2147483647 w 393"/>
                <a:gd name="T13" fmla="*/ 116489150 h 323"/>
                <a:gd name="T14" fmla="*/ 1635147378 w 393"/>
                <a:gd name="T15" fmla="*/ 0 h 323"/>
                <a:gd name="T16" fmla="*/ 1617278026 w 393"/>
                <a:gd name="T17" fmla="*/ 145611437 h 323"/>
                <a:gd name="T18" fmla="*/ 1322412787 w 393"/>
                <a:gd name="T19" fmla="*/ 123769047 h 323"/>
                <a:gd name="T20" fmla="*/ 1063292231 w 393"/>
                <a:gd name="T21" fmla="*/ 240258197 h 323"/>
                <a:gd name="T22" fmla="*/ 723753611 w 393"/>
                <a:gd name="T23" fmla="*/ 152891334 h 323"/>
                <a:gd name="T24" fmla="*/ 473567731 w 393"/>
                <a:gd name="T25" fmla="*/ 167453827 h 323"/>
                <a:gd name="T26" fmla="*/ 142963787 w 393"/>
                <a:gd name="T27" fmla="*/ 276663080 h 323"/>
                <a:gd name="T28" fmla="*/ 393149667 w 393"/>
                <a:gd name="T29" fmla="*/ 334907655 h 323"/>
                <a:gd name="T30" fmla="*/ 232316527 w 393"/>
                <a:gd name="T31" fmla="*/ 597008242 h 323"/>
                <a:gd name="T32" fmla="*/ 661207888 w 393"/>
                <a:gd name="T33" fmla="*/ 873671321 h 323"/>
                <a:gd name="T34" fmla="*/ 1072226907 w 393"/>
                <a:gd name="T35" fmla="*/ 786304459 h 323"/>
                <a:gd name="T36" fmla="*/ 1277739406 w 393"/>
                <a:gd name="T37" fmla="*/ 779021863 h 323"/>
                <a:gd name="T38" fmla="*/ 1099033925 w 393"/>
                <a:gd name="T39" fmla="*/ 975597978 h 323"/>
                <a:gd name="T40" fmla="*/ 848848045 w 393"/>
                <a:gd name="T41" fmla="*/ 1041125149 h 323"/>
                <a:gd name="T42" fmla="*/ 723753611 w 393"/>
                <a:gd name="T43" fmla="*/ 1026562656 h 323"/>
                <a:gd name="T44" fmla="*/ 553985795 w 393"/>
                <a:gd name="T45" fmla="*/ 1106649621 h 323"/>
                <a:gd name="T46" fmla="*/ 366345638 w 393"/>
                <a:gd name="T47" fmla="*/ 1070247436 h 323"/>
                <a:gd name="T48" fmla="*/ 920328444 w 393"/>
                <a:gd name="T49" fmla="*/ 1652693185 h 323"/>
                <a:gd name="T50" fmla="*/ 1474314239 w 393"/>
                <a:gd name="T51" fmla="*/ 1885674182 h 323"/>
                <a:gd name="T52" fmla="*/ 2037231721 w 393"/>
                <a:gd name="T53" fmla="*/ 1718220355 h 323"/>
                <a:gd name="T54" fmla="*/ 2147483647 w 393"/>
                <a:gd name="T55" fmla="*/ 1514361645 h 323"/>
                <a:gd name="T56" fmla="*/ 2147483647 w 393"/>
                <a:gd name="T57" fmla="*/ 1266823551 h 323"/>
                <a:gd name="T58" fmla="*/ 2147483647 w 393"/>
                <a:gd name="T59" fmla="*/ 1230418668 h 323"/>
                <a:gd name="T60" fmla="*/ 2147483647 w 393"/>
                <a:gd name="T61" fmla="*/ 1288663243 h 323"/>
                <a:gd name="T62" fmla="*/ 2147483647 w 393"/>
                <a:gd name="T63" fmla="*/ 1383312700 h 323"/>
                <a:gd name="T64" fmla="*/ 2147483647 w 393"/>
                <a:gd name="T65" fmla="*/ 1645413287 h 323"/>
                <a:gd name="T66" fmla="*/ 2147483647 w 393"/>
                <a:gd name="T67" fmla="*/ 1907513874 h 323"/>
                <a:gd name="T68" fmla="*/ 2147483647 w 393"/>
                <a:gd name="T69" fmla="*/ 2133212276 h 323"/>
                <a:gd name="T70" fmla="*/ 2147483647 w 393"/>
                <a:gd name="T71" fmla="*/ 2045845414 h 323"/>
                <a:gd name="T72" fmla="*/ 2147483647 w 393"/>
                <a:gd name="T73" fmla="*/ 2147483647 h 323"/>
                <a:gd name="T74" fmla="*/ 2147483647 w 393"/>
                <a:gd name="T75" fmla="*/ 2147483647 h 323"/>
                <a:gd name="T76" fmla="*/ 2147483647 w 393"/>
                <a:gd name="T77" fmla="*/ 2031285620 h 323"/>
                <a:gd name="T78" fmla="*/ 2147483647 w 393"/>
                <a:gd name="T79" fmla="*/ 1878391587 h 323"/>
                <a:gd name="T80" fmla="*/ 2147483647 w 393"/>
                <a:gd name="T81" fmla="*/ 1681815472 h 323"/>
                <a:gd name="T82" fmla="*/ 2147483647 w 393"/>
                <a:gd name="T83" fmla="*/ 1499801850 h 3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532 w 10000"/>
                <a:gd name="connsiteY103" fmla="*/ 9071 h 10000"/>
                <a:gd name="connsiteX104" fmla="*/ 7099 w 10000"/>
                <a:gd name="connsiteY104" fmla="*/ 9009 h 10000"/>
                <a:gd name="connsiteX105" fmla="*/ 6896 w 10000"/>
                <a:gd name="connsiteY105" fmla="*/ 8700 h 10000"/>
                <a:gd name="connsiteX106" fmla="*/ 6718 w 10000"/>
                <a:gd name="connsiteY106" fmla="*/ 8700 h 10000"/>
                <a:gd name="connsiteX107" fmla="*/ 6768 w 10000"/>
                <a:gd name="connsiteY107" fmla="*/ 9226 h 10000"/>
                <a:gd name="connsiteX108" fmla="*/ 6718 w 10000"/>
                <a:gd name="connsiteY108" fmla="*/ 9288 h 10000"/>
                <a:gd name="connsiteX109" fmla="*/ 7099 w 10000"/>
                <a:gd name="connsiteY109" fmla="*/ 9628 h 10000"/>
                <a:gd name="connsiteX110" fmla="*/ 7405 w 10000"/>
                <a:gd name="connsiteY110" fmla="*/ 9505 h 10000"/>
                <a:gd name="connsiteX111" fmla="*/ 7888 w 10000"/>
                <a:gd name="connsiteY111" fmla="*/ 9907 h 10000"/>
                <a:gd name="connsiteX112" fmla="*/ 8117 w 10000"/>
                <a:gd name="connsiteY112" fmla="*/ 9567 h 10000"/>
                <a:gd name="connsiteX113" fmla="*/ 7990 w 10000"/>
                <a:gd name="connsiteY113" fmla="*/ 9350 h 10000"/>
                <a:gd name="connsiteX114" fmla="*/ 8473 w 10000"/>
                <a:gd name="connsiteY114" fmla="*/ 8700 h 10000"/>
                <a:gd name="connsiteX115" fmla="*/ 8677 w 10000"/>
                <a:gd name="connsiteY115" fmla="*/ 8638 h 10000"/>
                <a:gd name="connsiteX116" fmla="*/ 8855 w 10000"/>
                <a:gd name="connsiteY116" fmla="*/ 8700 h 10000"/>
                <a:gd name="connsiteX117" fmla="*/ 9109 w 10000"/>
                <a:gd name="connsiteY117" fmla="*/ 8328 h 10000"/>
                <a:gd name="connsiteX118" fmla="*/ 8626 w 10000"/>
                <a:gd name="connsiteY118" fmla="*/ 7988 h 10000"/>
                <a:gd name="connsiteX119" fmla="*/ 8651 w 10000"/>
                <a:gd name="connsiteY119" fmla="*/ 7833 h 10000"/>
                <a:gd name="connsiteX120" fmla="*/ 8448 w 10000"/>
                <a:gd name="connsiteY120" fmla="*/ 7709 h 10000"/>
                <a:gd name="connsiteX121" fmla="*/ 9135 w 10000"/>
                <a:gd name="connsiteY121" fmla="*/ 7152 h 10000"/>
                <a:gd name="connsiteX122" fmla="*/ 9746 w 10000"/>
                <a:gd name="connsiteY122" fmla="*/ 7090 h 10000"/>
                <a:gd name="connsiteX123" fmla="*/ 8957 w 10000"/>
                <a:gd name="connsiteY123" fmla="*/ 6842 h 10000"/>
                <a:gd name="connsiteX124" fmla="*/ 8982 w 10000"/>
                <a:gd name="connsiteY124" fmla="*/ 6378 h 10000"/>
                <a:gd name="connsiteX125" fmla="*/ 9542 w 10000"/>
                <a:gd name="connsiteY125" fmla="*/ 6006 h 10000"/>
                <a:gd name="connsiteX126" fmla="*/ 9567 w 10000"/>
                <a:gd name="connsiteY126"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7099 w 10000"/>
                <a:gd name="connsiteY103" fmla="*/ 9009 h 10000"/>
                <a:gd name="connsiteX104" fmla="*/ 6896 w 10000"/>
                <a:gd name="connsiteY104" fmla="*/ 8700 h 10000"/>
                <a:gd name="connsiteX105" fmla="*/ 6718 w 10000"/>
                <a:gd name="connsiteY105" fmla="*/ 8700 h 10000"/>
                <a:gd name="connsiteX106" fmla="*/ 6768 w 10000"/>
                <a:gd name="connsiteY106" fmla="*/ 9226 h 10000"/>
                <a:gd name="connsiteX107" fmla="*/ 6718 w 10000"/>
                <a:gd name="connsiteY107" fmla="*/ 9288 h 10000"/>
                <a:gd name="connsiteX108" fmla="*/ 7099 w 10000"/>
                <a:gd name="connsiteY108" fmla="*/ 9628 h 10000"/>
                <a:gd name="connsiteX109" fmla="*/ 7405 w 10000"/>
                <a:gd name="connsiteY109" fmla="*/ 9505 h 10000"/>
                <a:gd name="connsiteX110" fmla="*/ 7888 w 10000"/>
                <a:gd name="connsiteY110" fmla="*/ 9907 h 10000"/>
                <a:gd name="connsiteX111" fmla="*/ 8117 w 10000"/>
                <a:gd name="connsiteY111" fmla="*/ 9567 h 10000"/>
                <a:gd name="connsiteX112" fmla="*/ 7990 w 10000"/>
                <a:gd name="connsiteY112" fmla="*/ 9350 h 10000"/>
                <a:gd name="connsiteX113" fmla="*/ 8473 w 10000"/>
                <a:gd name="connsiteY113" fmla="*/ 8700 h 10000"/>
                <a:gd name="connsiteX114" fmla="*/ 8677 w 10000"/>
                <a:gd name="connsiteY114" fmla="*/ 8638 h 10000"/>
                <a:gd name="connsiteX115" fmla="*/ 8855 w 10000"/>
                <a:gd name="connsiteY115" fmla="*/ 8700 h 10000"/>
                <a:gd name="connsiteX116" fmla="*/ 9109 w 10000"/>
                <a:gd name="connsiteY116" fmla="*/ 8328 h 10000"/>
                <a:gd name="connsiteX117" fmla="*/ 8626 w 10000"/>
                <a:gd name="connsiteY117" fmla="*/ 7988 h 10000"/>
                <a:gd name="connsiteX118" fmla="*/ 8651 w 10000"/>
                <a:gd name="connsiteY118" fmla="*/ 7833 h 10000"/>
                <a:gd name="connsiteX119" fmla="*/ 8448 w 10000"/>
                <a:gd name="connsiteY119" fmla="*/ 7709 h 10000"/>
                <a:gd name="connsiteX120" fmla="*/ 9135 w 10000"/>
                <a:gd name="connsiteY120" fmla="*/ 7152 h 10000"/>
                <a:gd name="connsiteX121" fmla="*/ 9746 w 10000"/>
                <a:gd name="connsiteY121" fmla="*/ 7090 h 10000"/>
                <a:gd name="connsiteX122" fmla="*/ 8957 w 10000"/>
                <a:gd name="connsiteY122" fmla="*/ 6842 h 10000"/>
                <a:gd name="connsiteX123" fmla="*/ 8982 w 10000"/>
                <a:gd name="connsiteY123" fmla="*/ 6378 h 10000"/>
                <a:gd name="connsiteX124" fmla="*/ 9542 w 10000"/>
                <a:gd name="connsiteY124" fmla="*/ 6006 h 10000"/>
                <a:gd name="connsiteX125" fmla="*/ 9567 w 10000"/>
                <a:gd name="connsiteY125"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896 w 10000"/>
                <a:gd name="connsiteY103" fmla="*/ 8700 h 10000"/>
                <a:gd name="connsiteX104" fmla="*/ 6718 w 10000"/>
                <a:gd name="connsiteY104" fmla="*/ 8700 h 10000"/>
                <a:gd name="connsiteX105" fmla="*/ 6768 w 10000"/>
                <a:gd name="connsiteY105" fmla="*/ 9226 h 10000"/>
                <a:gd name="connsiteX106" fmla="*/ 6718 w 10000"/>
                <a:gd name="connsiteY106" fmla="*/ 9288 h 10000"/>
                <a:gd name="connsiteX107" fmla="*/ 7099 w 10000"/>
                <a:gd name="connsiteY107" fmla="*/ 9628 h 10000"/>
                <a:gd name="connsiteX108" fmla="*/ 7405 w 10000"/>
                <a:gd name="connsiteY108" fmla="*/ 9505 h 10000"/>
                <a:gd name="connsiteX109" fmla="*/ 7888 w 10000"/>
                <a:gd name="connsiteY109" fmla="*/ 9907 h 10000"/>
                <a:gd name="connsiteX110" fmla="*/ 8117 w 10000"/>
                <a:gd name="connsiteY110" fmla="*/ 9567 h 10000"/>
                <a:gd name="connsiteX111" fmla="*/ 7990 w 10000"/>
                <a:gd name="connsiteY111" fmla="*/ 9350 h 10000"/>
                <a:gd name="connsiteX112" fmla="*/ 8473 w 10000"/>
                <a:gd name="connsiteY112" fmla="*/ 8700 h 10000"/>
                <a:gd name="connsiteX113" fmla="*/ 8677 w 10000"/>
                <a:gd name="connsiteY113" fmla="*/ 8638 h 10000"/>
                <a:gd name="connsiteX114" fmla="*/ 8855 w 10000"/>
                <a:gd name="connsiteY114" fmla="*/ 8700 h 10000"/>
                <a:gd name="connsiteX115" fmla="*/ 9109 w 10000"/>
                <a:gd name="connsiteY115" fmla="*/ 8328 h 10000"/>
                <a:gd name="connsiteX116" fmla="*/ 8626 w 10000"/>
                <a:gd name="connsiteY116" fmla="*/ 7988 h 10000"/>
                <a:gd name="connsiteX117" fmla="*/ 8651 w 10000"/>
                <a:gd name="connsiteY117" fmla="*/ 7833 h 10000"/>
                <a:gd name="connsiteX118" fmla="*/ 8448 w 10000"/>
                <a:gd name="connsiteY118" fmla="*/ 7709 h 10000"/>
                <a:gd name="connsiteX119" fmla="*/ 9135 w 10000"/>
                <a:gd name="connsiteY119" fmla="*/ 7152 h 10000"/>
                <a:gd name="connsiteX120" fmla="*/ 9746 w 10000"/>
                <a:gd name="connsiteY120" fmla="*/ 7090 h 10000"/>
                <a:gd name="connsiteX121" fmla="*/ 8957 w 10000"/>
                <a:gd name="connsiteY121" fmla="*/ 6842 h 10000"/>
                <a:gd name="connsiteX122" fmla="*/ 8982 w 10000"/>
                <a:gd name="connsiteY122" fmla="*/ 6378 h 10000"/>
                <a:gd name="connsiteX123" fmla="*/ 9542 w 10000"/>
                <a:gd name="connsiteY123" fmla="*/ 6006 h 10000"/>
                <a:gd name="connsiteX124" fmla="*/ 9567 w 10000"/>
                <a:gd name="connsiteY124"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7048 w 10000"/>
                <a:gd name="connsiteY102" fmla="*/ 8297 h 10000"/>
                <a:gd name="connsiteX103" fmla="*/ 6718 w 10000"/>
                <a:gd name="connsiteY103" fmla="*/ 8700 h 10000"/>
                <a:gd name="connsiteX104" fmla="*/ 6768 w 10000"/>
                <a:gd name="connsiteY104" fmla="*/ 9226 h 10000"/>
                <a:gd name="connsiteX105" fmla="*/ 6718 w 10000"/>
                <a:gd name="connsiteY105" fmla="*/ 9288 h 10000"/>
                <a:gd name="connsiteX106" fmla="*/ 7099 w 10000"/>
                <a:gd name="connsiteY106" fmla="*/ 9628 h 10000"/>
                <a:gd name="connsiteX107" fmla="*/ 7405 w 10000"/>
                <a:gd name="connsiteY107" fmla="*/ 9505 h 10000"/>
                <a:gd name="connsiteX108" fmla="*/ 7888 w 10000"/>
                <a:gd name="connsiteY108" fmla="*/ 9907 h 10000"/>
                <a:gd name="connsiteX109" fmla="*/ 8117 w 10000"/>
                <a:gd name="connsiteY109" fmla="*/ 9567 h 10000"/>
                <a:gd name="connsiteX110" fmla="*/ 7990 w 10000"/>
                <a:gd name="connsiteY110" fmla="*/ 9350 h 10000"/>
                <a:gd name="connsiteX111" fmla="*/ 8473 w 10000"/>
                <a:gd name="connsiteY111" fmla="*/ 8700 h 10000"/>
                <a:gd name="connsiteX112" fmla="*/ 8677 w 10000"/>
                <a:gd name="connsiteY112" fmla="*/ 8638 h 10000"/>
                <a:gd name="connsiteX113" fmla="*/ 8855 w 10000"/>
                <a:gd name="connsiteY113" fmla="*/ 8700 h 10000"/>
                <a:gd name="connsiteX114" fmla="*/ 9109 w 10000"/>
                <a:gd name="connsiteY114" fmla="*/ 8328 h 10000"/>
                <a:gd name="connsiteX115" fmla="*/ 8626 w 10000"/>
                <a:gd name="connsiteY115" fmla="*/ 7988 h 10000"/>
                <a:gd name="connsiteX116" fmla="*/ 8651 w 10000"/>
                <a:gd name="connsiteY116" fmla="*/ 7833 h 10000"/>
                <a:gd name="connsiteX117" fmla="*/ 8448 w 10000"/>
                <a:gd name="connsiteY117" fmla="*/ 7709 h 10000"/>
                <a:gd name="connsiteX118" fmla="*/ 9135 w 10000"/>
                <a:gd name="connsiteY118" fmla="*/ 7152 h 10000"/>
                <a:gd name="connsiteX119" fmla="*/ 9746 w 10000"/>
                <a:gd name="connsiteY119" fmla="*/ 7090 h 10000"/>
                <a:gd name="connsiteX120" fmla="*/ 8957 w 10000"/>
                <a:gd name="connsiteY120" fmla="*/ 6842 h 10000"/>
                <a:gd name="connsiteX121" fmla="*/ 8982 w 10000"/>
                <a:gd name="connsiteY121" fmla="*/ 6378 h 10000"/>
                <a:gd name="connsiteX122" fmla="*/ 9542 w 10000"/>
                <a:gd name="connsiteY122" fmla="*/ 6006 h 10000"/>
                <a:gd name="connsiteX123" fmla="*/ 9567 w 10000"/>
                <a:gd name="connsiteY123"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7023 w 10000"/>
                <a:gd name="connsiteY101" fmla="*/ 8111 h 10000"/>
                <a:gd name="connsiteX102" fmla="*/ 6718 w 10000"/>
                <a:gd name="connsiteY102" fmla="*/ 8700 h 10000"/>
                <a:gd name="connsiteX103" fmla="*/ 6768 w 10000"/>
                <a:gd name="connsiteY103" fmla="*/ 9226 h 10000"/>
                <a:gd name="connsiteX104" fmla="*/ 6718 w 10000"/>
                <a:gd name="connsiteY104" fmla="*/ 9288 h 10000"/>
                <a:gd name="connsiteX105" fmla="*/ 7099 w 10000"/>
                <a:gd name="connsiteY105" fmla="*/ 9628 h 10000"/>
                <a:gd name="connsiteX106" fmla="*/ 7405 w 10000"/>
                <a:gd name="connsiteY106" fmla="*/ 9505 h 10000"/>
                <a:gd name="connsiteX107" fmla="*/ 7888 w 10000"/>
                <a:gd name="connsiteY107" fmla="*/ 9907 h 10000"/>
                <a:gd name="connsiteX108" fmla="*/ 8117 w 10000"/>
                <a:gd name="connsiteY108" fmla="*/ 9567 h 10000"/>
                <a:gd name="connsiteX109" fmla="*/ 7990 w 10000"/>
                <a:gd name="connsiteY109" fmla="*/ 9350 h 10000"/>
                <a:gd name="connsiteX110" fmla="*/ 8473 w 10000"/>
                <a:gd name="connsiteY110" fmla="*/ 8700 h 10000"/>
                <a:gd name="connsiteX111" fmla="*/ 8677 w 10000"/>
                <a:gd name="connsiteY111" fmla="*/ 8638 h 10000"/>
                <a:gd name="connsiteX112" fmla="*/ 8855 w 10000"/>
                <a:gd name="connsiteY112" fmla="*/ 8700 h 10000"/>
                <a:gd name="connsiteX113" fmla="*/ 9109 w 10000"/>
                <a:gd name="connsiteY113" fmla="*/ 8328 h 10000"/>
                <a:gd name="connsiteX114" fmla="*/ 8626 w 10000"/>
                <a:gd name="connsiteY114" fmla="*/ 7988 h 10000"/>
                <a:gd name="connsiteX115" fmla="*/ 8651 w 10000"/>
                <a:gd name="connsiteY115" fmla="*/ 7833 h 10000"/>
                <a:gd name="connsiteX116" fmla="*/ 8448 w 10000"/>
                <a:gd name="connsiteY116" fmla="*/ 7709 h 10000"/>
                <a:gd name="connsiteX117" fmla="*/ 9135 w 10000"/>
                <a:gd name="connsiteY117" fmla="*/ 7152 h 10000"/>
                <a:gd name="connsiteX118" fmla="*/ 9746 w 10000"/>
                <a:gd name="connsiteY118" fmla="*/ 7090 h 10000"/>
                <a:gd name="connsiteX119" fmla="*/ 8957 w 10000"/>
                <a:gd name="connsiteY119" fmla="*/ 6842 h 10000"/>
                <a:gd name="connsiteX120" fmla="*/ 8982 w 10000"/>
                <a:gd name="connsiteY120" fmla="*/ 6378 h 10000"/>
                <a:gd name="connsiteX121" fmla="*/ 9542 w 10000"/>
                <a:gd name="connsiteY121" fmla="*/ 6006 h 10000"/>
                <a:gd name="connsiteX122" fmla="*/ 9567 w 10000"/>
                <a:gd name="connsiteY122" fmla="*/ 4861 h 10000"/>
                <a:gd name="connsiteX0" fmla="*/ 9567 w 10000"/>
                <a:gd name="connsiteY0" fmla="*/ 4861 h 10000"/>
                <a:gd name="connsiteX1" fmla="*/ 9949 w 10000"/>
                <a:gd name="connsiteY1" fmla="*/ 4427 h 10000"/>
                <a:gd name="connsiteX2" fmla="*/ 9898 w 10000"/>
                <a:gd name="connsiteY2" fmla="*/ 3870 h 10000"/>
                <a:gd name="connsiteX3" fmla="*/ 9873 w 10000"/>
                <a:gd name="connsiteY3" fmla="*/ 3839 h 10000"/>
                <a:gd name="connsiteX4" fmla="*/ 9847 w 10000"/>
                <a:gd name="connsiteY4" fmla="*/ 3870 h 10000"/>
                <a:gd name="connsiteX5" fmla="*/ 9593 w 10000"/>
                <a:gd name="connsiteY5" fmla="*/ 3375 h 10000"/>
                <a:gd name="connsiteX6" fmla="*/ 9262 w 10000"/>
                <a:gd name="connsiteY6" fmla="*/ 3282 h 10000"/>
                <a:gd name="connsiteX7" fmla="*/ 9008 w 10000"/>
                <a:gd name="connsiteY7" fmla="*/ 3189 h 10000"/>
                <a:gd name="connsiteX8" fmla="*/ 8321 w 10000"/>
                <a:gd name="connsiteY8" fmla="*/ 2167 h 10000"/>
                <a:gd name="connsiteX9" fmla="*/ 8473 w 10000"/>
                <a:gd name="connsiteY9" fmla="*/ 1796 h 10000"/>
                <a:gd name="connsiteX10" fmla="*/ 8397 w 10000"/>
                <a:gd name="connsiteY10" fmla="*/ 1579 h 10000"/>
                <a:gd name="connsiteX11" fmla="*/ 8219 w 10000"/>
                <a:gd name="connsiteY11" fmla="*/ 1796 h 10000"/>
                <a:gd name="connsiteX12" fmla="*/ 7990 w 10000"/>
                <a:gd name="connsiteY12" fmla="*/ 1424 h 10000"/>
                <a:gd name="connsiteX13" fmla="*/ 8270 w 10000"/>
                <a:gd name="connsiteY13" fmla="*/ 1053 h 10000"/>
                <a:gd name="connsiteX14" fmla="*/ 8142 w 10000"/>
                <a:gd name="connsiteY14" fmla="*/ 650 h 10000"/>
                <a:gd name="connsiteX15" fmla="*/ 7990 w 10000"/>
                <a:gd name="connsiteY15" fmla="*/ 836 h 10000"/>
                <a:gd name="connsiteX16" fmla="*/ 7913 w 10000"/>
                <a:gd name="connsiteY16" fmla="*/ 1084 h 10000"/>
                <a:gd name="connsiteX17" fmla="*/ 7455 w 10000"/>
                <a:gd name="connsiteY17" fmla="*/ 774 h 10000"/>
                <a:gd name="connsiteX18" fmla="*/ 7150 w 10000"/>
                <a:gd name="connsiteY18" fmla="*/ 867 h 10000"/>
                <a:gd name="connsiteX19" fmla="*/ 6870 w 10000"/>
                <a:gd name="connsiteY19" fmla="*/ 402 h 10000"/>
                <a:gd name="connsiteX20" fmla="*/ 6692 w 10000"/>
                <a:gd name="connsiteY20" fmla="*/ 495 h 10000"/>
                <a:gd name="connsiteX21" fmla="*/ 5445 w 10000"/>
                <a:gd name="connsiteY21" fmla="*/ 495 h 10000"/>
                <a:gd name="connsiteX22" fmla="*/ 5089 w 10000"/>
                <a:gd name="connsiteY22" fmla="*/ 155 h 10000"/>
                <a:gd name="connsiteX23" fmla="*/ 4656 w 10000"/>
                <a:gd name="connsiteY23" fmla="*/ 0 h 10000"/>
                <a:gd name="connsiteX24" fmla="*/ 4656 w 10000"/>
                <a:gd name="connsiteY24" fmla="*/ 93 h 10000"/>
                <a:gd name="connsiteX25" fmla="*/ 4427 w 10000"/>
                <a:gd name="connsiteY25" fmla="*/ 310 h 10000"/>
                <a:gd name="connsiteX26" fmla="*/ 4606 w 10000"/>
                <a:gd name="connsiteY26" fmla="*/ 619 h 10000"/>
                <a:gd name="connsiteX27" fmla="*/ 3969 w 10000"/>
                <a:gd name="connsiteY27" fmla="*/ 991 h 10000"/>
                <a:gd name="connsiteX28" fmla="*/ 3919 w 10000"/>
                <a:gd name="connsiteY28" fmla="*/ 588 h 10000"/>
                <a:gd name="connsiteX29" fmla="*/ 3766 w 10000"/>
                <a:gd name="connsiteY29" fmla="*/ 526 h 10000"/>
                <a:gd name="connsiteX30" fmla="*/ 3435 w 10000"/>
                <a:gd name="connsiteY30" fmla="*/ 650 h 10000"/>
                <a:gd name="connsiteX31" fmla="*/ 3181 w 10000"/>
                <a:gd name="connsiteY31" fmla="*/ 712 h 10000"/>
                <a:gd name="connsiteX32" fmla="*/ 3028 w 10000"/>
                <a:gd name="connsiteY32" fmla="*/ 1022 h 10000"/>
                <a:gd name="connsiteX33" fmla="*/ 2646 w 10000"/>
                <a:gd name="connsiteY33" fmla="*/ 991 h 10000"/>
                <a:gd name="connsiteX34" fmla="*/ 2443 w 10000"/>
                <a:gd name="connsiteY34" fmla="*/ 712 h 10000"/>
                <a:gd name="connsiteX35" fmla="*/ 2061 w 10000"/>
                <a:gd name="connsiteY35" fmla="*/ 650 h 10000"/>
                <a:gd name="connsiteX36" fmla="*/ 1883 w 10000"/>
                <a:gd name="connsiteY36" fmla="*/ 774 h 10000"/>
                <a:gd name="connsiteX37" fmla="*/ 1628 w 10000"/>
                <a:gd name="connsiteY37" fmla="*/ 588 h 10000"/>
                <a:gd name="connsiteX38" fmla="*/ 1349 w 10000"/>
                <a:gd name="connsiteY38" fmla="*/ 712 h 10000"/>
                <a:gd name="connsiteX39" fmla="*/ 1145 w 10000"/>
                <a:gd name="connsiteY39" fmla="*/ 495 h 10000"/>
                <a:gd name="connsiteX40" fmla="*/ 1094 w 10000"/>
                <a:gd name="connsiteY40" fmla="*/ 1207 h 10000"/>
                <a:gd name="connsiteX41" fmla="*/ 407 w 10000"/>
                <a:gd name="connsiteY41" fmla="*/ 1176 h 10000"/>
                <a:gd name="connsiteX42" fmla="*/ 51 w 10000"/>
                <a:gd name="connsiteY42" fmla="*/ 1796 h 10000"/>
                <a:gd name="connsiteX43" fmla="*/ 305 w 10000"/>
                <a:gd name="connsiteY43" fmla="*/ 1889 h 10000"/>
                <a:gd name="connsiteX44" fmla="*/ 1120 w 10000"/>
                <a:gd name="connsiteY44" fmla="*/ 1424 h 10000"/>
                <a:gd name="connsiteX45" fmla="*/ 967 w 10000"/>
                <a:gd name="connsiteY45" fmla="*/ 1579 h 10000"/>
                <a:gd name="connsiteX46" fmla="*/ 433 w 10000"/>
                <a:gd name="connsiteY46" fmla="*/ 2074 h 10000"/>
                <a:gd name="connsiteX47" fmla="*/ 662 w 10000"/>
                <a:gd name="connsiteY47" fmla="*/ 2539 h 10000"/>
                <a:gd name="connsiteX48" fmla="*/ 941 w 10000"/>
                <a:gd name="connsiteY48" fmla="*/ 3096 h 10000"/>
                <a:gd name="connsiteX49" fmla="*/ 1323 w 10000"/>
                <a:gd name="connsiteY49" fmla="*/ 3375 h 10000"/>
                <a:gd name="connsiteX50" fmla="*/ 1883 w 10000"/>
                <a:gd name="connsiteY50" fmla="*/ 3715 h 10000"/>
                <a:gd name="connsiteX51" fmla="*/ 2290 w 10000"/>
                <a:gd name="connsiteY51" fmla="*/ 3808 h 10000"/>
                <a:gd name="connsiteX52" fmla="*/ 2748 w 10000"/>
                <a:gd name="connsiteY52" fmla="*/ 3591 h 10000"/>
                <a:gd name="connsiteX53" fmla="*/ 3053 w 10000"/>
                <a:gd name="connsiteY53" fmla="*/ 3344 h 10000"/>
                <a:gd name="connsiteX54" fmla="*/ 3333 w 10000"/>
                <a:gd name="connsiteY54" fmla="*/ 3529 h 10000"/>
                <a:gd name="connsiteX55" fmla="*/ 3562 w 10000"/>
                <a:gd name="connsiteY55" fmla="*/ 3189 h 10000"/>
                <a:gd name="connsiteX56" fmla="*/ 3639 w 10000"/>
                <a:gd name="connsiteY56" fmla="*/ 3313 h 10000"/>
                <a:gd name="connsiteX57" fmla="*/ 3486 w 10000"/>
                <a:gd name="connsiteY57" fmla="*/ 3529 h 10000"/>
                <a:gd name="connsiteX58" fmla="*/ 3155 w 10000"/>
                <a:gd name="connsiteY58" fmla="*/ 3901 h 10000"/>
                <a:gd name="connsiteX59" fmla="*/ 3130 w 10000"/>
                <a:gd name="connsiteY59" fmla="*/ 4149 h 10000"/>
                <a:gd name="connsiteX60" fmla="*/ 2774 w 10000"/>
                <a:gd name="connsiteY60" fmla="*/ 4087 h 10000"/>
                <a:gd name="connsiteX61" fmla="*/ 2595 w 10000"/>
                <a:gd name="connsiteY61" fmla="*/ 4241 h 10000"/>
                <a:gd name="connsiteX62" fmla="*/ 2417 w 10000"/>
                <a:gd name="connsiteY62" fmla="*/ 4427 h 10000"/>
                <a:gd name="connsiteX63" fmla="*/ 2214 w 10000"/>
                <a:gd name="connsiteY63" fmla="*/ 4272 h 10000"/>
                <a:gd name="connsiteX64" fmla="*/ 2137 w 10000"/>
                <a:gd name="connsiteY64" fmla="*/ 4396 h 10000"/>
                <a:gd name="connsiteX65" fmla="*/ 2061 w 10000"/>
                <a:gd name="connsiteY65" fmla="*/ 4365 h 10000"/>
                <a:gd name="connsiteX66" fmla="*/ 1883 w 10000"/>
                <a:gd name="connsiteY66" fmla="*/ 4582 h 10000"/>
                <a:gd name="connsiteX67" fmla="*/ 1756 w 10000"/>
                <a:gd name="connsiteY67" fmla="*/ 4520 h 10000"/>
                <a:gd name="connsiteX68" fmla="*/ 1578 w 10000"/>
                <a:gd name="connsiteY68" fmla="*/ 4706 h 10000"/>
                <a:gd name="connsiteX69" fmla="*/ 1527 w 10000"/>
                <a:gd name="connsiteY69" fmla="*/ 4427 h 10000"/>
                <a:gd name="connsiteX70" fmla="*/ 1323 w 10000"/>
                <a:gd name="connsiteY70" fmla="*/ 4180 h 10000"/>
                <a:gd name="connsiteX71" fmla="*/ 1043 w 10000"/>
                <a:gd name="connsiteY71" fmla="*/ 4551 h 10000"/>
                <a:gd name="connsiteX72" fmla="*/ 1298 w 10000"/>
                <a:gd name="connsiteY72" fmla="*/ 5046 h 10000"/>
                <a:gd name="connsiteX73" fmla="*/ 2061 w 10000"/>
                <a:gd name="connsiteY73" fmla="*/ 6037 h 10000"/>
                <a:gd name="connsiteX74" fmla="*/ 2621 w 10000"/>
                <a:gd name="connsiteY74" fmla="*/ 7028 h 10000"/>
                <a:gd name="connsiteX75" fmla="*/ 3664 w 10000"/>
                <a:gd name="connsiteY75" fmla="*/ 8080 h 10000"/>
                <a:gd name="connsiteX76" fmla="*/ 3893 w 10000"/>
                <a:gd name="connsiteY76" fmla="*/ 8204 h 10000"/>
                <a:gd name="connsiteX77" fmla="*/ 4198 w 10000"/>
                <a:gd name="connsiteY77" fmla="*/ 8019 h 10000"/>
                <a:gd name="connsiteX78" fmla="*/ 4784 w 10000"/>
                <a:gd name="connsiteY78" fmla="*/ 7833 h 10000"/>
                <a:gd name="connsiteX79" fmla="*/ 5445 w 10000"/>
                <a:gd name="connsiteY79" fmla="*/ 7368 h 10000"/>
                <a:gd name="connsiteX80" fmla="*/ 5802 w 10000"/>
                <a:gd name="connsiteY80" fmla="*/ 7307 h 10000"/>
                <a:gd name="connsiteX81" fmla="*/ 5827 w 10000"/>
                <a:gd name="connsiteY81" fmla="*/ 6997 h 10000"/>
                <a:gd name="connsiteX82" fmla="*/ 6056 w 10000"/>
                <a:gd name="connsiteY82" fmla="*/ 6749 h 10000"/>
                <a:gd name="connsiteX83" fmla="*/ 6183 w 10000"/>
                <a:gd name="connsiteY83" fmla="*/ 6440 h 10000"/>
                <a:gd name="connsiteX84" fmla="*/ 5802 w 10000"/>
                <a:gd name="connsiteY84" fmla="*/ 6037 h 10000"/>
                <a:gd name="connsiteX85" fmla="*/ 6031 w 10000"/>
                <a:gd name="connsiteY85" fmla="*/ 5666 h 10000"/>
                <a:gd name="connsiteX86" fmla="*/ 6285 w 10000"/>
                <a:gd name="connsiteY86" fmla="*/ 5387 h 10000"/>
                <a:gd name="connsiteX87" fmla="*/ 6132 w 10000"/>
                <a:gd name="connsiteY87" fmla="*/ 5108 h 10000"/>
                <a:gd name="connsiteX88" fmla="*/ 6310 w 10000"/>
                <a:gd name="connsiteY88" fmla="*/ 5015 h 10000"/>
                <a:gd name="connsiteX89" fmla="*/ 6361 w 10000"/>
                <a:gd name="connsiteY89" fmla="*/ 5232 h 10000"/>
                <a:gd name="connsiteX90" fmla="*/ 6616 w 10000"/>
                <a:gd name="connsiteY90" fmla="*/ 5077 h 10000"/>
                <a:gd name="connsiteX91" fmla="*/ 7099 w 10000"/>
                <a:gd name="connsiteY91" fmla="*/ 5170 h 10000"/>
                <a:gd name="connsiteX92" fmla="*/ 6997 w 10000"/>
                <a:gd name="connsiteY92" fmla="*/ 5480 h 10000"/>
                <a:gd name="connsiteX93" fmla="*/ 6794 w 10000"/>
                <a:gd name="connsiteY93" fmla="*/ 5263 h 10000"/>
                <a:gd name="connsiteX94" fmla="*/ 6565 w 10000"/>
                <a:gd name="connsiteY94" fmla="*/ 5480 h 10000"/>
                <a:gd name="connsiteX95" fmla="*/ 6667 w 10000"/>
                <a:gd name="connsiteY95" fmla="*/ 5882 h 10000"/>
                <a:gd name="connsiteX96" fmla="*/ 6514 w 10000"/>
                <a:gd name="connsiteY96" fmla="*/ 6316 h 10000"/>
                <a:gd name="connsiteX97" fmla="*/ 6921 w 10000"/>
                <a:gd name="connsiteY97" fmla="*/ 6471 h 10000"/>
                <a:gd name="connsiteX98" fmla="*/ 6514 w 10000"/>
                <a:gd name="connsiteY98" fmla="*/ 6997 h 10000"/>
                <a:gd name="connsiteX99" fmla="*/ 6921 w 10000"/>
                <a:gd name="connsiteY99" fmla="*/ 7554 h 10000"/>
                <a:gd name="connsiteX100" fmla="*/ 6794 w 10000"/>
                <a:gd name="connsiteY100" fmla="*/ 7864 h 10000"/>
                <a:gd name="connsiteX101" fmla="*/ 6718 w 10000"/>
                <a:gd name="connsiteY101" fmla="*/ 8700 h 10000"/>
                <a:gd name="connsiteX102" fmla="*/ 6768 w 10000"/>
                <a:gd name="connsiteY102" fmla="*/ 9226 h 10000"/>
                <a:gd name="connsiteX103" fmla="*/ 6718 w 10000"/>
                <a:gd name="connsiteY103" fmla="*/ 9288 h 10000"/>
                <a:gd name="connsiteX104" fmla="*/ 7099 w 10000"/>
                <a:gd name="connsiteY104" fmla="*/ 9628 h 10000"/>
                <a:gd name="connsiteX105" fmla="*/ 7405 w 10000"/>
                <a:gd name="connsiteY105" fmla="*/ 9505 h 10000"/>
                <a:gd name="connsiteX106" fmla="*/ 7888 w 10000"/>
                <a:gd name="connsiteY106" fmla="*/ 9907 h 10000"/>
                <a:gd name="connsiteX107" fmla="*/ 8117 w 10000"/>
                <a:gd name="connsiteY107" fmla="*/ 9567 h 10000"/>
                <a:gd name="connsiteX108" fmla="*/ 7990 w 10000"/>
                <a:gd name="connsiteY108" fmla="*/ 9350 h 10000"/>
                <a:gd name="connsiteX109" fmla="*/ 8473 w 10000"/>
                <a:gd name="connsiteY109" fmla="*/ 8700 h 10000"/>
                <a:gd name="connsiteX110" fmla="*/ 8677 w 10000"/>
                <a:gd name="connsiteY110" fmla="*/ 8638 h 10000"/>
                <a:gd name="connsiteX111" fmla="*/ 8855 w 10000"/>
                <a:gd name="connsiteY111" fmla="*/ 8700 h 10000"/>
                <a:gd name="connsiteX112" fmla="*/ 9109 w 10000"/>
                <a:gd name="connsiteY112" fmla="*/ 8328 h 10000"/>
                <a:gd name="connsiteX113" fmla="*/ 8626 w 10000"/>
                <a:gd name="connsiteY113" fmla="*/ 7988 h 10000"/>
                <a:gd name="connsiteX114" fmla="*/ 8651 w 10000"/>
                <a:gd name="connsiteY114" fmla="*/ 7833 h 10000"/>
                <a:gd name="connsiteX115" fmla="*/ 8448 w 10000"/>
                <a:gd name="connsiteY115" fmla="*/ 7709 h 10000"/>
                <a:gd name="connsiteX116" fmla="*/ 9135 w 10000"/>
                <a:gd name="connsiteY116" fmla="*/ 7152 h 10000"/>
                <a:gd name="connsiteX117" fmla="*/ 9746 w 10000"/>
                <a:gd name="connsiteY117" fmla="*/ 7090 h 10000"/>
                <a:gd name="connsiteX118" fmla="*/ 8957 w 10000"/>
                <a:gd name="connsiteY118" fmla="*/ 6842 h 10000"/>
                <a:gd name="connsiteX119" fmla="*/ 8982 w 10000"/>
                <a:gd name="connsiteY119" fmla="*/ 6378 h 10000"/>
                <a:gd name="connsiteX120" fmla="*/ 9542 w 10000"/>
                <a:gd name="connsiteY120" fmla="*/ 6006 h 10000"/>
                <a:gd name="connsiteX121" fmla="*/ 9567 w 10000"/>
                <a:gd name="connsiteY121" fmla="*/ 486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10000" h="10000">
                  <a:moveTo>
                    <a:pt x="9567" y="4861"/>
                  </a:moveTo>
                  <a:cubicBezTo>
                    <a:pt x="9618" y="4861"/>
                    <a:pt x="10000" y="4799"/>
                    <a:pt x="9949" y="4427"/>
                  </a:cubicBezTo>
                  <a:cubicBezTo>
                    <a:pt x="9898" y="4056"/>
                    <a:pt x="9898" y="3932"/>
                    <a:pt x="9898" y="3870"/>
                  </a:cubicBezTo>
                  <a:cubicBezTo>
                    <a:pt x="9873" y="3870"/>
                    <a:pt x="9873" y="3870"/>
                    <a:pt x="9873" y="3839"/>
                  </a:cubicBezTo>
                  <a:cubicBezTo>
                    <a:pt x="9873" y="3870"/>
                    <a:pt x="9847" y="3870"/>
                    <a:pt x="9847" y="3870"/>
                  </a:cubicBezTo>
                  <a:cubicBezTo>
                    <a:pt x="9847" y="3870"/>
                    <a:pt x="9644" y="3406"/>
                    <a:pt x="9593" y="3375"/>
                  </a:cubicBezTo>
                  <a:cubicBezTo>
                    <a:pt x="9542" y="3344"/>
                    <a:pt x="9262" y="3282"/>
                    <a:pt x="9262" y="3282"/>
                  </a:cubicBezTo>
                  <a:cubicBezTo>
                    <a:pt x="9262" y="3282"/>
                    <a:pt x="9135" y="3251"/>
                    <a:pt x="9008" y="3189"/>
                  </a:cubicBezTo>
                  <a:cubicBezTo>
                    <a:pt x="8906" y="3127"/>
                    <a:pt x="8321" y="2167"/>
                    <a:pt x="8321" y="2167"/>
                  </a:cubicBezTo>
                  <a:lnTo>
                    <a:pt x="8473" y="1796"/>
                  </a:lnTo>
                  <a:cubicBezTo>
                    <a:pt x="8499" y="1734"/>
                    <a:pt x="8499" y="1734"/>
                    <a:pt x="8397" y="1579"/>
                  </a:cubicBezTo>
                  <a:lnTo>
                    <a:pt x="8219" y="1796"/>
                  </a:lnTo>
                  <a:cubicBezTo>
                    <a:pt x="8219" y="1796"/>
                    <a:pt x="8015" y="1455"/>
                    <a:pt x="7990" y="1424"/>
                  </a:cubicBezTo>
                  <a:cubicBezTo>
                    <a:pt x="7964" y="1393"/>
                    <a:pt x="8270" y="1053"/>
                    <a:pt x="8270" y="1053"/>
                  </a:cubicBezTo>
                  <a:cubicBezTo>
                    <a:pt x="8295" y="1022"/>
                    <a:pt x="8142" y="650"/>
                    <a:pt x="8142" y="650"/>
                  </a:cubicBezTo>
                  <a:lnTo>
                    <a:pt x="7990" y="836"/>
                  </a:lnTo>
                  <a:cubicBezTo>
                    <a:pt x="7913" y="898"/>
                    <a:pt x="8015" y="991"/>
                    <a:pt x="7913" y="1084"/>
                  </a:cubicBezTo>
                  <a:cubicBezTo>
                    <a:pt x="7837" y="1176"/>
                    <a:pt x="7532" y="774"/>
                    <a:pt x="7455" y="774"/>
                  </a:cubicBezTo>
                  <a:cubicBezTo>
                    <a:pt x="7379" y="774"/>
                    <a:pt x="7328" y="867"/>
                    <a:pt x="7150" y="867"/>
                  </a:cubicBezTo>
                  <a:cubicBezTo>
                    <a:pt x="6972" y="867"/>
                    <a:pt x="6896" y="433"/>
                    <a:pt x="6870" y="402"/>
                  </a:cubicBezTo>
                  <a:cubicBezTo>
                    <a:pt x="6819" y="372"/>
                    <a:pt x="6743" y="464"/>
                    <a:pt x="6692" y="495"/>
                  </a:cubicBezTo>
                  <a:cubicBezTo>
                    <a:pt x="6667" y="495"/>
                    <a:pt x="5674" y="557"/>
                    <a:pt x="5445" y="495"/>
                  </a:cubicBezTo>
                  <a:cubicBezTo>
                    <a:pt x="5216" y="433"/>
                    <a:pt x="5089" y="155"/>
                    <a:pt x="5089" y="155"/>
                  </a:cubicBezTo>
                  <a:cubicBezTo>
                    <a:pt x="5089" y="155"/>
                    <a:pt x="4860" y="62"/>
                    <a:pt x="4656" y="0"/>
                  </a:cubicBezTo>
                  <a:cubicBezTo>
                    <a:pt x="4682" y="62"/>
                    <a:pt x="4682" y="93"/>
                    <a:pt x="4656" y="93"/>
                  </a:cubicBezTo>
                  <a:cubicBezTo>
                    <a:pt x="4606" y="124"/>
                    <a:pt x="4606" y="186"/>
                    <a:pt x="4427" y="310"/>
                  </a:cubicBezTo>
                  <a:cubicBezTo>
                    <a:pt x="4249" y="433"/>
                    <a:pt x="4631" y="619"/>
                    <a:pt x="4606" y="619"/>
                  </a:cubicBezTo>
                  <a:cubicBezTo>
                    <a:pt x="4580" y="650"/>
                    <a:pt x="4173" y="991"/>
                    <a:pt x="3969" y="991"/>
                  </a:cubicBezTo>
                  <a:cubicBezTo>
                    <a:pt x="3766" y="991"/>
                    <a:pt x="3944" y="650"/>
                    <a:pt x="3919" y="588"/>
                  </a:cubicBezTo>
                  <a:cubicBezTo>
                    <a:pt x="3919" y="495"/>
                    <a:pt x="3817" y="526"/>
                    <a:pt x="3766" y="526"/>
                  </a:cubicBezTo>
                  <a:cubicBezTo>
                    <a:pt x="3740" y="526"/>
                    <a:pt x="3537" y="650"/>
                    <a:pt x="3435" y="650"/>
                  </a:cubicBezTo>
                  <a:cubicBezTo>
                    <a:pt x="3308" y="650"/>
                    <a:pt x="3232" y="681"/>
                    <a:pt x="3181" y="712"/>
                  </a:cubicBezTo>
                  <a:cubicBezTo>
                    <a:pt x="3130" y="743"/>
                    <a:pt x="3130" y="960"/>
                    <a:pt x="3028" y="1022"/>
                  </a:cubicBezTo>
                  <a:cubicBezTo>
                    <a:pt x="2901" y="1053"/>
                    <a:pt x="2774" y="991"/>
                    <a:pt x="2646" y="991"/>
                  </a:cubicBezTo>
                  <a:cubicBezTo>
                    <a:pt x="2494" y="960"/>
                    <a:pt x="2443" y="774"/>
                    <a:pt x="2443" y="712"/>
                  </a:cubicBezTo>
                  <a:cubicBezTo>
                    <a:pt x="2468" y="681"/>
                    <a:pt x="2290" y="681"/>
                    <a:pt x="2061" y="650"/>
                  </a:cubicBezTo>
                  <a:cubicBezTo>
                    <a:pt x="1858" y="588"/>
                    <a:pt x="1908" y="743"/>
                    <a:pt x="1883" y="774"/>
                  </a:cubicBezTo>
                  <a:cubicBezTo>
                    <a:pt x="1858" y="805"/>
                    <a:pt x="1628" y="619"/>
                    <a:pt x="1628" y="588"/>
                  </a:cubicBezTo>
                  <a:cubicBezTo>
                    <a:pt x="1603" y="588"/>
                    <a:pt x="1450" y="619"/>
                    <a:pt x="1349" y="712"/>
                  </a:cubicBezTo>
                  <a:cubicBezTo>
                    <a:pt x="1272" y="805"/>
                    <a:pt x="1272" y="495"/>
                    <a:pt x="1145" y="495"/>
                  </a:cubicBezTo>
                  <a:cubicBezTo>
                    <a:pt x="1043" y="495"/>
                    <a:pt x="1094" y="991"/>
                    <a:pt x="1094" y="1207"/>
                  </a:cubicBezTo>
                  <a:cubicBezTo>
                    <a:pt x="1094" y="1424"/>
                    <a:pt x="611" y="1115"/>
                    <a:pt x="407" y="1176"/>
                  </a:cubicBezTo>
                  <a:cubicBezTo>
                    <a:pt x="178" y="1207"/>
                    <a:pt x="127" y="1548"/>
                    <a:pt x="51" y="1796"/>
                  </a:cubicBezTo>
                  <a:cubicBezTo>
                    <a:pt x="0" y="2043"/>
                    <a:pt x="305" y="1889"/>
                    <a:pt x="305" y="1889"/>
                  </a:cubicBezTo>
                  <a:cubicBezTo>
                    <a:pt x="305" y="1889"/>
                    <a:pt x="1043" y="1424"/>
                    <a:pt x="1120" y="1424"/>
                  </a:cubicBezTo>
                  <a:cubicBezTo>
                    <a:pt x="1196" y="1424"/>
                    <a:pt x="1069" y="1517"/>
                    <a:pt x="967" y="1579"/>
                  </a:cubicBezTo>
                  <a:cubicBezTo>
                    <a:pt x="891" y="1641"/>
                    <a:pt x="458" y="1920"/>
                    <a:pt x="433" y="2074"/>
                  </a:cubicBezTo>
                  <a:cubicBezTo>
                    <a:pt x="433" y="2260"/>
                    <a:pt x="585" y="2353"/>
                    <a:pt x="662" y="2539"/>
                  </a:cubicBezTo>
                  <a:cubicBezTo>
                    <a:pt x="738" y="2724"/>
                    <a:pt x="789" y="2910"/>
                    <a:pt x="941" y="3096"/>
                  </a:cubicBezTo>
                  <a:cubicBezTo>
                    <a:pt x="1069" y="3251"/>
                    <a:pt x="1221" y="3251"/>
                    <a:pt x="1323" y="3375"/>
                  </a:cubicBezTo>
                  <a:cubicBezTo>
                    <a:pt x="1425" y="3467"/>
                    <a:pt x="1730" y="3653"/>
                    <a:pt x="1883" y="3715"/>
                  </a:cubicBezTo>
                  <a:cubicBezTo>
                    <a:pt x="2010" y="3777"/>
                    <a:pt x="2137" y="3839"/>
                    <a:pt x="2290" y="3808"/>
                  </a:cubicBezTo>
                  <a:cubicBezTo>
                    <a:pt x="2443" y="3808"/>
                    <a:pt x="2545" y="3591"/>
                    <a:pt x="2748" y="3591"/>
                  </a:cubicBezTo>
                  <a:cubicBezTo>
                    <a:pt x="2926" y="3560"/>
                    <a:pt x="3053" y="3344"/>
                    <a:pt x="3053" y="3344"/>
                  </a:cubicBezTo>
                  <a:cubicBezTo>
                    <a:pt x="3053" y="3313"/>
                    <a:pt x="3181" y="3467"/>
                    <a:pt x="3333" y="3529"/>
                  </a:cubicBezTo>
                  <a:cubicBezTo>
                    <a:pt x="3486" y="3591"/>
                    <a:pt x="3511" y="3220"/>
                    <a:pt x="3562" y="3189"/>
                  </a:cubicBezTo>
                  <a:cubicBezTo>
                    <a:pt x="3613" y="3127"/>
                    <a:pt x="3613" y="3220"/>
                    <a:pt x="3639" y="3313"/>
                  </a:cubicBezTo>
                  <a:cubicBezTo>
                    <a:pt x="3690" y="3437"/>
                    <a:pt x="3511" y="3498"/>
                    <a:pt x="3486" y="3529"/>
                  </a:cubicBezTo>
                  <a:cubicBezTo>
                    <a:pt x="3461" y="3529"/>
                    <a:pt x="3282" y="3746"/>
                    <a:pt x="3155" y="3901"/>
                  </a:cubicBezTo>
                  <a:cubicBezTo>
                    <a:pt x="3053" y="4025"/>
                    <a:pt x="3130" y="4087"/>
                    <a:pt x="3130" y="4149"/>
                  </a:cubicBezTo>
                  <a:cubicBezTo>
                    <a:pt x="3104" y="4211"/>
                    <a:pt x="2901" y="4087"/>
                    <a:pt x="2774" y="4087"/>
                  </a:cubicBezTo>
                  <a:cubicBezTo>
                    <a:pt x="2621" y="4118"/>
                    <a:pt x="2748" y="4180"/>
                    <a:pt x="2595" y="4241"/>
                  </a:cubicBezTo>
                  <a:cubicBezTo>
                    <a:pt x="2468" y="4303"/>
                    <a:pt x="2494" y="4396"/>
                    <a:pt x="2417" y="4427"/>
                  </a:cubicBezTo>
                  <a:cubicBezTo>
                    <a:pt x="2366" y="4458"/>
                    <a:pt x="2239" y="4272"/>
                    <a:pt x="2214" y="4272"/>
                  </a:cubicBezTo>
                  <a:cubicBezTo>
                    <a:pt x="2214" y="4272"/>
                    <a:pt x="2163" y="4396"/>
                    <a:pt x="2137" y="4396"/>
                  </a:cubicBezTo>
                  <a:cubicBezTo>
                    <a:pt x="2087" y="4427"/>
                    <a:pt x="2061" y="4396"/>
                    <a:pt x="2061" y="4365"/>
                  </a:cubicBezTo>
                  <a:cubicBezTo>
                    <a:pt x="2036" y="4334"/>
                    <a:pt x="1959" y="4489"/>
                    <a:pt x="1883" y="4582"/>
                  </a:cubicBezTo>
                  <a:cubicBezTo>
                    <a:pt x="1832" y="4675"/>
                    <a:pt x="1807" y="4582"/>
                    <a:pt x="1756" y="4520"/>
                  </a:cubicBezTo>
                  <a:cubicBezTo>
                    <a:pt x="1730" y="4458"/>
                    <a:pt x="1654" y="4675"/>
                    <a:pt x="1578" y="4706"/>
                  </a:cubicBezTo>
                  <a:cubicBezTo>
                    <a:pt x="1527" y="4706"/>
                    <a:pt x="1552" y="4489"/>
                    <a:pt x="1527" y="4427"/>
                  </a:cubicBezTo>
                  <a:cubicBezTo>
                    <a:pt x="1527" y="4365"/>
                    <a:pt x="1399" y="4211"/>
                    <a:pt x="1323" y="4180"/>
                  </a:cubicBezTo>
                  <a:cubicBezTo>
                    <a:pt x="1221" y="4149"/>
                    <a:pt x="1094" y="4396"/>
                    <a:pt x="1043" y="4551"/>
                  </a:cubicBezTo>
                  <a:cubicBezTo>
                    <a:pt x="992" y="4675"/>
                    <a:pt x="1196" y="4799"/>
                    <a:pt x="1298" y="5046"/>
                  </a:cubicBezTo>
                  <a:cubicBezTo>
                    <a:pt x="1399" y="5263"/>
                    <a:pt x="1908" y="5820"/>
                    <a:pt x="2061" y="6037"/>
                  </a:cubicBezTo>
                  <a:cubicBezTo>
                    <a:pt x="2214" y="6285"/>
                    <a:pt x="2468" y="6811"/>
                    <a:pt x="2621" y="7028"/>
                  </a:cubicBezTo>
                  <a:cubicBezTo>
                    <a:pt x="2748" y="7245"/>
                    <a:pt x="3511" y="7988"/>
                    <a:pt x="3664" y="8080"/>
                  </a:cubicBezTo>
                  <a:cubicBezTo>
                    <a:pt x="3817" y="8173"/>
                    <a:pt x="3817" y="8204"/>
                    <a:pt x="3893" y="8204"/>
                  </a:cubicBezTo>
                  <a:cubicBezTo>
                    <a:pt x="3944" y="8235"/>
                    <a:pt x="4097" y="8050"/>
                    <a:pt x="4198" y="8019"/>
                  </a:cubicBezTo>
                  <a:cubicBezTo>
                    <a:pt x="4275" y="7988"/>
                    <a:pt x="4733" y="7833"/>
                    <a:pt x="4784" y="7833"/>
                  </a:cubicBezTo>
                  <a:cubicBezTo>
                    <a:pt x="4835" y="7833"/>
                    <a:pt x="5344" y="7492"/>
                    <a:pt x="5445" y="7368"/>
                  </a:cubicBezTo>
                  <a:cubicBezTo>
                    <a:pt x="5573" y="7276"/>
                    <a:pt x="5776" y="7337"/>
                    <a:pt x="5802" y="7307"/>
                  </a:cubicBezTo>
                  <a:cubicBezTo>
                    <a:pt x="5802" y="7307"/>
                    <a:pt x="5802" y="7152"/>
                    <a:pt x="5827" y="6997"/>
                  </a:cubicBezTo>
                  <a:cubicBezTo>
                    <a:pt x="5827" y="6842"/>
                    <a:pt x="5980" y="6873"/>
                    <a:pt x="6056" y="6749"/>
                  </a:cubicBezTo>
                  <a:cubicBezTo>
                    <a:pt x="6098" y="6646"/>
                    <a:pt x="6141" y="6543"/>
                    <a:pt x="6183" y="6440"/>
                  </a:cubicBezTo>
                  <a:cubicBezTo>
                    <a:pt x="6260" y="6409"/>
                    <a:pt x="5878" y="6099"/>
                    <a:pt x="5802" y="6037"/>
                  </a:cubicBezTo>
                  <a:cubicBezTo>
                    <a:pt x="5725" y="5975"/>
                    <a:pt x="5929" y="5728"/>
                    <a:pt x="6031" y="5666"/>
                  </a:cubicBezTo>
                  <a:cubicBezTo>
                    <a:pt x="6158" y="5604"/>
                    <a:pt x="6260" y="5480"/>
                    <a:pt x="6285" y="5387"/>
                  </a:cubicBezTo>
                  <a:cubicBezTo>
                    <a:pt x="6310" y="5325"/>
                    <a:pt x="6183" y="5232"/>
                    <a:pt x="6132" y="5108"/>
                  </a:cubicBezTo>
                  <a:cubicBezTo>
                    <a:pt x="6081" y="4985"/>
                    <a:pt x="6260" y="5077"/>
                    <a:pt x="6310" y="5015"/>
                  </a:cubicBezTo>
                  <a:cubicBezTo>
                    <a:pt x="6387" y="4954"/>
                    <a:pt x="6361" y="5170"/>
                    <a:pt x="6361" y="5232"/>
                  </a:cubicBezTo>
                  <a:cubicBezTo>
                    <a:pt x="6387" y="5325"/>
                    <a:pt x="6463" y="5108"/>
                    <a:pt x="6616" y="5077"/>
                  </a:cubicBezTo>
                  <a:cubicBezTo>
                    <a:pt x="6768" y="5046"/>
                    <a:pt x="7048" y="5139"/>
                    <a:pt x="7099" y="5170"/>
                  </a:cubicBezTo>
                  <a:cubicBezTo>
                    <a:pt x="7150" y="5232"/>
                    <a:pt x="7074" y="5418"/>
                    <a:pt x="6997" y="5480"/>
                  </a:cubicBezTo>
                  <a:cubicBezTo>
                    <a:pt x="6947" y="5542"/>
                    <a:pt x="6819" y="5294"/>
                    <a:pt x="6794" y="5263"/>
                  </a:cubicBezTo>
                  <a:cubicBezTo>
                    <a:pt x="6794" y="5232"/>
                    <a:pt x="6718" y="5263"/>
                    <a:pt x="6565" y="5480"/>
                  </a:cubicBezTo>
                  <a:cubicBezTo>
                    <a:pt x="6412" y="5666"/>
                    <a:pt x="6743" y="5759"/>
                    <a:pt x="6667" y="5882"/>
                  </a:cubicBezTo>
                  <a:cubicBezTo>
                    <a:pt x="6616" y="6006"/>
                    <a:pt x="6565" y="6099"/>
                    <a:pt x="6514" y="6316"/>
                  </a:cubicBezTo>
                  <a:cubicBezTo>
                    <a:pt x="6489" y="6533"/>
                    <a:pt x="6870" y="6471"/>
                    <a:pt x="6921" y="6471"/>
                  </a:cubicBezTo>
                  <a:cubicBezTo>
                    <a:pt x="6972" y="6471"/>
                    <a:pt x="6565" y="6718"/>
                    <a:pt x="6514" y="6997"/>
                  </a:cubicBezTo>
                  <a:cubicBezTo>
                    <a:pt x="6463" y="7307"/>
                    <a:pt x="6794" y="7399"/>
                    <a:pt x="6921" y="7554"/>
                  </a:cubicBezTo>
                  <a:cubicBezTo>
                    <a:pt x="7048" y="7709"/>
                    <a:pt x="6845" y="7709"/>
                    <a:pt x="6794" y="7864"/>
                  </a:cubicBezTo>
                  <a:cubicBezTo>
                    <a:pt x="6760" y="8055"/>
                    <a:pt x="6722" y="8473"/>
                    <a:pt x="6718" y="8700"/>
                  </a:cubicBezTo>
                  <a:cubicBezTo>
                    <a:pt x="6489" y="8731"/>
                    <a:pt x="6743" y="9164"/>
                    <a:pt x="6768" y="9226"/>
                  </a:cubicBezTo>
                  <a:cubicBezTo>
                    <a:pt x="6768" y="9257"/>
                    <a:pt x="6743" y="9288"/>
                    <a:pt x="6718" y="9288"/>
                  </a:cubicBezTo>
                  <a:cubicBezTo>
                    <a:pt x="6845" y="9412"/>
                    <a:pt x="6997" y="9690"/>
                    <a:pt x="7099" y="9628"/>
                  </a:cubicBezTo>
                  <a:cubicBezTo>
                    <a:pt x="7201" y="9598"/>
                    <a:pt x="7354" y="9505"/>
                    <a:pt x="7405" y="9505"/>
                  </a:cubicBezTo>
                  <a:cubicBezTo>
                    <a:pt x="7430" y="9505"/>
                    <a:pt x="7812" y="10000"/>
                    <a:pt x="7888" y="9907"/>
                  </a:cubicBezTo>
                  <a:cubicBezTo>
                    <a:pt x="7964" y="9814"/>
                    <a:pt x="8142" y="9628"/>
                    <a:pt x="8117" y="9567"/>
                  </a:cubicBezTo>
                  <a:cubicBezTo>
                    <a:pt x="8092" y="9536"/>
                    <a:pt x="7990" y="9350"/>
                    <a:pt x="7990" y="9350"/>
                  </a:cubicBezTo>
                  <a:cubicBezTo>
                    <a:pt x="7990" y="9350"/>
                    <a:pt x="8346" y="8731"/>
                    <a:pt x="8473" y="8700"/>
                  </a:cubicBezTo>
                  <a:cubicBezTo>
                    <a:pt x="8575" y="8700"/>
                    <a:pt x="8651" y="8638"/>
                    <a:pt x="8677" y="8638"/>
                  </a:cubicBezTo>
                  <a:cubicBezTo>
                    <a:pt x="8677" y="8638"/>
                    <a:pt x="8779" y="8731"/>
                    <a:pt x="8855" y="8700"/>
                  </a:cubicBezTo>
                  <a:cubicBezTo>
                    <a:pt x="8906" y="8669"/>
                    <a:pt x="9109" y="8359"/>
                    <a:pt x="9109" y="8328"/>
                  </a:cubicBezTo>
                  <a:cubicBezTo>
                    <a:pt x="9084" y="8297"/>
                    <a:pt x="8601" y="8050"/>
                    <a:pt x="8626" y="7988"/>
                  </a:cubicBezTo>
                  <a:cubicBezTo>
                    <a:pt x="8651" y="7926"/>
                    <a:pt x="8702" y="7833"/>
                    <a:pt x="8651" y="7833"/>
                  </a:cubicBezTo>
                  <a:cubicBezTo>
                    <a:pt x="8626" y="7802"/>
                    <a:pt x="8372" y="7833"/>
                    <a:pt x="8448" y="7709"/>
                  </a:cubicBezTo>
                  <a:cubicBezTo>
                    <a:pt x="8550" y="7585"/>
                    <a:pt x="9084" y="7152"/>
                    <a:pt x="9135" y="7152"/>
                  </a:cubicBezTo>
                  <a:cubicBezTo>
                    <a:pt x="9160" y="7183"/>
                    <a:pt x="9796" y="7276"/>
                    <a:pt x="9746" y="7090"/>
                  </a:cubicBezTo>
                  <a:cubicBezTo>
                    <a:pt x="9669" y="6873"/>
                    <a:pt x="8931" y="6873"/>
                    <a:pt x="8957" y="6842"/>
                  </a:cubicBezTo>
                  <a:cubicBezTo>
                    <a:pt x="8982" y="6811"/>
                    <a:pt x="8880" y="6440"/>
                    <a:pt x="8982" y="6378"/>
                  </a:cubicBezTo>
                  <a:cubicBezTo>
                    <a:pt x="9109" y="6347"/>
                    <a:pt x="9542" y="6192"/>
                    <a:pt x="9542" y="6006"/>
                  </a:cubicBezTo>
                  <a:cubicBezTo>
                    <a:pt x="9517" y="5851"/>
                    <a:pt x="9491" y="4861"/>
                    <a:pt x="9567" y="4861"/>
                  </a:cubicBezTo>
                  <a:close/>
                </a:path>
              </a:pathLst>
            </a:custGeom>
            <a:solidFill>
              <a:srgbClr val="00B05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52" name="Freeform 1201"/>
            <p:cNvSpPr>
              <a:spLocks noChangeAspect="1"/>
            </p:cNvSpPr>
            <p:nvPr/>
          </p:nvSpPr>
          <p:spPr bwMode="auto">
            <a:xfrm>
              <a:off x="8816578" y="4839874"/>
              <a:ext cx="1891105" cy="1152376"/>
            </a:xfrm>
            <a:custGeom>
              <a:avLst/>
              <a:gdLst>
                <a:gd name="T0" fmla="*/ 93 w 513"/>
                <a:gd name="T1" fmla="*/ 408 h 410"/>
                <a:gd name="T2" fmla="*/ 112 w 513"/>
                <a:gd name="T3" fmla="*/ 386 h 410"/>
                <a:gd name="T4" fmla="*/ 130 w 513"/>
                <a:gd name="T5" fmla="*/ 349 h 410"/>
                <a:gd name="T6" fmla="*/ 193 w 513"/>
                <a:gd name="T7" fmla="*/ 315 h 410"/>
                <a:gd name="T8" fmla="*/ 233 w 513"/>
                <a:gd name="T9" fmla="*/ 303 h 410"/>
                <a:gd name="T10" fmla="*/ 256 w 513"/>
                <a:gd name="T11" fmla="*/ 282 h 410"/>
                <a:gd name="T12" fmla="*/ 288 w 513"/>
                <a:gd name="T13" fmla="*/ 244 h 410"/>
                <a:gd name="T14" fmla="*/ 314 w 513"/>
                <a:gd name="T15" fmla="*/ 233 h 410"/>
                <a:gd name="T16" fmla="*/ 338 w 513"/>
                <a:gd name="T17" fmla="*/ 178 h 410"/>
                <a:gd name="T18" fmla="*/ 369 w 513"/>
                <a:gd name="T19" fmla="*/ 150 h 410"/>
                <a:gd name="T20" fmla="*/ 423 w 513"/>
                <a:gd name="T21" fmla="*/ 171 h 410"/>
                <a:gd name="T22" fmla="*/ 449 w 513"/>
                <a:gd name="T23" fmla="*/ 194 h 410"/>
                <a:gd name="T24" fmla="*/ 462 w 513"/>
                <a:gd name="T25" fmla="*/ 219 h 410"/>
                <a:gd name="T26" fmla="*/ 488 w 513"/>
                <a:gd name="T27" fmla="*/ 178 h 410"/>
                <a:gd name="T28" fmla="*/ 496 w 513"/>
                <a:gd name="T29" fmla="*/ 155 h 410"/>
                <a:gd name="T30" fmla="*/ 498 w 513"/>
                <a:gd name="T31" fmla="*/ 134 h 410"/>
                <a:gd name="T32" fmla="*/ 492 w 513"/>
                <a:gd name="T33" fmla="*/ 90 h 410"/>
                <a:gd name="T34" fmla="*/ 491 w 513"/>
                <a:gd name="T35" fmla="*/ 50 h 410"/>
                <a:gd name="T36" fmla="*/ 465 w 513"/>
                <a:gd name="T37" fmla="*/ 33 h 410"/>
                <a:gd name="T38" fmla="*/ 427 w 513"/>
                <a:gd name="T39" fmla="*/ 40 h 410"/>
                <a:gd name="T40" fmla="*/ 379 w 513"/>
                <a:gd name="T41" fmla="*/ 41 h 410"/>
                <a:gd name="T42" fmla="*/ 334 w 513"/>
                <a:gd name="T43" fmla="*/ 47 h 410"/>
                <a:gd name="T44" fmla="*/ 326 w 513"/>
                <a:gd name="T45" fmla="*/ 38 h 410"/>
                <a:gd name="T46" fmla="*/ 285 w 513"/>
                <a:gd name="T47" fmla="*/ 24 h 410"/>
                <a:gd name="T48" fmla="*/ 248 w 513"/>
                <a:gd name="T49" fmla="*/ 75 h 410"/>
                <a:gd name="T50" fmla="*/ 230 w 513"/>
                <a:gd name="T51" fmla="*/ 47 h 410"/>
                <a:gd name="T52" fmla="*/ 180 w 513"/>
                <a:gd name="T53" fmla="*/ 45 h 410"/>
                <a:gd name="T54" fmla="*/ 137 w 513"/>
                <a:gd name="T55" fmla="*/ 21 h 410"/>
                <a:gd name="T56" fmla="*/ 140 w 513"/>
                <a:gd name="T57" fmla="*/ 6 h 410"/>
                <a:gd name="T58" fmla="*/ 121 w 513"/>
                <a:gd name="T59" fmla="*/ 1 h 410"/>
                <a:gd name="T60" fmla="*/ 129 w 513"/>
                <a:gd name="T61" fmla="*/ 36 h 410"/>
                <a:gd name="T62" fmla="*/ 86 w 513"/>
                <a:gd name="T63" fmla="*/ 60 h 410"/>
                <a:gd name="T64" fmla="*/ 94 w 513"/>
                <a:gd name="T65" fmla="*/ 88 h 410"/>
                <a:gd name="T66" fmla="*/ 60 w 513"/>
                <a:gd name="T67" fmla="*/ 109 h 410"/>
                <a:gd name="T68" fmla="*/ 37 w 513"/>
                <a:gd name="T69" fmla="*/ 114 h 410"/>
                <a:gd name="T70" fmla="*/ 7 w 513"/>
                <a:gd name="T71" fmla="*/ 110 h 410"/>
                <a:gd name="T72" fmla="*/ 4 w 513"/>
                <a:gd name="T73" fmla="*/ 135 h 410"/>
                <a:gd name="T74" fmla="*/ 10 w 513"/>
                <a:gd name="T75" fmla="*/ 168 h 410"/>
                <a:gd name="T76" fmla="*/ 17 w 513"/>
                <a:gd name="T77" fmla="*/ 180 h 410"/>
                <a:gd name="T78" fmla="*/ 19 w 513"/>
                <a:gd name="T79" fmla="*/ 199 h 410"/>
                <a:gd name="T80" fmla="*/ 11 w 513"/>
                <a:gd name="T81" fmla="*/ 214 h 410"/>
                <a:gd name="T82" fmla="*/ 19 w 513"/>
                <a:gd name="T83" fmla="*/ 239 h 410"/>
                <a:gd name="T84" fmla="*/ 20 w 513"/>
                <a:gd name="T85" fmla="*/ 260 h 410"/>
                <a:gd name="T86" fmla="*/ 28 w 513"/>
                <a:gd name="T87" fmla="*/ 331 h 410"/>
                <a:gd name="T88" fmla="*/ 36 w 513"/>
                <a:gd name="T89" fmla="*/ 380 h 410"/>
                <a:gd name="T90" fmla="*/ 60 w 513"/>
                <a:gd name="T91" fmla="*/ 40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410">
                  <a:moveTo>
                    <a:pt x="60" y="409"/>
                  </a:moveTo>
                  <a:cubicBezTo>
                    <a:pt x="63" y="408"/>
                    <a:pt x="78" y="399"/>
                    <a:pt x="79" y="399"/>
                  </a:cubicBezTo>
                  <a:cubicBezTo>
                    <a:pt x="80" y="399"/>
                    <a:pt x="92" y="409"/>
                    <a:pt x="93" y="408"/>
                  </a:cubicBezTo>
                  <a:cubicBezTo>
                    <a:pt x="94" y="407"/>
                    <a:pt x="96" y="399"/>
                    <a:pt x="100" y="400"/>
                  </a:cubicBezTo>
                  <a:cubicBezTo>
                    <a:pt x="105" y="400"/>
                    <a:pt x="115" y="405"/>
                    <a:pt x="115" y="399"/>
                  </a:cubicBezTo>
                  <a:cubicBezTo>
                    <a:pt x="114" y="392"/>
                    <a:pt x="111" y="389"/>
                    <a:pt x="112" y="386"/>
                  </a:cubicBezTo>
                  <a:cubicBezTo>
                    <a:pt x="113" y="383"/>
                    <a:pt x="122" y="378"/>
                    <a:pt x="119" y="374"/>
                  </a:cubicBezTo>
                  <a:cubicBezTo>
                    <a:pt x="116" y="370"/>
                    <a:pt x="97" y="362"/>
                    <a:pt x="104" y="354"/>
                  </a:cubicBezTo>
                  <a:cubicBezTo>
                    <a:pt x="111" y="347"/>
                    <a:pt x="123" y="354"/>
                    <a:pt x="130" y="349"/>
                  </a:cubicBezTo>
                  <a:cubicBezTo>
                    <a:pt x="137" y="344"/>
                    <a:pt x="141" y="331"/>
                    <a:pt x="147" y="331"/>
                  </a:cubicBezTo>
                  <a:cubicBezTo>
                    <a:pt x="153" y="332"/>
                    <a:pt x="164" y="338"/>
                    <a:pt x="166" y="338"/>
                  </a:cubicBezTo>
                  <a:cubicBezTo>
                    <a:pt x="169" y="337"/>
                    <a:pt x="194" y="316"/>
                    <a:pt x="193" y="315"/>
                  </a:cubicBezTo>
                  <a:cubicBezTo>
                    <a:pt x="192" y="314"/>
                    <a:pt x="184" y="295"/>
                    <a:pt x="188" y="295"/>
                  </a:cubicBezTo>
                  <a:cubicBezTo>
                    <a:pt x="192" y="295"/>
                    <a:pt x="201" y="302"/>
                    <a:pt x="211" y="302"/>
                  </a:cubicBezTo>
                  <a:cubicBezTo>
                    <a:pt x="221" y="303"/>
                    <a:pt x="234" y="306"/>
                    <a:pt x="233" y="303"/>
                  </a:cubicBezTo>
                  <a:cubicBezTo>
                    <a:pt x="233" y="301"/>
                    <a:pt x="226" y="280"/>
                    <a:pt x="229" y="280"/>
                  </a:cubicBezTo>
                  <a:cubicBezTo>
                    <a:pt x="231" y="279"/>
                    <a:pt x="235" y="273"/>
                    <a:pt x="240" y="274"/>
                  </a:cubicBezTo>
                  <a:cubicBezTo>
                    <a:pt x="244" y="275"/>
                    <a:pt x="248" y="284"/>
                    <a:pt x="256" y="282"/>
                  </a:cubicBezTo>
                  <a:cubicBezTo>
                    <a:pt x="264" y="280"/>
                    <a:pt x="273" y="279"/>
                    <a:pt x="273" y="274"/>
                  </a:cubicBezTo>
                  <a:cubicBezTo>
                    <a:pt x="274" y="268"/>
                    <a:pt x="265" y="252"/>
                    <a:pt x="275" y="249"/>
                  </a:cubicBezTo>
                  <a:cubicBezTo>
                    <a:pt x="285" y="246"/>
                    <a:pt x="284" y="250"/>
                    <a:pt x="288" y="244"/>
                  </a:cubicBezTo>
                  <a:cubicBezTo>
                    <a:pt x="292" y="239"/>
                    <a:pt x="293" y="222"/>
                    <a:pt x="297" y="228"/>
                  </a:cubicBezTo>
                  <a:cubicBezTo>
                    <a:pt x="302" y="234"/>
                    <a:pt x="301" y="241"/>
                    <a:pt x="304" y="239"/>
                  </a:cubicBezTo>
                  <a:cubicBezTo>
                    <a:pt x="307" y="236"/>
                    <a:pt x="308" y="232"/>
                    <a:pt x="314" y="233"/>
                  </a:cubicBezTo>
                  <a:cubicBezTo>
                    <a:pt x="321" y="233"/>
                    <a:pt x="340" y="223"/>
                    <a:pt x="334" y="214"/>
                  </a:cubicBezTo>
                  <a:cubicBezTo>
                    <a:pt x="328" y="204"/>
                    <a:pt x="318" y="202"/>
                    <a:pt x="323" y="198"/>
                  </a:cubicBezTo>
                  <a:cubicBezTo>
                    <a:pt x="328" y="195"/>
                    <a:pt x="333" y="173"/>
                    <a:pt x="338" y="178"/>
                  </a:cubicBezTo>
                  <a:cubicBezTo>
                    <a:pt x="344" y="183"/>
                    <a:pt x="346" y="197"/>
                    <a:pt x="351" y="190"/>
                  </a:cubicBezTo>
                  <a:cubicBezTo>
                    <a:pt x="357" y="184"/>
                    <a:pt x="344" y="178"/>
                    <a:pt x="351" y="175"/>
                  </a:cubicBezTo>
                  <a:cubicBezTo>
                    <a:pt x="357" y="172"/>
                    <a:pt x="352" y="143"/>
                    <a:pt x="369" y="150"/>
                  </a:cubicBezTo>
                  <a:cubicBezTo>
                    <a:pt x="387" y="157"/>
                    <a:pt x="386" y="170"/>
                    <a:pt x="391" y="168"/>
                  </a:cubicBezTo>
                  <a:cubicBezTo>
                    <a:pt x="397" y="166"/>
                    <a:pt x="390" y="160"/>
                    <a:pt x="400" y="162"/>
                  </a:cubicBezTo>
                  <a:cubicBezTo>
                    <a:pt x="411" y="165"/>
                    <a:pt x="417" y="172"/>
                    <a:pt x="423" y="171"/>
                  </a:cubicBezTo>
                  <a:cubicBezTo>
                    <a:pt x="430" y="169"/>
                    <a:pt x="431" y="165"/>
                    <a:pt x="435" y="166"/>
                  </a:cubicBezTo>
                  <a:cubicBezTo>
                    <a:pt x="439" y="168"/>
                    <a:pt x="457" y="174"/>
                    <a:pt x="455" y="182"/>
                  </a:cubicBezTo>
                  <a:cubicBezTo>
                    <a:pt x="453" y="189"/>
                    <a:pt x="447" y="190"/>
                    <a:pt x="449" y="194"/>
                  </a:cubicBezTo>
                  <a:cubicBezTo>
                    <a:pt x="451" y="198"/>
                    <a:pt x="457" y="200"/>
                    <a:pt x="457" y="202"/>
                  </a:cubicBezTo>
                  <a:cubicBezTo>
                    <a:pt x="456" y="203"/>
                    <a:pt x="451" y="211"/>
                    <a:pt x="452" y="212"/>
                  </a:cubicBezTo>
                  <a:cubicBezTo>
                    <a:pt x="453" y="212"/>
                    <a:pt x="460" y="219"/>
                    <a:pt x="462" y="219"/>
                  </a:cubicBezTo>
                  <a:cubicBezTo>
                    <a:pt x="464" y="219"/>
                    <a:pt x="484" y="208"/>
                    <a:pt x="479" y="201"/>
                  </a:cubicBezTo>
                  <a:cubicBezTo>
                    <a:pt x="475" y="195"/>
                    <a:pt x="469" y="181"/>
                    <a:pt x="474" y="180"/>
                  </a:cubicBezTo>
                  <a:cubicBezTo>
                    <a:pt x="480" y="179"/>
                    <a:pt x="482" y="176"/>
                    <a:pt x="488" y="178"/>
                  </a:cubicBezTo>
                  <a:cubicBezTo>
                    <a:pt x="493" y="181"/>
                    <a:pt x="505" y="196"/>
                    <a:pt x="508" y="190"/>
                  </a:cubicBezTo>
                  <a:cubicBezTo>
                    <a:pt x="511" y="184"/>
                    <a:pt x="513" y="178"/>
                    <a:pt x="512" y="170"/>
                  </a:cubicBezTo>
                  <a:cubicBezTo>
                    <a:pt x="511" y="162"/>
                    <a:pt x="496" y="155"/>
                    <a:pt x="496" y="155"/>
                  </a:cubicBezTo>
                  <a:cubicBezTo>
                    <a:pt x="496" y="155"/>
                    <a:pt x="484" y="158"/>
                    <a:pt x="482" y="153"/>
                  </a:cubicBezTo>
                  <a:cubicBezTo>
                    <a:pt x="481" y="149"/>
                    <a:pt x="477" y="148"/>
                    <a:pt x="480" y="146"/>
                  </a:cubicBezTo>
                  <a:cubicBezTo>
                    <a:pt x="483" y="144"/>
                    <a:pt x="499" y="134"/>
                    <a:pt x="498" y="134"/>
                  </a:cubicBezTo>
                  <a:cubicBezTo>
                    <a:pt x="498" y="134"/>
                    <a:pt x="496" y="120"/>
                    <a:pt x="496" y="120"/>
                  </a:cubicBezTo>
                  <a:cubicBezTo>
                    <a:pt x="496" y="120"/>
                    <a:pt x="481" y="109"/>
                    <a:pt x="486" y="103"/>
                  </a:cubicBezTo>
                  <a:cubicBezTo>
                    <a:pt x="491" y="98"/>
                    <a:pt x="493" y="92"/>
                    <a:pt x="492" y="90"/>
                  </a:cubicBezTo>
                  <a:cubicBezTo>
                    <a:pt x="492" y="89"/>
                    <a:pt x="477" y="74"/>
                    <a:pt x="479" y="72"/>
                  </a:cubicBezTo>
                  <a:cubicBezTo>
                    <a:pt x="481" y="71"/>
                    <a:pt x="498" y="54"/>
                    <a:pt x="496" y="53"/>
                  </a:cubicBezTo>
                  <a:cubicBezTo>
                    <a:pt x="494" y="53"/>
                    <a:pt x="493" y="49"/>
                    <a:pt x="491" y="50"/>
                  </a:cubicBezTo>
                  <a:cubicBezTo>
                    <a:pt x="489" y="52"/>
                    <a:pt x="480" y="60"/>
                    <a:pt x="480" y="58"/>
                  </a:cubicBezTo>
                  <a:cubicBezTo>
                    <a:pt x="480" y="56"/>
                    <a:pt x="481" y="43"/>
                    <a:pt x="476" y="34"/>
                  </a:cubicBezTo>
                  <a:cubicBezTo>
                    <a:pt x="475" y="34"/>
                    <a:pt x="471" y="34"/>
                    <a:pt x="465" y="33"/>
                  </a:cubicBezTo>
                  <a:cubicBezTo>
                    <a:pt x="458" y="31"/>
                    <a:pt x="460" y="38"/>
                    <a:pt x="458" y="40"/>
                  </a:cubicBezTo>
                  <a:cubicBezTo>
                    <a:pt x="456" y="41"/>
                    <a:pt x="447" y="34"/>
                    <a:pt x="444" y="32"/>
                  </a:cubicBezTo>
                  <a:cubicBezTo>
                    <a:pt x="441" y="31"/>
                    <a:pt x="433" y="39"/>
                    <a:pt x="427" y="40"/>
                  </a:cubicBezTo>
                  <a:cubicBezTo>
                    <a:pt x="422" y="41"/>
                    <a:pt x="411" y="28"/>
                    <a:pt x="409" y="27"/>
                  </a:cubicBezTo>
                  <a:cubicBezTo>
                    <a:pt x="407" y="26"/>
                    <a:pt x="401" y="40"/>
                    <a:pt x="398" y="42"/>
                  </a:cubicBezTo>
                  <a:cubicBezTo>
                    <a:pt x="396" y="45"/>
                    <a:pt x="383" y="41"/>
                    <a:pt x="379" y="41"/>
                  </a:cubicBezTo>
                  <a:cubicBezTo>
                    <a:pt x="376" y="41"/>
                    <a:pt x="369" y="40"/>
                    <a:pt x="365" y="40"/>
                  </a:cubicBezTo>
                  <a:cubicBezTo>
                    <a:pt x="361" y="40"/>
                    <a:pt x="350" y="52"/>
                    <a:pt x="345" y="54"/>
                  </a:cubicBezTo>
                  <a:cubicBezTo>
                    <a:pt x="341" y="56"/>
                    <a:pt x="338" y="47"/>
                    <a:pt x="334" y="47"/>
                  </a:cubicBezTo>
                  <a:cubicBezTo>
                    <a:pt x="330" y="47"/>
                    <a:pt x="323" y="49"/>
                    <a:pt x="321" y="50"/>
                  </a:cubicBezTo>
                  <a:cubicBezTo>
                    <a:pt x="319" y="50"/>
                    <a:pt x="317" y="46"/>
                    <a:pt x="314" y="41"/>
                  </a:cubicBezTo>
                  <a:cubicBezTo>
                    <a:pt x="312" y="36"/>
                    <a:pt x="323" y="38"/>
                    <a:pt x="326" y="38"/>
                  </a:cubicBezTo>
                  <a:cubicBezTo>
                    <a:pt x="329" y="38"/>
                    <a:pt x="318" y="30"/>
                    <a:pt x="314" y="26"/>
                  </a:cubicBezTo>
                  <a:cubicBezTo>
                    <a:pt x="310" y="23"/>
                    <a:pt x="300" y="32"/>
                    <a:pt x="300" y="33"/>
                  </a:cubicBezTo>
                  <a:cubicBezTo>
                    <a:pt x="300" y="33"/>
                    <a:pt x="286" y="25"/>
                    <a:pt x="285" y="24"/>
                  </a:cubicBezTo>
                  <a:cubicBezTo>
                    <a:pt x="285" y="24"/>
                    <a:pt x="282" y="28"/>
                    <a:pt x="280" y="30"/>
                  </a:cubicBezTo>
                  <a:cubicBezTo>
                    <a:pt x="278" y="33"/>
                    <a:pt x="280" y="37"/>
                    <a:pt x="280" y="43"/>
                  </a:cubicBezTo>
                  <a:cubicBezTo>
                    <a:pt x="280" y="49"/>
                    <a:pt x="249" y="74"/>
                    <a:pt x="248" y="75"/>
                  </a:cubicBezTo>
                  <a:cubicBezTo>
                    <a:pt x="248" y="76"/>
                    <a:pt x="230" y="66"/>
                    <a:pt x="230" y="66"/>
                  </a:cubicBezTo>
                  <a:cubicBezTo>
                    <a:pt x="243" y="58"/>
                    <a:pt x="243" y="58"/>
                    <a:pt x="243" y="58"/>
                  </a:cubicBezTo>
                  <a:cubicBezTo>
                    <a:pt x="243" y="58"/>
                    <a:pt x="231" y="49"/>
                    <a:pt x="230" y="47"/>
                  </a:cubicBezTo>
                  <a:cubicBezTo>
                    <a:pt x="228" y="45"/>
                    <a:pt x="224" y="48"/>
                    <a:pt x="224" y="49"/>
                  </a:cubicBezTo>
                  <a:cubicBezTo>
                    <a:pt x="223" y="49"/>
                    <a:pt x="218" y="46"/>
                    <a:pt x="212" y="42"/>
                  </a:cubicBezTo>
                  <a:cubicBezTo>
                    <a:pt x="205" y="39"/>
                    <a:pt x="182" y="46"/>
                    <a:pt x="180" y="45"/>
                  </a:cubicBezTo>
                  <a:cubicBezTo>
                    <a:pt x="178" y="45"/>
                    <a:pt x="168" y="30"/>
                    <a:pt x="167" y="29"/>
                  </a:cubicBezTo>
                  <a:cubicBezTo>
                    <a:pt x="165" y="29"/>
                    <a:pt x="162" y="34"/>
                    <a:pt x="153" y="36"/>
                  </a:cubicBezTo>
                  <a:cubicBezTo>
                    <a:pt x="144" y="38"/>
                    <a:pt x="138" y="24"/>
                    <a:pt x="137" y="21"/>
                  </a:cubicBezTo>
                  <a:cubicBezTo>
                    <a:pt x="137" y="18"/>
                    <a:pt x="142" y="17"/>
                    <a:pt x="142" y="15"/>
                  </a:cubicBezTo>
                  <a:cubicBezTo>
                    <a:pt x="143" y="14"/>
                    <a:pt x="139" y="13"/>
                    <a:pt x="138" y="13"/>
                  </a:cubicBezTo>
                  <a:cubicBezTo>
                    <a:pt x="137" y="13"/>
                    <a:pt x="139" y="7"/>
                    <a:pt x="140" y="6"/>
                  </a:cubicBezTo>
                  <a:cubicBezTo>
                    <a:pt x="141" y="6"/>
                    <a:pt x="129" y="0"/>
                    <a:pt x="129" y="0"/>
                  </a:cubicBezTo>
                  <a:cubicBezTo>
                    <a:pt x="128" y="0"/>
                    <a:pt x="125" y="1"/>
                    <a:pt x="121" y="1"/>
                  </a:cubicBezTo>
                  <a:cubicBezTo>
                    <a:pt x="121" y="1"/>
                    <a:pt x="121" y="1"/>
                    <a:pt x="121" y="1"/>
                  </a:cubicBezTo>
                  <a:cubicBezTo>
                    <a:pt x="121" y="7"/>
                    <a:pt x="104" y="12"/>
                    <a:pt x="99" y="13"/>
                  </a:cubicBezTo>
                  <a:cubicBezTo>
                    <a:pt x="95" y="15"/>
                    <a:pt x="99" y="27"/>
                    <a:pt x="98" y="28"/>
                  </a:cubicBezTo>
                  <a:cubicBezTo>
                    <a:pt x="97" y="29"/>
                    <a:pt x="126" y="29"/>
                    <a:pt x="129" y="36"/>
                  </a:cubicBezTo>
                  <a:cubicBezTo>
                    <a:pt x="131" y="42"/>
                    <a:pt x="106" y="39"/>
                    <a:pt x="105" y="38"/>
                  </a:cubicBezTo>
                  <a:cubicBezTo>
                    <a:pt x="103" y="38"/>
                    <a:pt x="82" y="52"/>
                    <a:pt x="78" y="56"/>
                  </a:cubicBezTo>
                  <a:cubicBezTo>
                    <a:pt x="75" y="60"/>
                    <a:pt x="85" y="59"/>
                    <a:pt x="86" y="60"/>
                  </a:cubicBezTo>
                  <a:cubicBezTo>
                    <a:pt x="88" y="60"/>
                    <a:pt x="86" y="63"/>
                    <a:pt x="85" y="65"/>
                  </a:cubicBezTo>
                  <a:cubicBezTo>
                    <a:pt x="84" y="67"/>
                    <a:pt x="103" y="75"/>
                    <a:pt x="104" y="76"/>
                  </a:cubicBezTo>
                  <a:cubicBezTo>
                    <a:pt x="104" y="77"/>
                    <a:pt x="96" y="87"/>
                    <a:pt x="94" y="88"/>
                  </a:cubicBezTo>
                  <a:cubicBezTo>
                    <a:pt x="91" y="89"/>
                    <a:pt x="87" y="86"/>
                    <a:pt x="87" y="86"/>
                  </a:cubicBezTo>
                  <a:cubicBezTo>
                    <a:pt x="86" y="86"/>
                    <a:pt x="83" y="88"/>
                    <a:pt x="79" y="88"/>
                  </a:cubicBezTo>
                  <a:cubicBezTo>
                    <a:pt x="74" y="89"/>
                    <a:pt x="60" y="109"/>
                    <a:pt x="60" y="109"/>
                  </a:cubicBezTo>
                  <a:cubicBezTo>
                    <a:pt x="60" y="109"/>
                    <a:pt x="64" y="115"/>
                    <a:pt x="65" y="116"/>
                  </a:cubicBezTo>
                  <a:cubicBezTo>
                    <a:pt x="66" y="118"/>
                    <a:pt x="59" y="124"/>
                    <a:pt x="56" y="127"/>
                  </a:cubicBezTo>
                  <a:cubicBezTo>
                    <a:pt x="53" y="130"/>
                    <a:pt x="38" y="114"/>
                    <a:pt x="37" y="114"/>
                  </a:cubicBezTo>
                  <a:cubicBezTo>
                    <a:pt x="35" y="114"/>
                    <a:pt x="29" y="117"/>
                    <a:pt x="25" y="118"/>
                  </a:cubicBezTo>
                  <a:cubicBezTo>
                    <a:pt x="21" y="120"/>
                    <a:pt x="15" y="111"/>
                    <a:pt x="10" y="107"/>
                  </a:cubicBezTo>
                  <a:cubicBezTo>
                    <a:pt x="9" y="108"/>
                    <a:pt x="8" y="109"/>
                    <a:pt x="7" y="110"/>
                  </a:cubicBezTo>
                  <a:cubicBezTo>
                    <a:pt x="5" y="111"/>
                    <a:pt x="7" y="115"/>
                    <a:pt x="7" y="119"/>
                  </a:cubicBezTo>
                  <a:cubicBezTo>
                    <a:pt x="7" y="124"/>
                    <a:pt x="3" y="122"/>
                    <a:pt x="1" y="126"/>
                  </a:cubicBezTo>
                  <a:cubicBezTo>
                    <a:pt x="0" y="130"/>
                    <a:pt x="4" y="135"/>
                    <a:pt x="4" y="135"/>
                  </a:cubicBezTo>
                  <a:cubicBezTo>
                    <a:pt x="7" y="147"/>
                    <a:pt x="7" y="147"/>
                    <a:pt x="7" y="147"/>
                  </a:cubicBezTo>
                  <a:cubicBezTo>
                    <a:pt x="7" y="147"/>
                    <a:pt x="7" y="157"/>
                    <a:pt x="7" y="160"/>
                  </a:cubicBezTo>
                  <a:cubicBezTo>
                    <a:pt x="8" y="163"/>
                    <a:pt x="9" y="162"/>
                    <a:pt x="10" y="168"/>
                  </a:cubicBezTo>
                  <a:cubicBezTo>
                    <a:pt x="12" y="174"/>
                    <a:pt x="8" y="173"/>
                    <a:pt x="4" y="178"/>
                  </a:cubicBezTo>
                  <a:cubicBezTo>
                    <a:pt x="0" y="183"/>
                    <a:pt x="6" y="188"/>
                    <a:pt x="7" y="191"/>
                  </a:cubicBezTo>
                  <a:cubicBezTo>
                    <a:pt x="7" y="194"/>
                    <a:pt x="16" y="182"/>
                    <a:pt x="17" y="180"/>
                  </a:cubicBezTo>
                  <a:cubicBezTo>
                    <a:pt x="17" y="179"/>
                    <a:pt x="21" y="183"/>
                    <a:pt x="21" y="184"/>
                  </a:cubicBezTo>
                  <a:cubicBezTo>
                    <a:pt x="22" y="185"/>
                    <a:pt x="17" y="192"/>
                    <a:pt x="15" y="194"/>
                  </a:cubicBezTo>
                  <a:cubicBezTo>
                    <a:pt x="14" y="196"/>
                    <a:pt x="18" y="195"/>
                    <a:pt x="19" y="199"/>
                  </a:cubicBezTo>
                  <a:cubicBezTo>
                    <a:pt x="21" y="203"/>
                    <a:pt x="10" y="198"/>
                    <a:pt x="9" y="203"/>
                  </a:cubicBezTo>
                  <a:cubicBezTo>
                    <a:pt x="9" y="209"/>
                    <a:pt x="17" y="217"/>
                    <a:pt x="16" y="218"/>
                  </a:cubicBezTo>
                  <a:cubicBezTo>
                    <a:pt x="16" y="219"/>
                    <a:pt x="11" y="214"/>
                    <a:pt x="11" y="214"/>
                  </a:cubicBezTo>
                  <a:cubicBezTo>
                    <a:pt x="11" y="214"/>
                    <a:pt x="9" y="219"/>
                    <a:pt x="8" y="220"/>
                  </a:cubicBezTo>
                  <a:cubicBezTo>
                    <a:pt x="7" y="222"/>
                    <a:pt x="19" y="235"/>
                    <a:pt x="21" y="236"/>
                  </a:cubicBezTo>
                  <a:cubicBezTo>
                    <a:pt x="22" y="238"/>
                    <a:pt x="20" y="238"/>
                    <a:pt x="19" y="239"/>
                  </a:cubicBezTo>
                  <a:cubicBezTo>
                    <a:pt x="18" y="241"/>
                    <a:pt x="13" y="233"/>
                    <a:pt x="13" y="233"/>
                  </a:cubicBezTo>
                  <a:cubicBezTo>
                    <a:pt x="13" y="254"/>
                    <a:pt x="13" y="254"/>
                    <a:pt x="13" y="254"/>
                  </a:cubicBezTo>
                  <a:cubicBezTo>
                    <a:pt x="13" y="254"/>
                    <a:pt x="16" y="257"/>
                    <a:pt x="20" y="260"/>
                  </a:cubicBezTo>
                  <a:cubicBezTo>
                    <a:pt x="24" y="263"/>
                    <a:pt x="19" y="272"/>
                    <a:pt x="21" y="277"/>
                  </a:cubicBezTo>
                  <a:cubicBezTo>
                    <a:pt x="23" y="282"/>
                    <a:pt x="26" y="304"/>
                    <a:pt x="26" y="307"/>
                  </a:cubicBezTo>
                  <a:cubicBezTo>
                    <a:pt x="27" y="310"/>
                    <a:pt x="27" y="329"/>
                    <a:pt x="28" y="331"/>
                  </a:cubicBezTo>
                  <a:cubicBezTo>
                    <a:pt x="29" y="333"/>
                    <a:pt x="29" y="341"/>
                    <a:pt x="30" y="342"/>
                  </a:cubicBezTo>
                  <a:cubicBezTo>
                    <a:pt x="30" y="342"/>
                    <a:pt x="28" y="347"/>
                    <a:pt x="28" y="349"/>
                  </a:cubicBezTo>
                  <a:cubicBezTo>
                    <a:pt x="27" y="351"/>
                    <a:pt x="34" y="371"/>
                    <a:pt x="36" y="380"/>
                  </a:cubicBezTo>
                  <a:cubicBezTo>
                    <a:pt x="38" y="388"/>
                    <a:pt x="51" y="398"/>
                    <a:pt x="52" y="400"/>
                  </a:cubicBezTo>
                  <a:cubicBezTo>
                    <a:pt x="54" y="403"/>
                    <a:pt x="52" y="406"/>
                    <a:pt x="50" y="409"/>
                  </a:cubicBezTo>
                  <a:cubicBezTo>
                    <a:pt x="54" y="410"/>
                    <a:pt x="59" y="410"/>
                    <a:pt x="60" y="409"/>
                  </a:cubicBezTo>
                  <a:close/>
                </a:path>
              </a:pathLst>
            </a:custGeom>
            <a:solidFill>
              <a:srgbClr val="00B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3" name="Freeform 1205"/>
            <p:cNvSpPr>
              <a:spLocks noChangeAspect="1"/>
            </p:cNvSpPr>
            <p:nvPr/>
          </p:nvSpPr>
          <p:spPr bwMode="auto">
            <a:xfrm>
              <a:off x="9528165" y="6378249"/>
              <a:ext cx="1019944" cy="1023310"/>
            </a:xfrm>
            <a:custGeom>
              <a:avLst/>
              <a:gdLst>
                <a:gd name="T0" fmla="*/ 271 w 274"/>
                <a:gd name="T1" fmla="*/ 10 h 366"/>
                <a:gd name="T2" fmla="*/ 265 w 274"/>
                <a:gd name="T3" fmla="*/ 12 h 366"/>
                <a:gd name="T4" fmla="*/ 248 w 274"/>
                <a:gd name="T5" fmla="*/ 33 h 366"/>
                <a:gd name="T6" fmla="*/ 208 w 274"/>
                <a:gd name="T7" fmla="*/ 35 h 366"/>
                <a:gd name="T8" fmla="*/ 170 w 274"/>
                <a:gd name="T9" fmla="*/ 60 h 366"/>
                <a:gd name="T10" fmla="*/ 153 w 274"/>
                <a:gd name="T11" fmla="*/ 67 h 366"/>
                <a:gd name="T12" fmla="*/ 101 w 274"/>
                <a:gd name="T13" fmla="*/ 69 h 366"/>
                <a:gd name="T14" fmla="*/ 95 w 274"/>
                <a:gd name="T15" fmla="*/ 84 h 366"/>
                <a:gd name="T16" fmla="*/ 99 w 274"/>
                <a:gd name="T17" fmla="*/ 101 h 366"/>
                <a:gd name="T18" fmla="*/ 78 w 274"/>
                <a:gd name="T19" fmla="*/ 107 h 366"/>
                <a:gd name="T20" fmla="*/ 59 w 274"/>
                <a:gd name="T21" fmla="*/ 131 h 366"/>
                <a:gd name="T22" fmla="*/ 27 w 274"/>
                <a:gd name="T23" fmla="*/ 115 h 366"/>
                <a:gd name="T24" fmla="*/ 2 w 274"/>
                <a:gd name="T25" fmla="*/ 119 h 366"/>
                <a:gd name="T26" fmla="*/ 38 w 274"/>
                <a:gd name="T27" fmla="*/ 156 h 366"/>
                <a:gd name="T28" fmla="*/ 43 w 274"/>
                <a:gd name="T29" fmla="*/ 180 h 366"/>
                <a:gd name="T30" fmla="*/ 38 w 274"/>
                <a:gd name="T31" fmla="*/ 219 h 366"/>
                <a:gd name="T32" fmla="*/ 60 w 274"/>
                <a:gd name="T33" fmla="*/ 217 h 366"/>
                <a:gd name="T34" fmla="*/ 60 w 274"/>
                <a:gd name="T35" fmla="*/ 226 h 366"/>
                <a:gd name="T36" fmla="*/ 60 w 274"/>
                <a:gd name="T37" fmla="*/ 283 h 366"/>
                <a:gd name="T38" fmla="*/ 66 w 274"/>
                <a:gd name="T39" fmla="*/ 307 h 366"/>
                <a:gd name="T40" fmla="*/ 67 w 274"/>
                <a:gd name="T41" fmla="*/ 321 h 366"/>
                <a:gd name="T42" fmla="*/ 51 w 274"/>
                <a:gd name="T43" fmla="*/ 347 h 366"/>
                <a:gd name="T44" fmla="*/ 82 w 274"/>
                <a:gd name="T45" fmla="*/ 359 h 366"/>
                <a:gd name="T46" fmla="*/ 120 w 274"/>
                <a:gd name="T47" fmla="*/ 342 h 366"/>
                <a:gd name="T48" fmla="*/ 126 w 274"/>
                <a:gd name="T49" fmla="*/ 320 h 366"/>
                <a:gd name="T50" fmla="*/ 140 w 274"/>
                <a:gd name="T51" fmla="*/ 296 h 366"/>
                <a:gd name="T52" fmla="*/ 184 w 274"/>
                <a:gd name="T53" fmla="*/ 286 h 366"/>
                <a:gd name="T54" fmla="*/ 201 w 274"/>
                <a:gd name="T55" fmla="*/ 236 h 366"/>
                <a:gd name="T56" fmla="*/ 210 w 274"/>
                <a:gd name="T57" fmla="*/ 216 h 366"/>
                <a:gd name="T58" fmla="*/ 239 w 274"/>
                <a:gd name="T59" fmla="*/ 224 h 366"/>
                <a:gd name="T60" fmla="*/ 222 w 274"/>
                <a:gd name="T61" fmla="*/ 187 h 366"/>
                <a:gd name="T62" fmla="*/ 241 w 274"/>
                <a:gd name="T63" fmla="*/ 163 h 366"/>
                <a:gd name="T64" fmla="*/ 232 w 274"/>
                <a:gd name="T65" fmla="*/ 137 h 366"/>
                <a:gd name="T66" fmla="*/ 229 w 274"/>
                <a:gd name="T67" fmla="*/ 132 h 366"/>
                <a:gd name="T68" fmla="*/ 221 w 274"/>
                <a:gd name="T69" fmla="*/ 107 h 366"/>
                <a:gd name="T70" fmla="*/ 247 w 274"/>
                <a:gd name="T71" fmla="*/ 101 h 366"/>
                <a:gd name="T72" fmla="*/ 269 w 274"/>
                <a:gd name="T73" fmla="*/ 45 h 366"/>
                <a:gd name="T74" fmla="*/ 271 w 274"/>
                <a:gd name="T75" fmla="*/ 18 h 366"/>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066 w 10000"/>
                <a:gd name="connsiteY68" fmla="*/ 2923 h 10000"/>
                <a:gd name="connsiteX69" fmla="*/ 8723 w 10000"/>
                <a:gd name="connsiteY69" fmla="*/ 3033 h 10000"/>
                <a:gd name="connsiteX70" fmla="*/ 9015 w 10000"/>
                <a:gd name="connsiteY70" fmla="*/ 2760 h 10000"/>
                <a:gd name="connsiteX71" fmla="*/ 9672 w 10000"/>
                <a:gd name="connsiteY71" fmla="*/ 1667 h 10000"/>
                <a:gd name="connsiteX72" fmla="*/ 9818 w 10000"/>
                <a:gd name="connsiteY72" fmla="*/ 1230 h 10000"/>
                <a:gd name="connsiteX73" fmla="*/ 9964 w 10000"/>
                <a:gd name="connsiteY73" fmla="*/ 902 h 10000"/>
                <a:gd name="connsiteX74" fmla="*/ 9891 w 10000"/>
                <a:gd name="connsiteY74" fmla="*/ 492 h 10000"/>
                <a:gd name="connsiteX0" fmla="*/ 9891 w 10000"/>
                <a:gd name="connsiteY0" fmla="*/ 492 h 10000"/>
                <a:gd name="connsiteX1" fmla="*/ 9891 w 10000"/>
                <a:gd name="connsiteY1" fmla="*/ 273 h 10000"/>
                <a:gd name="connsiteX2" fmla="*/ 9708 w 10000"/>
                <a:gd name="connsiteY2" fmla="*/ 0 h 10000"/>
                <a:gd name="connsiteX3" fmla="*/ 9672 w 10000"/>
                <a:gd name="connsiteY3" fmla="*/ 328 h 10000"/>
                <a:gd name="connsiteX4" fmla="*/ 9526 w 10000"/>
                <a:gd name="connsiteY4" fmla="*/ 191 h 10000"/>
                <a:gd name="connsiteX5" fmla="*/ 9051 w 10000"/>
                <a:gd name="connsiteY5" fmla="*/ 902 h 10000"/>
                <a:gd name="connsiteX6" fmla="*/ 8066 w 10000"/>
                <a:gd name="connsiteY6" fmla="*/ 519 h 10000"/>
                <a:gd name="connsiteX7" fmla="*/ 7591 w 10000"/>
                <a:gd name="connsiteY7" fmla="*/ 956 h 10000"/>
                <a:gd name="connsiteX8" fmla="*/ 6496 w 10000"/>
                <a:gd name="connsiteY8" fmla="*/ 1038 h 10000"/>
                <a:gd name="connsiteX9" fmla="*/ 6204 w 10000"/>
                <a:gd name="connsiteY9" fmla="*/ 1639 h 10000"/>
                <a:gd name="connsiteX10" fmla="*/ 5620 w 10000"/>
                <a:gd name="connsiteY10" fmla="*/ 1585 h 10000"/>
                <a:gd name="connsiteX11" fmla="*/ 5584 w 10000"/>
                <a:gd name="connsiteY11" fmla="*/ 1831 h 10000"/>
                <a:gd name="connsiteX12" fmla="*/ 4635 w 10000"/>
                <a:gd name="connsiteY12" fmla="*/ 1339 h 10000"/>
                <a:gd name="connsiteX13" fmla="*/ 3686 w 10000"/>
                <a:gd name="connsiteY13" fmla="*/ 1885 h 10000"/>
                <a:gd name="connsiteX14" fmla="*/ 3723 w 10000"/>
                <a:gd name="connsiteY14" fmla="*/ 2131 h 10000"/>
                <a:gd name="connsiteX15" fmla="*/ 3467 w 10000"/>
                <a:gd name="connsiteY15" fmla="*/ 2295 h 10000"/>
                <a:gd name="connsiteX16" fmla="*/ 4015 w 10000"/>
                <a:gd name="connsiteY16" fmla="*/ 2623 h 10000"/>
                <a:gd name="connsiteX17" fmla="*/ 3613 w 10000"/>
                <a:gd name="connsiteY17" fmla="*/ 2760 h 10000"/>
                <a:gd name="connsiteX18" fmla="*/ 3467 w 10000"/>
                <a:gd name="connsiteY18" fmla="*/ 3142 h 10000"/>
                <a:gd name="connsiteX19" fmla="*/ 2847 w 10000"/>
                <a:gd name="connsiteY19" fmla="*/ 2923 h 10000"/>
                <a:gd name="connsiteX20" fmla="*/ 2153 w 10000"/>
                <a:gd name="connsiteY20" fmla="*/ 3033 h 10000"/>
                <a:gd name="connsiteX21" fmla="*/ 2153 w 10000"/>
                <a:gd name="connsiteY21" fmla="*/ 3579 h 10000"/>
                <a:gd name="connsiteX22" fmla="*/ 1496 w 10000"/>
                <a:gd name="connsiteY22" fmla="*/ 3470 h 10000"/>
                <a:gd name="connsiteX23" fmla="*/ 985 w 10000"/>
                <a:gd name="connsiteY23" fmla="*/ 3142 h 10000"/>
                <a:gd name="connsiteX24" fmla="*/ 766 w 10000"/>
                <a:gd name="connsiteY24" fmla="*/ 3333 h 10000"/>
                <a:gd name="connsiteX25" fmla="*/ 73 w 10000"/>
                <a:gd name="connsiteY25" fmla="*/ 3251 h 10000"/>
                <a:gd name="connsiteX26" fmla="*/ 1168 w 10000"/>
                <a:gd name="connsiteY26" fmla="*/ 4262 h 10000"/>
                <a:gd name="connsiteX27" fmla="*/ 1387 w 10000"/>
                <a:gd name="connsiteY27" fmla="*/ 4262 h 10000"/>
                <a:gd name="connsiteX28" fmla="*/ 1387 w 10000"/>
                <a:gd name="connsiteY28" fmla="*/ 4727 h 10000"/>
                <a:gd name="connsiteX29" fmla="*/ 1569 w 10000"/>
                <a:gd name="connsiteY29" fmla="*/ 4918 h 10000"/>
                <a:gd name="connsiteX30" fmla="*/ 1314 w 10000"/>
                <a:gd name="connsiteY30" fmla="*/ 5219 h 10000"/>
                <a:gd name="connsiteX31" fmla="*/ 1387 w 10000"/>
                <a:gd name="connsiteY31" fmla="*/ 5984 h 10000"/>
                <a:gd name="connsiteX32" fmla="*/ 1934 w 10000"/>
                <a:gd name="connsiteY32" fmla="*/ 6011 h 10000"/>
                <a:gd name="connsiteX33" fmla="*/ 2190 w 10000"/>
                <a:gd name="connsiteY33" fmla="*/ 5929 h 10000"/>
                <a:gd name="connsiteX34" fmla="*/ 2372 w 10000"/>
                <a:gd name="connsiteY34" fmla="*/ 6038 h 10000"/>
                <a:gd name="connsiteX35" fmla="*/ 2190 w 10000"/>
                <a:gd name="connsiteY35" fmla="*/ 6175 h 10000"/>
                <a:gd name="connsiteX36" fmla="*/ 2701 w 10000"/>
                <a:gd name="connsiteY36" fmla="*/ 6995 h 10000"/>
                <a:gd name="connsiteX37" fmla="*/ 2190 w 10000"/>
                <a:gd name="connsiteY37" fmla="*/ 7732 h 10000"/>
                <a:gd name="connsiteX38" fmla="*/ 2445 w 10000"/>
                <a:gd name="connsiteY38" fmla="*/ 8005 h 10000"/>
                <a:gd name="connsiteX39" fmla="*/ 2409 w 10000"/>
                <a:gd name="connsiteY39" fmla="*/ 8388 h 10000"/>
                <a:gd name="connsiteX40" fmla="*/ 2190 w 10000"/>
                <a:gd name="connsiteY40" fmla="*/ 8497 h 10000"/>
                <a:gd name="connsiteX41" fmla="*/ 2445 w 10000"/>
                <a:gd name="connsiteY41" fmla="*/ 8770 h 10000"/>
                <a:gd name="connsiteX42" fmla="*/ 2226 w 10000"/>
                <a:gd name="connsiteY42" fmla="*/ 9016 h 10000"/>
                <a:gd name="connsiteX43" fmla="*/ 1861 w 10000"/>
                <a:gd name="connsiteY43" fmla="*/ 9481 h 10000"/>
                <a:gd name="connsiteX44" fmla="*/ 2774 w 10000"/>
                <a:gd name="connsiteY44" fmla="*/ 9945 h 10000"/>
                <a:gd name="connsiteX45" fmla="*/ 2993 w 10000"/>
                <a:gd name="connsiteY45" fmla="*/ 9809 h 10000"/>
                <a:gd name="connsiteX46" fmla="*/ 3504 w 10000"/>
                <a:gd name="connsiteY46" fmla="*/ 9781 h 10000"/>
                <a:gd name="connsiteX47" fmla="*/ 4380 w 10000"/>
                <a:gd name="connsiteY47" fmla="*/ 9344 h 10000"/>
                <a:gd name="connsiteX48" fmla="*/ 4453 w 10000"/>
                <a:gd name="connsiteY48" fmla="*/ 8907 h 10000"/>
                <a:gd name="connsiteX49" fmla="*/ 4599 w 10000"/>
                <a:gd name="connsiteY49" fmla="*/ 8743 h 10000"/>
                <a:gd name="connsiteX50" fmla="*/ 4526 w 10000"/>
                <a:gd name="connsiteY50" fmla="*/ 8497 h 10000"/>
                <a:gd name="connsiteX51" fmla="*/ 5109 w 10000"/>
                <a:gd name="connsiteY51" fmla="*/ 8087 h 10000"/>
                <a:gd name="connsiteX52" fmla="*/ 5803 w 10000"/>
                <a:gd name="connsiteY52" fmla="*/ 8060 h 10000"/>
                <a:gd name="connsiteX53" fmla="*/ 6715 w 10000"/>
                <a:gd name="connsiteY53" fmla="*/ 7814 h 10000"/>
                <a:gd name="connsiteX54" fmla="*/ 6314 w 10000"/>
                <a:gd name="connsiteY54" fmla="*/ 7486 h 10000"/>
                <a:gd name="connsiteX55" fmla="*/ 7336 w 10000"/>
                <a:gd name="connsiteY55" fmla="*/ 6448 h 10000"/>
                <a:gd name="connsiteX56" fmla="*/ 7226 w 10000"/>
                <a:gd name="connsiteY56" fmla="*/ 6257 h 10000"/>
                <a:gd name="connsiteX57" fmla="*/ 7664 w 10000"/>
                <a:gd name="connsiteY57" fmla="*/ 5902 h 10000"/>
                <a:gd name="connsiteX58" fmla="*/ 8248 w 10000"/>
                <a:gd name="connsiteY58" fmla="*/ 6066 h 10000"/>
                <a:gd name="connsiteX59" fmla="*/ 8723 w 10000"/>
                <a:gd name="connsiteY59" fmla="*/ 6120 h 10000"/>
                <a:gd name="connsiteX60" fmla="*/ 8723 w 10000"/>
                <a:gd name="connsiteY60" fmla="*/ 5191 h 10000"/>
                <a:gd name="connsiteX61" fmla="*/ 8102 w 10000"/>
                <a:gd name="connsiteY61" fmla="*/ 5109 h 10000"/>
                <a:gd name="connsiteX62" fmla="*/ 7956 w 10000"/>
                <a:gd name="connsiteY62" fmla="*/ 4699 h 10000"/>
                <a:gd name="connsiteX63" fmla="*/ 8796 w 10000"/>
                <a:gd name="connsiteY63" fmla="*/ 4454 h 10000"/>
                <a:gd name="connsiteX64" fmla="*/ 8723 w 10000"/>
                <a:gd name="connsiteY64" fmla="*/ 4180 h 10000"/>
                <a:gd name="connsiteX65" fmla="*/ 8467 w 10000"/>
                <a:gd name="connsiteY65" fmla="*/ 3743 h 10000"/>
                <a:gd name="connsiteX66" fmla="*/ 8467 w 10000"/>
                <a:gd name="connsiteY66" fmla="*/ 3634 h 10000"/>
                <a:gd name="connsiteX67" fmla="*/ 8358 w 10000"/>
                <a:gd name="connsiteY67" fmla="*/ 3607 h 10000"/>
                <a:gd name="connsiteX68" fmla="*/ 8723 w 10000"/>
                <a:gd name="connsiteY68" fmla="*/ 3033 h 10000"/>
                <a:gd name="connsiteX69" fmla="*/ 9015 w 10000"/>
                <a:gd name="connsiteY69" fmla="*/ 2760 h 10000"/>
                <a:gd name="connsiteX70" fmla="*/ 9672 w 10000"/>
                <a:gd name="connsiteY70" fmla="*/ 1667 h 10000"/>
                <a:gd name="connsiteX71" fmla="*/ 9818 w 10000"/>
                <a:gd name="connsiteY71" fmla="*/ 1230 h 10000"/>
                <a:gd name="connsiteX72" fmla="*/ 9964 w 10000"/>
                <a:gd name="connsiteY72" fmla="*/ 902 h 10000"/>
                <a:gd name="connsiteX73" fmla="*/ 9891 w 10000"/>
                <a:gd name="connsiteY73" fmla="*/ 4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00" h="10000">
                  <a:moveTo>
                    <a:pt x="9891" y="492"/>
                  </a:moveTo>
                  <a:cubicBezTo>
                    <a:pt x="9818" y="492"/>
                    <a:pt x="9891" y="301"/>
                    <a:pt x="9891" y="273"/>
                  </a:cubicBezTo>
                  <a:cubicBezTo>
                    <a:pt x="9891" y="219"/>
                    <a:pt x="9708" y="0"/>
                    <a:pt x="9708" y="0"/>
                  </a:cubicBezTo>
                  <a:cubicBezTo>
                    <a:pt x="9708" y="0"/>
                    <a:pt x="9708" y="328"/>
                    <a:pt x="9672" y="328"/>
                  </a:cubicBezTo>
                  <a:cubicBezTo>
                    <a:pt x="9672" y="328"/>
                    <a:pt x="9562" y="273"/>
                    <a:pt x="9526" y="191"/>
                  </a:cubicBezTo>
                  <a:cubicBezTo>
                    <a:pt x="9380" y="383"/>
                    <a:pt x="9088" y="847"/>
                    <a:pt x="9051" y="902"/>
                  </a:cubicBezTo>
                  <a:cubicBezTo>
                    <a:pt x="8942" y="984"/>
                    <a:pt x="8248" y="601"/>
                    <a:pt x="8066" y="519"/>
                  </a:cubicBezTo>
                  <a:cubicBezTo>
                    <a:pt x="7920" y="410"/>
                    <a:pt x="7591" y="956"/>
                    <a:pt x="7591" y="956"/>
                  </a:cubicBezTo>
                  <a:cubicBezTo>
                    <a:pt x="7591" y="956"/>
                    <a:pt x="6569" y="1011"/>
                    <a:pt x="6496" y="1038"/>
                  </a:cubicBezTo>
                  <a:cubicBezTo>
                    <a:pt x="6423" y="1066"/>
                    <a:pt x="6241" y="1612"/>
                    <a:pt x="6204" y="1639"/>
                  </a:cubicBezTo>
                  <a:cubicBezTo>
                    <a:pt x="6204" y="1639"/>
                    <a:pt x="5839" y="1612"/>
                    <a:pt x="5620" y="1585"/>
                  </a:cubicBezTo>
                  <a:cubicBezTo>
                    <a:pt x="5657" y="1694"/>
                    <a:pt x="5657" y="1776"/>
                    <a:pt x="5584" y="1831"/>
                  </a:cubicBezTo>
                  <a:cubicBezTo>
                    <a:pt x="5365" y="2022"/>
                    <a:pt x="4635" y="1366"/>
                    <a:pt x="4635" y="1339"/>
                  </a:cubicBezTo>
                  <a:cubicBezTo>
                    <a:pt x="4599" y="1311"/>
                    <a:pt x="3723" y="1885"/>
                    <a:pt x="3686" y="1885"/>
                  </a:cubicBezTo>
                  <a:cubicBezTo>
                    <a:pt x="3686" y="1885"/>
                    <a:pt x="3723" y="2077"/>
                    <a:pt x="3723" y="2131"/>
                  </a:cubicBezTo>
                  <a:cubicBezTo>
                    <a:pt x="3723" y="2158"/>
                    <a:pt x="3540" y="2268"/>
                    <a:pt x="3467" y="2295"/>
                  </a:cubicBezTo>
                  <a:cubicBezTo>
                    <a:pt x="3394" y="2322"/>
                    <a:pt x="3978" y="2596"/>
                    <a:pt x="4015" y="2623"/>
                  </a:cubicBezTo>
                  <a:cubicBezTo>
                    <a:pt x="4051" y="2650"/>
                    <a:pt x="3759" y="2732"/>
                    <a:pt x="3613" y="2760"/>
                  </a:cubicBezTo>
                  <a:cubicBezTo>
                    <a:pt x="3504" y="2787"/>
                    <a:pt x="3504" y="3087"/>
                    <a:pt x="3467" y="3142"/>
                  </a:cubicBezTo>
                  <a:cubicBezTo>
                    <a:pt x="3431" y="3224"/>
                    <a:pt x="2883" y="2951"/>
                    <a:pt x="2847" y="2923"/>
                  </a:cubicBezTo>
                  <a:cubicBezTo>
                    <a:pt x="2810" y="2923"/>
                    <a:pt x="2591" y="2978"/>
                    <a:pt x="2153" y="3033"/>
                  </a:cubicBezTo>
                  <a:cubicBezTo>
                    <a:pt x="1752" y="3087"/>
                    <a:pt x="2153" y="3552"/>
                    <a:pt x="2153" y="3579"/>
                  </a:cubicBezTo>
                  <a:cubicBezTo>
                    <a:pt x="2190" y="3579"/>
                    <a:pt x="1825" y="3525"/>
                    <a:pt x="1496" y="3470"/>
                  </a:cubicBezTo>
                  <a:cubicBezTo>
                    <a:pt x="1168" y="3443"/>
                    <a:pt x="1168" y="3251"/>
                    <a:pt x="985" y="3142"/>
                  </a:cubicBezTo>
                  <a:cubicBezTo>
                    <a:pt x="912" y="3224"/>
                    <a:pt x="803" y="3306"/>
                    <a:pt x="766" y="3333"/>
                  </a:cubicBezTo>
                  <a:cubicBezTo>
                    <a:pt x="657" y="3361"/>
                    <a:pt x="146" y="3251"/>
                    <a:pt x="73" y="3251"/>
                  </a:cubicBezTo>
                  <a:cubicBezTo>
                    <a:pt x="0" y="3251"/>
                    <a:pt x="1168" y="4262"/>
                    <a:pt x="1168" y="4262"/>
                  </a:cubicBezTo>
                  <a:lnTo>
                    <a:pt x="1387" y="4262"/>
                  </a:lnTo>
                  <a:cubicBezTo>
                    <a:pt x="1423" y="4262"/>
                    <a:pt x="1423" y="4645"/>
                    <a:pt x="1387" y="4727"/>
                  </a:cubicBezTo>
                  <a:cubicBezTo>
                    <a:pt x="1387" y="4781"/>
                    <a:pt x="1423" y="4754"/>
                    <a:pt x="1569" y="4918"/>
                  </a:cubicBezTo>
                  <a:cubicBezTo>
                    <a:pt x="1679" y="5055"/>
                    <a:pt x="1387" y="5164"/>
                    <a:pt x="1314" y="5219"/>
                  </a:cubicBezTo>
                  <a:cubicBezTo>
                    <a:pt x="1204" y="5301"/>
                    <a:pt x="1387" y="5956"/>
                    <a:pt x="1387" y="5984"/>
                  </a:cubicBezTo>
                  <a:lnTo>
                    <a:pt x="1934" y="6011"/>
                  </a:lnTo>
                  <a:cubicBezTo>
                    <a:pt x="1971" y="6011"/>
                    <a:pt x="2190" y="5956"/>
                    <a:pt x="2190" y="5929"/>
                  </a:cubicBezTo>
                  <a:cubicBezTo>
                    <a:pt x="2190" y="5902"/>
                    <a:pt x="2372" y="6038"/>
                    <a:pt x="2372" y="6038"/>
                  </a:cubicBezTo>
                  <a:cubicBezTo>
                    <a:pt x="2372" y="6038"/>
                    <a:pt x="2263" y="6093"/>
                    <a:pt x="2190" y="6175"/>
                  </a:cubicBezTo>
                  <a:cubicBezTo>
                    <a:pt x="2117" y="6257"/>
                    <a:pt x="2664" y="6913"/>
                    <a:pt x="2701" y="6995"/>
                  </a:cubicBezTo>
                  <a:cubicBezTo>
                    <a:pt x="2774" y="7104"/>
                    <a:pt x="2226" y="7623"/>
                    <a:pt x="2190" y="7732"/>
                  </a:cubicBezTo>
                  <a:cubicBezTo>
                    <a:pt x="2117" y="7842"/>
                    <a:pt x="2409" y="7978"/>
                    <a:pt x="2445" y="8005"/>
                  </a:cubicBezTo>
                  <a:cubicBezTo>
                    <a:pt x="2482" y="8033"/>
                    <a:pt x="2445" y="8279"/>
                    <a:pt x="2409" y="8388"/>
                  </a:cubicBezTo>
                  <a:cubicBezTo>
                    <a:pt x="2372" y="8470"/>
                    <a:pt x="2226" y="8470"/>
                    <a:pt x="2190" y="8497"/>
                  </a:cubicBezTo>
                  <a:cubicBezTo>
                    <a:pt x="2117" y="8525"/>
                    <a:pt x="2409" y="8743"/>
                    <a:pt x="2445" y="8770"/>
                  </a:cubicBezTo>
                  <a:cubicBezTo>
                    <a:pt x="2482" y="8770"/>
                    <a:pt x="2336" y="8962"/>
                    <a:pt x="2226" y="9016"/>
                  </a:cubicBezTo>
                  <a:cubicBezTo>
                    <a:pt x="2190" y="9071"/>
                    <a:pt x="2007" y="9317"/>
                    <a:pt x="1861" y="9481"/>
                  </a:cubicBezTo>
                  <a:cubicBezTo>
                    <a:pt x="2190" y="9699"/>
                    <a:pt x="2628" y="9945"/>
                    <a:pt x="2774" y="9945"/>
                  </a:cubicBezTo>
                  <a:cubicBezTo>
                    <a:pt x="3029" y="10000"/>
                    <a:pt x="2956" y="9836"/>
                    <a:pt x="2993" y="9809"/>
                  </a:cubicBezTo>
                  <a:cubicBezTo>
                    <a:pt x="3066" y="9754"/>
                    <a:pt x="3394" y="9809"/>
                    <a:pt x="3504" y="9781"/>
                  </a:cubicBezTo>
                  <a:cubicBezTo>
                    <a:pt x="3650" y="9781"/>
                    <a:pt x="4380" y="9344"/>
                    <a:pt x="4380" y="9344"/>
                  </a:cubicBezTo>
                  <a:cubicBezTo>
                    <a:pt x="4404" y="9198"/>
                    <a:pt x="4429" y="9053"/>
                    <a:pt x="4453" y="8907"/>
                  </a:cubicBezTo>
                  <a:lnTo>
                    <a:pt x="4599" y="8743"/>
                  </a:lnTo>
                  <a:cubicBezTo>
                    <a:pt x="4575" y="8661"/>
                    <a:pt x="4550" y="8579"/>
                    <a:pt x="4526" y="8497"/>
                  </a:cubicBezTo>
                  <a:lnTo>
                    <a:pt x="5109" y="8087"/>
                  </a:lnTo>
                  <a:cubicBezTo>
                    <a:pt x="5219" y="8033"/>
                    <a:pt x="5766" y="8060"/>
                    <a:pt x="5803" y="8060"/>
                  </a:cubicBezTo>
                  <a:cubicBezTo>
                    <a:pt x="5839" y="8060"/>
                    <a:pt x="6679" y="7814"/>
                    <a:pt x="6715" y="7814"/>
                  </a:cubicBezTo>
                  <a:cubicBezTo>
                    <a:pt x="6715" y="7814"/>
                    <a:pt x="6460" y="7623"/>
                    <a:pt x="6314" y="7486"/>
                  </a:cubicBezTo>
                  <a:cubicBezTo>
                    <a:pt x="6168" y="7350"/>
                    <a:pt x="7336" y="6448"/>
                    <a:pt x="7336" y="6448"/>
                  </a:cubicBezTo>
                  <a:cubicBezTo>
                    <a:pt x="7372" y="6448"/>
                    <a:pt x="7263" y="6284"/>
                    <a:pt x="7226" y="6257"/>
                  </a:cubicBezTo>
                  <a:cubicBezTo>
                    <a:pt x="7190" y="6202"/>
                    <a:pt x="7555" y="5956"/>
                    <a:pt x="7664" y="5902"/>
                  </a:cubicBezTo>
                  <a:cubicBezTo>
                    <a:pt x="7810" y="5847"/>
                    <a:pt x="8029" y="5984"/>
                    <a:pt x="8248" y="6066"/>
                  </a:cubicBezTo>
                  <a:cubicBezTo>
                    <a:pt x="8431" y="6148"/>
                    <a:pt x="8723" y="6120"/>
                    <a:pt x="8723" y="6120"/>
                  </a:cubicBezTo>
                  <a:lnTo>
                    <a:pt x="8723" y="5191"/>
                  </a:lnTo>
                  <a:cubicBezTo>
                    <a:pt x="8467" y="5164"/>
                    <a:pt x="8139" y="5109"/>
                    <a:pt x="8102" y="5109"/>
                  </a:cubicBezTo>
                  <a:cubicBezTo>
                    <a:pt x="8066" y="5082"/>
                    <a:pt x="7956" y="4781"/>
                    <a:pt x="7956" y="4699"/>
                  </a:cubicBezTo>
                  <a:cubicBezTo>
                    <a:pt x="7920" y="4617"/>
                    <a:pt x="8504" y="4454"/>
                    <a:pt x="8796" y="4454"/>
                  </a:cubicBezTo>
                  <a:cubicBezTo>
                    <a:pt x="8796" y="4317"/>
                    <a:pt x="8759" y="4208"/>
                    <a:pt x="8723" y="4180"/>
                  </a:cubicBezTo>
                  <a:cubicBezTo>
                    <a:pt x="8723" y="4126"/>
                    <a:pt x="8540" y="3798"/>
                    <a:pt x="8467" y="3743"/>
                  </a:cubicBezTo>
                  <a:cubicBezTo>
                    <a:pt x="8431" y="3716"/>
                    <a:pt x="8467" y="3689"/>
                    <a:pt x="8467" y="3634"/>
                  </a:cubicBezTo>
                  <a:cubicBezTo>
                    <a:pt x="8394" y="3634"/>
                    <a:pt x="8315" y="3707"/>
                    <a:pt x="8358" y="3607"/>
                  </a:cubicBezTo>
                  <a:cubicBezTo>
                    <a:pt x="8401" y="3507"/>
                    <a:pt x="8614" y="3174"/>
                    <a:pt x="8723" y="3033"/>
                  </a:cubicBezTo>
                  <a:cubicBezTo>
                    <a:pt x="8832" y="2923"/>
                    <a:pt x="8942" y="2787"/>
                    <a:pt x="9015" y="2760"/>
                  </a:cubicBezTo>
                  <a:cubicBezTo>
                    <a:pt x="9161" y="2650"/>
                    <a:pt x="9672" y="1694"/>
                    <a:pt x="9672" y="1667"/>
                  </a:cubicBezTo>
                  <a:cubicBezTo>
                    <a:pt x="9672" y="1612"/>
                    <a:pt x="9818" y="1284"/>
                    <a:pt x="9818" y="1230"/>
                  </a:cubicBezTo>
                  <a:cubicBezTo>
                    <a:pt x="9818" y="1175"/>
                    <a:pt x="9927" y="956"/>
                    <a:pt x="9964" y="902"/>
                  </a:cubicBezTo>
                  <a:cubicBezTo>
                    <a:pt x="10000" y="847"/>
                    <a:pt x="9964" y="519"/>
                    <a:pt x="9891" y="492"/>
                  </a:cubicBezTo>
                  <a:close/>
                </a:path>
              </a:pathLst>
            </a:custGeom>
            <a:solidFill>
              <a:srgbClr val="92D05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4" name="Freeform 1219"/>
            <p:cNvSpPr>
              <a:spLocks noChangeAspect="1"/>
            </p:cNvSpPr>
            <p:nvPr/>
          </p:nvSpPr>
          <p:spPr bwMode="auto">
            <a:xfrm>
              <a:off x="9231715" y="6517760"/>
              <a:ext cx="581131" cy="836059"/>
            </a:xfrm>
            <a:custGeom>
              <a:avLst/>
              <a:gdLst>
                <a:gd name="T0" fmla="*/ 146 w 156"/>
                <a:gd name="T1" fmla="*/ 259 h 299"/>
                <a:gd name="T2" fmla="*/ 147 w 156"/>
                <a:gd name="T3" fmla="*/ 245 h 299"/>
                <a:gd name="T4" fmla="*/ 140 w 156"/>
                <a:gd name="T5" fmla="*/ 235 h 299"/>
                <a:gd name="T6" fmla="*/ 154 w 156"/>
                <a:gd name="T7" fmla="*/ 208 h 299"/>
                <a:gd name="T8" fmla="*/ 140 w 156"/>
                <a:gd name="T9" fmla="*/ 178 h 299"/>
                <a:gd name="T10" fmla="*/ 145 w 156"/>
                <a:gd name="T11" fmla="*/ 173 h 299"/>
                <a:gd name="T12" fmla="*/ 140 w 156"/>
                <a:gd name="T13" fmla="*/ 169 h 299"/>
                <a:gd name="T14" fmla="*/ 133 w 156"/>
                <a:gd name="T15" fmla="*/ 172 h 299"/>
                <a:gd name="T16" fmla="*/ 118 w 156"/>
                <a:gd name="T17" fmla="*/ 171 h 299"/>
                <a:gd name="T18" fmla="*/ 116 w 156"/>
                <a:gd name="T19" fmla="*/ 143 h 299"/>
                <a:gd name="T20" fmla="*/ 123 w 156"/>
                <a:gd name="T21" fmla="*/ 132 h 299"/>
                <a:gd name="T22" fmla="*/ 118 w 156"/>
                <a:gd name="T23" fmla="*/ 125 h 299"/>
                <a:gd name="T24" fmla="*/ 118 w 156"/>
                <a:gd name="T25" fmla="*/ 108 h 299"/>
                <a:gd name="T26" fmla="*/ 112 w 156"/>
                <a:gd name="T27" fmla="*/ 108 h 299"/>
                <a:gd name="T28" fmla="*/ 82 w 156"/>
                <a:gd name="T29" fmla="*/ 71 h 299"/>
                <a:gd name="T30" fmla="*/ 101 w 156"/>
                <a:gd name="T31" fmla="*/ 74 h 299"/>
                <a:gd name="T32" fmla="*/ 107 w 156"/>
                <a:gd name="T33" fmla="*/ 67 h 299"/>
                <a:gd name="T34" fmla="*/ 106 w 156"/>
                <a:gd name="T35" fmla="*/ 66 h 299"/>
                <a:gd name="T36" fmla="*/ 99 w 156"/>
                <a:gd name="T37" fmla="*/ 54 h 299"/>
                <a:gd name="T38" fmla="*/ 92 w 156"/>
                <a:gd name="T39" fmla="*/ 55 h 299"/>
                <a:gd name="T40" fmla="*/ 87 w 156"/>
                <a:gd name="T41" fmla="*/ 50 h 299"/>
                <a:gd name="T42" fmla="*/ 78 w 156"/>
                <a:gd name="T43" fmla="*/ 50 h 299"/>
                <a:gd name="T44" fmla="*/ 73 w 156"/>
                <a:gd name="T45" fmla="*/ 38 h 299"/>
                <a:gd name="T46" fmla="*/ 63 w 156"/>
                <a:gd name="T47" fmla="*/ 39 h 299"/>
                <a:gd name="T48" fmla="*/ 33 w 156"/>
                <a:gd name="T49" fmla="*/ 2 h 299"/>
                <a:gd name="T50" fmla="*/ 0 w 156"/>
                <a:gd name="T51" fmla="*/ 0 h 299"/>
                <a:gd name="T52" fmla="*/ 9 w 156"/>
                <a:gd name="T53" fmla="*/ 21 h 299"/>
                <a:gd name="T54" fmla="*/ 19 w 156"/>
                <a:gd name="T55" fmla="*/ 49 h 299"/>
                <a:gd name="T56" fmla="*/ 27 w 156"/>
                <a:gd name="T57" fmla="*/ 54 h 299"/>
                <a:gd name="T58" fmla="*/ 29 w 156"/>
                <a:gd name="T59" fmla="*/ 59 h 299"/>
                <a:gd name="T60" fmla="*/ 42 w 156"/>
                <a:gd name="T61" fmla="*/ 72 h 299"/>
                <a:gd name="T62" fmla="*/ 44 w 156"/>
                <a:gd name="T63" fmla="*/ 84 h 299"/>
                <a:gd name="T64" fmla="*/ 50 w 156"/>
                <a:gd name="T65" fmla="*/ 92 h 299"/>
                <a:gd name="T66" fmla="*/ 64 w 156"/>
                <a:gd name="T67" fmla="*/ 93 h 299"/>
                <a:gd name="T68" fmla="*/ 72 w 156"/>
                <a:gd name="T69" fmla="*/ 105 h 299"/>
                <a:gd name="T70" fmla="*/ 59 w 156"/>
                <a:gd name="T71" fmla="*/ 110 h 299"/>
                <a:gd name="T72" fmla="*/ 63 w 156"/>
                <a:gd name="T73" fmla="*/ 136 h 299"/>
                <a:gd name="T74" fmla="*/ 77 w 156"/>
                <a:gd name="T75" fmla="*/ 166 h 299"/>
                <a:gd name="T76" fmla="*/ 77 w 156"/>
                <a:gd name="T77" fmla="*/ 176 h 299"/>
                <a:gd name="T78" fmla="*/ 82 w 156"/>
                <a:gd name="T79" fmla="*/ 189 h 299"/>
                <a:gd name="T80" fmla="*/ 84 w 156"/>
                <a:gd name="T81" fmla="*/ 205 h 299"/>
                <a:gd name="T82" fmla="*/ 92 w 156"/>
                <a:gd name="T83" fmla="*/ 217 h 299"/>
                <a:gd name="T84" fmla="*/ 84 w 156"/>
                <a:gd name="T85" fmla="*/ 220 h 299"/>
                <a:gd name="T86" fmla="*/ 93 w 156"/>
                <a:gd name="T87" fmla="*/ 240 h 299"/>
                <a:gd name="T88" fmla="*/ 97 w 156"/>
                <a:gd name="T89" fmla="*/ 255 h 299"/>
                <a:gd name="T90" fmla="*/ 107 w 156"/>
                <a:gd name="T91" fmla="*/ 266 h 299"/>
                <a:gd name="T92" fmla="*/ 112 w 156"/>
                <a:gd name="T93" fmla="*/ 275 h 299"/>
                <a:gd name="T94" fmla="*/ 119 w 156"/>
                <a:gd name="T95" fmla="*/ 286 h 299"/>
                <a:gd name="T96" fmla="*/ 131 w 156"/>
                <a:gd name="T97" fmla="*/ 299 h 299"/>
                <a:gd name="T98" fmla="*/ 141 w 156"/>
                <a:gd name="T99" fmla="*/ 282 h 299"/>
                <a:gd name="T100" fmla="*/ 147 w 156"/>
                <a:gd name="T101" fmla="*/ 273 h 299"/>
                <a:gd name="T102" fmla="*/ 140 w 156"/>
                <a:gd name="T103" fmla="*/ 263 h 299"/>
                <a:gd name="T104" fmla="*/ 146 w 156"/>
                <a:gd name="T105" fmla="*/ 259 h 299"/>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4615 w 10000"/>
                <a:gd name="connsiteY33" fmla="*/ 3512 h 10000"/>
                <a:gd name="connsiteX34" fmla="*/ 3782 w 10000"/>
                <a:gd name="connsiteY34" fmla="*/ 3679 h 10000"/>
                <a:gd name="connsiteX35" fmla="*/ 4038 w 10000"/>
                <a:gd name="connsiteY35" fmla="*/ 4548 h 10000"/>
                <a:gd name="connsiteX36" fmla="*/ 4936 w 10000"/>
                <a:gd name="connsiteY36" fmla="*/ 5552 h 10000"/>
                <a:gd name="connsiteX37" fmla="*/ 4936 w 10000"/>
                <a:gd name="connsiteY37" fmla="*/ 5886 h 10000"/>
                <a:gd name="connsiteX38" fmla="*/ 5256 w 10000"/>
                <a:gd name="connsiteY38" fmla="*/ 6321 h 10000"/>
                <a:gd name="connsiteX39" fmla="*/ 5385 w 10000"/>
                <a:gd name="connsiteY39" fmla="*/ 6856 h 10000"/>
                <a:gd name="connsiteX40" fmla="*/ 5897 w 10000"/>
                <a:gd name="connsiteY40" fmla="*/ 7258 h 10000"/>
                <a:gd name="connsiteX41" fmla="*/ 5385 w 10000"/>
                <a:gd name="connsiteY41" fmla="*/ 7358 h 10000"/>
                <a:gd name="connsiteX42" fmla="*/ 5962 w 10000"/>
                <a:gd name="connsiteY42" fmla="*/ 8027 h 10000"/>
                <a:gd name="connsiteX43" fmla="*/ 6218 w 10000"/>
                <a:gd name="connsiteY43" fmla="*/ 8528 h 10000"/>
                <a:gd name="connsiteX44" fmla="*/ 6859 w 10000"/>
                <a:gd name="connsiteY44" fmla="*/ 8896 h 10000"/>
                <a:gd name="connsiteX45" fmla="*/ 7179 w 10000"/>
                <a:gd name="connsiteY45" fmla="*/ 9197 h 10000"/>
                <a:gd name="connsiteX46" fmla="*/ 7628 w 10000"/>
                <a:gd name="connsiteY46" fmla="*/ 9565 h 10000"/>
                <a:gd name="connsiteX47" fmla="*/ 8397 w 10000"/>
                <a:gd name="connsiteY47" fmla="*/ 10000 h 10000"/>
                <a:gd name="connsiteX48" fmla="*/ 9038 w 10000"/>
                <a:gd name="connsiteY48" fmla="*/ 9431 h 10000"/>
                <a:gd name="connsiteX49" fmla="*/ 9423 w 10000"/>
                <a:gd name="connsiteY49" fmla="*/ 9130 h 10000"/>
                <a:gd name="connsiteX50" fmla="*/ 8974 w 10000"/>
                <a:gd name="connsiteY50" fmla="*/ 8796 h 10000"/>
                <a:gd name="connsiteX51" fmla="*/ 9359 w 10000"/>
                <a:gd name="connsiteY51" fmla="*/ 8662 h 10000"/>
                <a:gd name="connsiteX0" fmla="*/ 9359 w 10000"/>
                <a:gd name="connsiteY0" fmla="*/ 8662 h 10000"/>
                <a:gd name="connsiteX1" fmla="*/ 9423 w 10000"/>
                <a:gd name="connsiteY1" fmla="*/ 8194 h 10000"/>
                <a:gd name="connsiteX2" fmla="*/ 8974 w 10000"/>
                <a:gd name="connsiteY2" fmla="*/ 7860 h 10000"/>
                <a:gd name="connsiteX3" fmla="*/ 9872 w 10000"/>
                <a:gd name="connsiteY3" fmla="*/ 6957 h 10000"/>
                <a:gd name="connsiteX4" fmla="*/ 8974 w 10000"/>
                <a:gd name="connsiteY4" fmla="*/ 5953 h 10000"/>
                <a:gd name="connsiteX5" fmla="*/ 9295 w 10000"/>
                <a:gd name="connsiteY5" fmla="*/ 5786 h 10000"/>
                <a:gd name="connsiteX6" fmla="*/ 8974 w 10000"/>
                <a:gd name="connsiteY6" fmla="*/ 5652 h 10000"/>
                <a:gd name="connsiteX7" fmla="*/ 8526 w 10000"/>
                <a:gd name="connsiteY7" fmla="*/ 5753 h 10000"/>
                <a:gd name="connsiteX8" fmla="*/ 7564 w 10000"/>
                <a:gd name="connsiteY8" fmla="*/ 5719 h 10000"/>
                <a:gd name="connsiteX9" fmla="*/ 7436 w 10000"/>
                <a:gd name="connsiteY9" fmla="*/ 4783 h 10000"/>
                <a:gd name="connsiteX10" fmla="*/ 7885 w 10000"/>
                <a:gd name="connsiteY10" fmla="*/ 4415 h 10000"/>
                <a:gd name="connsiteX11" fmla="*/ 7564 w 10000"/>
                <a:gd name="connsiteY11" fmla="*/ 4181 h 10000"/>
                <a:gd name="connsiteX12" fmla="*/ 7564 w 10000"/>
                <a:gd name="connsiteY12" fmla="*/ 3612 h 10000"/>
                <a:gd name="connsiteX13" fmla="*/ 7179 w 10000"/>
                <a:gd name="connsiteY13" fmla="*/ 3612 h 10000"/>
                <a:gd name="connsiteX14" fmla="*/ 5256 w 10000"/>
                <a:gd name="connsiteY14" fmla="*/ 2375 h 10000"/>
                <a:gd name="connsiteX15" fmla="*/ 6474 w 10000"/>
                <a:gd name="connsiteY15" fmla="*/ 2475 h 10000"/>
                <a:gd name="connsiteX16" fmla="*/ 6859 w 10000"/>
                <a:gd name="connsiteY16" fmla="*/ 2241 h 10000"/>
                <a:gd name="connsiteX17" fmla="*/ 6795 w 10000"/>
                <a:gd name="connsiteY17" fmla="*/ 2207 h 10000"/>
                <a:gd name="connsiteX18" fmla="*/ 6346 w 10000"/>
                <a:gd name="connsiteY18" fmla="*/ 1806 h 10000"/>
                <a:gd name="connsiteX19" fmla="*/ 5897 w 10000"/>
                <a:gd name="connsiteY19" fmla="*/ 1839 h 10000"/>
                <a:gd name="connsiteX20" fmla="*/ 5577 w 10000"/>
                <a:gd name="connsiteY20" fmla="*/ 1672 h 10000"/>
                <a:gd name="connsiteX21" fmla="*/ 5000 w 10000"/>
                <a:gd name="connsiteY21" fmla="*/ 1672 h 10000"/>
                <a:gd name="connsiteX22" fmla="*/ 4679 w 10000"/>
                <a:gd name="connsiteY22" fmla="*/ 1271 h 10000"/>
                <a:gd name="connsiteX23" fmla="*/ 4038 w 10000"/>
                <a:gd name="connsiteY23" fmla="*/ 1304 h 10000"/>
                <a:gd name="connsiteX24" fmla="*/ 2115 w 10000"/>
                <a:gd name="connsiteY24" fmla="*/ 67 h 10000"/>
                <a:gd name="connsiteX25" fmla="*/ 0 w 10000"/>
                <a:gd name="connsiteY25" fmla="*/ 0 h 10000"/>
                <a:gd name="connsiteX26" fmla="*/ 577 w 10000"/>
                <a:gd name="connsiteY26" fmla="*/ 702 h 10000"/>
                <a:gd name="connsiteX27" fmla="*/ 1218 w 10000"/>
                <a:gd name="connsiteY27" fmla="*/ 1639 h 10000"/>
                <a:gd name="connsiteX28" fmla="*/ 1731 w 10000"/>
                <a:gd name="connsiteY28" fmla="*/ 1806 h 10000"/>
                <a:gd name="connsiteX29" fmla="*/ 1859 w 10000"/>
                <a:gd name="connsiteY29" fmla="*/ 1973 h 10000"/>
                <a:gd name="connsiteX30" fmla="*/ 2692 w 10000"/>
                <a:gd name="connsiteY30" fmla="*/ 2408 h 10000"/>
                <a:gd name="connsiteX31" fmla="*/ 2821 w 10000"/>
                <a:gd name="connsiteY31" fmla="*/ 2809 h 10000"/>
                <a:gd name="connsiteX32" fmla="*/ 3205 w 10000"/>
                <a:gd name="connsiteY32" fmla="*/ 3077 h 10000"/>
                <a:gd name="connsiteX33" fmla="*/ 3782 w 10000"/>
                <a:gd name="connsiteY33" fmla="*/ 3679 h 10000"/>
                <a:gd name="connsiteX34" fmla="*/ 4038 w 10000"/>
                <a:gd name="connsiteY34" fmla="*/ 4548 h 10000"/>
                <a:gd name="connsiteX35" fmla="*/ 4936 w 10000"/>
                <a:gd name="connsiteY35" fmla="*/ 5552 h 10000"/>
                <a:gd name="connsiteX36" fmla="*/ 4936 w 10000"/>
                <a:gd name="connsiteY36" fmla="*/ 5886 h 10000"/>
                <a:gd name="connsiteX37" fmla="*/ 5256 w 10000"/>
                <a:gd name="connsiteY37" fmla="*/ 6321 h 10000"/>
                <a:gd name="connsiteX38" fmla="*/ 5385 w 10000"/>
                <a:gd name="connsiteY38" fmla="*/ 6856 h 10000"/>
                <a:gd name="connsiteX39" fmla="*/ 5897 w 10000"/>
                <a:gd name="connsiteY39" fmla="*/ 7258 h 10000"/>
                <a:gd name="connsiteX40" fmla="*/ 5385 w 10000"/>
                <a:gd name="connsiteY40" fmla="*/ 7358 h 10000"/>
                <a:gd name="connsiteX41" fmla="*/ 5962 w 10000"/>
                <a:gd name="connsiteY41" fmla="*/ 8027 h 10000"/>
                <a:gd name="connsiteX42" fmla="*/ 6218 w 10000"/>
                <a:gd name="connsiteY42" fmla="*/ 8528 h 10000"/>
                <a:gd name="connsiteX43" fmla="*/ 6859 w 10000"/>
                <a:gd name="connsiteY43" fmla="*/ 8896 h 10000"/>
                <a:gd name="connsiteX44" fmla="*/ 7179 w 10000"/>
                <a:gd name="connsiteY44" fmla="*/ 9197 h 10000"/>
                <a:gd name="connsiteX45" fmla="*/ 7628 w 10000"/>
                <a:gd name="connsiteY45" fmla="*/ 9565 h 10000"/>
                <a:gd name="connsiteX46" fmla="*/ 8397 w 10000"/>
                <a:gd name="connsiteY46" fmla="*/ 10000 h 10000"/>
                <a:gd name="connsiteX47" fmla="*/ 9038 w 10000"/>
                <a:gd name="connsiteY47" fmla="*/ 9431 h 10000"/>
                <a:gd name="connsiteX48" fmla="*/ 9423 w 10000"/>
                <a:gd name="connsiteY48" fmla="*/ 9130 h 10000"/>
                <a:gd name="connsiteX49" fmla="*/ 8974 w 10000"/>
                <a:gd name="connsiteY49" fmla="*/ 8796 h 10000"/>
                <a:gd name="connsiteX50" fmla="*/ 9359 w 10000"/>
                <a:gd name="connsiteY50" fmla="*/ 866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359" y="8662"/>
                  </a:moveTo>
                  <a:cubicBezTo>
                    <a:pt x="9423" y="8528"/>
                    <a:pt x="9487" y="8227"/>
                    <a:pt x="9423" y="8194"/>
                  </a:cubicBezTo>
                  <a:cubicBezTo>
                    <a:pt x="9359" y="8161"/>
                    <a:pt x="8846" y="7993"/>
                    <a:pt x="8974" y="7860"/>
                  </a:cubicBezTo>
                  <a:cubicBezTo>
                    <a:pt x="9038" y="7726"/>
                    <a:pt x="10000" y="7090"/>
                    <a:pt x="9872" y="6957"/>
                  </a:cubicBezTo>
                  <a:cubicBezTo>
                    <a:pt x="9808" y="6856"/>
                    <a:pt x="8846" y="6054"/>
                    <a:pt x="8974" y="5953"/>
                  </a:cubicBezTo>
                  <a:cubicBezTo>
                    <a:pt x="9103" y="5853"/>
                    <a:pt x="9295" y="5786"/>
                    <a:pt x="9295" y="5786"/>
                  </a:cubicBezTo>
                  <a:cubicBezTo>
                    <a:pt x="9295" y="5786"/>
                    <a:pt x="8974" y="5619"/>
                    <a:pt x="8974" y="5652"/>
                  </a:cubicBezTo>
                  <a:cubicBezTo>
                    <a:pt x="8974" y="5686"/>
                    <a:pt x="8590" y="5753"/>
                    <a:pt x="8526" y="5753"/>
                  </a:cubicBezTo>
                  <a:lnTo>
                    <a:pt x="7564" y="5719"/>
                  </a:lnTo>
                  <a:cubicBezTo>
                    <a:pt x="7564" y="5686"/>
                    <a:pt x="7244" y="4883"/>
                    <a:pt x="7436" y="4783"/>
                  </a:cubicBezTo>
                  <a:cubicBezTo>
                    <a:pt x="7564" y="4716"/>
                    <a:pt x="8077" y="4582"/>
                    <a:pt x="7885" y="4415"/>
                  </a:cubicBezTo>
                  <a:cubicBezTo>
                    <a:pt x="7628" y="4214"/>
                    <a:pt x="7564" y="4247"/>
                    <a:pt x="7564" y="4181"/>
                  </a:cubicBezTo>
                  <a:cubicBezTo>
                    <a:pt x="7628" y="4080"/>
                    <a:pt x="7628" y="3612"/>
                    <a:pt x="7564" y="3612"/>
                  </a:cubicBezTo>
                  <a:lnTo>
                    <a:pt x="7179" y="3612"/>
                  </a:lnTo>
                  <a:cubicBezTo>
                    <a:pt x="7179" y="3612"/>
                    <a:pt x="5128" y="2375"/>
                    <a:pt x="5256" y="2375"/>
                  </a:cubicBezTo>
                  <a:cubicBezTo>
                    <a:pt x="5385" y="2375"/>
                    <a:pt x="6282" y="2508"/>
                    <a:pt x="6474" y="2475"/>
                  </a:cubicBezTo>
                  <a:cubicBezTo>
                    <a:pt x="6538" y="2441"/>
                    <a:pt x="6731" y="2341"/>
                    <a:pt x="6859" y="2241"/>
                  </a:cubicBezTo>
                  <a:lnTo>
                    <a:pt x="6795" y="2207"/>
                  </a:lnTo>
                  <a:cubicBezTo>
                    <a:pt x="6410" y="2040"/>
                    <a:pt x="6410" y="1806"/>
                    <a:pt x="6346" y="1806"/>
                  </a:cubicBezTo>
                  <a:cubicBezTo>
                    <a:pt x="6282" y="1806"/>
                    <a:pt x="6090" y="1839"/>
                    <a:pt x="5897" y="1839"/>
                  </a:cubicBezTo>
                  <a:cubicBezTo>
                    <a:pt x="5769" y="1839"/>
                    <a:pt x="5705" y="1706"/>
                    <a:pt x="5577" y="1672"/>
                  </a:cubicBezTo>
                  <a:cubicBezTo>
                    <a:pt x="5513" y="1672"/>
                    <a:pt x="5385" y="1739"/>
                    <a:pt x="5000" y="1672"/>
                  </a:cubicBezTo>
                  <a:cubicBezTo>
                    <a:pt x="4615" y="1639"/>
                    <a:pt x="4872" y="1371"/>
                    <a:pt x="4679" y="1271"/>
                  </a:cubicBezTo>
                  <a:cubicBezTo>
                    <a:pt x="4487" y="1137"/>
                    <a:pt x="4231" y="1304"/>
                    <a:pt x="4038" y="1304"/>
                  </a:cubicBezTo>
                  <a:cubicBezTo>
                    <a:pt x="3782" y="1304"/>
                    <a:pt x="2244" y="134"/>
                    <a:pt x="2115" y="67"/>
                  </a:cubicBezTo>
                  <a:cubicBezTo>
                    <a:pt x="1987" y="33"/>
                    <a:pt x="705" y="0"/>
                    <a:pt x="0" y="0"/>
                  </a:cubicBezTo>
                  <a:cubicBezTo>
                    <a:pt x="128" y="234"/>
                    <a:pt x="321" y="468"/>
                    <a:pt x="577" y="702"/>
                  </a:cubicBezTo>
                  <a:cubicBezTo>
                    <a:pt x="897" y="1037"/>
                    <a:pt x="1154" y="1572"/>
                    <a:pt x="1218" y="1639"/>
                  </a:cubicBezTo>
                  <a:cubicBezTo>
                    <a:pt x="1218" y="1672"/>
                    <a:pt x="1667" y="1773"/>
                    <a:pt x="1731" y="1806"/>
                  </a:cubicBezTo>
                  <a:cubicBezTo>
                    <a:pt x="1795" y="1806"/>
                    <a:pt x="1795" y="1940"/>
                    <a:pt x="1859" y="1973"/>
                  </a:cubicBezTo>
                  <a:cubicBezTo>
                    <a:pt x="1859" y="2040"/>
                    <a:pt x="2500" y="2341"/>
                    <a:pt x="2692" y="2408"/>
                  </a:cubicBezTo>
                  <a:cubicBezTo>
                    <a:pt x="2885" y="2475"/>
                    <a:pt x="2692" y="2575"/>
                    <a:pt x="2821" y="2809"/>
                  </a:cubicBezTo>
                  <a:cubicBezTo>
                    <a:pt x="2821" y="2977"/>
                    <a:pt x="3013" y="2977"/>
                    <a:pt x="3205" y="3077"/>
                  </a:cubicBezTo>
                  <a:cubicBezTo>
                    <a:pt x="3365" y="3222"/>
                    <a:pt x="3643" y="3434"/>
                    <a:pt x="3782" y="3679"/>
                  </a:cubicBezTo>
                  <a:cubicBezTo>
                    <a:pt x="3974" y="4047"/>
                    <a:pt x="3846" y="4214"/>
                    <a:pt x="4038" y="4548"/>
                  </a:cubicBezTo>
                  <a:cubicBezTo>
                    <a:pt x="4231" y="4916"/>
                    <a:pt x="4936" y="5552"/>
                    <a:pt x="4936" y="5552"/>
                  </a:cubicBezTo>
                  <a:cubicBezTo>
                    <a:pt x="4936" y="5552"/>
                    <a:pt x="5000" y="5753"/>
                    <a:pt x="4936" y="5886"/>
                  </a:cubicBezTo>
                  <a:cubicBezTo>
                    <a:pt x="4936" y="6020"/>
                    <a:pt x="5128" y="6187"/>
                    <a:pt x="5256" y="6321"/>
                  </a:cubicBezTo>
                  <a:cubicBezTo>
                    <a:pt x="5321" y="6455"/>
                    <a:pt x="5385" y="6789"/>
                    <a:pt x="5385" y="6856"/>
                  </a:cubicBezTo>
                  <a:cubicBezTo>
                    <a:pt x="5385" y="6923"/>
                    <a:pt x="5833" y="7191"/>
                    <a:pt x="5897" y="7258"/>
                  </a:cubicBezTo>
                  <a:cubicBezTo>
                    <a:pt x="5897" y="7291"/>
                    <a:pt x="5385" y="7258"/>
                    <a:pt x="5385" y="7358"/>
                  </a:cubicBezTo>
                  <a:cubicBezTo>
                    <a:pt x="5321" y="7492"/>
                    <a:pt x="5705" y="7826"/>
                    <a:pt x="5962" y="8027"/>
                  </a:cubicBezTo>
                  <a:cubicBezTo>
                    <a:pt x="6154" y="8227"/>
                    <a:pt x="6090" y="8328"/>
                    <a:pt x="6218" y="8528"/>
                  </a:cubicBezTo>
                  <a:cubicBezTo>
                    <a:pt x="6282" y="8729"/>
                    <a:pt x="6859" y="8863"/>
                    <a:pt x="6859" y="8896"/>
                  </a:cubicBezTo>
                  <a:cubicBezTo>
                    <a:pt x="6923" y="8930"/>
                    <a:pt x="7179" y="9197"/>
                    <a:pt x="7179" y="9197"/>
                  </a:cubicBezTo>
                  <a:cubicBezTo>
                    <a:pt x="7179" y="9197"/>
                    <a:pt x="7308" y="9298"/>
                    <a:pt x="7628" y="9565"/>
                  </a:cubicBezTo>
                  <a:cubicBezTo>
                    <a:pt x="7756" y="9699"/>
                    <a:pt x="8077" y="9833"/>
                    <a:pt x="8397" y="10000"/>
                  </a:cubicBezTo>
                  <a:cubicBezTo>
                    <a:pt x="8654" y="9799"/>
                    <a:pt x="8974" y="9498"/>
                    <a:pt x="9038" y="9431"/>
                  </a:cubicBezTo>
                  <a:cubicBezTo>
                    <a:pt x="9231" y="9365"/>
                    <a:pt x="9487" y="9130"/>
                    <a:pt x="9423" y="9130"/>
                  </a:cubicBezTo>
                  <a:cubicBezTo>
                    <a:pt x="9359" y="9097"/>
                    <a:pt x="8846" y="8829"/>
                    <a:pt x="8974" y="8796"/>
                  </a:cubicBezTo>
                  <a:cubicBezTo>
                    <a:pt x="9038" y="8763"/>
                    <a:pt x="9295" y="8763"/>
                    <a:pt x="9359" y="8662"/>
                  </a:cubicBezTo>
                  <a:close/>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baseline="-25000" dirty="0">
                <a:solidFill>
                  <a:srgbClr val="C79B3A"/>
                </a:solidFill>
                <a:latin typeface="Arial" pitchFamily="34" charset="0"/>
                <a:cs typeface="Arial" pitchFamily="34" charset="0"/>
              </a:endParaRPr>
            </a:p>
          </p:txBody>
        </p:sp>
        <p:sp>
          <p:nvSpPr>
            <p:cNvPr id="55" name="Freeform 1221"/>
            <p:cNvSpPr>
              <a:spLocks noChangeAspect="1"/>
            </p:cNvSpPr>
            <p:nvPr/>
          </p:nvSpPr>
          <p:spPr bwMode="auto">
            <a:xfrm>
              <a:off x="9219813" y="2869759"/>
              <a:ext cx="751123" cy="629098"/>
            </a:xfrm>
            <a:custGeom>
              <a:avLst/>
              <a:gdLst>
                <a:gd name="T0" fmla="*/ 183 w 202"/>
                <a:gd name="T1" fmla="*/ 151 h 224"/>
                <a:gd name="T2" fmla="*/ 177 w 202"/>
                <a:gd name="T3" fmla="*/ 132 h 224"/>
                <a:gd name="T4" fmla="*/ 171 w 202"/>
                <a:gd name="T5" fmla="*/ 125 h 224"/>
                <a:gd name="T6" fmla="*/ 174 w 202"/>
                <a:gd name="T7" fmla="*/ 115 h 224"/>
                <a:gd name="T8" fmla="*/ 156 w 202"/>
                <a:gd name="T9" fmla="*/ 115 h 224"/>
                <a:gd name="T10" fmla="*/ 118 w 202"/>
                <a:gd name="T11" fmla="*/ 58 h 224"/>
                <a:gd name="T12" fmla="*/ 129 w 202"/>
                <a:gd name="T13" fmla="*/ 42 h 224"/>
                <a:gd name="T14" fmla="*/ 122 w 202"/>
                <a:gd name="T15" fmla="*/ 26 h 224"/>
                <a:gd name="T16" fmla="*/ 129 w 202"/>
                <a:gd name="T17" fmla="*/ 13 h 224"/>
                <a:gd name="T18" fmla="*/ 125 w 202"/>
                <a:gd name="T19" fmla="*/ 8 h 224"/>
                <a:gd name="T20" fmla="*/ 119 w 202"/>
                <a:gd name="T21" fmla="*/ 3 h 224"/>
                <a:gd name="T22" fmla="*/ 117 w 202"/>
                <a:gd name="T23" fmla="*/ 0 h 224"/>
                <a:gd name="T24" fmla="*/ 113 w 202"/>
                <a:gd name="T25" fmla="*/ 3 h 224"/>
                <a:gd name="T26" fmla="*/ 116 w 202"/>
                <a:gd name="T27" fmla="*/ 19 h 224"/>
                <a:gd name="T28" fmla="*/ 97 w 202"/>
                <a:gd name="T29" fmla="*/ 34 h 224"/>
                <a:gd name="T30" fmla="*/ 100 w 202"/>
                <a:gd name="T31" fmla="*/ 35 h 224"/>
                <a:gd name="T32" fmla="*/ 82 w 202"/>
                <a:gd name="T33" fmla="*/ 48 h 224"/>
                <a:gd name="T34" fmla="*/ 64 w 202"/>
                <a:gd name="T35" fmla="*/ 54 h 224"/>
                <a:gd name="T36" fmla="*/ 46 w 202"/>
                <a:gd name="T37" fmla="*/ 67 h 224"/>
                <a:gd name="T38" fmla="*/ 52 w 202"/>
                <a:gd name="T39" fmla="*/ 89 h 224"/>
                <a:gd name="T40" fmla="*/ 45 w 202"/>
                <a:gd name="T41" fmla="*/ 99 h 224"/>
                <a:gd name="T42" fmla="*/ 46 w 202"/>
                <a:gd name="T43" fmla="*/ 111 h 224"/>
                <a:gd name="T44" fmla="*/ 43 w 202"/>
                <a:gd name="T45" fmla="*/ 122 h 224"/>
                <a:gd name="T46" fmla="*/ 33 w 202"/>
                <a:gd name="T47" fmla="*/ 123 h 224"/>
                <a:gd name="T48" fmla="*/ 18 w 202"/>
                <a:gd name="T49" fmla="*/ 141 h 224"/>
                <a:gd name="T50" fmla="*/ 16 w 202"/>
                <a:gd name="T51" fmla="*/ 147 h 224"/>
                <a:gd name="T52" fmla="*/ 5 w 202"/>
                <a:gd name="T53" fmla="*/ 157 h 224"/>
                <a:gd name="T54" fmla="*/ 10 w 202"/>
                <a:gd name="T55" fmla="*/ 168 h 224"/>
                <a:gd name="T56" fmla="*/ 0 w 202"/>
                <a:gd name="T57" fmla="*/ 176 h 224"/>
                <a:gd name="T58" fmla="*/ 11 w 202"/>
                <a:gd name="T59" fmla="*/ 193 h 224"/>
                <a:gd name="T60" fmla="*/ 25 w 202"/>
                <a:gd name="T61" fmla="*/ 192 h 224"/>
                <a:gd name="T62" fmla="*/ 53 w 202"/>
                <a:gd name="T63" fmla="*/ 196 h 224"/>
                <a:gd name="T64" fmla="*/ 65 w 202"/>
                <a:gd name="T65" fmla="*/ 192 h 224"/>
                <a:gd name="T66" fmla="*/ 87 w 202"/>
                <a:gd name="T67" fmla="*/ 219 h 224"/>
                <a:gd name="T68" fmla="*/ 104 w 202"/>
                <a:gd name="T69" fmla="*/ 198 h 224"/>
                <a:gd name="T70" fmla="*/ 114 w 202"/>
                <a:gd name="T71" fmla="*/ 197 h 224"/>
                <a:gd name="T72" fmla="*/ 123 w 202"/>
                <a:gd name="T73" fmla="*/ 205 h 224"/>
                <a:gd name="T74" fmla="*/ 131 w 202"/>
                <a:gd name="T75" fmla="*/ 195 h 224"/>
                <a:gd name="T76" fmla="*/ 138 w 202"/>
                <a:gd name="T77" fmla="*/ 194 h 224"/>
                <a:gd name="T78" fmla="*/ 142 w 202"/>
                <a:gd name="T79" fmla="*/ 188 h 224"/>
                <a:gd name="T80" fmla="*/ 155 w 202"/>
                <a:gd name="T81" fmla="*/ 194 h 224"/>
                <a:gd name="T82" fmla="*/ 154 w 202"/>
                <a:gd name="T83" fmla="*/ 180 h 224"/>
                <a:gd name="T84" fmla="*/ 168 w 202"/>
                <a:gd name="T85" fmla="*/ 177 h 224"/>
                <a:gd name="T86" fmla="*/ 171 w 202"/>
                <a:gd name="T87" fmla="*/ 161 h 224"/>
                <a:gd name="T88" fmla="*/ 185 w 202"/>
                <a:gd name="T89" fmla="*/ 159 h 224"/>
                <a:gd name="T90" fmla="*/ 197 w 202"/>
                <a:gd name="T91" fmla="*/ 160 h 224"/>
                <a:gd name="T92" fmla="*/ 195 w 202"/>
                <a:gd name="T93" fmla="*/ 152 h 224"/>
                <a:gd name="T94" fmla="*/ 200 w 202"/>
                <a:gd name="T95" fmla="*/ 148 h 224"/>
                <a:gd name="T96" fmla="*/ 198 w 202"/>
                <a:gd name="T97" fmla="*/ 146 h 224"/>
                <a:gd name="T98" fmla="*/ 183 w 202"/>
                <a:gd name="T99" fmla="*/ 15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224">
                  <a:moveTo>
                    <a:pt x="183" y="151"/>
                  </a:moveTo>
                  <a:cubicBezTo>
                    <a:pt x="178" y="150"/>
                    <a:pt x="175" y="138"/>
                    <a:pt x="177" y="132"/>
                  </a:cubicBezTo>
                  <a:cubicBezTo>
                    <a:pt x="174" y="129"/>
                    <a:pt x="171" y="127"/>
                    <a:pt x="171" y="125"/>
                  </a:cubicBezTo>
                  <a:cubicBezTo>
                    <a:pt x="168" y="120"/>
                    <a:pt x="175" y="116"/>
                    <a:pt x="174" y="115"/>
                  </a:cubicBezTo>
                  <a:cubicBezTo>
                    <a:pt x="172" y="113"/>
                    <a:pt x="156" y="115"/>
                    <a:pt x="156" y="115"/>
                  </a:cubicBezTo>
                  <a:cubicBezTo>
                    <a:pt x="156" y="115"/>
                    <a:pt x="119" y="64"/>
                    <a:pt x="118" y="58"/>
                  </a:cubicBezTo>
                  <a:cubicBezTo>
                    <a:pt x="117" y="51"/>
                    <a:pt x="131" y="47"/>
                    <a:pt x="129" y="42"/>
                  </a:cubicBezTo>
                  <a:cubicBezTo>
                    <a:pt x="126" y="36"/>
                    <a:pt x="118" y="30"/>
                    <a:pt x="122" y="26"/>
                  </a:cubicBezTo>
                  <a:cubicBezTo>
                    <a:pt x="125" y="23"/>
                    <a:pt x="131" y="19"/>
                    <a:pt x="129" y="13"/>
                  </a:cubicBezTo>
                  <a:cubicBezTo>
                    <a:pt x="128" y="12"/>
                    <a:pt x="127" y="10"/>
                    <a:pt x="125" y="8"/>
                  </a:cubicBezTo>
                  <a:cubicBezTo>
                    <a:pt x="123" y="10"/>
                    <a:pt x="121" y="6"/>
                    <a:pt x="119" y="3"/>
                  </a:cubicBezTo>
                  <a:cubicBezTo>
                    <a:pt x="119" y="2"/>
                    <a:pt x="118" y="1"/>
                    <a:pt x="117" y="0"/>
                  </a:cubicBezTo>
                  <a:cubicBezTo>
                    <a:pt x="116" y="1"/>
                    <a:pt x="115" y="2"/>
                    <a:pt x="113" y="3"/>
                  </a:cubicBezTo>
                  <a:cubicBezTo>
                    <a:pt x="111" y="5"/>
                    <a:pt x="117" y="9"/>
                    <a:pt x="116" y="19"/>
                  </a:cubicBezTo>
                  <a:cubicBezTo>
                    <a:pt x="116" y="26"/>
                    <a:pt x="103" y="31"/>
                    <a:pt x="97" y="34"/>
                  </a:cubicBezTo>
                  <a:cubicBezTo>
                    <a:pt x="99" y="34"/>
                    <a:pt x="100" y="35"/>
                    <a:pt x="100" y="35"/>
                  </a:cubicBezTo>
                  <a:cubicBezTo>
                    <a:pt x="101" y="35"/>
                    <a:pt x="88" y="48"/>
                    <a:pt x="82" y="48"/>
                  </a:cubicBezTo>
                  <a:cubicBezTo>
                    <a:pt x="76" y="49"/>
                    <a:pt x="69" y="52"/>
                    <a:pt x="64" y="54"/>
                  </a:cubicBezTo>
                  <a:cubicBezTo>
                    <a:pt x="60" y="56"/>
                    <a:pt x="52" y="58"/>
                    <a:pt x="46" y="67"/>
                  </a:cubicBezTo>
                  <a:cubicBezTo>
                    <a:pt x="41" y="76"/>
                    <a:pt x="52" y="88"/>
                    <a:pt x="52" y="89"/>
                  </a:cubicBezTo>
                  <a:cubicBezTo>
                    <a:pt x="52" y="89"/>
                    <a:pt x="49" y="94"/>
                    <a:pt x="45" y="99"/>
                  </a:cubicBezTo>
                  <a:cubicBezTo>
                    <a:pt x="41" y="105"/>
                    <a:pt x="46" y="109"/>
                    <a:pt x="46" y="111"/>
                  </a:cubicBezTo>
                  <a:cubicBezTo>
                    <a:pt x="46" y="113"/>
                    <a:pt x="49" y="116"/>
                    <a:pt x="43" y="122"/>
                  </a:cubicBezTo>
                  <a:cubicBezTo>
                    <a:pt x="37" y="128"/>
                    <a:pt x="37" y="121"/>
                    <a:pt x="33" y="123"/>
                  </a:cubicBezTo>
                  <a:cubicBezTo>
                    <a:pt x="30" y="125"/>
                    <a:pt x="18" y="141"/>
                    <a:pt x="18" y="141"/>
                  </a:cubicBezTo>
                  <a:cubicBezTo>
                    <a:pt x="18" y="141"/>
                    <a:pt x="17" y="147"/>
                    <a:pt x="16" y="147"/>
                  </a:cubicBezTo>
                  <a:cubicBezTo>
                    <a:pt x="15" y="148"/>
                    <a:pt x="9" y="154"/>
                    <a:pt x="5" y="157"/>
                  </a:cubicBezTo>
                  <a:cubicBezTo>
                    <a:pt x="1" y="160"/>
                    <a:pt x="10" y="165"/>
                    <a:pt x="10" y="168"/>
                  </a:cubicBezTo>
                  <a:cubicBezTo>
                    <a:pt x="10" y="170"/>
                    <a:pt x="4" y="174"/>
                    <a:pt x="0" y="176"/>
                  </a:cubicBezTo>
                  <a:cubicBezTo>
                    <a:pt x="3" y="184"/>
                    <a:pt x="7" y="193"/>
                    <a:pt x="11" y="193"/>
                  </a:cubicBezTo>
                  <a:cubicBezTo>
                    <a:pt x="17" y="192"/>
                    <a:pt x="21" y="191"/>
                    <a:pt x="25" y="192"/>
                  </a:cubicBezTo>
                  <a:cubicBezTo>
                    <a:pt x="29" y="194"/>
                    <a:pt x="47" y="198"/>
                    <a:pt x="53" y="196"/>
                  </a:cubicBezTo>
                  <a:cubicBezTo>
                    <a:pt x="59" y="195"/>
                    <a:pt x="63" y="189"/>
                    <a:pt x="65" y="192"/>
                  </a:cubicBezTo>
                  <a:cubicBezTo>
                    <a:pt x="68" y="195"/>
                    <a:pt x="83" y="224"/>
                    <a:pt x="87" y="219"/>
                  </a:cubicBezTo>
                  <a:cubicBezTo>
                    <a:pt x="92" y="214"/>
                    <a:pt x="98" y="197"/>
                    <a:pt x="104" y="198"/>
                  </a:cubicBezTo>
                  <a:cubicBezTo>
                    <a:pt x="109" y="198"/>
                    <a:pt x="113" y="197"/>
                    <a:pt x="114" y="197"/>
                  </a:cubicBezTo>
                  <a:cubicBezTo>
                    <a:pt x="115" y="198"/>
                    <a:pt x="119" y="207"/>
                    <a:pt x="123" y="205"/>
                  </a:cubicBezTo>
                  <a:cubicBezTo>
                    <a:pt x="127" y="203"/>
                    <a:pt x="130" y="195"/>
                    <a:pt x="131" y="195"/>
                  </a:cubicBezTo>
                  <a:cubicBezTo>
                    <a:pt x="132" y="194"/>
                    <a:pt x="138" y="194"/>
                    <a:pt x="138" y="194"/>
                  </a:cubicBezTo>
                  <a:cubicBezTo>
                    <a:pt x="138" y="194"/>
                    <a:pt x="137" y="188"/>
                    <a:pt x="142" y="188"/>
                  </a:cubicBezTo>
                  <a:cubicBezTo>
                    <a:pt x="148" y="189"/>
                    <a:pt x="155" y="198"/>
                    <a:pt x="155" y="194"/>
                  </a:cubicBezTo>
                  <a:cubicBezTo>
                    <a:pt x="154" y="190"/>
                    <a:pt x="151" y="182"/>
                    <a:pt x="154" y="180"/>
                  </a:cubicBezTo>
                  <a:cubicBezTo>
                    <a:pt x="156" y="177"/>
                    <a:pt x="166" y="180"/>
                    <a:pt x="168" y="177"/>
                  </a:cubicBezTo>
                  <a:cubicBezTo>
                    <a:pt x="170" y="173"/>
                    <a:pt x="166" y="163"/>
                    <a:pt x="171" y="161"/>
                  </a:cubicBezTo>
                  <a:cubicBezTo>
                    <a:pt x="177" y="159"/>
                    <a:pt x="181" y="159"/>
                    <a:pt x="185" y="159"/>
                  </a:cubicBezTo>
                  <a:cubicBezTo>
                    <a:pt x="188" y="160"/>
                    <a:pt x="197" y="160"/>
                    <a:pt x="197" y="160"/>
                  </a:cubicBezTo>
                  <a:cubicBezTo>
                    <a:pt x="197" y="160"/>
                    <a:pt x="193" y="154"/>
                    <a:pt x="195" y="152"/>
                  </a:cubicBezTo>
                  <a:cubicBezTo>
                    <a:pt x="198" y="151"/>
                    <a:pt x="202" y="150"/>
                    <a:pt x="200" y="148"/>
                  </a:cubicBezTo>
                  <a:cubicBezTo>
                    <a:pt x="200" y="148"/>
                    <a:pt x="199" y="147"/>
                    <a:pt x="198" y="146"/>
                  </a:cubicBezTo>
                  <a:cubicBezTo>
                    <a:pt x="191" y="149"/>
                    <a:pt x="185" y="151"/>
                    <a:pt x="183" y="151"/>
                  </a:cubicBezTo>
                  <a:close/>
                </a:path>
              </a:pathLst>
            </a:custGeom>
            <a:solidFill>
              <a:srgbClr val="FF0000"/>
            </a:solidFill>
            <a:ln w="6350">
              <a:solidFill>
                <a:schemeClr val="tx1"/>
              </a:solidFill>
              <a:headEnd type="none" w="med" len="med"/>
              <a:tailEnd type="none" w="med" len="med"/>
            </a:ln>
            <a:effectLst>
              <a:outerShdw blurRad="40000" dist="20000" sx="1000" sy="1000" rotWithShape="0">
                <a:srgbClr val="000000">
                  <a:alpha val="99000"/>
                </a:srgbClr>
              </a:outerShdw>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srgbClr val="44546A">
                    <a:lumMod val="50000"/>
                  </a:srgbClr>
                </a:solidFill>
                <a:latin typeface="Arial" pitchFamily="34" charset="0"/>
                <a:cs typeface="Arial" pitchFamily="34" charset="0"/>
              </a:endParaRPr>
            </a:p>
          </p:txBody>
        </p:sp>
        <p:sp>
          <p:nvSpPr>
            <p:cNvPr id="56" name="Freeform 1193"/>
            <p:cNvSpPr>
              <a:spLocks noChangeAspect="1"/>
            </p:cNvSpPr>
            <p:nvPr/>
          </p:nvSpPr>
          <p:spPr bwMode="auto">
            <a:xfrm>
              <a:off x="9410330" y="3312335"/>
              <a:ext cx="622642" cy="553541"/>
            </a:xfrm>
            <a:custGeom>
              <a:avLst/>
              <a:gdLst>
                <a:gd name="T0" fmla="*/ 1470481665 w 167"/>
                <a:gd name="T1" fmla="*/ 1168094961 h 198"/>
                <a:gd name="T2" fmla="*/ 1398751071 w 167"/>
                <a:gd name="T3" fmla="*/ 1131591487 h 198"/>
                <a:gd name="T4" fmla="*/ 1425649669 w 167"/>
                <a:gd name="T5" fmla="*/ 1058584538 h 198"/>
                <a:gd name="T6" fmla="*/ 1327020477 w 167"/>
                <a:gd name="T7" fmla="*/ 956377513 h 198"/>
                <a:gd name="T8" fmla="*/ 1201489692 w 167"/>
                <a:gd name="T9" fmla="*/ 927174733 h 198"/>
                <a:gd name="T10" fmla="*/ 1165625892 w 167"/>
                <a:gd name="T11" fmla="*/ 839566395 h 198"/>
                <a:gd name="T12" fmla="*/ 1174591094 w 167"/>
                <a:gd name="T13" fmla="*/ 700855896 h 198"/>
                <a:gd name="T14" fmla="*/ 1201489692 w 167"/>
                <a:gd name="T15" fmla="*/ 649751032 h 198"/>
                <a:gd name="T16" fmla="*/ 1183559289 w 167"/>
                <a:gd name="T17" fmla="*/ 635149642 h 198"/>
                <a:gd name="T18" fmla="*/ 1228391285 w 167"/>
                <a:gd name="T19" fmla="*/ 357728643 h 198"/>
                <a:gd name="T20" fmla="*/ 1353919075 w 167"/>
                <a:gd name="T21" fmla="*/ 226318838 h 198"/>
                <a:gd name="T22" fmla="*/ 1452548267 w 167"/>
                <a:gd name="T23" fmla="*/ 80307643 h 198"/>
                <a:gd name="T24" fmla="*/ 1344950880 w 167"/>
                <a:gd name="T25" fmla="*/ 43804169 h 198"/>
                <a:gd name="T26" fmla="*/ 1344950880 w 167"/>
                <a:gd name="T27" fmla="*/ 7300695 h 198"/>
                <a:gd name="T28" fmla="*/ 1300121879 w 167"/>
                <a:gd name="T29" fmla="*/ 0 h 198"/>
                <a:gd name="T30" fmla="*/ 1309087080 w 167"/>
                <a:gd name="T31" fmla="*/ 14601390 h 198"/>
                <a:gd name="T32" fmla="*/ 1201489692 w 167"/>
                <a:gd name="T33" fmla="*/ 7300695 h 198"/>
                <a:gd name="T34" fmla="*/ 1075961901 w 167"/>
                <a:gd name="T35" fmla="*/ 21902084 h 198"/>
                <a:gd name="T36" fmla="*/ 1049063303 w 167"/>
                <a:gd name="T37" fmla="*/ 138710500 h 198"/>
                <a:gd name="T38" fmla="*/ 923532518 w 167"/>
                <a:gd name="T39" fmla="*/ 160612584 h 198"/>
                <a:gd name="T40" fmla="*/ 932500714 w 167"/>
                <a:gd name="T41" fmla="*/ 262822312 h 198"/>
                <a:gd name="T42" fmla="*/ 815938125 w 167"/>
                <a:gd name="T43" fmla="*/ 219018143 h 198"/>
                <a:gd name="T44" fmla="*/ 780071330 w 167"/>
                <a:gd name="T45" fmla="*/ 262822312 h 198"/>
                <a:gd name="T46" fmla="*/ 717308932 w 167"/>
                <a:gd name="T47" fmla="*/ 270123007 h 198"/>
                <a:gd name="T48" fmla="*/ 645578339 w 167"/>
                <a:gd name="T49" fmla="*/ 343127253 h 198"/>
                <a:gd name="T50" fmla="*/ 564879549 w 167"/>
                <a:gd name="T51" fmla="*/ 284721694 h 198"/>
                <a:gd name="T52" fmla="*/ 475215558 w 167"/>
                <a:gd name="T53" fmla="*/ 292022389 h 198"/>
                <a:gd name="T54" fmla="*/ 322789169 w 167"/>
                <a:gd name="T55" fmla="*/ 445336981 h 198"/>
                <a:gd name="T56" fmla="*/ 125527791 w 167"/>
                <a:gd name="T57" fmla="*/ 248220922 h 198"/>
                <a:gd name="T58" fmla="*/ 17933397 w 167"/>
                <a:gd name="T59" fmla="*/ 277421000 h 198"/>
                <a:gd name="T60" fmla="*/ 8965201 w 167"/>
                <a:gd name="T61" fmla="*/ 277421000 h 198"/>
                <a:gd name="T62" fmla="*/ 0 w 167"/>
                <a:gd name="T63" fmla="*/ 350427948 h 198"/>
                <a:gd name="T64" fmla="*/ 125527791 w 167"/>
                <a:gd name="T65" fmla="*/ 423434896 h 198"/>
                <a:gd name="T66" fmla="*/ 89663991 w 167"/>
                <a:gd name="T67" fmla="*/ 518341227 h 198"/>
                <a:gd name="T68" fmla="*/ 197258384 w 167"/>
                <a:gd name="T69" fmla="*/ 554844701 h 198"/>
                <a:gd name="T70" fmla="*/ 313820974 w 167"/>
                <a:gd name="T71" fmla="*/ 489138448 h 198"/>
                <a:gd name="T72" fmla="*/ 457285156 w 167"/>
                <a:gd name="T73" fmla="*/ 642450337 h 198"/>
                <a:gd name="T74" fmla="*/ 439351759 w 167"/>
                <a:gd name="T75" fmla="*/ 781163539 h 198"/>
                <a:gd name="T76" fmla="*/ 537980951 w 167"/>
                <a:gd name="T77" fmla="*/ 876069870 h 198"/>
                <a:gd name="T78" fmla="*/ 546946152 w 167"/>
                <a:gd name="T79" fmla="*/ 963678208 h 198"/>
                <a:gd name="T80" fmla="*/ 681442138 w 167"/>
                <a:gd name="T81" fmla="*/ 1080486623 h 198"/>
                <a:gd name="T82" fmla="*/ 582812946 w 167"/>
                <a:gd name="T83" fmla="*/ 1175392954 h 198"/>
                <a:gd name="T84" fmla="*/ 699375535 w 167"/>
                <a:gd name="T85" fmla="*/ 1284903376 h 198"/>
                <a:gd name="T86" fmla="*/ 780071330 w 167"/>
                <a:gd name="T87" fmla="*/ 1277602681 h 198"/>
                <a:gd name="T88" fmla="*/ 789039526 w 167"/>
                <a:gd name="T89" fmla="*/ 1168094961 h 198"/>
                <a:gd name="T90" fmla="*/ 941465915 w 167"/>
                <a:gd name="T91" fmla="*/ 1219197123 h 198"/>
                <a:gd name="T92" fmla="*/ 1075961901 w 167"/>
                <a:gd name="T93" fmla="*/ 1116990097 h 198"/>
                <a:gd name="T94" fmla="*/ 1192524491 w 167"/>
                <a:gd name="T95" fmla="*/ 1182693648 h 198"/>
                <a:gd name="T96" fmla="*/ 1093895298 w 167"/>
                <a:gd name="T97" fmla="*/ 1328707545 h 198"/>
                <a:gd name="T98" fmla="*/ 1129759098 w 167"/>
                <a:gd name="T99" fmla="*/ 1445515960 h 198"/>
                <a:gd name="T100" fmla="*/ 1237356486 w 167"/>
                <a:gd name="T101" fmla="*/ 1394411097 h 198"/>
                <a:gd name="T102" fmla="*/ 1300121879 w 167"/>
                <a:gd name="T103" fmla="*/ 1416313181 h 198"/>
                <a:gd name="T104" fmla="*/ 1291153683 w 167"/>
                <a:gd name="T105" fmla="*/ 1343308935 h 198"/>
                <a:gd name="T106" fmla="*/ 1398751071 w 167"/>
                <a:gd name="T107" fmla="*/ 1365208317 h 198"/>
                <a:gd name="T108" fmla="*/ 1416684468 w 167"/>
                <a:gd name="T109" fmla="*/ 1299504766 h 198"/>
                <a:gd name="T110" fmla="*/ 1488415062 w 167"/>
                <a:gd name="T111" fmla="*/ 1255700597 h 198"/>
                <a:gd name="T112" fmla="*/ 1470481665 w 167"/>
                <a:gd name="T113" fmla="*/ 1168094961 h 1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67" h="198">
                  <a:moveTo>
                    <a:pt x="164" y="160"/>
                  </a:moveTo>
                  <a:cubicBezTo>
                    <a:pt x="164" y="160"/>
                    <a:pt x="156" y="157"/>
                    <a:pt x="156" y="155"/>
                  </a:cubicBezTo>
                  <a:cubicBezTo>
                    <a:pt x="156" y="154"/>
                    <a:pt x="160" y="146"/>
                    <a:pt x="159" y="145"/>
                  </a:cubicBezTo>
                  <a:cubicBezTo>
                    <a:pt x="158" y="144"/>
                    <a:pt x="151" y="135"/>
                    <a:pt x="148" y="131"/>
                  </a:cubicBezTo>
                  <a:cubicBezTo>
                    <a:pt x="143" y="130"/>
                    <a:pt x="136" y="129"/>
                    <a:pt x="134" y="127"/>
                  </a:cubicBezTo>
                  <a:cubicBezTo>
                    <a:pt x="130" y="124"/>
                    <a:pt x="130" y="115"/>
                    <a:pt x="130" y="115"/>
                  </a:cubicBezTo>
                  <a:cubicBezTo>
                    <a:pt x="130" y="114"/>
                    <a:pt x="132" y="101"/>
                    <a:pt x="131" y="96"/>
                  </a:cubicBezTo>
                  <a:cubicBezTo>
                    <a:pt x="131" y="94"/>
                    <a:pt x="132" y="91"/>
                    <a:pt x="134" y="89"/>
                  </a:cubicBezTo>
                  <a:cubicBezTo>
                    <a:pt x="133" y="88"/>
                    <a:pt x="132" y="88"/>
                    <a:pt x="132" y="87"/>
                  </a:cubicBezTo>
                  <a:cubicBezTo>
                    <a:pt x="133" y="85"/>
                    <a:pt x="133" y="61"/>
                    <a:pt x="137" y="49"/>
                  </a:cubicBezTo>
                  <a:cubicBezTo>
                    <a:pt x="142" y="38"/>
                    <a:pt x="144" y="38"/>
                    <a:pt x="151" y="31"/>
                  </a:cubicBezTo>
                  <a:cubicBezTo>
                    <a:pt x="158" y="24"/>
                    <a:pt x="162" y="13"/>
                    <a:pt x="162" y="11"/>
                  </a:cubicBezTo>
                  <a:cubicBezTo>
                    <a:pt x="163" y="9"/>
                    <a:pt x="151" y="11"/>
                    <a:pt x="150" y="6"/>
                  </a:cubicBezTo>
                  <a:cubicBezTo>
                    <a:pt x="150" y="4"/>
                    <a:pt x="150" y="3"/>
                    <a:pt x="150" y="1"/>
                  </a:cubicBezTo>
                  <a:cubicBezTo>
                    <a:pt x="149" y="1"/>
                    <a:pt x="147" y="0"/>
                    <a:pt x="145" y="0"/>
                  </a:cubicBezTo>
                  <a:cubicBezTo>
                    <a:pt x="146" y="1"/>
                    <a:pt x="146" y="2"/>
                    <a:pt x="146" y="2"/>
                  </a:cubicBezTo>
                  <a:cubicBezTo>
                    <a:pt x="146" y="2"/>
                    <a:pt x="137" y="2"/>
                    <a:pt x="134" y="1"/>
                  </a:cubicBezTo>
                  <a:cubicBezTo>
                    <a:pt x="130" y="1"/>
                    <a:pt x="126" y="1"/>
                    <a:pt x="120" y="3"/>
                  </a:cubicBezTo>
                  <a:cubicBezTo>
                    <a:pt x="115" y="5"/>
                    <a:pt x="119" y="15"/>
                    <a:pt x="117" y="19"/>
                  </a:cubicBezTo>
                  <a:cubicBezTo>
                    <a:pt x="115" y="22"/>
                    <a:pt x="105" y="19"/>
                    <a:pt x="103" y="22"/>
                  </a:cubicBezTo>
                  <a:cubicBezTo>
                    <a:pt x="100" y="24"/>
                    <a:pt x="103" y="32"/>
                    <a:pt x="104" y="36"/>
                  </a:cubicBezTo>
                  <a:cubicBezTo>
                    <a:pt x="104" y="40"/>
                    <a:pt x="97" y="31"/>
                    <a:pt x="91" y="30"/>
                  </a:cubicBezTo>
                  <a:cubicBezTo>
                    <a:pt x="86" y="30"/>
                    <a:pt x="87" y="36"/>
                    <a:pt x="87" y="36"/>
                  </a:cubicBezTo>
                  <a:cubicBezTo>
                    <a:pt x="87" y="36"/>
                    <a:pt x="81" y="36"/>
                    <a:pt x="80" y="37"/>
                  </a:cubicBezTo>
                  <a:cubicBezTo>
                    <a:pt x="79" y="37"/>
                    <a:pt x="76" y="45"/>
                    <a:pt x="72" y="47"/>
                  </a:cubicBezTo>
                  <a:cubicBezTo>
                    <a:pt x="68" y="49"/>
                    <a:pt x="64" y="40"/>
                    <a:pt x="63" y="39"/>
                  </a:cubicBezTo>
                  <a:cubicBezTo>
                    <a:pt x="62" y="39"/>
                    <a:pt x="58" y="40"/>
                    <a:pt x="53" y="40"/>
                  </a:cubicBezTo>
                  <a:cubicBezTo>
                    <a:pt x="47" y="39"/>
                    <a:pt x="41" y="56"/>
                    <a:pt x="36" y="61"/>
                  </a:cubicBezTo>
                  <a:cubicBezTo>
                    <a:pt x="32" y="66"/>
                    <a:pt x="17" y="37"/>
                    <a:pt x="14" y="34"/>
                  </a:cubicBezTo>
                  <a:cubicBezTo>
                    <a:pt x="12" y="31"/>
                    <a:pt x="8" y="37"/>
                    <a:pt x="2" y="38"/>
                  </a:cubicBezTo>
                  <a:cubicBezTo>
                    <a:pt x="2" y="38"/>
                    <a:pt x="1" y="38"/>
                    <a:pt x="1" y="38"/>
                  </a:cubicBezTo>
                  <a:cubicBezTo>
                    <a:pt x="0" y="43"/>
                    <a:pt x="0" y="48"/>
                    <a:pt x="0" y="48"/>
                  </a:cubicBezTo>
                  <a:cubicBezTo>
                    <a:pt x="0" y="48"/>
                    <a:pt x="14" y="58"/>
                    <a:pt x="14" y="58"/>
                  </a:cubicBezTo>
                  <a:cubicBezTo>
                    <a:pt x="14" y="58"/>
                    <a:pt x="9" y="70"/>
                    <a:pt x="10" y="71"/>
                  </a:cubicBezTo>
                  <a:cubicBezTo>
                    <a:pt x="11" y="72"/>
                    <a:pt x="20" y="77"/>
                    <a:pt x="22" y="76"/>
                  </a:cubicBezTo>
                  <a:cubicBezTo>
                    <a:pt x="25" y="75"/>
                    <a:pt x="33" y="67"/>
                    <a:pt x="35" y="67"/>
                  </a:cubicBezTo>
                  <a:cubicBezTo>
                    <a:pt x="37" y="67"/>
                    <a:pt x="52" y="87"/>
                    <a:pt x="51" y="88"/>
                  </a:cubicBezTo>
                  <a:cubicBezTo>
                    <a:pt x="50" y="90"/>
                    <a:pt x="48" y="105"/>
                    <a:pt x="49" y="107"/>
                  </a:cubicBezTo>
                  <a:cubicBezTo>
                    <a:pt x="50" y="110"/>
                    <a:pt x="60" y="118"/>
                    <a:pt x="60" y="120"/>
                  </a:cubicBezTo>
                  <a:cubicBezTo>
                    <a:pt x="60" y="123"/>
                    <a:pt x="58" y="130"/>
                    <a:pt x="61" y="132"/>
                  </a:cubicBezTo>
                  <a:cubicBezTo>
                    <a:pt x="63" y="133"/>
                    <a:pt x="78" y="146"/>
                    <a:pt x="76" y="148"/>
                  </a:cubicBezTo>
                  <a:cubicBezTo>
                    <a:pt x="74" y="149"/>
                    <a:pt x="64" y="161"/>
                    <a:pt x="65" y="161"/>
                  </a:cubicBezTo>
                  <a:cubicBezTo>
                    <a:pt x="66" y="162"/>
                    <a:pt x="77" y="175"/>
                    <a:pt x="78" y="176"/>
                  </a:cubicBezTo>
                  <a:cubicBezTo>
                    <a:pt x="79" y="177"/>
                    <a:pt x="84" y="177"/>
                    <a:pt x="87" y="175"/>
                  </a:cubicBezTo>
                  <a:cubicBezTo>
                    <a:pt x="89" y="173"/>
                    <a:pt x="84" y="159"/>
                    <a:pt x="88" y="160"/>
                  </a:cubicBezTo>
                  <a:cubicBezTo>
                    <a:pt x="93" y="161"/>
                    <a:pt x="103" y="167"/>
                    <a:pt x="105" y="167"/>
                  </a:cubicBezTo>
                  <a:cubicBezTo>
                    <a:pt x="107" y="166"/>
                    <a:pt x="115" y="154"/>
                    <a:pt x="120" y="153"/>
                  </a:cubicBezTo>
                  <a:cubicBezTo>
                    <a:pt x="124" y="153"/>
                    <a:pt x="133" y="157"/>
                    <a:pt x="133" y="162"/>
                  </a:cubicBezTo>
                  <a:cubicBezTo>
                    <a:pt x="133" y="167"/>
                    <a:pt x="122" y="182"/>
                    <a:pt x="122" y="182"/>
                  </a:cubicBezTo>
                  <a:cubicBezTo>
                    <a:pt x="122" y="182"/>
                    <a:pt x="125" y="198"/>
                    <a:pt x="126" y="198"/>
                  </a:cubicBezTo>
                  <a:cubicBezTo>
                    <a:pt x="128" y="198"/>
                    <a:pt x="134" y="190"/>
                    <a:pt x="138" y="191"/>
                  </a:cubicBezTo>
                  <a:cubicBezTo>
                    <a:pt x="141" y="191"/>
                    <a:pt x="145" y="194"/>
                    <a:pt x="145" y="194"/>
                  </a:cubicBezTo>
                  <a:cubicBezTo>
                    <a:pt x="145" y="194"/>
                    <a:pt x="138" y="183"/>
                    <a:pt x="144" y="184"/>
                  </a:cubicBezTo>
                  <a:cubicBezTo>
                    <a:pt x="151" y="184"/>
                    <a:pt x="156" y="189"/>
                    <a:pt x="156" y="187"/>
                  </a:cubicBezTo>
                  <a:cubicBezTo>
                    <a:pt x="155" y="185"/>
                    <a:pt x="154" y="178"/>
                    <a:pt x="158" y="178"/>
                  </a:cubicBezTo>
                  <a:cubicBezTo>
                    <a:pt x="162" y="178"/>
                    <a:pt x="167" y="176"/>
                    <a:pt x="166" y="172"/>
                  </a:cubicBezTo>
                  <a:cubicBezTo>
                    <a:pt x="164" y="168"/>
                    <a:pt x="164" y="160"/>
                    <a:pt x="164" y="160"/>
                  </a:cubicBezTo>
                  <a:close/>
                </a:path>
              </a:pathLst>
            </a:custGeom>
            <a:solidFill>
              <a:srgbClr val="FF0000"/>
            </a:solidFill>
            <a:ln w="6350" cap="flat" cmpd="sng">
              <a:solidFill>
                <a:schemeClr val="tx1"/>
              </a:solidFill>
              <a:prstDash val="solid"/>
              <a:round/>
              <a:headEnd type="none" w="med" len="med"/>
              <a:tailEnd type="none" w="med" len="med"/>
            </a:ln>
          </p:spPr>
          <p:txBody>
            <a:bodyPr/>
            <a:lstStyle/>
            <a:p>
              <a:pPr algn="ctr" defTabSz="761909"/>
              <a:endParaRPr lang="en-US" sz="347" dirty="0">
                <a:solidFill>
                  <a:prstClr val="white">
                    <a:lumMod val="85000"/>
                  </a:prstClr>
                </a:solidFill>
                <a:latin typeface="Arial" pitchFamily="34" charset="0"/>
                <a:cs typeface="Arial" pitchFamily="34" charset="0"/>
              </a:endParaRPr>
            </a:p>
          </p:txBody>
        </p:sp>
        <p:sp>
          <p:nvSpPr>
            <p:cNvPr id="57" name="Freeform 1203"/>
            <p:cNvSpPr>
              <a:spLocks noChangeAspect="1"/>
            </p:cNvSpPr>
            <p:nvPr/>
          </p:nvSpPr>
          <p:spPr bwMode="auto">
            <a:xfrm>
              <a:off x="9078217" y="5463140"/>
              <a:ext cx="1061452" cy="1282834"/>
            </a:xfrm>
            <a:custGeom>
              <a:avLst/>
              <a:gdLst>
                <a:gd name="T0" fmla="*/ 112 w 285"/>
                <a:gd name="T1" fmla="*/ 414 h 459"/>
                <a:gd name="T2" fmla="*/ 126 w 285"/>
                <a:gd name="T3" fmla="*/ 426 h 459"/>
                <a:gd name="T4" fmla="*/ 138 w 285"/>
                <a:gd name="T5" fmla="*/ 430 h 459"/>
                <a:gd name="T6" fmla="*/ 160 w 285"/>
                <a:gd name="T7" fmla="*/ 455 h 459"/>
                <a:gd name="T8" fmla="*/ 178 w 285"/>
                <a:gd name="T9" fmla="*/ 439 h 459"/>
                <a:gd name="T10" fmla="*/ 214 w 285"/>
                <a:gd name="T11" fmla="*/ 443 h 459"/>
                <a:gd name="T12" fmla="*/ 229 w 285"/>
                <a:gd name="T13" fmla="*/ 424 h 459"/>
                <a:gd name="T14" fmla="*/ 221 w 285"/>
                <a:gd name="T15" fmla="*/ 406 h 459"/>
                <a:gd name="T16" fmla="*/ 246 w 285"/>
                <a:gd name="T17" fmla="*/ 377 h 459"/>
                <a:gd name="T18" fmla="*/ 268 w 285"/>
                <a:gd name="T19" fmla="*/ 374 h 459"/>
                <a:gd name="T20" fmla="*/ 282 w 285"/>
                <a:gd name="T21" fmla="*/ 350 h 459"/>
                <a:gd name="T22" fmla="*/ 279 w 285"/>
                <a:gd name="T23" fmla="*/ 336 h 459"/>
                <a:gd name="T24" fmla="*/ 261 w 285"/>
                <a:gd name="T25" fmla="*/ 334 h 459"/>
                <a:gd name="T26" fmla="*/ 261 w 285"/>
                <a:gd name="T27" fmla="*/ 320 h 459"/>
                <a:gd name="T28" fmla="*/ 236 w 285"/>
                <a:gd name="T29" fmla="*/ 330 h 459"/>
                <a:gd name="T30" fmla="*/ 222 w 285"/>
                <a:gd name="T31" fmla="*/ 332 h 459"/>
                <a:gd name="T32" fmla="*/ 197 w 285"/>
                <a:gd name="T33" fmla="*/ 331 h 459"/>
                <a:gd name="T34" fmla="*/ 194 w 285"/>
                <a:gd name="T35" fmla="*/ 311 h 459"/>
                <a:gd name="T36" fmla="*/ 192 w 285"/>
                <a:gd name="T37" fmla="*/ 294 h 459"/>
                <a:gd name="T38" fmla="*/ 226 w 285"/>
                <a:gd name="T39" fmla="*/ 302 h 459"/>
                <a:gd name="T40" fmla="*/ 190 w 285"/>
                <a:gd name="T41" fmla="*/ 286 h 459"/>
                <a:gd name="T42" fmla="*/ 180 w 285"/>
                <a:gd name="T43" fmla="*/ 241 h 459"/>
                <a:gd name="T44" fmla="*/ 186 w 285"/>
                <a:gd name="T45" fmla="*/ 231 h 459"/>
                <a:gd name="T46" fmla="*/ 200 w 285"/>
                <a:gd name="T47" fmla="*/ 215 h 459"/>
                <a:gd name="T48" fmla="*/ 199 w 285"/>
                <a:gd name="T49" fmla="*/ 193 h 459"/>
                <a:gd name="T50" fmla="*/ 215 w 285"/>
                <a:gd name="T51" fmla="*/ 179 h 459"/>
                <a:gd name="T52" fmla="*/ 231 w 285"/>
                <a:gd name="T53" fmla="*/ 163 h 459"/>
                <a:gd name="T54" fmla="*/ 220 w 285"/>
                <a:gd name="T55" fmla="*/ 144 h 459"/>
                <a:gd name="T56" fmla="*/ 224 w 285"/>
                <a:gd name="T57" fmla="*/ 118 h 459"/>
                <a:gd name="T58" fmla="*/ 231 w 285"/>
                <a:gd name="T59" fmla="*/ 88 h 459"/>
                <a:gd name="T60" fmla="*/ 236 w 285"/>
                <a:gd name="T61" fmla="*/ 57 h 459"/>
                <a:gd name="T62" fmla="*/ 243 w 285"/>
                <a:gd name="T63" fmla="*/ 40 h 459"/>
                <a:gd name="T64" fmla="*/ 246 w 285"/>
                <a:gd name="T65" fmla="*/ 22 h 459"/>
                <a:gd name="T66" fmla="*/ 230 w 285"/>
                <a:gd name="T67" fmla="*/ 17 h 459"/>
                <a:gd name="T68" fmla="*/ 214 w 285"/>
                <a:gd name="T69" fmla="*/ 22 h 459"/>
                <a:gd name="T70" fmla="*/ 199 w 285"/>
                <a:gd name="T71" fmla="*/ 52 h 459"/>
                <a:gd name="T72" fmla="*/ 166 w 285"/>
                <a:gd name="T73" fmla="*/ 52 h 459"/>
                <a:gd name="T74" fmla="*/ 159 w 285"/>
                <a:gd name="T75" fmla="*/ 81 h 459"/>
                <a:gd name="T76" fmla="*/ 114 w 285"/>
                <a:gd name="T77" fmla="*/ 73 h 459"/>
                <a:gd name="T78" fmla="*/ 92 w 285"/>
                <a:gd name="T79" fmla="*/ 116 h 459"/>
                <a:gd name="T80" fmla="*/ 56 w 285"/>
                <a:gd name="T81" fmla="*/ 127 h 459"/>
                <a:gd name="T82" fmla="*/ 45 w 285"/>
                <a:gd name="T83" fmla="*/ 152 h 459"/>
                <a:gd name="T84" fmla="*/ 41 w 285"/>
                <a:gd name="T85" fmla="*/ 177 h 459"/>
                <a:gd name="T86" fmla="*/ 26 w 285"/>
                <a:gd name="T87" fmla="*/ 178 h 459"/>
                <a:gd name="T88" fmla="*/ 36 w 285"/>
                <a:gd name="T89" fmla="*/ 207 h 459"/>
                <a:gd name="T90" fmla="*/ 0 w 285"/>
                <a:gd name="T91" fmla="*/ 243 h 459"/>
                <a:gd name="T92" fmla="*/ 9 w 285"/>
                <a:gd name="T93" fmla="*/ 253 h 459"/>
                <a:gd name="T94" fmla="*/ 14 w 285"/>
                <a:gd name="T95" fmla="*/ 267 h 459"/>
                <a:gd name="T96" fmla="*/ 20 w 285"/>
                <a:gd name="T97" fmla="*/ 292 h 459"/>
                <a:gd name="T98" fmla="*/ 30 w 285"/>
                <a:gd name="T99" fmla="*/ 334 h 459"/>
                <a:gd name="T100" fmla="*/ 39 w 285"/>
                <a:gd name="T101" fmla="*/ 376 h 459"/>
                <a:gd name="T102" fmla="*/ 102 w 285"/>
                <a:gd name="T103" fmla="*/ 41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5" h="459">
                  <a:moveTo>
                    <a:pt x="102" y="415"/>
                  </a:moveTo>
                  <a:cubicBezTo>
                    <a:pt x="105" y="415"/>
                    <a:pt x="109" y="410"/>
                    <a:pt x="112" y="414"/>
                  </a:cubicBezTo>
                  <a:cubicBezTo>
                    <a:pt x="115" y="417"/>
                    <a:pt x="111" y="425"/>
                    <a:pt x="117" y="426"/>
                  </a:cubicBezTo>
                  <a:cubicBezTo>
                    <a:pt x="123" y="428"/>
                    <a:pt x="125" y="426"/>
                    <a:pt x="126" y="426"/>
                  </a:cubicBezTo>
                  <a:cubicBezTo>
                    <a:pt x="128" y="427"/>
                    <a:pt x="129" y="431"/>
                    <a:pt x="131" y="431"/>
                  </a:cubicBezTo>
                  <a:cubicBezTo>
                    <a:pt x="134" y="431"/>
                    <a:pt x="137" y="430"/>
                    <a:pt x="138" y="430"/>
                  </a:cubicBezTo>
                  <a:cubicBezTo>
                    <a:pt x="139" y="430"/>
                    <a:pt x="139" y="437"/>
                    <a:pt x="145" y="442"/>
                  </a:cubicBezTo>
                  <a:cubicBezTo>
                    <a:pt x="150" y="446"/>
                    <a:pt x="151" y="454"/>
                    <a:pt x="160" y="455"/>
                  </a:cubicBezTo>
                  <a:cubicBezTo>
                    <a:pt x="169" y="457"/>
                    <a:pt x="179" y="459"/>
                    <a:pt x="178" y="459"/>
                  </a:cubicBezTo>
                  <a:cubicBezTo>
                    <a:pt x="178" y="458"/>
                    <a:pt x="167" y="441"/>
                    <a:pt x="178" y="439"/>
                  </a:cubicBezTo>
                  <a:cubicBezTo>
                    <a:pt x="190" y="437"/>
                    <a:pt x="196" y="435"/>
                    <a:pt x="197" y="435"/>
                  </a:cubicBezTo>
                  <a:cubicBezTo>
                    <a:pt x="198" y="436"/>
                    <a:pt x="213" y="446"/>
                    <a:pt x="214" y="443"/>
                  </a:cubicBezTo>
                  <a:cubicBezTo>
                    <a:pt x="215" y="441"/>
                    <a:pt x="215" y="430"/>
                    <a:pt x="218" y="429"/>
                  </a:cubicBezTo>
                  <a:cubicBezTo>
                    <a:pt x="222" y="428"/>
                    <a:pt x="230" y="425"/>
                    <a:pt x="229" y="424"/>
                  </a:cubicBezTo>
                  <a:cubicBezTo>
                    <a:pt x="228" y="423"/>
                    <a:pt x="212" y="413"/>
                    <a:pt x="214" y="412"/>
                  </a:cubicBezTo>
                  <a:cubicBezTo>
                    <a:pt x="216" y="411"/>
                    <a:pt x="221" y="407"/>
                    <a:pt x="221" y="406"/>
                  </a:cubicBezTo>
                  <a:cubicBezTo>
                    <a:pt x="221" y="404"/>
                    <a:pt x="220" y="397"/>
                    <a:pt x="220" y="397"/>
                  </a:cubicBezTo>
                  <a:cubicBezTo>
                    <a:pt x="221" y="397"/>
                    <a:pt x="245" y="376"/>
                    <a:pt x="246" y="377"/>
                  </a:cubicBezTo>
                  <a:cubicBezTo>
                    <a:pt x="246" y="378"/>
                    <a:pt x="266" y="402"/>
                    <a:pt x="272" y="395"/>
                  </a:cubicBezTo>
                  <a:cubicBezTo>
                    <a:pt x="277" y="389"/>
                    <a:pt x="266" y="376"/>
                    <a:pt x="268" y="374"/>
                  </a:cubicBezTo>
                  <a:cubicBezTo>
                    <a:pt x="271" y="373"/>
                    <a:pt x="285" y="363"/>
                    <a:pt x="284" y="361"/>
                  </a:cubicBezTo>
                  <a:cubicBezTo>
                    <a:pt x="283" y="359"/>
                    <a:pt x="283" y="351"/>
                    <a:pt x="282" y="350"/>
                  </a:cubicBezTo>
                  <a:cubicBezTo>
                    <a:pt x="280" y="349"/>
                    <a:pt x="272" y="346"/>
                    <a:pt x="273" y="345"/>
                  </a:cubicBezTo>
                  <a:cubicBezTo>
                    <a:pt x="274" y="344"/>
                    <a:pt x="279" y="336"/>
                    <a:pt x="279" y="336"/>
                  </a:cubicBezTo>
                  <a:cubicBezTo>
                    <a:pt x="279" y="336"/>
                    <a:pt x="277" y="328"/>
                    <a:pt x="276" y="329"/>
                  </a:cubicBezTo>
                  <a:cubicBezTo>
                    <a:pt x="275" y="331"/>
                    <a:pt x="262" y="336"/>
                    <a:pt x="261" y="334"/>
                  </a:cubicBezTo>
                  <a:cubicBezTo>
                    <a:pt x="261" y="332"/>
                    <a:pt x="254" y="329"/>
                    <a:pt x="256" y="327"/>
                  </a:cubicBezTo>
                  <a:cubicBezTo>
                    <a:pt x="258" y="324"/>
                    <a:pt x="261" y="320"/>
                    <a:pt x="261" y="320"/>
                  </a:cubicBezTo>
                  <a:cubicBezTo>
                    <a:pt x="260" y="319"/>
                    <a:pt x="243" y="318"/>
                    <a:pt x="242" y="318"/>
                  </a:cubicBezTo>
                  <a:cubicBezTo>
                    <a:pt x="242" y="319"/>
                    <a:pt x="236" y="330"/>
                    <a:pt x="236" y="330"/>
                  </a:cubicBezTo>
                  <a:cubicBezTo>
                    <a:pt x="236" y="330"/>
                    <a:pt x="235" y="323"/>
                    <a:pt x="233" y="325"/>
                  </a:cubicBezTo>
                  <a:cubicBezTo>
                    <a:pt x="230" y="327"/>
                    <a:pt x="223" y="333"/>
                    <a:pt x="222" y="332"/>
                  </a:cubicBezTo>
                  <a:cubicBezTo>
                    <a:pt x="221" y="331"/>
                    <a:pt x="206" y="317"/>
                    <a:pt x="206" y="318"/>
                  </a:cubicBezTo>
                  <a:cubicBezTo>
                    <a:pt x="205" y="319"/>
                    <a:pt x="200" y="331"/>
                    <a:pt x="197" y="331"/>
                  </a:cubicBezTo>
                  <a:cubicBezTo>
                    <a:pt x="194" y="331"/>
                    <a:pt x="182" y="329"/>
                    <a:pt x="184" y="325"/>
                  </a:cubicBezTo>
                  <a:cubicBezTo>
                    <a:pt x="185" y="322"/>
                    <a:pt x="196" y="317"/>
                    <a:pt x="194" y="311"/>
                  </a:cubicBezTo>
                  <a:cubicBezTo>
                    <a:pt x="193" y="305"/>
                    <a:pt x="187" y="300"/>
                    <a:pt x="188" y="299"/>
                  </a:cubicBezTo>
                  <a:cubicBezTo>
                    <a:pt x="188" y="299"/>
                    <a:pt x="190" y="291"/>
                    <a:pt x="192" y="294"/>
                  </a:cubicBezTo>
                  <a:cubicBezTo>
                    <a:pt x="194" y="297"/>
                    <a:pt x="212" y="315"/>
                    <a:pt x="216" y="312"/>
                  </a:cubicBezTo>
                  <a:cubicBezTo>
                    <a:pt x="220" y="309"/>
                    <a:pt x="226" y="302"/>
                    <a:pt x="226" y="302"/>
                  </a:cubicBezTo>
                  <a:cubicBezTo>
                    <a:pt x="225" y="301"/>
                    <a:pt x="213" y="280"/>
                    <a:pt x="207" y="280"/>
                  </a:cubicBezTo>
                  <a:cubicBezTo>
                    <a:pt x="201" y="281"/>
                    <a:pt x="193" y="292"/>
                    <a:pt x="190" y="286"/>
                  </a:cubicBezTo>
                  <a:cubicBezTo>
                    <a:pt x="187" y="281"/>
                    <a:pt x="173" y="271"/>
                    <a:pt x="176" y="256"/>
                  </a:cubicBezTo>
                  <a:cubicBezTo>
                    <a:pt x="180" y="242"/>
                    <a:pt x="183" y="243"/>
                    <a:pt x="180" y="241"/>
                  </a:cubicBezTo>
                  <a:cubicBezTo>
                    <a:pt x="178" y="239"/>
                    <a:pt x="170" y="235"/>
                    <a:pt x="173" y="234"/>
                  </a:cubicBezTo>
                  <a:cubicBezTo>
                    <a:pt x="175" y="234"/>
                    <a:pt x="182" y="229"/>
                    <a:pt x="186" y="231"/>
                  </a:cubicBezTo>
                  <a:cubicBezTo>
                    <a:pt x="189" y="234"/>
                    <a:pt x="201" y="240"/>
                    <a:pt x="200" y="234"/>
                  </a:cubicBezTo>
                  <a:cubicBezTo>
                    <a:pt x="199" y="228"/>
                    <a:pt x="200" y="215"/>
                    <a:pt x="200" y="215"/>
                  </a:cubicBezTo>
                  <a:cubicBezTo>
                    <a:pt x="200" y="216"/>
                    <a:pt x="189" y="210"/>
                    <a:pt x="189" y="210"/>
                  </a:cubicBezTo>
                  <a:cubicBezTo>
                    <a:pt x="189" y="210"/>
                    <a:pt x="200" y="198"/>
                    <a:pt x="199" y="193"/>
                  </a:cubicBezTo>
                  <a:cubicBezTo>
                    <a:pt x="198" y="189"/>
                    <a:pt x="190" y="178"/>
                    <a:pt x="194" y="178"/>
                  </a:cubicBezTo>
                  <a:cubicBezTo>
                    <a:pt x="199" y="178"/>
                    <a:pt x="212" y="179"/>
                    <a:pt x="215" y="179"/>
                  </a:cubicBezTo>
                  <a:cubicBezTo>
                    <a:pt x="218" y="178"/>
                    <a:pt x="235" y="181"/>
                    <a:pt x="235" y="178"/>
                  </a:cubicBezTo>
                  <a:cubicBezTo>
                    <a:pt x="235" y="175"/>
                    <a:pt x="228" y="166"/>
                    <a:pt x="231" y="163"/>
                  </a:cubicBezTo>
                  <a:cubicBezTo>
                    <a:pt x="234" y="160"/>
                    <a:pt x="236" y="150"/>
                    <a:pt x="236" y="150"/>
                  </a:cubicBezTo>
                  <a:cubicBezTo>
                    <a:pt x="236" y="150"/>
                    <a:pt x="216" y="152"/>
                    <a:pt x="220" y="144"/>
                  </a:cubicBezTo>
                  <a:cubicBezTo>
                    <a:pt x="224" y="137"/>
                    <a:pt x="233" y="129"/>
                    <a:pt x="232" y="128"/>
                  </a:cubicBezTo>
                  <a:cubicBezTo>
                    <a:pt x="230" y="127"/>
                    <a:pt x="221" y="124"/>
                    <a:pt x="224" y="118"/>
                  </a:cubicBezTo>
                  <a:cubicBezTo>
                    <a:pt x="227" y="113"/>
                    <a:pt x="242" y="103"/>
                    <a:pt x="240" y="99"/>
                  </a:cubicBezTo>
                  <a:cubicBezTo>
                    <a:pt x="237" y="96"/>
                    <a:pt x="229" y="91"/>
                    <a:pt x="231" y="88"/>
                  </a:cubicBezTo>
                  <a:cubicBezTo>
                    <a:pt x="232" y="85"/>
                    <a:pt x="244" y="71"/>
                    <a:pt x="243" y="69"/>
                  </a:cubicBezTo>
                  <a:cubicBezTo>
                    <a:pt x="243" y="67"/>
                    <a:pt x="234" y="61"/>
                    <a:pt x="236" y="57"/>
                  </a:cubicBezTo>
                  <a:cubicBezTo>
                    <a:pt x="239" y="53"/>
                    <a:pt x="239" y="54"/>
                    <a:pt x="240" y="51"/>
                  </a:cubicBezTo>
                  <a:cubicBezTo>
                    <a:pt x="242" y="48"/>
                    <a:pt x="243" y="40"/>
                    <a:pt x="243" y="40"/>
                  </a:cubicBezTo>
                  <a:cubicBezTo>
                    <a:pt x="243" y="40"/>
                    <a:pt x="234" y="35"/>
                    <a:pt x="236" y="33"/>
                  </a:cubicBezTo>
                  <a:cubicBezTo>
                    <a:pt x="238" y="32"/>
                    <a:pt x="248" y="26"/>
                    <a:pt x="246" y="22"/>
                  </a:cubicBezTo>
                  <a:cubicBezTo>
                    <a:pt x="245" y="19"/>
                    <a:pt x="241" y="14"/>
                    <a:pt x="238" y="11"/>
                  </a:cubicBezTo>
                  <a:cubicBezTo>
                    <a:pt x="234" y="11"/>
                    <a:pt x="233" y="15"/>
                    <a:pt x="230" y="17"/>
                  </a:cubicBezTo>
                  <a:cubicBezTo>
                    <a:pt x="227" y="19"/>
                    <a:pt x="228" y="12"/>
                    <a:pt x="223" y="6"/>
                  </a:cubicBezTo>
                  <a:cubicBezTo>
                    <a:pt x="219" y="0"/>
                    <a:pt x="218" y="17"/>
                    <a:pt x="214" y="22"/>
                  </a:cubicBezTo>
                  <a:cubicBezTo>
                    <a:pt x="210" y="28"/>
                    <a:pt x="211" y="24"/>
                    <a:pt x="201" y="27"/>
                  </a:cubicBezTo>
                  <a:cubicBezTo>
                    <a:pt x="191" y="30"/>
                    <a:pt x="200" y="46"/>
                    <a:pt x="199" y="52"/>
                  </a:cubicBezTo>
                  <a:cubicBezTo>
                    <a:pt x="199" y="57"/>
                    <a:pt x="190" y="58"/>
                    <a:pt x="182" y="60"/>
                  </a:cubicBezTo>
                  <a:cubicBezTo>
                    <a:pt x="174" y="62"/>
                    <a:pt x="170" y="53"/>
                    <a:pt x="166" y="52"/>
                  </a:cubicBezTo>
                  <a:cubicBezTo>
                    <a:pt x="161" y="51"/>
                    <a:pt x="157" y="57"/>
                    <a:pt x="155" y="58"/>
                  </a:cubicBezTo>
                  <a:cubicBezTo>
                    <a:pt x="152" y="58"/>
                    <a:pt x="159" y="79"/>
                    <a:pt x="159" y="81"/>
                  </a:cubicBezTo>
                  <a:cubicBezTo>
                    <a:pt x="160" y="84"/>
                    <a:pt x="147" y="81"/>
                    <a:pt x="137" y="80"/>
                  </a:cubicBezTo>
                  <a:cubicBezTo>
                    <a:pt x="127" y="80"/>
                    <a:pt x="118" y="73"/>
                    <a:pt x="114" y="73"/>
                  </a:cubicBezTo>
                  <a:cubicBezTo>
                    <a:pt x="110" y="73"/>
                    <a:pt x="118" y="92"/>
                    <a:pt x="119" y="93"/>
                  </a:cubicBezTo>
                  <a:cubicBezTo>
                    <a:pt x="120" y="94"/>
                    <a:pt x="95" y="115"/>
                    <a:pt x="92" y="116"/>
                  </a:cubicBezTo>
                  <a:cubicBezTo>
                    <a:pt x="90" y="116"/>
                    <a:pt x="79" y="110"/>
                    <a:pt x="73" y="109"/>
                  </a:cubicBezTo>
                  <a:cubicBezTo>
                    <a:pt x="67" y="109"/>
                    <a:pt x="63" y="122"/>
                    <a:pt x="56" y="127"/>
                  </a:cubicBezTo>
                  <a:cubicBezTo>
                    <a:pt x="49" y="132"/>
                    <a:pt x="37" y="125"/>
                    <a:pt x="30" y="132"/>
                  </a:cubicBezTo>
                  <a:cubicBezTo>
                    <a:pt x="23" y="140"/>
                    <a:pt x="42" y="148"/>
                    <a:pt x="45" y="152"/>
                  </a:cubicBezTo>
                  <a:cubicBezTo>
                    <a:pt x="48" y="156"/>
                    <a:pt x="39" y="161"/>
                    <a:pt x="38" y="164"/>
                  </a:cubicBezTo>
                  <a:cubicBezTo>
                    <a:pt x="37" y="167"/>
                    <a:pt x="40" y="170"/>
                    <a:pt x="41" y="177"/>
                  </a:cubicBezTo>
                  <a:cubicBezTo>
                    <a:pt x="41" y="183"/>
                    <a:pt x="31" y="178"/>
                    <a:pt x="26" y="178"/>
                  </a:cubicBezTo>
                  <a:cubicBezTo>
                    <a:pt x="26" y="178"/>
                    <a:pt x="26" y="178"/>
                    <a:pt x="26" y="178"/>
                  </a:cubicBezTo>
                  <a:cubicBezTo>
                    <a:pt x="31" y="182"/>
                    <a:pt x="37" y="187"/>
                    <a:pt x="39" y="190"/>
                  </a:cubicBezTo>
                  <a:cubicBezTo>
                    <a:pt x="42" y="194"/>
                    <a:pt x="38" y="202"/>
                    <a:pt x="36" y="207"/>
                  </a:cubicBezTo>
                  <a:cubicBezTo>
                    <a:pt x="34" y="212"/>
                    <a:pt x="37" y="219"/>
                    <a:pt x="36" y="223"/>
                  </a:cubicBezTo>
                  <a:cubicBezTo>
                    <a:pt x="35" y="226"/>
                    <a:pt x="11" y="239"/>
                    <a:pt x="0" y="243"/>
                  </a:cubicBezTo>
                  <a:cubicBezTo>
                    <a:pt x="4" y="244"/>
                    <a:pt x="9" y="246"/>
                    <a:pt x="10" y="246"/>
                  </a:cubicBezTo>
                  <a:cubicBezTo>
                    <a:pt x="11" y="246"/>
                    <a:pt x="10" y="250"/>
                    <a:pt x="9" y="253"/>
                  </a:cubicBezTo>
                  <a:cubicBezTo>
                    <a:pt x="8" y="256"/>
                    <a:pt x="16" y="260"/>
                    <a:pt x="16" y="261"/>
                  </a:cubicBezTo>
                  <a:cubicBezTo>
                    <a:pt x="17" y="262"/>
                    <a:pt x="14" y="266"/>
                    <a:pt x="14" y="267"/>
                  </a:cubicBezTo>
                  <a:cubicBezTo>
                    <a:pt x="14" y="269"/>
                    <a:pt x="16" y="273"/>
                    <a:pt x="19" y="275"/>
                  </a:cubicBezTo>
                  <a:cubicBezTo>
                    <a:pt x="22" y="278"/>
                    <a:pt x="18" y="288"/>
                    <a:pt x="20" y="292"/>
                  </a:cubicBezTo>
                  <a:cubicBezTo>
                    <a:pt x="21" y="297"/>
                    <a:pt x="29" y="311"/>
                    <a:pt x="29" y="311"/>
                  </a:cubicBezTo>
                  <a:cubicBezTo>
                    <a:pt x="29" y="311"/>
                    <a:pt x="30" y="331"/>
                    <a:pt x="30" y="334"/>
                  </a:cubicBezTo>
                  <a:cubicBezTo>
                    <a:pt x="31" y="338"/>
                    <a:pt x="31" y="356"/>
                    <a:pt x="35" y="366"/>
                  </a:cubicBezTo>
                  <a:cubicBezTo>
                    <a:pt x="36" y="369"/>
                    <a:pt x="37" y="372"/>
                    <a:pt x="39" y="376"/>
                  </a:cubicBezTo>
                  <a:cubicBezTo>
                    <a:pt x="50" y="376"/>
                    <a:pt x="70" y="377"/>
                    <a:pt x="72" y="378"/>
                  </a:cubicBezTo>
                  <a:cubicBezTo>
                    <a:pt x="74" y="380"/>
                    <a:pt x="98" y="415"/>
                    <a:pt x="102" y="415"/>
                  </a:cubicBezTo>
                  <a:close/>
                </a:path>
              </a:pathLst>
            </a:custGeom>
            <a:solidFill>
              <a:srgbClr val="00B050"/>
            </a:solidFill>
            <a:ln>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endParaRPr lang="en-US" sz="347" dirty="0">
                <a:solidFill>
                  <a:prstClr val="white">
                    <a:lumMod val="85000"/>
                  </a:prstClr>
                </a:solidFill>
                <a:latin typeface="Arial" pitchFamily="34" charset="0"/>
                <a:cs typeface="Arial" pitchFamily="34" charset="0"/>
              </a:endParaRPr>
            </a:p>
          </p:txBody>
        </p:sp>
        <p:sp>
          <p:nvSpPr>
            <p:cNvPr id="58" name="Freeform 1204"/>
            <p:cNvSpPr>
              <a:spLocks noChangeAspect="1"/>
            </p:cNvSpPr>
            <p:nvPr/>
          </p:nvSpPr>
          <p:spPr bwMode="auto">
            <a:xfrm>
              <a:off x="9896378" y="5262531"/>
              <a:ext cx="854422" cy="701190"/>
            </a:xfrm>
            <a:custGeom>
              <a:avLst/>
              <a:gdLst>
                <a:gd name="T0" fmla="*/ 444 w 485"/>
                <a:gd name="T1" fmla="*/ 73 h 467"/>
                <a:gd name="T2" fmla="*/ 428 w 485"/>
                <a:gd name="T3" fmla="*/ 44 h 467"/>
                <a:gd name="T4" fmla="*/ 410 w 485"/>
                <a:gd name="T5" fmla="*/ 61 h 467"/>
                <a:gd name="T6" fmla="*/ 403 w 485"/>
                <a:gd name="T7" fmla="*/ 74 h 467"/>
                <a:gd name="T8" fmla="*/ 401 w 485"/>
                <a:gd name="T9" fmla="*/ 94 h 467"/>
                <a:gd name="T10" fmla="*/ 361 w 485"/>
                <a:gd name="T11" fmla="*/ 89 h 467"/>
                <a:gd name="T12" fmla="*/ 356 w 485"/>
                <a:gd name="T13" fmla="*/ 114 h 467"/>
                <a:gd name="T14" fmla="*/ 325 w 485"/>
                <a:gd name="T15" fmla="*/ 121 h 467"/>
                <a:gd name="T16" fmla="*/ 269 w 485"/>
                <a:gd name="T17" fmla="*/ 128 h 467"/>
                <a:gd name="T18" fmla="*/ 256 w 485"/>
                <a:gd name="T19" fmla="*/ 111 h 467"/>
                <a:gd name="T20" fmla="*/ 244 w 485"/>
                <a:gd name="T21" fmla="*/ 82 h 467"/>
                <a:gd name="T22" fmla="*/ 226 w 485"/>
                <a:gd name="T23" fmla="*/ 72 h 467"/>
                <a:gd name="T24" fmla="*/ 213 w 485"/>
                <a:gd name="T25" fmla="*/ 59 h 467"/>
                <a:gd name="T26" fmla="*/ 191 w 485"/>
                <a:gd name="T27" fmla="*/ 23 h 467"/>
                <a:gd name="T28" fmla="*/ 147 w 485"/>
                <a:gd name="T29" fmla="*/ 25 h 467"/>
                <a:gd name="T30" fmla="*/ 107 w 485"/>
                <a:gd name="T31" fmla="*/ 47 h 467"/>
                <a:gd name="T32" fmla="*/ 90 w 485"/>
                <a:gd name="T33" fmla="*/ 71 h 467"/>
                <a:gd name="T34" fmla="*/ 76 w 485"/>
                <a:gd name="T35" fmla="*/ 101 h 467"/>
                <a:gd name="T36" fmla="*/ 70 w 485"/>
                <a:gd name="T37" fmla="*/ 130 h 467"/>
                <a:gd name="T38" fmla="*/ 61 w 485"/>
                <a:gd name="T39" fmla="*/ 167 h 467"/>
                <a:gd name="T40" fmla="*/ 62 w 485"/>
                <a:gd name="T41" fmla="*/ 207 h 467"/>
                <a:gd name="T42" fmla="*/ 61 w 485"/>
                <a:gd name="T43" fmla="*/ 242 h 467"/>
                <a:gd name="T44" fmla="*/ 24 w 485"/>
                <a:gd name="T45" fmla="*/ 257 h 467"/>
                <a:gd name="T46" fmla="*/ 30 w 485"/>
                <a:gd name="T47" fmla="*/ 294 h 467"/>
                <a:gd name="T48" fmla="*/ 3 w 485"/>
                <a:gd name="T49" fmla="*/ 313 h 467"/>
                <a:gd name="T50" fmla="*/ 20 w 485"/>
                <a:gd name="T51" fmla="*/ 365 h 467"/>
                <a:gd name="T52" fmla="*/ 46 w 485"/>
                <a:gd name="T53" fmla="*/ 391 h 467"/>
                <a:gd name="T54" fmla="*/ 24 w 485"/>
                <a:gd name="T55" fmla="*/ 390 h 467"/>
                <a:gd name="T56" fmla="*/ 36 w 485"/>
                <a:gd name="T57" fmla="*/ 397 h 467"/>
                <a:gd name="T58" fmla="*/ 66 w 485"/>
                <a:gd name="T59" fmla="*/ 409 h 467"/>
                <a:gd name="T60" fmla="*/ 86 w 485"/>
                <a:gd name="T61" fmla="*/ 406 h 467"/>
                <a:gd name="T62" fmla="*/ 109 w 485"/>
                <a:gd name="T63" fmla="*/ 415 h 467"/>
                <a:gd name="T64" fmla="*/ 114 w 485"/>
                <a:gd name="T65" fmla="*/ 440 h 467"/>
                <a:gd name="T66" fmla="*/ 119 w 485"/>
                <a:gd name="T67" fmla="*/ 467 h 467"/>
                <a:gd name="T68" fmla="*/ 170 w 485"/>
                <a:gd name="T69" fmla="*/ 426 h 467"/>
                <a:gd name="T70" fmla="*/ 209 w 485"/>
                <a:gd name="T71" fmla="*/ 410 h 467"/>
                <a:gd name="T72" fmla="*/ 207 w 485"/>
                <a:gd name="T73" fmla="*/ 373 h 467"/>
                <a:gd name="T74" fmla="*/ 205 w 485"/>
                <a:gd name="T75" fmla="*/ 327 h 467"/>
                <a:gd name="T76" fmla="*/ 215 w 485"/>
                <a:gd name="T77" fmla="*/ 287 h 467"/>
                <a:gd name="T78" fmla="*/ 255 w 485"/>
                <a:gd name="T79" fmla="*/ 265 h 467"/>
                <a:gd name="T80" fmla="*/ 267 w 485"/>
                <a:gd name="T81" fmla="*/ 266 h 467"/>
                <a:gd name="T82" fmla="*/ 295 w 485"/>
                <a:gd name="T83" fmla="*/ 230 h 467"/>
                <a:gd name="T84" fmla="*/ 319 w 485"/>
                <a:gd name="T85" fmla="*/ 225 h 467"/>
                <a:gd name="T86" fmla="*/ 338 w 485"/>
                <a:gd name="T87" fmla="*/ 219 h 467"/>
                <a:gd name="T88" fmla="*/ 346 w 485"/>
                <a:gd name="T89" fmla="*/ 196 h 467"/>
                <a:gd name="T90" fmla="*/ 372 w 485"/>
                <a:gd name="T91" fmla="*/ 171 h 467"/>
                <a:gd name="T92" fmla="*/ 429 w 485"/>
                <a:gd name="T93" fmla="*/ 126 h 467"/>
                <a:gd name="T94" fmla="*/ 476 w 485"/>
                <a:gd name="T95" fmla="*/ 91 h 467"/>
                <a:gd name="connsiteX0" fmla="*/ 9663 w 9952"/>
                <a:gd name="connsiteY0" fmla="*/ 1287 h 9874"/>
                <a:gd name="connsiteX1" fmla="*/ 9292 w 9952"/>
                <a:gd name="connsiteY1" fmla="*/ 1544 h 9874"/>
                <a:gd name="connsiteX2" fmla="*/ 9107 w 9952"/>
                <a:gd name="connsiteY2" fmla="*/ 1437 h 9874"/>
                <a:gd name="connsiteX3" fmla="*/ 8942 w 9952"/>
                <a:gd name="connsiteY3" fmla="*/ 1223 h 9874"/>
                <a:gd name="connsiteX4" fmla="*/ 9065 w 9952"/>
                <a:gd name="connsiteY4" fmla="*/ 1052 h 9874"/>
                <a:gd name="connsiteX5" fmla="*/ 8777 w 9952"/>
                <a:gd name="connsiteY5" fmla="*/ 816 h 9874"/>
                <a:gd name="connsiteX6" fmla="*/ 8653 w 9952"/>
                <a:gd name="connsiteY6" fmla="*/ 902 h 9874"/>
                <a:gd name="connsiteX7" fmla="*/ 8385 w 9952"/>
                <a:gd name="connsiteY7" fmla="*/ 945 h 9874"/>
                <a:gd name="connsiteX8" fmla="*/ 8406 w 9952"/>
                <a:gd name="connsiteY8" fmla="*/ 1180 h 9874"/>
                <a:gd name="connsiteX9" fmla="*/ 8488 w 9952"/>
                <a:gd name="connsiteY9" fmla="*/ 1244 h 9874"/>
                <a:gd name="connsiteX10" fmla="*/ 8426 w 9952"/>
                <a:gd name="connsiteY10" fmla="*/ 1416 h 9874"/>
                <a:gd name="connsiteX11" fmla="*/ 8261 w 9952"/>
                <a:gd name="connsiteY11" fmla="*/ 1459 h 9874"/>
                <a:gd name="connsiteX12" fmla="*/ 8096 w 9952"/>
                <a:gd name="connsiteY12" fmla="*/ 1587 h 9874"/>
                <a:gd name="connsiteX13" fmla="*/ 8241 w 9952"/>
                <a:gd name="connsiteY13" fmla="*/ 1758 h 9874"/>
                <a:gd name="connsiteX14" fmla="*/ 8220 w 9952"/>
                <a:gd name="connsiteY14" fmla="*/ 1887 h 9874"/>
                <a:gd name="connsiteX15" fmla="*/ 7911 w 9952"/>
                <a:gd name="connsiteY15" fmla="*/ 2037 h 9874"/>
                <a:gd name="connsiteX16" fmla="*/ 7766 w 9952"/>
                <a:gd name="connsiteY16" fmla="*/ 2294 h 9874"/>
                <a:gd name="connsiteX17" fmla="*/ 7395 w 9952"/>
                <a:gd name="connsiteY17" fmla="*/ 1780 h 9874"/>
                <a:gd name="connsiteX18" fmla="*/ 7251 w 9952"/>
                <a:gd name="connsiteY18" fmla="*/ 1951 h 9874"/>
                <a:gd name="connsiteX19" fmla="*/ 7457 w 9952"/>
                <a:gd name="connsiteY19" fmla="*/ 2165 h 9874"/>
                <a:gd name="connsiteX20" fmla="*/ 7292 w 9952"/>
                <a:gd name="connsiteY20" fmla="*/ 2315 h 9874"/>
                <a:gd name="connsiteX21" fmla="*/ 7333 w 9952"/>
                <a:gd name="connsiteY21" fmla="*/ 2422 h 9874"/>
                <a:gd name="connsiteX22" fmla="*/ 7004 w 9952"/>
                <a:gd name="connsiteY22" fmla="*/ 2679 h 9874"/>
                <a:gd name="connsiteX23" fmla="*/ 6653 w 9952"/>
                <a:gd name="connsiteY23" fmla="*/ 2465 h 9874"/>
                <a:gd name="connsiteX24" fmla="*/ 5705 w 9952"/>
                <a:gd name="connsiteY24" fmla="*/ 3000 h 9874"/>
                <a:gd name="connsiteX25" fmla="*/ 5622 w 9952"/>
                <a:gd name="connsiteY25" fmla="*/ 2765 h 9874"/>
                <a:gd name="connsiteX26" fmla="*/ 5498 w 9952"/>
                <a:gd name="connsiteY26" fmla="*/ 2615 h 9874"/>
                <a:gd name="connsiteX27" fmla="*/ 5540 w 9952"/>
                <a:gd name="connsiteY27" fmla="*/ 2444 h 9874"/>
                <a:gd name="connsiteX28" fmla="*/ 5416 w 9952"/>
                <a:gd name="connsiteY28" fmla="*/ 2272 h 9874"/>
                <a:gd name="connsiteX29" fmla="*/ 5230 w 9952"/>
                <a:gd name="connsiteY29" fmla="*/ 2251 h 9874"/>
                <a:gd name="connsiteX30" fmla="*/ 5272 w 9952"/>
                <a:gd name="connsiteY30" fmla="*/ 2015 h 9874"/>
                <a:gd name="connsiteX31" fmla="*/ 5127 w 9952"/>
                <a:gd name="connsiteY31" fmla="*/ 1930 h 9874"/>
                <a:gd name="connsiteX32" fmla="*/ 4983 w 9952"/>
                <a:gd name="connsiteY32" fmla="*/ 1630 h 9874"/>
                <a:gd name="connsiteX33" fmla="*/ 4797 w 9952"/>
                <a:gd name="connsiteY33" fmla="*/ 1630 h 9874"/>
                <a:gd name="connsiteX34" fmla="*/ 4612 w 9952"/>
                <a:gd name="connsiteY34" fmla="*/ 1480 h 9874"/>
                <a:gd name="connsiteX35" fmla="*/ 4612 w 9952"/>
                <a:gd name="connsiteY35" fmla="*/ 1416 h 9874"/>
                <a:gd name="connsiteX36" fmla="*/ 4447 w 9952"/>
                <a:gd name="connsiteY36" fmla="*/ 1501 h 9874"/>
                <a:gd name="connsiteX37" fmla="*/ 4241 w 9952"/>
                <a:gd name="connsiteY37" fmla="*/ 1352 h 9874"/>
                <a:gd name="connsiteX38" fmla="*/ 4344 w 9952"/>
                <a:gd name="connsiteY38" fmla="*/ 1137 h 9874"/>
                <a:gd name="connsiteX39" fmla="*/ 4179 w 9952"/>
                <a:gd name="connsiteY39" fmla="*/ 966 h 9874"/>
                <a:gd name="connsiteX40" fmla="*/ 4303 w 9952"/>
                <a:gd name="connsiteY40" fmla="*/ 709 h 9874"/>
                <a:gd name="connsiteX41" fmla="*/ 3890 w 9952"/>
                <a:gd name="connsiteY41" fmla="*/ 367 h 9874"/>
                <a:gd name="connsiteX42" fmla="*/ 3643 w 9952"/>
                <a:gd name="connsiteY42" fmla="*/ 474 h 9874"/>
                <a:gd name="connsiteX43" fmla="*/ 3168 w 9952"/>
                <a:gd name="connsiteY43" fmla="*/ 281 h 9874"/>
                <a:gd name="connsiteX44" fmla="*/ 2983 w 9952"/>
                <a:gd name="connsiteY44" fmla="*/ 409 h 9874"/>
                <a:gd name="connsiteX45" fmla="*/ 2529 w 9952"/>
                <a:gd name="connsiteY45" fmla="*/ 24 h 9874"/>
                <a:gd name="connsiteX46" fmla="*/ 2158 w 9952"/>
                <a:gd name="connsiteY46" fmla="*/ 559 h 9874"/>
                <a:gd name="connsiteX47" fmla="*/ 2158 w 9952"/>
                <a:gd name="connsiteY47" fmla="*/ 880 h 9874"/>
                <a:gd name="connsiteX48" fmla="*/ 1890 w 9952"/>
                <a:gd name="connsiteY48" fmla="*/ 623 h 9874"/>
                <a:gd name="connsiteX49" fmla="*/ 1581 w 9952"/>
                <a:gd name="connsiteY49" fmla="*/ 1052 h 9874"/>
                <a:gd name="connsiteX50" fmla="*/ 1808 w 9952"/>
                <a:gd name="connsiteY50" fmla="*/ 1394 h 9874"/>
                <a:gd name="connsiteX51" fmla="*/ 1395 w 9952"/>
                <a:gd name="connsiteY51" fmla="*/ 1801 h 9874"/>
                <a:gd name="connsiteX52" fmla="*/ 1354 w 9952"/>
                <a:gd name="connsiteY52" fmla="*/ 1801 h 9874"/>
                <a:gd name="connsiteX53" fmla="*/ 1519 w 9952"/>
                <a:gd name="connsiteY53" fmla="*/ 2037 h 9874"/>
                <a:gd name="connsiteX54" fmla="*/ 1313 w 9952"/>
                <a:gd name="connsiteY54" fmla="*/ 2272 h 9874"/>
                <a:gd name="connsiteX55" fmla="*/ 1457 w 9952"/>
                <a:gd name="connsiteY55" fmla="*/ 2422 h 9874"/>
                <a:gd name="connsiteX56" fmla="*/ 1395 w 9952"/>
                <a:gd name="connsiteY56" fmla="*/ 2658 h 9874"/>
                <a:gd name="connsiteX57" fmla="*/ 1313 w 9952"/>
                <a:gd name="connsiteY57" fmla="*/ 2786 h 9874"/>
                <a:gd name="connsiteX58" fmla="*/ 1457 w 9952"/>
                <a:gd name="connsiteY58" fmla="*/ 3043 h 9874"/>
                <a:gd name="connsiteX59" fmla="*/ 1210 w 9952"/>
                <a:gd name="connsiteY59" fmla="*/ 3450 h 9874"/>
                <a:gd name="connsiteX60" fmla="*/ 1395 w 9952"/>
                <a:gd name="connsiteY60" fmla="*/ 3686 h 9874"/>
                <a:gd name="connsiteX61" fmla="*/ 1065 w 9952"/>
                <a:gd name="connsiteY61" fmla="*/ 4092 h 9874"/>
                <a:gd name="connsiteX62" fmla="*/ 1230 w 9952"/>
                <a:gd name="connsiteY62" fmla="*/ 4307 h 9874"/>
                <a:gd name="connsiteX63" fmla="*/ 983 w 9952"/>
                <a:gd name="connsiteY63" fmla="*/ 4649 h 9874"/>
                <a:gd name="connsiteX64" fmla="*/ 1313 w 9952"/>
                <a:gd name="connsiteY64" fmla="*/ 4778 h 9874"/>
                <a:gd name="connsiteX65" fmla="*/ 1210 w 9952"/>
                <a:gd name="connsiteY65" fmla="*/ 5056 h 9874"/>
                <a:gd name="connsiteX66" fmla="*/ 1292 w 9952"/>
                <a:gd name="connsiteY66" fmla="*/ 5377 h 9874"/>
                <a:gd name="connsiteX67" fmla="*/ 880 w 9952"/>
                <a:gd name="connsiteY67" fmla="*/ 5399 h 9874"/>
                <a:gd name="connsiteX68" fmla="*/ 447 w 9952"/>
                <a:gd name="connsiteY68" fmla="*/ 5377 h 9874"/>
                <a:gd name="connsiteX69" fmla="*/ 550 w 9952"/>
                <a:gd name="connsiteY69" fmla="*/ 5698 h 9874"/>
                <a:gd name="connsiteX70" fmla="*/ 344 w 9952"/>
                <a:gd name="connsiteY70" fmla="*/ 6062 h 9874"/>
                <a:gd name="connsiteX71" fmla="*/ 571 w 9952"/>
                <a:gd name="connsiteY71" fmla="*/ 6170 h 9874"/>
                <a:gd name="connsiteX72" fmla="*/ 571 w 9952"/>
                <a:gd name="connsiteY72" fmla="*/ 6576 h 9874"/>
                <a:gd name="connsiteX73" fmla="*/ 282 w 9952"/>
                <a:gd name="connsiteY73" fmla="*/ 6512 h 9874"/>
                <a:gd name="connsiteX74" fmla="*/ 14 w 9952"/>
                <a:gd name="connsiteY74" fmla="*/ 6576 h 9874"/>
                <a:gd name="connsiteX75" fmla="*/ 158 w 9952"/>
                <a:gd name="connsiteY75" fmla="*/ 6726 h 9874"/>
                <a:gd name="connsiteX76" fmla="*/ 76 w 9952"/>
                <a:gd name="connsiteY76" fmla="*/ 7047 h 9874"/>
                <a:gd name="connsiteX77" fmla="*/ 364 w 9952"/>
                <a:gd name="connsiteY77" fmla="*/ 7690 h 9874"/>
                <a:gd name="connsiteX78" fmla="*/ 715 w 9952"/>
                <a:gd name="connsiteY78" fmla="*/ 7561 h 9874"/>
                <a:gd name="connsiteX79" fmla="*/ 1107 w 9952"/>
                <a:gd name="connsiteY79" fmla="*/ 8032 h 9874"/>
                <a:gd name="connsiteX80" fmla="*/ 900 w 9952"/>
                <a:gd name="connsiteY80" fmla="*/ 8247 h 9874"/>
                <a:gd name="connsiteX81" fmla="*/ 406 w 9952"/>
                <a:gd name="connsiteY81" fmla="*/ 7861 h 9874"/>
                <a:gd name="connsiteX82" fmla="*/ 323 w 9952"/>
                <a:gd name="connsiteY82" fmla="*/ 7968 h 9874"/>
                <a:gd name="connsiteX83" fmla="*/ 447 w 9952"/>
                <a:gd name="connsiteY83" fmla="*/ 8225 h 9874"/>
                <a:gd name="connsiteX84" fmla="*/ 241 w 9952"/>
                <a:gd name="connsiteY84" fmla="*/ 8525 h 9874"/>
                <a:gd name="connsiteX85" fmla="*/ 509 w 9952"/>
                <a:gd name="connsiteY85" fmla="*/ 8653 h 9874"/>
                <a:gd name="connsiteX86" fmla="*/ 694 w 9952"/>
                <a:gd name="connsiteY86" fmla="*/ 8375 h 9874"/>
                <a:gd name="connsiteX87" fmla="*/ 1024 w 9952"/>
                <a:gd name="connsiteY87" fmla="*/ 8675 h 9874"/>
                <a:gd name="connsiteX88" fmla="*/ 1251 w 9952"/>
                <a:gd name="connsiteY88" fmla="*/ 8525 h 9874"/>
                <a:gd name="connsiteX89" fmla="*/ 1313 w 9952"/>
                <a:gd name="connsiteY89" fmla="*/ 8632 h 9874"/>
                <a:gd name="connsiteX90" fmla="*/ 1437 w 9952"/>
                <a:gd name="connsiteY90" fmla="*/ 8375 h 9874"/>
                <a:gd name="connsiteX91" fmla="*/ 1828 w 9952"/>
                <a:gd name="connsiteY91" fmla="*/ 8418 h 9874"/>
                <a:gd name="connsiteX92" fmla="*/ 1725 w 9952"/>
                <a:gd name="connsiteY92" fmla="*/ 8568 h 9874"/>
                <a:gd name="connsiteX93" fmla="*/ 1828 w 9952"/>
                <a:gd name="connsiteY93" fmla="*/ 8718 h 9874"/>
                <a:gd name="connsiteX94" fmla="*/ 2138 w 9952"/>
                <a:gd name="connsiteY94" fmla="*/ 8611 h 9874"/>
                <a:gd name="connsiteX95" fmla="*/ 2199 w 9952"/>
                <a:gd name="connsiteY95" fmla="*/ 8761 h 9874"/>
                <a:gd name="connsiteX96" fmla="*/ 2076 w 9952"/>
                <a:gd name="connsiteY96" fmla="*/ 8953 h 9874"/>
                <a:gd name="connsiteX97" fmla="*/ 2261 w 9952"/>
                <a:gd name="connsiteY97" fmla="*/ 9060 h 9874"/>
                <a:gd name="connsiteX98" fmla="*/ 2303 w 9952"/>
                <a:gd name="connsiteY98" fmla="*/ 9296 h 9874"/>
                <a:gd name="connsiteX99" fmla="*/ 1973 w 9952"/>
                <a:gd name="connsiteY99" fmla="*/ 9574 h 9874"/>
                <a:gd name="connsiteX100" fmla="*/ 2076 w 9952"/>
                <a:gd name="connsiteY100" fmla="*/ 9831 h 9874"/>
                <a:gd name="connsiteX101" fmla="*/ 2406 w 9952"/>
                <a:gd name="connsiteY101" fmla="*/ 9874 h 9874"/>
                <a:gd name="connsiteX102" fmla="*/ 2571 w 9952"/>
                <a:gd name="connsiteY102" fmla="*/ 9403 h 9874"/>
                <a:gd name="connsiteX103" fmla="*/ 3189 w 9952"/>
                <a:gd name="connsiteY103" fmla="*/ 9339 h 9874"/>
                <a:gd name="connsiteX104" fmla="*/ 3457 w 9952"/>
                <a:gd name="connsiteY104" fmla="*/ 8996 h 9874"/>
                <a:gd name="connsiteX105" fmla="*/ 4014 w 9952"/>
                <a:gd name="connsiteY105" fmla="*/ 9296 h 9874"/>
                <a:gd name="connsiteX106" fmla="*/ 4282 w 9952"/>
                <a:gd name="connsiteY106" fmla="*/ 8739 h 9874"/>
                <a:gd name="connsiteX107" fmla="*/ 4261 w 9952"/>
                <a:gd name="connsiteY107" fmla="*/ 8653 h 9874"/>
                <a:gd name="connsiteX108" fmla="*/ 4447 w 9952"/>
                <a:gd name="connsiteY108" fmla="*/ 8311 h 9874"/>
                <a:gd name="connsiteX109" fmla="*/ 4344 w 9952"/>
                <a:gd name="connsiteY109" fmla="*/ 8075 h 9874"/>
                <a:gd name="connsiteX110" fmla="*/ 4220 w 9952"/>
                <a:gd name="connsiteY110" fmla="*/ 7861 h 9874"/>
                <a:gd name="connsiteX111" fmla="*/ 4344 w 9952"/>
                <a:gd name="connsiteY111" fmla="*/ 7647 h 9874"/>
                <a:gd name="connsiteX112" fmla="*/ 4406 w 9952"/>
                <a:gd name="connsiteY112" fmla="*/ 7262 h 9874"/>
                <a:gd name="connsiteX113" fmla="*/ 4179 w 9952"/>
                <a:gd name="connsiteY113" fmla="*/ 6876 h 9874"/>
                <a:gd name="connsiteX114" fmla="*/ 4261 w 9952"/>
                <a:gd name="connsiteY114" fmla="*/ 6426 h 9874"/>
                <a:gd name="connsiteX115" fmla="*/ 4344 w 9952"/>
                <a:gd name="connsiteY115" fmla="*/ 6212 h 9874"/>
                <a:gd name="connsiteX116" fmla="*/ 4385 w 9952"/>
                <a:gd name="connsiteY116" fmla="*/ 6020 h 9874"/>
                <a:gd name="connsiteX117" fmla="*/ 4632 w 9952"/>
                <a:gd name="connsiteY117" fmla="*/ 5656 h 9874"/>
                <a:gd name="connsiteX118" fmla="*/ 5127 w 9952"/>
                <a:gd name="connsiteY118" fmla="*/ 5463 h 9874"/>
                <a:gd name="connsiteX119" fmla="*/ 5210 w 9952"/>
                <a:gd name="connsiteY119" fmla="*/ 5549 h 9874"/>
                <a:gd name="connsiteX120" fmla="*/ 5148 w 9952"/>
                <a:gd name="connsiteY120" fmla="*/ 5613 h 9874"/>
                <a:gd name="connsiteX121" fmla="*/ 5292 w 9952"/>
                <a:gd name="connsiteY121" fmla="*/ 5741 h 9874"/>
                <a:gd name="connsiteX122" fmla="*/ 5457 w 9952"/>
                <a:gd name="connsiteY122" fmla="*/ 5570 h 9874"/>
                <a:gd name="connsiteX123" fmla="*/ 5643 w 9952"/>
                <a:gd name="connsiteY123" fmla="*/ 5420 h 9874"/>
                <a:gd name="connsiteX124" fmla="*/ 5684 w 9952"/>
                <a:gd name="connsiteY124" fmla="*/ 5120 h 9874"/>
                <a:gd name="connsiteX125" fmla="*/ 6034 w 9952"/>
                <a:gd name="connsiteY125" fmla="*/ 4799 h 9874"/>
                <a:gd name="connsiteX126" fmla="*/ 6344 w 9952"/>
                <a:gd name="connsiteY126" fmla="*/ 4992 h 9874"/>
                <a:gd name="connsiteX127" fmla="*/ 6323 w 9952"/>
                <a:gd name="connsiteY127" fmla="*/ 4842 h 9874"/>
                <a:gd name="connsiteX128" fmla="*/ 6529 w 9952"/>
                <a:gd name="connsiteY128" fmla="*/ 4692 h 9874"/>
                <a:gd name="connsiteX129" fmla="*/ 6736 w 9952"/>
                <a:gd name="connsiteY129" fmla="*/ 4799 h 9874"/>
                <a:gd name="connsiteX130" fmla="*/ 7129 w 9952"/>
                <a:gd name="connsiteY130" fmla="*/ 5123 h 9874"/>
                <a:gd name="connsiteX131" fmla="*/ 6921 w 9952"/>
                <a:gd name="connsiteY131" fmla="*/ 4564 h 9874"/>
                <a:gd name="connsiteX132" fmla="*/ 6529 w 9952"/>
                <a:gd name="connsiteY132" fmla="*/ 4371 h 9874"/>
                <a:gd name="connsiteX133" fmla="*/ 6653 w 9952"/>
                <a:gd name="connsiteY133" fmla="*/ 4199 h 9874"/>
                <a:gd name="connsiteX134" fmla="*/ 7086 w 9952"/>
                <a:gd name="connsiteY134" fmla="*/ 4071 h 9874"/>
                <a:gd name="connsiteX135" fmla="*/ 7045 w 9952"/>
                <a:gd name="connsiteY135" fmla="*/ 4028 h 9874"/>
                <a:gd name="connsiteX136" fmla="*/ 7375 w 9952"/>
                <a:gd name="connsiteY136" fmla="*/ 3707 h 9874"/>
                <a:gd name="connsiteX137" fmla="*/ 7622 w 9952"/>
                <a:gd name="connsiteY137" fmla="*/ 3536 h 9874"/>
                <a:gd name="connsiteX138" fmla="*/ 8241 w 9952"/>
                <a:gd name="connsiteY138" fmla="*/ 3193 h 9874"/>
                <a:gd name="connsiteX139" fmla="*/ 8426 w 9952"/>
                <a:gd name="connsiteY139" fmla="*/ 2979 h 9874"/>
                <a:gd name="connsiteX140" fmla="*/ 8797 w 9952"/>
                <a:gd name="connsiteY140" fmla="*/ 2572 h 9874"/>
                <a:gd name="connsiteX141" fmla="*/ 9457 w 9952"/>
                <a:gd name="connsiteY141" fmla="*/ 2208 h 9874"/>
                <a:gd name="connsiteX142" fmla="*/ 9498 w 9952"/>
                <a:gd name="connsiteY142" fmla="*/ 2058 h 9874"/>
                <a:gd name="connsiteX143" fmla="*/ 9766 w 9952"/>
                <a:gd name="connsiteY143" fmla="*/ 1823 h 9874"/>
                <a:gd name="connsiteX144" fmla="*/ 9952 w 9952"/>
                <a:gd name="connsiteY144" fmla="*/ 1544 h 9874"/>
                <a:gd name="connsiteX145" fmla="*/ 9663 w 9952"/>
                <a:gd name="connsiteY145" fmla="*/ 1287 h 9874"/>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7028 w 10000"/>
                <a:gd name="connsiteY130" fmla="*/ 4963 h 10000"/>
                <a:gd name="connsiteX131" fmla="*/ 6954 w 10000"/>
                <a:gd name="connsiteY131" fmla="*/ 4622 h 10000"/>
                <a:gd name="connsiteX132" fmla="*/ 6560 w 10000"/>
                <a:gd name="connsiteY132" fmla="*/ 4427 h 10000"/>
                <a:gd name="connsiteX133" fmla="*/ 6685 w 10000"/>
                <a:gd name="connsiteY133" fmla="*/ 4253 h 10000"/>
                <a:gd name="connsiteX134" fmla="*/ 7120 w 10000"/>
                <a:gd name="connsiteY134" fmla="*/ 4123 h 10000"/>
                <a:gd name="connsiteX135" fmla="*/ 7079 w 10000"/>
                <a:gd name="connsiteY135" fmla="*/ 4079 h 10000"/>
                <a:gd name="connsiteX136" fmla="*/ 7411 w 10000"/>
                <a:gd name="connsiteY136" fmla="*/ 3754 h 10000"/>
                <a:gd name="connsiteX137" fmla="*/ 7659 w 10000"/>
                <a:gd name="connsiteY137" fmla="*/ 3581 h 10000"/>
                <a:gd name="connsiteX138" fmla="*/ 8281 w 10000"/>
                <a:gd name="connsiteY138" fmla="*/ 3234 h 10000"/>
                <a:gd name="connsiteX139" fmla="*/ 8467 w 10000"/>
                <a:gd name="connsiteY139" fmla="*/ 3017 h 10000"/>
                <a:gd name="connsiteX140" fmla="*/ 8839 w 10000"/>
                <a:gd name="connsiteY140" fmla="*/ 2605 h 10000"/>
                <a:gd name="connsiteX141" fmla="*/ 9503 w 10000"/>
                <a:gd name="connsiteY141" fmla="*/ 2236 h 10000"/>
                <a:gd name="connsiteX142" fmla="*/ 9544 w 10000"/>
                <a:gd name="connsiteY142" fmla="*/ 2084 h 10000"/>
                <a:gd name="connsiteX143" fmla="*/ 9813 w 10000"/>
                <a:gd name="connsiteY143" fmla="*/ 1846 h 10000"/>
                <a:gd name="connsiteX144" fmla="*/ 10000 w 10000"/>
                <a:gd name="connsiteY144" fmla="*/ 1564 h 10000"/>
                <a:gd name="connsiteX145" fmla="*/ 9710 w 10000"/>
                <a:gd name="connsiteY145"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954 w 10000"/>
                <a:gd name="connsiteY130" fmla="*/ 4622 h 10000"/>
                <a:gd name="connsiteX131" fmla="*/ 6560 w 10000"/>
                <a:gd name="connsiteY131" fmla="*/ 4427 h 10000"/>
                <a:gd name="connsiteX132" fmla="*/ 6685 w 10000"/>
                <a:gd name="connsiteY132" fmla="*/ 4253 h 10000"/>
                <a:gd name="connsiteX133" fmla="*/ 7120 w 10000"/>
                <a:gd name="connsiteY133" fmla="*/ 4123 h 10000"/>
                <a:gd name="connsiteX134" fmla="*/ 7079 w 10000"/>
                <a:gd name="connsiteY134" fmla="*/ 4079 h 10000"/>
                <a:gd name="connsiteX135" fmla="*/ 7411 w 10000"/>
                <a:gd name="connsiteY135" fmla="*/ 3754 h 10000"/>
                <a:gd name="connsiteX136" fmla="*/ 7659 w 10000"/>
                <a:gd name="connsiteY136" fmla="*/ 3581 h 10000"/>
                <a:gd name="connsiteX137" fmla="*/ 8281 w 10000"/>
                <a:gd name="connsiteY137" fmla="*/ 3234 h 10000"/>
                <a:gd name="connsiteX138" fmla="*/ 8467 w 10000"/>
                <a:gd name="connsiteY138" fmla="*/ 3017 h 10000"/>
                <a:gd name="connsiteX139" fmla="*/ 8839 w 10000"/>
                <a:gd name="connsiteY139" fmla="*/ 2605 h 10000"/>
                <a:gd name="connsiteX140" fmla="*/ 9503 w 10000"/>
                <a:gd name="connsiteY140" fmla="*/ 2236 h 10000"/>
                <a:gd name="connsiteX141" fmla="*/ 9544 w 10000"/>
                <a:gd name="connsiteY141" fmla="*/ 2084 h 10000"/>
                <a:gd name="connsiteX142" fmla="*/ 9813 w 10000"/>
                <a:gd name="connsiteY142" fmla="*/ 1846 h 10000"/>
                <a:gd name="connsiteX143" fmla="*/ 10000 w 10000"/>
                <a:gd name="connsiteY143" fmla="*/ 1564 h 10000"/>
                <a:gd name="connsiteX144" fmla="*/ 9710 w 10000"/>
                <a:gd name="connsiteY144"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5711 w 10000"/>
                <a:gd name="connsiteY124" fmla="*/ 5185 h 10000"/>
                <a:gd name="connsiteX125" fmla="*/ 6063 w 10000"/>
                <a:gd name="connsiteY125" fmla="*/ 4860 h 10000"/>
                <a:gd name="connsiteX126" fmla="*/ 6375 w 10000"/>
                <a:gd name="connsiteY126" fmla="*/ 5056 h 10000"/>
                <a:gd name="connsiteX127" fmla="*/ 6353 w 10000"/>
                <a:gd name="connsiteY127" fmla="*/ 4904 h 10000"/>
                <a:gd name="connsiteX128" fmla="*/ 6560 w 10000"/>
                <a:gd name="connsiteY128" fmla="*/ 4752 h 10000"/>
                <a:gd name="connsiteX129" fmla="*/ 6768 w 10000"/>
                <a:gd name="connsiteY129" fmla="*/ 4860 h 10000"/>
                <a:gd name="connsiteX130" fmla="*/ 6560 w 10000"/>
                <a:gd name="connsiteY130" fmla="*/ 4427 h 10000"/>
                <a:gd name="connsiteX131" fmla="*/ 6685 w 10000"/>
                <a:gd name="connsiteY131" fmla="*/ 4253 h 10000"/>
                <a:gd name="connsiteX132" fmla="*/ 7120 w 10000"/>
                <a:gd name="connsiteY132" fmla="*/ 4123 h 10000"/>
                <a:gd name="connsiteX133" fmla="*/ 7079 w 10000"/>
                <a:gd name="connsiteY133" fmla="*/ 4079 h 10000"/>
                <a:gd name="connsiteX134" fmla="*/ 7411 w 10000"/>
                <a:gd name="connsiteY134" fmla="*/ 3754 h 10000"/>
                <a:gd name="connsiteX135" fmla="*/ 7659 w 10000"/>
                <a:gd name="connsiteY135" fmla="*/ 3581 h 10000"/>
                <a:gd name="connsiteX136" fmla="*/ 8281 w 10000"/>
                <a:gd name="connsiteY136" fmla="*/ 3234 h 10000"/>
                <a:gd name="connsiteX137" fmla="*/ 8467 w 10000"/>
                <a:gd name="connsiteY137" fmla="*/ 3017 h 10000"/>
                <a:gd name="connsiteX138" fmla="*/ 8839 w 10000"/>
                <a:gd name="connsiteY138" fmla="*/ 2605 h 10000"/>
                <a:gd name="connsiteX139" fmla="*/ 9503 w 10000"/>
                <a:gd name="connsiteY139" fmla="*/ 2236 h 10000"/>
                <a:gd name="connsiteX140" fmla="*/ 9544 w 10000"/>
                <a:gd name="connsiteY140" fmla="*/ 2084 h 10000"/>
                <a:gd name="connsiteX141" fmla="*/ 9813 w 10000"/>
                <a:gd name="connsiteY141" fmla="*/ 1846 h 10000"/>
                <a:gd name="connsiteX142" fmla="*/ 10000 w 10000"/>
                <a:gd name="connsiteY142" fmla="*/ 1564 h 10000"/>
                <a:gd name="connsiteX143" fmla="*/ 9710 w 10000"/>
                <a:gd name="connsiteY143"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884 w 10000"/>
                <a:gd name="connsiteY67" fmla="*/ 5468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449 w 10000"/>
                <a:gd name="connsiteY68" fmla="*/ 544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998 w 10000"/>
                <a:gd name="connsiteY67" fmla="*/ 5112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54 w 10000"/>
                <a:gd name="connsiteY68" fmla="*/ 4866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553 w 10000"/>
                <a:gd name="connsiteY69" fmla="*/ 577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83 w 10000"/>
                <a:gd name="connsiteY73" fmla="*/ 6595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710 w 10000"/>
                <a:gd name="connsiteY0" fmla="*/ 1303 h 10000"/>
                <a:gd name="connsiteX1" fmla="*/ 9337 w 10000"/>
                <a:gd name="connsiteY1" fmla="*/ 1564 h 10000"/>
                <a:gd name="connsiteX2" fmla="*/ 9151 w 10000"/>
                <a:gd name="connsiteY2" fmla="*/ 1455 h 10000"/>
                <a:gd name="connsiteX3" fmla="*/ 8985 w 10000"/>
                <a:gd name="connsiteY3" fmla="*/ 1239 h 10000"/>
                <a:gd name="connsiteX4" fmla="*/ 9109 w 10000"/>
                <a:gd name="connsiteY4" fmla="*/ 1065 h 10000"/>
                <a:gd name="connsiteX5" fmla="*/ 8819 w 10000"/>
                <a:gd name="connsiteY5" fmla="*/ 826 h 10000"/>
                <a:gd name="connsiteX6" fmla="*/ 8695 w 10000"/>
                <a:gd name="connsiteY6" fmla="*/ 914 h 10000"/>
                <a:gd name="connsiteX7" fmla="*/ 8425 w 10000"/>
                <a:gd name="connsiteY7" fmla="*/ 957 h 10000"/>
                <a:gd name="connsiteX8" fmla="*/ 8447 w 10000"/>
                <a:gd name="connsiteY8" fmla="*/ 1195 h 10000"/>
                <a:gd name="connsiteX9" fmla="*/ 8529 w 10000"/>
                <a:gd name="connsiteY9" fmla="*/ 1260 h 10000"/>
                <a:gd name="connsiteX10" fmla="*/ 8467 w 10000"/>
                <a:gd name="connsiteY10" fmla="*/ 1434 h 10000"/>
                <a:gd name="connsiteX11" fmla="*/ 8301 w 10000"/>
                <a:gd name="connsiteY11" fmla="*/ 1478 h 10000"/>
                <a:gd name="connsiteX12" fmla="*/ 8135 w 10000"/>
                <a:gd name="connsiteY12" fmla="*/ 1607 h 10000"/>
                <a:gd name="connsiteX13" fmla="*/ 8281 w 10000"/>
                <a:gd name="connsiteY13" fmla="*/ 1780 h 10000"/>
                <a:gd name="connsiteX14" fmla="*/ 8260 w 10000"/>
                <a:gd name="connsiteY14" fmla="*/ 1911 h 10000"/>
                <a:gd name="connsiteX15" fmla="*/ 7949 w 10000"/>
                <a:gd name="connsiteY15" fmla="*/ 2063 h 10000"/>
                <a:gd name="connsiteX16" fmla="*/ 7803 w 10000"/>
                <a:gd name="connsiteY16" fmla="*/ 2323 h 10000"/>
                <a:gd name="connsiteX17" fmla="*/ 7431 w 10000"/>
                <a:gd name="connsiteY17" fmla="*/ 1803 h 10000"/>
                <a:gd name="connsiteX18" fmla="*/ 7286 w 10000"/>
                <a:gd name="connsiteY18" fmla="*/ 1976 h 10000"/>
                <a:gd name="connsiteX19" fmla="*/ 7493 w 10000"/>
                <a:gd name="connsiteY19" fmla="*/ 2193 h 10000"/>
                <a:gd name="connsiteX20" fmla="*/ 7327 w 10000"/>
                <a:gd name="connsiteY20" fmla="*/ 2345 h 10000"/>
                <a:gd name="connsiteX21" fmla="*/ 7368 w 10000"/>
                <a:gd name="connsiteY21" fmla="*/ 2453 h 10000"/>
                <a:gd name="connsiteX22" fmla="*/ 7038 w 10000"/>
                <a:gd name="connsiteY22" fmla="*/ 2713 h 10000"/>
                <a:gd name="connsiteX23" fmla="*/ 6685 w 10000"/>
                <a:gd name="connsiteY23" fmla="*/ 2496 h 10000"/>
                <a:gd name="connsiteX24" fmla="*/ 5733 w 10000"/>
                <a:gd name="connsiteY24" fmla="*/ 3038 h 10000"/>
                <a:gd name="connsiteX25" fmla="*/ 5649 w 10000"/>
                <a:gd name="connsiteY25" fmla="*/ 2800 h 10000"/>
                <a:gd name="connsiteX26" fmla="*/ 5525 w 10000"/>
                <a:gd name="connsiteY26" fmla="*/ 2648 h 10000"/>
                <a:gd name="connsiteX27" fmla="*/ 5567 w 10000"/>
                <a:gd name="connsiteY27" fmla="*/ 2475 h 10000"/>
                <a:gd name="connsiteX28" fmla="*/ 5442 w 10000"/>
                <a:gd name="connsiteY28" fmla="*/ 2301 h 10000"/>
                <a:gd name="connsiteX29" fmla="*/ 5255 w 10000"/>
                <a:gd name="connsiteY29" fmla="*/ 2280 h 10000"/>
                <a:gd name="connsiteX30" fmla="*/ 5297 w 10000"/>
                <a:gd name="connsiteY30" fmla="*/ 2041 h 10000"/>
                <a:gd name="connsiteX31" fmla="*/ 5152 w 10000"/>
                <a:gd name="connsiteY31" fmla="*/ 1955 h 10000"/>
                <a:gd name="connsiteX32" fmla="*/ 5007 w 10000"/>
                <a:gd name="connsiteY32" fmla="*/ 1651 h 10000"/>
                <a:gd name="connsiteX33" fmla="*/ 4820 w 10000"/>
                <a:gd name="connsiteY33" fmla="*/ 1651 h 10000"/>
                <a:gd name="connsiteX34" fmla="*/ 4634 w 10000"/>
                <a:gd name="connsiteY34" fmla="*/ 1499 h 10000"/>
                <a:gd name="connsiteX35" fmla="*/ 4634 w 10000"/>
                <a:gd name="connsiteY35" fmla="*/ 1434 h 10000"/>
                <a:gd name="connsiteX36" fmla="*/ 4468 w 10000"/>
                <a:gd name="connsiteY36" fmla="*/ 1520 h 10000"/>
                <a:gd name="connsiteX37" fmla="*/ 4261 w 10000"/>
                <a:gd name="connsiteY37" fmla="*/ 1369 h 10000"/>
                <a:gd name="connsiteX38" fmla="*/ 4365 w 10000"/>
                <a:gd name="connsiteY38" fmla="*/ 1152 h 10000"/>
                <a:gd name="connsiteX39" fmla="*/ 4199 w 10000"/>
                <a:gd name="connsiteY39" fmla="*/ 978 h 10000"/>
                <a:gd name="connsiteX40" fmla="*/ 4324 w 10000"/>
                <a:gd name="connsiteY40" fmla="*/ 718 h 10000"/>
                <a:gd name="connsiteX41" fmla="*/ 3909 w 10000"/>
                <a:gd name="connsiteY41" fmla="*/ 372 h 10000"/>
                <a:gd name="connsiteX42" fmla="*/ 3661 w 10000"/>
                <a:gd name="connsiteY42" fmla="*/ 480 h 10000"/>
                <a:gd name="connsiteX43" fmla="*/ 3183 w 10000"/>
                <a:gd name="connsiteY43" fmla="*/ 285 h 10000"/>
                <a:gd name="connsiteX44" fmla="*/ 2997 w 10000"/>
                <a:gd name="connsiteY44" fmla="*/ 414 h 10000"/>
                <a:gd name="connsiteX45" fmla="*/ 2541 w 10000"/>
                <a:gd name="connsiteY45" fmla="*/ 24 h 10000"/>
                <a:gd name="connsiteX46" fmla="*/ 2168 w 10000"/>
                <a:gd name="connsiteY46" fmla="*/ 566 h 10000"/>
                <a:gd name="connsiteX47" fmla="*/ 2168 w 10000"/>
                <a:gd name="connsiteY47" fmla="*/ 891 h 10000"/>
                <a:gd name="connsiteX48" fmla="*/ 1899 w 10000"/>
                <a:gd name="connsiteY48" fmla="*/ 631 h 10000"/>
                <a:gd name="connsiteX49" fmla="*/ 1589 w 10000"/>
                <a:gd name="connsiteY49" fmla="*/ 1065 h 10000"/>
                <a:gd name="connsiteX50" fmla="*/ 1817 w 10000"/>
                <a:gd name="connsiteY50" fmla="*/ 1412 h 10000"/>
                <a:gd name="connsiteX51" fmla="*/ 1402 w 10000"/>
                <a:gd name="connsiteY51" fmla="*/ 1824 h 10000"/>
                <a:gd name="connsiteX52" fmla="*/ 1361 w 10000"/>
                <a:gd name="connsiteY52" fmla="*/ 1824 h 10000"/>
                <a:gd name="connsiteX53" fmla="*/ 1526 w 10000"/>
                <a:gd name="connsiteY53" fmla="*/ 2063 h 10000"/>
                <a:gd name="connsiteX54" fmla="*/ 1319 w 10000"/>
                <a:gd name="connsiteY54" fmla="*/ 2301 h 10000"/>
                <a:gd name="connsiteX55" fmla="*/ 1464 w 10000"/>
                <a:gd name="connsiteY55" fmla="*/ 2453 h 10000"/>
                <a:gd name="connsiteX56" fmla="*/ 1402 w 10000"/>
                <a:gd name="connsiteY56" fmla="*/ 2692 h 10000"/>
                <a:gd name="connsiteX57" fmla="*/ 1319 w 10000"/>
                <a:gd name="connsiteY57" fmla="*/ 2822 h 10000"/>
                <a:gd name="connsiteX58" fmla="*/ 1464 w 10000"/>
                <a:gd name="connsiteY58" fmla="*/ 3082 h 10000"/>
                <a:gd name="connsiteX59" fmla="*/ 1216 w 10000"/>
                <a:gd name="connsiteY59" fmla="*/ 3494 h 10000"/>
                <a:gd name="connsiteX60" fmla="*/ 1402 w 10000"/>
                <a:gd name="connsiteY60" fmla="*/ 3733 h 10000"/>
                <a:gd name="connsiteX61" fmla="*/ 1070 w 10000"/>
                <a:gd name="connsiteY61" fmla="*/ 4144 h 10000"/>
                <a:gd name="connsiteX62" fmla="*/ 1236 w 10000"/>
                <a:gd name="connsiteY62" fmla="*/ 4362 h 10000"/>
                <a:gd name="connsiteX63" fmla="*/ 988 w 10000"/>
                <a:gd name="connsiteY63" fmla="*/ 4708 h 10000"/>
                <a:gd name="connsiteX64" fmla="*/ 1319 w 10000"/>
                <a:gd name="connsiteY64" fmla="*/ 4839 h 10000"/>
                <a:gd name="connsiteX65" fmla="*/ 1216 w 10000"/>
                <a:gd name="connsiteY65" fmla="*/ 5121 h 10000"/>
                <a:gd name="connsiteX66" fmla="*/ 1298 w 10000"/>
                <a:gd name="connsiteY66" fmla="*/ 5446 h 10000"/>
                <a:gd name="connsiteX67" fmla="*/ 1863 w 10000"/>
                <a:gd name="connsiteY67" fmla="*/ 5149 h 10000"/>
                <a:gd name="connsiteX68" fmla="*/ 2188 w 10000"/>
                <a:gd name="connsiteY68" fmla="*/ 4885 h 10000"/>
                <a:gd name="connsiteX69" fmla="*/ 2579 w 10000"/>
                <a:gd name="connsiteY69" fmla="*/ 4891 h 10000"/>
                <a:gd name="connsiteX70" fmla="*/ 346 w 10000"/>
                <a:gd name="connsiteY70" fmla="*/ 6139 h 10000"/>
                <a:gd name="connsiteX71" fmla="*/ 574 w 10000"/>
                <a:gd name="connsiteY71" fmla="*/ 6249 h 10000"/>
                <a:gd name="connsiteX72" fmla="*/ 574 w 10000"/>
                <a:gd name="connsiteY72" fmla="*/ 6660 h 10000"/>
                <a:gd name="connsiteX73" fmla="*/ 2968 w 10000"/>
                <a:gd name="connsiteY73" fmla="*/ 4480 h 10000"/>
                <a:gd name="connsiteX74" fmla="*/ 14 w 10000"/>
                <a:gd name="connsiteY74" fmla="*/ 6660 h 10000"/>
                <a:gd name="connsiteX75" fmla="*/ 159 w 10000"/>
                <a:gd name="connsiteY75" fmla="*/ 6812 h 10000"/>
                <a:gd name="connsiteX76" fmla="*/ 76 w 10000"/>
                <a:gd name="connsiteY76" fmla="*/ 7137 h 10000"/>
                <a:gd name="connsiteX77" fmla="*/ 366 w 10000"/>
                <a:gd name="connsiteY77" fmla="*/ 7788 h 10000"/>
                <a:gd name="connsiteX78" fmla="*/ 718 w 10000"/>
                <a:gd name="connsiteY78" fmla="*/ 7657 h 10000"/>
                <a:gd name="connsiteX79" fmla="*/ 1112 w 10000"/>
                <a:gd name="connsiteY79" fmla="*/ 8134 h 10000"/>
                <a:gd name="connsiteX80" fmla="*/ 904 w 10000"/>
                <a:gd name="connsiteY80" fmla="*/ 8352 h 10000"/>
                <a:gd name="connsiteX81" fmla="*/ 408 w 10000"/>
                <a:gd name="connsiteY81" fmla="*/ 7961 h 10000"/>
                <a:gd name="connsiteX82" fmla="*/ 325 w 10000"/>
                <a:gd name="connsiteY82" fmla="*/ 8070 h 10000"/>
                <a:gd name="connsiteX83" fmla="*/ 449 w 10000"/>
                <a:gd name="connsiteY83" fmla="*/ 8330 h 10000"/>
                <a:gd name="connsiteX84" fmla="*/ 242 w 10000"/>
                <a:gd name="connsiteY84" fmla="*/ 8634 h 10000"/>
                <a:gd name="connsiteX85" fmla="*/ 511 w 10000"/>
                <a:gd name="connsiteY85" fmla="*/ 8763 h 10000"/>
                <a:gd name="connsiteX86" fmla="*/ 697 w 10000"/>
                <a:gd name="connsiteY86" fmla="*/ 8482 h 10000"/>
                <a:gd name="connsiteX87" fmla="*/ 1029 w 10000"/>
                <a:gd name="connsiteY87" fmla="*/ 8786 h 10000"/>
                <a:gd name="connsiteX88" fmla="*/ 1257 w 10000"/>
                <a:gd name="connsiteY88" fmla="*/ 8634 h 10000"/>
                <a:gd name="connsiteX89" fmla="*/ 1319 w 10000"/>
                <a:gd name="connsiteY89" fmla="*/ 8742 h 10000"/>
                <a:gd name="connsiteX90" fmla="*/ 1444 w 10000"/>
                <a:gd name="connsiteY90" fmla="*/ 8482 h 10000"/>
                <a:gd name="connsiteX91" fmla="*/ 1837 w 10000"/>
                <a:gd name="connsiteY91" fmla="*/ 8525 h 10000"/>
                <a:gd name="connsiteX92" fmla="*/ 1733 w 10000"/>
                <a:gd name="connsiteY92" fmla="*/ 8677 h 10000"/>
                <a:gd name="connsiteX93" fmla="*/ 1837 w 10000"/>
                <a:gd name="connsiteY93" fmla="*/ 8829 h 10000"/>
                <a:gd name="connsiteX94" fmla="*/ 2148 w 10000"/>
                <a:gd name="connsiteY94" fmla="*/ 8721 h 10000"/>
                <a:gd name="connsiteX95" fmla="*/ 2210 w 10000"/>
                <a:gd name="connsiteY95" fmla="*/ 8873 h 10000"/>
                <a:gd name="connsiteX96" fmla="*/ 2086 w 10000"/>
                <a:gd name="connsiteY96" fmla="*/ 9067 h 10000"/>
                <a:gd name="connsiteX97" fmla="*/ 2272 w 10000"/>
                <a:gd name="connsiteY97" fmla="*/ 9176 h 10000"/>
                <a:gd name="connsiteX98" fmla="*/ 2314 w 10000"/>
                <a:gd name="connsiteY98" fmla="*/ 9415 h 10000"/>
                <a:gd name="connsiteX99" fmla="*/ 1983 w 10000"/>
                <a:gd name="connsiteY99" fmla="*/ 9696 h 10000"/>
                <a:gd name="connsiteX100" fmla="*/ 2086 w 10000"/>
                <a:gd name="connsiteY100" fmla="*/ 9956 h 10000"/>
                <a:gd name="connsiteX101" fmla="*/ 2418 w 10000"/>
                <a:gd name="connsiteY101" fmla="*/ 10000 h 10000"/>
                <a:gd name="connsiteX102" fmla="*/ 2583 w 10000"/>
                <a:gd name="connsiteY102" fmla="*/ 9523 h 10000"/>
                <a:gd name="connsiteX103" fmla="*/ 3204 w 10000"/>
                <a:gd name="connsiteY103" fmla="*/ 9458 h 10000"/>
                <a:gd name="connsiteX104" fmla="*/ 3474 w 10000"/>
                <a:gd name="connsiteY104" fmla="*/ 9111 h 10000"/>
                <a:gd name="connsiteX105" fmla="*/ 4033 w 10000"/>
                <a:gd name="connsiteY105" fmla="*/ 9415 h 10000"/>
                <a:gd name="connsiteX106" fmla="*/ 4303 w 10000"/>
                <a:gd name="connsiteY106" fmla="*/ 8851 h 10000"/>
                <a:gd name="connsiteX107" fmla="*/ 4282 w 10000"/>
                <a:gd name="connsiteY107" fmla="*/ 8763 h 10000"/>
                <a:gd name="connsiteX108" fmla="*/ 4468 w 10000"/>
                <a:gd name="connsiteY108" fmla="*/ 8417 h 10000"/>
                <a:gd name="connsiteX109" fmla="*/ 4365 w 10000"/>
                <a:gd name="connsiteY109" fmla="*/ 8178 h 10000"/>
                <a:gd name="connsiteX110" fmla="*/ 4240 w 10000"/>
                <a:gd name="connsiteY110" fmla="*/ 7961 h 10000"/>
                <a:gd name="connsiteX111" fmla="*/ 4365 w 10000"/>
                <a:gd name="connsiteY111" fmla="*/ 7745 h 10000"/>
                <a:gd name="connsiteX112" fmla="*/ 4427 w 10000"/>
                <a:gd name="connsiteY112" fmla="*/ 7355 h 10000"/>
                <a:gd name="connsiteX113" fmla="*/ 4199 w 10000"/>
                <a:gd name="connsiteY113" fmla="*/ 6964 h 10000"/>
                <a:gd name="connsiteX114" fmla="*/ 4282 w 10000"/>
                <a:gd name="connsiteY114" fmla="*/ 6508 h 10000"/>
                <a:gd name="connsiteX115" fmla="*/ 4365 w 10000"/>
                <a:gd name="connsiteY115" fmla="*/ 6291 h 10000"/>
                <a:gd name="connsiteX116" fmla="*/ 4406 w 10000"/>
                <a:gd name="connsiteY116" fmla="*/ 6097 h 10000"/>
                <a:gd name="connsiteX117" fmla="*/ 4654 w 10000"/>
                <a:gd name="connsiteY117" fmla="*/ 5728 h 10000"/>
                <a:gd name="connsiteX118" fmla="*/ 5152 w 10000"/>
                <a:gd name="connsiteY118" fmla="*/ 5533 h 10000"/>
                <a:gd name="connsiteX119" fmla="*/ 5235 w 10000"/>
                <a:gd name="connsiteY119" fmla="*/ 5620 h 10000"/>
                <a:gd name="connsiteX120" fmla="*/ 5173 w 10000"/>
                <a:gd name="connsiteY120" fmla="*/ 5685 h 10000"/>
                <a:gd name="connsiteX121" fmla="*/ 5318 w 10000"/>
                <a:gd name="connsiteY121" fmla="*/ 5814 h 10000"/>
                <a:gd name="connsiteX122" fmla="*/ 5483 w 10000"/>
                <a:gd name="connsiteY122" fmla="*/ 5641 h 10000"/>
                <a:gd name="connsiteX123" fmla="*/ 5670 w 10000"/>
                <a:gd name="connsiteY123" fmla="*/ 5489 h 10000"/>
                <a:gd name="connsiteX124" fmla="*/ 6063 w 10000"/>
                <a:gd name="connsiteY124" fmla="*/ 4860 h 10000"/>
                <a:gd name="connsiteX125" fmla="*/ 6375 w 10000"/>
                <a:gd name="connsiteY125" fmla="*/ 5056 h 10000"/>
                <a:gd name="connsiteX126" fmla="*/ 6353 w 10000"/>
                <a:gd name="connsiteY126" fmla="*/ 4904 h 10000"/>
                <a:gd name="connsiteX127" fmla="*/ 6560 w 10000"/>
                <a:gd name="connsiteY127" fmla="*/ 4752 h 10000"/>
                <a:gd name="connsiteX128" fmla="*/ 6768 w 10000"/>
                <a:gd name="connsiteY128" fmla="*/ 4860 h 10000"/>
                <a:gd name="connsiteX129" fmla="*/ 6560 w 10000"/>
                <a:gd name="connsiteY129" fmla="*/ 4427 h 10000"/>
                <a:gd name="connsiteX130" fmla="*/ 6685 w 10000"/>
                <a:gd name="connsiteY130" fmla="*/ 4253 h 10000"/>
                <a:gd name="connsiteX131" fmla="*/ 7120 w 10000"/>
                <a:gd name="connsiteY131" fmla="*/ 4123 h 10000"/>
                <a:gd name="connsiteX132" fmla="*/ 7079 w 10000"/>
                <a:gd name="connsiteY132" fmla="*/ 4079 h 10000"/>
                <a:gd name="connsiteX133" fmla="*/ 7411 w 10000"/>
                <a:gd name="connsiteY133" fmla="*/ 3754 h 10000"/>
                <a:gd name="connsiteX134" fmla="*/ 7659 w 10000"/>
                <a:gd name="connsiteY134" fmla="*/ 3581 h 10000"/>
                <a:gd name="connsiteX135" fmla="*/ 8281 w 10000"/>
                <a:gd name="connsiteY135" fmla="*/ 3234 h 10000"/>
                <a:gd name="connsiteX136" fmla="*/ 8467 w 10000"/>
                <a:gd name="connsiteY136" fmla="*/ 3017 h 10000"/>
                <a:gd name="connsiteX137" fmla="*/ 8839 w 10000"/>
                <a:gd name="connsiteY137" fmla="*/ 2605 h 10000"/>
                <a:gd name="connsiteX138" fmla="*/ 9503 w 10000"/>
                <a:gd name="connsiteY138" fmla="*/ 2236 h 10000"/>
                <a:gd name="connsiteX139" fmla="*/ 9544 w 10000"/>
                <a:gd name="connsiteY139" fmla="*/ 2084 h 10000"/>
                <a:gd name="connsiteX140" fmla="*/ 9813 w 10000"/>
                <a:gd name="connsiteY140" fmla="*/ 1846 h 10000"/>
                <a:gd name="connsiteX141" fmla="*/ 10000 w 10000"/>
                <a:gd name="connsiteY141" fmla="*/ 1564 h 10000"/>
                <a:gd name="connsiteX142" fmla="*/ 9710 w 10000"/>
                <a:gd name="connsiteY142" fmla="*/ 1303 h 10000"/>
                <a:gd name="connsiteX0" fmla="*/ 9643 w 9933"/>
                <a:gd name="connsiteY0" fmla="*/ 1303 h 10000"/>
                <a:gd name="connsiteX1" fmla="*/ 9270 w 9933"/>
                <a:gd name="connsiteY1" fmla="*/ 1564 h 10000"/>
                <a:gd name="connsiteX2" fmla="*/ 9084 w 9933"/>
                <a:gd name="connsiteY2" fmla="*/ 1455 h 10000"/>
                <a:gd name="connsiteX3" fmla="*/ 8918 w 9933"/>
                <a:gd name="connsiteY3" fmla="*/ 1239 h 10000"/>
                <a:gd name="connsiteX4" fmla="*/ 9042 w 9933"/>
                <a:gd name="connsiteY4" fmla="*/ 1065 h 10000"/>
                <a:gd name="connsiteX5" fmla="*/ 8752 w 9933"/>
                <a:gd name="connsiteY5" fmla="*/ 826 h 10000"/>
                <a:gd name="connsiteX6" fmla="*/ 8628 w 9933"/>
                <a:gd name="connsiteY6" fmla="*/ 914 h 10000"/>
                <a:gd name="connsiteX7" fmla="*/ 8358 w 9933"/>
                <a:gd name="connsiteY7" fmla="*/ 957 h 10000"/>
                <a:gd name="connsiteX8" fmla="*/ 8380 w 9933"/>
                <a:gd name="connsiteY8" fmla="*/ 1195 h 10000"/>
                <a:gd name="connsiteX9" fmla="*/ 8462 w 9933"/>
                <a:gd name="connsiteY9" fmla="*/ 1260 h 10000"/>
                <a:gd name="connsiteX10" fmla="*/ 8400 w 9933"/>
                <a:gd name="connsiteY10" fmla="*/ 1434 h 10000"/>
                <a:gd name="connsiteX11" fmla="*/ 8234 w 9933"/>
                <a:gd name="connsiteY11" fmla="*/ 1478 h 10000"/>
                <a:gd name="connsiteX12" fmla="*/ 8068 w 9933"/>
                <a:gd name="connsiteY12" fmla="*/ 1607 h 10000"/>
                <a:gd name="connsiteX13" fmla="*/ 8214 w 9933"/>
                <a:gd name="connsiteY13" fmla="*/ 1780 h 10000"/>
                <a:gd name="connsiteX14" fmla="*/ 8193 w 9933"/>
                <a:gd name="connsiteY14" fmla="*/ 1911 h 10000"/>
                <a:gd name="connsiteX15" fmla="*/ 7882 w 9933"/>
                <a:gd name="connsiteY15" fmla="*/ 2063 h 10000"/>
                <a:gd name="connsiteX16" fmla="*/ 7736 w 9933"/>
                <a:gd name="connsiteY16" fmla="*/ 2323 h 10000"/>
                <a:gd name="connsiteX17" fmla="*/ 7364 w 9933"/>
                <a:gd name="connsiteY17" fmla="*/ 1803 h 10000"/>
                <a:gd name="connsiteX18" fmla="*/ 7219 w 9933"/>
                <a:gd name="connsiteY18" fmla="*/ 1976 h 10000"/>
                <a:gd name="connsiteX19" fmla="*/ 7426 w 9933"/>
                <a:gd name="connsiteY19" fmla="*/ 2193 h 10000"/>
                <a:gd name="connsiteX20" fmla="*/ 7260 w 9933"/>
                <a:gd name="connsiteY20" fmla="*/ 2345 h 10000"/>
                <a:gd name="connsiteX21" fmla="*/ 7301 w 9933"/>
                <a:gd name="connsiteY21" fmla="*/ 2453 h 10000"/>
                <a:gd name="connsiteX22" fmla="*/ 6971 w 9933"/>
                <a:gd name="connsiteY22" fmla="*/ 2713 h 10000"/>
                <a:gd name="connsiteX23" fmla="*/ 6618 w 9933"/>
                <a:gd name="connsiteY23" fmla="*/ 2496 h 10000"/>
                <a:gd name="connsiteX24" fmla="*/ 5666 w 9933"/>
                <a:gd name="connsiteY24" fmla="*/ 3038 h 10000"/>
                <a:gd name="connsiteX25" fmla="*/ 5582 w 9933"/>
                <a:gd name="connsiteY25" fmla="*/ 2800 h 10000"/>
                <a:gd name="connsiteX26" fmla="*/ 5458 w 9933"/>
                <a:gd name="connsiteY26" fmla="*/ 2648 h 10000"/>
                <a:gd name="connsiteX27" fmla="*/ 5500 w 9933"/>
                <a:gd name="connsiteY27" fmla="*/ 2475 h 10000"/>
                <a:gd name="connsiteX28" fmla="*/ 5375 w 9933"/>
                <a:gd name="connsiteY28" fmla="*/ 2301 h 10000"/>
                <a:gd name="connsiteX29" fmla="*/ 5188 w 9933"/>
                <a:gd name="connsiteY29" fmla="*/ 2280 h 10000"/>
                <a:gd name="connsiteX30" fmla="*/ 5230 w 9933"/>
                <a:gd name="connsiteY30" fmla="*/ 2041 h 10000"/>
                <a:gd name="connsiteX31" fmla="*/ 5085 w 9933"/>
                <a:gd name="connsiteY31" fmla="*/ 1955 h 10000"/>
                <a:gd name="connsiteX32" fmla="*/ 4940 w 9933"/>
                <a:gd name="connsiteY32" fmla="*/ 1651 h 10000"/>
                <a:gd name="connsiteX33" fmla="*/ 4753 w 9933"/>
                <a:gd name="connsiteY33" fmla="*/ 1651 h 10000"/>
                <a:gd name="connsiteX34" fmla="*/ 4567 w 9933"/>
                <a:gd name="connsiteY34" fmla="*/ 1499 h 10000"/>
                <a:gd name="connsiteX35" fmla="*/ 4567 w 9933"/>
                <a:gd name="connsiteY35" fmla="*/ 1434 h 10000"/>
                <a:gd name="connsiteX36" fmla="*/ 4401 w 9933"/>
                <a:gd name="connsiteY36" fmla="*/ 1520 h 10000"/>
                <a:gd name="connsiteX37" fmla="*/ 4194 w 9933"/>
                <a:gd name="connsiteY37" fmla="*/ 1369 h 10000"/>
                <a:gd name="connsiteX38" fmla="*/ 4298 w 9933"/>
                <a:gd name="connsiteY38" fmla="*/ 1152 h 10000"/>
                <a:gd name="connsiteX39" fmla="*/ 4132 w 9933"/>
                <a:gd name="connsiteY39" fmla="*/ 978 h 10000"/>
                <a:gd name="connsiteX40" fmla="*/ 4257 w 9933"/>
                <a:gd name="connsiteY40" fmla="*/ 718 h 10000"/>
                <a:gd name="connsiteX41" fmla="*/ 3842 w 9933"/>
                <a:gd name="connsiteY41" fmla="*/ 372 h 10000"/>
                <a:gd name="connsiteX42" fmla="*/ 3594 w 9933"/>
                <a:gd name="connsiteY42" fmla="*/ 480 h 10000"/>
                <a:gd name="connsiteX43" fmla="*/ 3116 w 9933"/>
                <a:gd name="connsiteY43" fmla="*/ 285 h 10000"/>
                <a:gd name="connsiteX44" fmla="*/ 2930 w 9933"/>
                <a:gd name="connsiteY44" fmla="*/ 414 h 10000"/>
                <a:gd name="connsiteX45" fmla="*/ 2474 w 9933"/>
                <a:gd name="connsiteY45" fmla="*/ 24 h 10000"/>
                <a:gd name="connsiteX46" fmla="*/ 2101 w 9933"/>
                <a:gd name="connsiteY46" fmla="*/ 566 h 10000"/>
                <a:gd name="connsiteX47" fmla="*/ 2101 w 9933"/>
                <a:gd name="connsiteY47" fmla="*/ 891 h 10000"/>
                <a:gd name="connsiteX48" fmla="*/ 1832 w 9933"/>
                <a:gd name="connsiteY48" fmla="*/ 631 h 10000"/>
                <a:gd name="connsiteX49" fmla="*/ 1522 w 9933"/>
                <a:gd name="connsiteY49" fmla="*/ 1065 h 10000"/>
                <a:gd name="connsiteX50" fmla="*/ 1750 w 9933"/>
                <a:gd name="connsiteY50" fmla="*/ 1412 h 10000"/>
                <a:gd name="connsiteX51" fmla="*/ 1335 w 9933"/>
                <a:gd name="connsiteY51" fmla="*/ 1824 h 10000"/>
                <a:gd name="connsiteX52" fmla="*/ 1294 w 9933"/>
                <a:gd name="connsiteY52" fmla="*/ 1824 h 10000"/>
                <a:gd name="connsiteX53" fmla="*/ 1459 w 9933"/>
                <a:gd name="connsiteY53" fmla="*/ 2063 h 10000"/>
                <a:gd name="connsiteX54" fmla="*/ 1252 w 9933"/>
                <a:gd name="connsiteY54" fmla="*/ 2301 h 10000"/>
                <a:gd name="connsiteX55" fmla="*/ 1397 w 9933"/>
                <a:gd name="connsiteY55" fmla="*/ 2453 h 10000"/>
                <a:gd name="connsiteX56" fmla="*/ 1335 w 9933"/>
                <a:gd name="connsiteY56" fmla="*/ 2692 h 10000"/>
                <a:gd name="connsiteX57" fmla="*/ 1252 w 9933"/>
                <a:gd name="connsiteY57" fmla="*/ 2822 h 10000"/>
                <a:gd name="connsiteX58" fmla="*/ 1397 w 9933"/>
                <a:gd name="connsiteY58" fmla="*/ 3082 h 10000"/>
                <a:gd name="connsiteX59" fmla="*/ 1149 w 9933"/>
                <a:gd name="connsiteY59" fmla="*/ 3494 h 10000"/>
                <a:gd name="connsiteX60" fmla="*/ 1335 w 9933"/>
                <a:gd name="connsiteY60" fmla="*/ 3733 h 10000"/>
                <a:gd name="connsiteX61" fmla="*/ 1003 w 9933"/>
                <a:gd name="connsiteY61" fmla="*/ 4144 h 10000"/>
                <a:gd name="connsiteX62" fmla="*/ 1169 w 9933"/>
                <a:gd name="connsiteY62" fmla="*/ 4362 h 10000"/>
                <a:gd name="connsiteX63" fmla="*/ 921 w 9933"/>
                <a:gd name="connsiteY63" fmla="*/ 4708 h 10000"/>
                <a:gd name="connsiteX64" fmla="*/ 1252 w 9933"/>
                <a:gd name="connsiteY64" fmla="*/ 4839 h 10000"/>
                <a:gd name="connsiteX65" fmla="*/ 1149 w 9933"/>
                <a:gd name="connsiteY65" fmla="*/ 5121 h 10000"/>
                <a:gd name="connsiteX66" fmla="*/ 1231 w 9933"/>
                <a:gd name="connsiteY66" fmla="*/ 5446 h 10000"/>
                <a:gd name="connsiteX67" fmla="*/ 1796 w 9933"/>
                <a:gd name="connsiteY67" fmla="*/ 5149 h 10000"/>
                <a:gd name="connsiteX68" fmla="*/ 2121 w 9933"/>
                <a:gd name="connsiteY68" fmla="*/ 4885 h 10000"/>
                <a:gd name="connsiteX69" fmla="*/ 2512 w 9933"/>
                <a:gd name="connsiteY69" fmla="*/ 4891 h 10000"/>
                <a:gd name="connsiteX70" fmla="*/ 279 w 9933"/>
                <a:gd name="connsiteY70" fmla="*/ 6139 h 10000"/>
                <a:gd name="connsiteX71" fmla="*/ 507 w 9933"/>
                <a:gd name="connsiteY71" fmla="*/ 6249 h 10000"/>
                <a:gd name="connsiteX72" fmla="*/ 507 w 9933"/>
                <a:gd name="connsiteY72" fmla="*/ 6660 h 10000"/>
                <a:gd name="connsiteX73" fmla="*/ 2901 w 9933"/>
                <a:gd name="connsiteY73" fmla="*/ 4480 h 10000"/>
                <a:gd name="connsiteX74" fmla="*/ 4928 w 9933"/>
                <a:gd name="connsiteY74" fmla="*/ 5107 h 10000"/>
                <a:gd name="connsiteX75" fmla="*/ 92 w 9933"/>
                <a:gd name="connsiteY75" fmla="*/ 6812 h 10000"/>
                <a:gd name="connsiteX76" fmla="*/ 9 w 9933"/>
                <a:gd name="connsiteY76" fmla="*/ 7137 h 10000"/>
                <a:gd name="connsiteX77" fmla="*/ 299 w 9933"/>
                <a:gd name="connsiteY77" fmla="*/ 7788 h 10000"/>
                <a:gd name="connsiteX78" fmla="*/ 651 w 9933"/>
                <a:gd name="connsiteY78" fmla="*/ 7657 h 10000"/>
                <a:gd name="connsiteX79" fmla="*/ 1045 w 9933"/>
                <a:gd name="connsiteY79" fmla="*/ 8134 h 10000"/>
                <a:gd name="connsiteX80" fmla="*/ 837 w 9933"/>
                <a:gd name="connsiteY80" fmla="*/ 8352 h 10000"/>
                <a:gd name="connsiteX81" fmla="*/ 341 w 9933"/>
                <a:gd name="connsiteY81" fmla="*/ 7961 h 10000"/>
                <a:gd name="connsiteX82" fmla="*/ 258 w 9933"/>
                <a:gd name="connsiteY82" fmla="*/ 8070 h 10000"/>
                <a:gd name="connsiteX83" fmla="*/ 382 w 9933"/>
                <a:gd name="connsiteY83" fmla="*/ 8330 h 10000"/>
                <a:gd name="connsiteX84" fmla="*/ 175 w 9933"/>
                <a:gd name="connsiteY84" fmla="*/ 8634 h 10000"/>
                <a:gd name="connsiteX85" fmla="*/ 444 w 9933"/>
                <a:gd name="connsiteY85" fmla="*/ 8763 h 10000"/>
                <a:gd name="connsiteX86" fmla="*/ 630 w 9933"/>
                <a:gd name="connsiteY86" fmla="*/ 8482 h 10000"/>
                <a:gd name="connsiteX87" fmla="*/ 962 w 9933"/>
                <a:gd name="connsiteY87" fmla="*/ 8786 h 10000"/>
                <a:gd name="connsiteX88" fmla="*/ 1190 w 9933"/>
                <a:gd name="connsiteY88" fmla="*/ 8634 h 10000"/>
                <a:gd name="connsiteX89" fmla="*/ 1252 w 9933"/>
                <a:gd name="connsiteY89" fmla="*/ 8742 h 10000"/>
                <a:gd name="connsiteX90" fmla="*/ 1377 w 9933"/>
                <a:gd name="connsiteY90" fmla="*/ 8482 h 10000"/>
                <a:gd name="connsiteX91" fmla="*/ 1770 w 9933"/>
                <a:gd name="connsiteY91" fmla="*/ 8525 h 10000"/>
                <a:gd name="connsiteX92" fmla="*/ 1666 w 9933"/>
                <a:gd name="connsiteY92" fmla="*/ 8677 h 10000"/>
                <a:gd name="connsiteX93" fmla="*/ 1770 w 9933"/>
                <a:gd name="connsiteY93" fmla="*/ 8829 h 10000"/>
                <a:gd name="connsiteX94" fmla="*/ 2081 w 9933"/>
                <a:gd name="connsiteY94" fmla="*/ 8721 h 10000"/>
                <a:gd name="connsiteX95" fmla="*/ 2143 w 9933"/>
                <a:gd name="connsiteY95" fmla="*/ 8873 h 10000"/>
                <a:gd name="connsiteX96" fmla="*/ 2019 w 9933"/>
                <a:gd name="connsiteY96" fmla="*/ 9067 h 10000"/>
                <a:gd name="connsiteX97" fmla="*/ 2205 w 9933"/>
                <a:gd name="connsiteY97" fmla="*/ 9176 h 10000"/>
                <a:gd name="connsiteX98" fmla="*/ 2247 w 9933"/>
                <a:gd name="connsiteY98" fmla="*/ 9415 h 10000"/>
                <a:gd name="connsiteX99" fmla="*/ 1916 w 9933"/>
                <a:gd name="connsiteY99" fmla="*/ 9696 h 10000"/>
                <a:gd name="connsiteX100" fmla="*/ 2019 w 9933"/>
                <a:gd name="connsiteY100" fmla="*/ 9956 h 10000"/>
                <a:gd name="connsiteX101" fmla="*/ 2351 w 9933"/>
                <a:gd name="connsiteY101" fmla="*/ 10000 h 10000"/>
                <a:gd name="connsiteX102" fmla="*/ 2516 w 9933"/>
                <a:gd name="connsiteY102" fmla="*/ 9523 h 10000"/>
                <a:gd name="connsiteX103" fmla="*/ 3137 w 9933"/>
                <a:gd name="connsiteY103" fmla="*/ 9458 h 10000"/>
                <a:gd name="connsiteX104" fmla="*/ 3407 w 9933"/>
                <a:gd name="connsiteY104" fmla="*/ 9111 h 10000"/>
                <a:gd name="connsiteX105" fmla="*/ 3966 w 9933"/>
                <a:gd name="connsiteY105" fmla="*/ 9415 h 10000"/>
                <a:gd name="connsiteX106" fmla="*/ 4236 w 9933"/>
                <a:gd name="connsiteY106" fmla="*/ 8851 h 10000"/>
                <a:gd name="connsiteX107" fmla="*/ 4215 w 9933"/>
                <a:gd name="connsiteY107" fmla="*/ 8763 h 10000"/>
                <a:gd name="connsiteX108" fmla="*/ 4401 w 9933"/>
                <a:gd name="connsiteY108" fmla="*/ 8417 h 10000"/>
                <a:gd name="connsiteX109" fmla="*/ 4298 w 9933"/>
                <a:gd name="connsiteY109" fmla="*/ 8178 h 10000"/>
                <a:gd name="connsiteX110" fmla="*/ 4173 w 9933"/>
                <a:gd name="connsiteY110" fmla="*/ 7961 h 10000"/>
                <a:gd name="connsiteX111" fmla="*/ 4298 w 9933"/>
                <a:gd name="connsiteY111" fmla="*/ 7745 h 10000"/>
                <a:gd name="connsiteX112" fmla="*/ 4360 w 9933"/>
                <a:gd name="connsiteY112" fmla="*/ 7355 h 10000"/>
                <a:gd name="connsiteX113" fmla="*/ 4132 w 9933"/>
                <a:gd name="connsiteY113" fmla="*/ 6964 h 10000"/>
                <a:gd name="connsiteX114" fmla="*/ 4215 w 9933"/>
                <a:gd name="connsiteY114" fmla="*/ 6508 h 10000"/>
                <a:gd name="connsiteX115" fmla="*/ 4298 w 9933"/>
                <a:gd name="connsiteY115" fmla="*/ 6291 h 10000"/>
                <a:gd name="connsiteX116" fmla="*/ 4339 w 9933"/>
                <a:gd name="connsiteY116" fmla="*/ 6097 h 10000"/>
                <a:gd name="connsiteX117" fmla="*/ 4587 w 9933"/>
                <a:gd name="connsiteY117" fmla="*/ 5728 h 10000"/>
                <a:gd name="connsiteX118" fmla="*/ 5085 w 9933"/>
                <a:gd name="connsiteY118" fmla="*/ 5533 h 10000"/>
                <a:gd name="connsiteX119" fmla="*/ 5168 w 9933"/>
                <a:gd name="connsiteY119" fmla="*/ 5620 h 10000"/>
                <a:gd name="connsiteX120" fmla="*/ 5106 w 9933"/>
                <a:gd name="connsiteY120" fmla="*/ 5685 h 10000"/>
                <a:gd name="connsiteX121" fmla="*/ 5251 w 9933"/>
                <a:gd name="connsiteY121" fmla="*/ 5814 h 10000"/>
                <a:gd name="connsiteX122" fmla="*/ 5416 w 9933"/>
                <a:gd name="connsiteY122" fmla="*/ 5641 h 10000"/>
                <a:gd name="connsiteX123" fmla="*/ 5603 w 9933"/>
                <a:gd name="connsiteY123" fmla="*/ 5489 h 10000"/>
                <a:gd name="connsiteX124" fmla="*/ 5996 w 9933"/>
                <a:gd name="connsiteY124" fmla="*/ 4860 h 10000"/>
                <a:gd name="connsiteX125" fmla="*/ 6308 w 9933"/>
                <a:gd name="connsiteY125" fmla="*/ 5056 h 10000"/>
                <a:gd name="connsiteX126" fmla="*/ 6286 w 9933"/>
                <a:gd name="connsiteY126" fmla="*/ 4904 h 10000"/>
                <a:gd name="connsiteX127" fmla="*/ 6493 w 9933"/>
                <a:gd name="connsiteY127" fmla="*/ 4752 h 10000"/>
                <a:gd name="connsiteX128" fmla="*/ 6701 w 9933"/>
                <a:gd name="connsiteY128" fmla="*/ 4860 h 10000"/>
                <a:gd name="connsiteX129" fmla="*/ 6493 w 9933"/>
                <a:gd name="connsiteY129" fmla="*/ 4427 h 10000"/>
                <a:gd name="connsiteX130" fmla="*/ 6618 w 9933"/>
                <a:gd name="connsiteY130" fmla="*/ 4253 h 10000"/>
                <a:gd name="connsiteX131" fmla="*/ 7053 w 9933"/>
                <a:gd name="connsiteY131" fmla="*/ 4123 h 10000"/>
                <a:gd name="connsiteX132" fmla="*/ 7012 w 9933"/>
                <a:gd name="connsiteY132" fmla="*/ 4079 h 10000"/>
                <a:gd name="connsiteX133" fmla="*/ 7344 w 9933"/>
                <a:gd name="connsiteY133" fmla="*/ 3754 h 10000"/>
                <a:gd name="connsiteX134" fmla="*/ 7592 w 9933"/>
                <a:gd name="connsiteY134" fmla="*/ 3581 h 10000"/>
                <a:gd name="connsiteX135" fmla="*/ 8214 w 9933"/>
                <a:gd name="connsiteY135" fmla="*/ 3234 h 10000"/>
                <a:gd name="connsiteX136" fmla="*/ 8400 w 9933"/>
                <a:gd name="connsiteY136" fmla="*/ 3017 h 10000"/>
                <a:gd name="connsiteX137" fmla="*/ 8772 w 9933"/>
                <a:gd name="connsiteY137" fmla="*/ 2605 h 10000"/>
                <a:gd name="connsiteX138" fmla="*/ 9436 w 9933"/>
                <a:gd name="connsiteY138" fmla="*/ 2236 h 10000"/>
                <a:gd name="connsiteX139" fmla="*/ 9477 w 9933"/>
                <a:gd name="connsiteY139" fmla="*/ 2084 h 10000"/>
                <a:gd name="connsiteX140" fmla="*/ 9746 w 9933"/>
                <a:gd name="connsiteY140" fmla="*/ 1846 h 10000"/>
                <a:gd name="connsiteX141" fmla="*/ 9933 w 9933"/>
                <a:gd name="connsiteY141" fmla="*/ 1564 h 10000"/>
                <a:gd name="connsiteX142" fmla="*/ 9643 w 9933"/>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510 w 10000"/>
                <a:gd name="connsiteY71" fmla="*/ 6249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510 w 10000"/>
                <a:gd name="connsiteY72" fmla="*/ 6660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2921 w 10000"/>
                <a:gd name="connsiteY73" fmla="*/ 4480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3290 w 10000"/>
                <a:gd name="connsiteY70" fmla="*/ 5035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4097 w 10000"/>
                <a:gd name="connsiteY71" fmla="*/ 4396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4723 w 10000"/>
                <a:gd name="connsiteY73" fmla="*/ 3806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961 w 10000"/>
                <a:gd name="connsiteY74" fmla="*/ 5107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93 w 10000"/>
                <a:gd name="connsiteY75" fmla="*/ 6812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655 w 10000"/>
                <a:gd name="connsiteY78" fmla="*/ 7657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708 w 10000"/>
                <a:gd name="connsiteY0" fmla="*/ 1303 h 10000"/>
                <a:gd name="connsiteX1" fmla="*/ 9333 w 10000"/>
                <a:gd name="connsiteY1" fmla="*/ 1564 h 10000"/>
                <a:gd name="connsiteX2" fmla="*/ 9145 w 10000"/>
                <a:gd name="connsiteY2" fmla="*/ 1455 h 10000"/>
                <a:gd name="connsiteX3" fmla="*/ 8978 w 10000"/>
                <a:gd name="connsiteY3" fmla="*/ 1239 h 10000"/>
                <a:gd name="connsiteX4" fmla="*/ 9103 w 10000"/>
                <a:gd name="connsiteY4" fmla="*/ 1065 h 10000"/>
                <a:gd name="connsiteX5" fmla="*/ 8811 w 10000"/>
                <a:gd name="connsiteY5" fmla="*/ 826 h 10000"/>
                <a:gd name="connsiteX6" fmla="*/ 8686 w 10000"/>
                <a:gd name="connsiteY6" fmla="*/ 914 h 10000"/>
                <a:gd name="connsiteX7" fmla="*/ 8414 w 10000"/>
                <a:gd name="connsiteY7" fmla="*/ 957 h 10000"/>
                <a:gd name="connsiteX8" fmla="*/ 8437 w 10000"/>
                <a:gd name="connsiteY8" fmla="*/ 1195 h 10000"/>
                <a:gd name="connsiteX9" fmla="*/ 8519 w 10000"/>
                <a:gd name="connsiteY9" fmla="*/ 1260 h 10000"/>
                <a:gd name="connsiteX10" fmla="*/ 8457 w 10000"/>
                <a:gd name="connsiteY10" fmla="*/ 1434 h 10000"/>
                <a:gd name="connsiteX11" fmla="*/ 8290 w 10000"/>
                <a:gd name="connsiteY11" fmla="*/ 1478 h 10000"/>
                <a:gd name="connsiteX12" fmla="*/ 8122 w 10000"/>
                <a:gd name="connsiteY12" fmla="*/ 1607 h 10000"/>
                <a:gd name="connsiteX13" fmla="*/ 8269 w 10000"/>
                <a:gd name="connsiteY13" fmla="*/ 1780 h 10000"/>
                <a:gd name="connsiteX14" fmla="*/ 8248 w 10000"/>
                <a:gd name="connsiteY14" fmla="*/ 1911 h 10000"/>
                <a:gd name="connsiteX15" fmla="*/ 7935 w 10000"/>
                <a:gd name="connsiteY15" fmla="*/ 2063 h 10000"/>
                <a:gd name="connsiteX16" fmla="*/ 7788 w 10000"/>
                <a:gd name="connsiteY16" fmla="*/ 2323 h 10000"/>
                <a:gd name="connsiteX17" fmla="*/ 7414 w 10000"/>
                <a:gd name="connsiteY17" fmla="*/ 1803 h 10000"/>
                <a:gd name="connsiteX18" fmla="*/ 7268 w 10000"/>
                <a:gd name="connsiteY18" fmla="*/ 1976 h 10000"/>
                <a:gd name="connsiteX19" fmla="*/ 7476 w 10000"/>
                <a:gd name="connsiteY19" fmla="*/ 2193 h 10000"/>
                <a:gd name="connsiteX20" fmla="*/ 7309 w 10000"/>
                <a:gd name="connsiteY20" fmla="*/ 2345 h 10000"/>
                <a:gd name="connsiteX21" fmla="*/ 7350 w 10000"/>
                <a:gd name="connsiteY21" fmla="*/ 2453 h 10000"/>
                <a:gd name="connsiteX22" fmla="*/ 7018 w 10000"/>
                <a:gd name="connsiteY22" fmla="*/ 2713 h 10000"/>
                <a:gd name="connsiteX23" fmla="*/ 6663 w 10000"/>
                <a:gd name="connsiteY23" fmla="*/ 2496 h 10000"/>
                <a:gd name="connsiteX24" fmla="*/ 5704 w 10000"/>
                <a:gd name="connsiteY24" fmla="*/ 3038 h 10000"/>
                <a:gd name="connsiteX25" fmla="*/ 5620 w 10000"/>
                <a:gd name="connsiteY25" fmla="*/ 2800 h 10000"/>
                <a:gd name="connsiteX26" fmla="*/ 5495 w 10000"/>
                <a:gd name="connsiteY26" fmla="*/ 2648 h 10000"/>
                <a:gd name="connsiteX27" fmla="*/ 5537 w 10000"/>
                <a:gd name="connsiteY27" fmla="*/ 2475 h 10000"/>
                <a:gd name="connsiteX28" fmla="*/ 5411 w 10000"/>
                <a:gd name="connsiteY28" fmla="*/ 2301 h 10000"/>
                <a:gd name="connsiteX29" fmla="*/ 5223 w 10000"/>
                <a:gd name="connsiteY29" fmla="*/ 2280 h 10000"/>
                <a:gd name="connsiteX30" fmla="*/ 5265 w 10000"/>
                <a:gd name="connsiteY30" fmla="*/ 2041 h 10000"/>
                <a:gd name="connsiteX31" fmla="*/ 5119 w 10000"/>
                <a:gd name="connsiteY31" fmla="*/ 1955 h 10000"/>
                <a:gd name="connsiteX32" fmla="*/ 4973 w 10000"/>
                <a:gd name="connsiteY32" fmla="*/ 1651 h 10000"/>
                <a:gd name="connsiteX33" fmla="*/ 4785 w 10000"/>
                <a:gd name="connsiteY33" fmla="*/ 1651 h 10000"/>
                <a:gd name="connsiteX34" fmla="*/ 4598 w 10000"/>
                <a:gd name="connsiteY34" fmla="*/ 1499 h 10000"/>
                <a:gd name="connsiteX35" fmla="*/ 4598 w 10000"/>
                <a:gd name="connsiteY35" fmla="*/ 1434 h 10000"/>
                <a:gd name="connsiteX36" fmla="*/ 4431 w 10000"/>
                <a:gd name="connsiteY36" fmla="*/ 1520 h 10000"/>
                <a:gd name="connsiteX37" fmla="*/ 4222 w 10000"/>
                <a:gd name="connsiteY37" fmla="*/ 1369 h 10000"/>
                <a:gd name="connsiteX38" fmla="*/ 4327 w 10000"/>
                <a:gd name="connsiteY38" fmla="*/ 1152 h 10000"/>
                <a:gd name="connsiteX39" fmla="*/ 4160 w 10000"/>
                <a:gd name="connsiteY39" fmla="*/ 978 h 10000"/>
                <a:gd name="connsiteX40" fmla="*/ 4286 w 10000"/>
                <a:gd name="connsiteY40" fmla="*/ 718 h 10000"/>
                <a:gd name="connsiteX41" fmla="*/ 3868 w 10000"/>
                <a:gd name="connsiteY41" fmla="*/ 372 h 10000"/>
                <a:gd name="connsiteX42" fmla="*/ 3618 w 10000"/>
                <a:gd name="connsiteY42" fmla="*/ 480 h 10000"/>
                <a:gd name="connsiteX43" fmla="*/ 3137 w 10000"/>
                <a:gd name="connsiteY43" fmla="*/ 285 h 10000"/>
                <a:gd name="connsiteX44" fmla="*/ 2950 w 10000"/>
                <a:gd name="connsiteY44" fmla="*/ 414 h 10000"/>
                <a:gd name="connsiteX45" fmla="*/ 2491 w 10000"/>
                <a:gd name="connsiteY45" fmla="*/ 24 h 10000"/>
                <a:gd name="connsiteX46" fmla="*/ 2115 w 10000"/>
                <a:gd name="connsiteY46" fmla="*/ 566 h 10000"/>
                <a:gd name="connsiteX47" fmla="*/ 2115 w 10000"/>
                <a:gd name="connsiteY47" fmla="*/ 891 h 10000"/>
                <a:gd name="connsiteX48" fmla="*/ 1844 w 10000"/>
                <a:gd name="connsiteY48" fmla="*/ 631 h 10000"/>
                <a:gd name="connsiteX49" fmla="*/ 1532 w 10000"/>
                <a:gd name="connsiteY49" fmla="*/ 1065 h 10000"/>
                <a:gd name="connsiteX50" fmla="*/ 1762 w 10000"/>
                <a:gd name="connsiteY50" fmla="*/ 1412 h 10000"/>
                <a:gd name="connsiteX51" fmla="*/ 1344 w 10000"/>
                <a:gd name="connsiteY51" fmla="*/ 1824 h 10000"/>
                <a:gd name="connsiteX52" fmla="*/ 1303 w 10000"/>
                <a:gd name="connsiteY52" fmla="*/ 1824 h 10000"/>
                <a:gd name="connsiteX53" fmla="*/ 1469 w 10000"/>
                <a:gd name="connsiteY53" fmla="*/ 2063 h 10000"/>
                <a:gd name="connsiteX54" fmla="*/ 1260 w 10000"/>
                <a:gd name="connsiteY54" fmla="*/ 2301 h 10000"/>
                <a:gd name="connsiteX55" fmla="*/ 1406 w 10000"/>
                <a:gd name="connsiteY55" fmla="*/ 2453 h 10000"/>
                <a:gd name="connsiteX56" fmla="*/ 1344 w 10000"/>
                <a:gd name="connsiteY56" fmla="*/ 2692 h 10000"/>
                <a:gd name="connsiteX57" fmla="*/ 1260 w 10000"/>
                <a:gd name="connsiteY57" fmla="*/ 2822 h 10000"/>
                <a:gd name="connsiteX58" fmla="*/ 1406 w 10000"/>
                <a:gd name="connsiteY58" fmla="*/ 3082 h 10000"/>
                <a:gd name="connsiteX59" fmla="*/ 1157 w 10000"/>
                <a:gd name="connsiteY59" fmla="*/ 3494 h 10000"/>
                <a:gd name="connsiteX60" fmla="*/ 1344 w 10000"/>
                <a:gd name="connsiteY60" fmla="*/ 3733 h 10000"/>
                <a:gd name="connsiteX61" fmla="*/ 1010 w 10000"/>
                <a:gd name="connsiteY61" fmla="*/ 4144 h 10000"/>
                <a:gd name="connsiteX62" fmla="*/ 1177 w 10000"/>
                <a:gd name="connsiteY62" fmla="*/ 4362 h 10000"/>
                <a:gd name="connsiteX63" fmla="*/ 927 w 10000"/>
                <a:gd name="connsiteY63" fmla="*/ 4708 h 10000"/>
                <a:gd name="connsiteX64" fmla="*/ 1260 w 10000"/>
                <a:gd name="connsiteY64" fmla="*/ 4839 h 10000"/>
                <a:gd name="connsiteX65" fmla="*/ 1157 w 10000"/>
                <a:gd name="connsiteY65" fmla="*/ 5121 h 10000"/>
                <a:gd name="connsiteX66" fmla="*/ 1239 w 10000"/>
                <a:gd name="connsiteY66" fmla="*/ 5446 h 10000"/>
                <a:gd name="connsiteX67" fmla="*/ 1808 w 10000"/>
                <a:gd name="connsiteY67" fmla="*/ 5149 h 10000"/>
                <a:gd name="connsiteX68" fmla="*/ 2135 w 10000"/>
                <a:gd name="connsiteY68" fmla="*/ 4885 h 10000"/>
                <a:gd name="connsiteX69" fmla="*/ 2529 w 10000"/>
                <a:gd name="connsiteY69" fmla="*/ 4891 h 10000"/>
                <a:gd name="connsiteX70" fmla="*/ 2950 w 10000"/>
                <a:gd name="connsiteY70" fmla="*/ 4736 h 10000"/>
                <a:gd name="connsiteX71" fmla="*/ 3468 w 10000"/>
                <a:gd name="connsiteY71" fmla="*/ 4490 h 10000"/>
                <a:gd name="connsiteX72" fmla="*/ 3638 w 10000"/>
                <a:gd name="connsiteY72" fmla="*/ 4302 h 10000"/>
                <a:gd name="connsiteX73" fmla="*/ 3992 w 10000"/>
                <a:gd name="connsiteY73" fmla="*/ 3937 h 10000"/>
                <a:gd name="connsiteX74" fmla="*/ 4570 w 10000"/>
                <a:gd name="connsiteY74" fmla="*/ 4190 h 10000"/>
                <a:gd name="connsiteX75" fmla="*/ 4818 w 10000"/>
                <a:gd name="connsiteY75" fmla="*/ 4173 h 10000"/>
                <a:gd name="connsiteX76" fmla="*/ 9 w 10000"/>
                <a:gd name="connsiteY76" fmla="*/ 7137 h 10000"/>
                <a:gd name="connsiteX77" fmla="*/ 301 w 10000"/>
                <a:gd name="connsiteY77" fmla="*/ 7788 h 10000"/>
                <a:gd name="connsiteX78" fmla="*/ 1454 w 10000"/>
                <a:gd name="connsiteY78" fmla="*/ 7489 h 10000"/>
                <a:gd name="connsiteX79" fmla="*/ 1052 w 10000"/>
                <a:gd name="connsiteY79" fmla="*/ 8134 h 10000"/>
                <a:gd name="connsiteX80" fmla="*/ 843 w 10000"/>
                <a:gd name="connsiteY80" fmla="*/ 8352 h 10000"/>
                <a:gd name="connsiteX81" fmla="*/ 343 w 10000"/>
                <a:gd name="connsiteY81" fmla="*/ 7961 h 10000"/>
                <a:gd name="connsiteX82" fmla="*/ 260 w 10000"/>
                <a:gd name="connsiteY82" fmla="*/ 8070 h 10000"/>
                <a:gd name="connsiteX83" fmla="*/ 385 w 10000"/>
                <a:gd name="connsiteY83" fmla="*/ 8330 h 10000"/>
                <a:gd name="connsiteX84" fmla="*/ 176 w 10000"/>
                <a:gd name="connsiteY84" fmla="*/ 8634 h 10000"/>
                <a:gd name="connsiteX85" fmla="*/ 447 w 10000"/>
                <a:gd name="connsiteY85" fmla="*/ 8763 h 10000"/>
                <a:gd name="connsiteX86" fmla="*/ 634 w 10000"/>
                <a:gd name="connsiteY86" fmla="*/ 8482 h 10000"/>
                <a:gd name="connsiteX87" fmla="*/ 968 w 10000"/>
                <a:gd name="connsiteY87" fmla="*/ 8786 h 10000"/>
                <a:gd name="connsiteX88" fmla="*/ 1198 w 10000"/>
                <a:gd name="connsiteY88" fmla="*/ 8634 h 10000"/>
                <a:gd name="connsiteX89" fmla="*/ 1260 w 10000"/>
                <a:gd name="connsiteY89" fmla="*/ 8742 h 10000"/>
                <a:gd name="connsiteX90" fmla="*/ 1386 w 10000"/>
                <a:gd name="connsiteY90" fmla="*/ 8482 h 10000"/>
                <a:gd name="connsiteX91" fmla="*/ 1782 w 10000"/>
                <a:gd name="connsiteY91" fmla="*/ 8525 h 10000"/>
                <a:gd name="connsiteX92" fmla="*/ 1677 w 10000"/>
                <a:gd name="connsiteY92" fmla="*/ 8677 h 10000"/>
                <a:gd name="connsiteX93" fmla="*/ 1782 w 10000"/>
                <a:gd name="connsiteY93" fmla="*/ 8829 h 10000"/>
                <a:gd name="connsiteX94" fmla="*/ 2095 w 10000"/>
                <a:gd name="connsiteY94" fmla="*/ 8721 h 10000"/>
                <a:gd name="connsiteX95" fmla="*/ 2157 w 10000"/>
                <a:gd name="connsiteY95" fmla="*/ 8873 h 10000"/>
                <a:gd name="connsiteX96" fmla="*/ 2033 w 10000"/>
                <a:gd name="connsiteY96" fmla="*/ 9067 h 10000"/>
                <a:gd name="connsiteX97" fmla="*/ 2220 w 10000"/>
                <a:gd name="connsiteY97" fmla="*/ 9176 h 10000"/>
                <a:gd name="connsiteX98" fmla="*/ 2262 w 10000"/>
                <a:gd name="connsiteY98" fmla="*/ 9415 h 10000"/>
                <a:gd name="connsiteX99" fmla="*/ 1929 w 10000"/>
                <a:gd name="connsiteY99" fmla="*/ 9696 h 10000"/>
                <a:gd name="connsiteX100" fmla="*/ 2033 w 10000"/>
                <a:gd name="connsiteY100" fmla="*/ 9956 h 10000"/>
                <a:gd name="connsiteX101" fmla="*/ 2367 w 10000"/>
                <a:gd name="connsiteY101" fmla="*/ 10000 h 10000"/>
                <a:gd name="connsiteX102" fmla="*/ 2533 w 10000"/>
                <a:gd name="connsiteY102" fmla="*/ 9523 h 10000"/>
                <a:gd name="connsiteX103" fmla="*/ 3158 w 10000"/>
                <a:gd name="connsiteY103" fmla="*/ 9458 h 10000"/>
                <a:gd name="connsiteX104" fmla="*/ 3430 w 10000"/>
                <a:gd name="connsiteY104" fmla="*/ 9111 h 10000"/>
                <a:gd name="connsiteX105" fmla="*/ 3993 w 10000"/>
                <a:gd name="connsiteY105" fmla="*/ 9415 h 10000"/>
                <a:gd name="connsiteX106" fmla="*/ 4265 w 10000"/>
                <a:gd name="connsiteY106" fmla="*/ 8851 h 10000"/>
                <a:gd name="connsiteX107" fmla="*/ 4243 w 10000"/>
                <a:gd name="connsiteY107" fmla="*/ 8763 h 10000"/>
                <a:gd name="connsiteX108" fmla="*/ 4431 w 10000"/>
                <a:gd name="connsiteY108" fmla="*/ 8417 h 10000"/>
                <a:gd name="connsiteX109" fmla="*/ 4327 w 10000"/>
                <a:gd name="connsiteY109" fmla="*/ 8178 h 10000"/>
                <a:gd name="connsiteX110" fmla="*/ 4201 w 10000"/>
                <a:gd name="connsiteY110" fmla="*/ 7961 h 10000"/>
                <a:gd name="connsiteX111" fmla="*/ 4327 w 10000"/>
                <a:gd name="connsiteY111" fmla="*/ 7745 h 10000"/>
                <a:gd name="connsiteX112" fmla="*/ 4389 w 10000"/>
                <a:gd name="connsiteY112" fmla="*/ 7355 h 10000"/>
                <a:gd name="connsiteX113" fmla="*/ 4160 w 10000"/>
                <a:gd name="connsiteY113" fmla="*/ 6964 h 10000"/>
                <a:gd name="connsiteX114" fmla="*/ 4243 w 10000"/>
                <a:gd name="connsiteY114" fmla="*/ 6508 h 10000"/>
                <a:gd name="connsiteX115" fmla="*/ 4327 w 10000"/>
                <a:gd name="connsiteY115" fmla="*/ 6291 h 10000"/>
                <a:gd name="connsiteX116" fmla="*/ 4368 w 10000"/>
                <a:gd name="connsiteY116" fmla="*/ 6097 h 10000"/>
                <a:gd name="connsiteX117" fmla="*/ 4618 w 10000"/>
                <a:gd name="connsiteY117" fmla="*/ 5728 h 10000"/>
                <a:gd name="connsiteX118" fmla="*/ 5119 w 10000"/>
                <a:gd name="connsiteY118" fmla="*/ 5533 h 10000"/>
                <a:gd name="connsiteX119" fmla="*/ 5203 w 10000"/>
                <a:gd name="connsiteY119" fmla="*/ 5620 h 10000"/>
                <a:gd name="connsiteX120" fmla="*/ 5140 w 10000"/>
                <a:gd name="connsiteY120" fmla="*/ 5685 h 10000"/>
                <a:gd name="connsiteX121" fmla="*/ 5286 w 10000"/>
                <a:gd name="connsiteY121" fmla="*/ 5814 h 10000"/>
                <a:gd name="connsiteX122" fmla="*/ 5453 w 10000"/>
                <a:gd name="connsiteY122" fmla="*/ 5641 h 10000"/>
                <a:gd name="connsiteX123" fmla="*/ 5641 w 10000"/>
                <a:gd name="connsiteY123" fmla="*/ 5489 h 10000"/>
                <a:gd name="connsiteX124" fmla="*/ 6036 w 10000"/>
                <a:gd name="connsiteY124" fmla="*/ 4860 h 10000"/>
                <a:gd name="connsiteX125" fmla="*/ 6351 w 10000"/>
                <a:gd name="connsiteY125" fmla="*/ 5056 h 10000"/>
                <a:gd name="connsiteX126" fmla="*/ 6328 w 10000"/>
                <a:gd name="connsiteY126" fmla="*/ 4904 h 10000"/>
                <a:gd name="connsiteX127" fmla="*/ 6537 w 10000"/>
                <a:gd name="connsiteY127" fmla="*/ 4752 h 10000"/>
                <a:gd name="connsiteX128" fmla="*/ 6746 w 10000"/>
                <a:gd name="connsiteY128" fmla="*/ 4860 h 10000"/>
                <a:gd name="connsiteX129" fmla="*/ 6537 w 10000"/>
                <a:gd name="connsiteY129" fmla="*/ 4427 h 10000"/>
                <a:gd name="connsiteX130" fmla="*/ 6663 w 10000"/>
                <a:gd name="connsiteY130" fmla="*/ 4253 h 10000"/>
                <a:gd name="connsiteX131" fmla="*/ 7101 w 10000"/>
                <a:gd name="connsiteY131" fmla="*/ 4123 h 10000"/>
                <a:gd name="connsiteX132" fmla="*/ 7059 w 10000"/>
                <a:gd name="connsiteY132" fmla="*/ 4079 h 10000"/>
                <a:gd name="connsiteX133" fmla="*/ 7394 w 10000"/>
                <a:gd name="connsiteY133" fmla="*/ 3754 h 10000"/>
                <a:gd name="connsiteX134" fmla="*/ 7643 w 10000"/>
                <a:gd name="connsiteY134" fmla="*/ 3581 h 10000"/>
                <a:gd name="connsiteX135" fmla="*/ 8269 w 10000"/>
                <a:gd name="connsiteY135" fmla="*/ 3234 h 10000"/>
                <a:gd name="connsiteX136" fmla="*/ 8457 w 10000"/>
                <a:gd name="connsiteY136" fmla="*/ 3017 h 10000"/>
                <a:gd name="connsiteX137" fmla="*/ 8831 w 10000"/>
                <a:gd name="connsiteY137" fmla="*/ 2605 h 10000"/>
                <a:gd name="connsiteX138" fmla="*/ 9500 w 10000"/>
                <a:gd name="connsiteY138" fmla="*/ 2236 h 10000"/>
                <a:gd name="connsiteX139" fmla="*/ 9541 w 10000"/>
                <a:gd name="connsiteY139" fmla="*/ 2084 h 10000"/>
                <a:gd name="connsiteX140" fmla="*/ 9812 w 10000"/>
                <a:gd name="connsiteY140" fmla="*/ 1846 h 10000"/>
                <a:gd name="connsiteX141" fmla="*/ 10000 w 10000"/>
                <a:gd name="connsiteY141" fmla="*/ 1564 h 10000"/>
                <a:gd name="connsiteX142" fmla="*/ 9708 w 10000"/>
                <a:gd name="connsiteY142" fmla="*/ 1303 h 10000"/>
                <a:gd name="connsiteX0" fmla="*/ 9537 w 9829"/>
                <a:gd name="connsiteY0" fmla="*/ 1303 h 10000"/>
                <a:gd name="connsiteX1" fmla="*/ 9162 w 9829"/>
                <a:gd name="connsiteY1" fmla="*/ 1564 h 10000"/>
                <a:gd name="connsiteX2" fmla="*/ 8974 w 9829"/>
                <a:gd name="connsiteY2" fmla="*/ 1455 h 10000"/>
                <a:gd name="connsiteX3" fmla="*/ 8807 w 9829"/>
                <a:gd name="connsiteY3" fmla="*/ 1239 h 10000"/>
                <a:gd name="connsiteX4" fmla="*/ 8932 w 9829"/>
                <a:gd name="connsiteY4" fmla="*/ 1065 h 10000"/>
                <a:gd name="connsiteX5" fmla="*/ 8640 w 9829"/>
                <a:gd name="connsiteY5" fmla="*/ 826 h 10000"/>
                <a:gd name="connsiteX6" fmla="*/ 8515 w 9829"/>
                <a:gd name="connsiteY6" fmla="*/ 914 h 10000"/>
                <a:gd name="connsiteX7" fmla="*/ 8243 w 9829"/>
                <a:gd name="connsiteY7" fmla="*/ 957 h 10000"/>
                <a:gd name="connsiteX8" fmla="*/ 8266 w 9829"/>
                <a:gd name="connsiteY8" fmla="*/ 1195 h 10000"/>
                <a:gd name="connsiteX9" fmla="*/ 8348 w 9829"/>
                <a:gd name="connsiteY9" fmla="*/ 1260 h 10000"/>
                <a:gd name="connsiteX10" fmla="*/ 8286 w 9829"/>
                <a:gd name="connsiteY10" fmla="*/ 1434 h 10000"/>
                <a:gd name="connsiteX11" fmla="*/ 8119 w 9829"/>
                <a:gd name="connsiteY11" fmla="*/ 1478 h 10000"/>
                <a:gd name="connsiteX12" fmla="*/ 7951 w 9829"/>
                <a:gd name="connsiteY12" fmla="*/ 1607 h 10000"/>
                <a:gd name="connsiteX13" fmla="*/ 8098 w 9829"/>
                <a:gd name="connsiteY13" fmla="*/ 1780 h 10000"/>
                <a:gd name="connsiteX14" fmla="*/ 8077 w 9829"/>
                <a:gd name="connsiteY14" fmla="*/ 1911 h 10000"/>
                <a:gd name="connsiteX15" fmla="*/ 7764 w 9829"/>
                <a:gd name="connsiteY15" fmla="*/ 2063 h 10000"/>
                <a:gd name="connsiteX16" fmla="*/ 7617 w 9829"/>
                <a:gd name="connsiteY16" fmla="*/ 2323 h 10000"/>
                <a:gd name="connsiteX17" fmla="*/ 7243 w 9829"/>
                <a:gd name="connsiteY17" fmla="*/ 1803 h 10000"/>
                <a:gd name="connsiteX18" fmla="*/ 7097 w 9829"/>
                <a:gd name="connsiteY18" fmla="*/ 1976 h 10000"/>
                <a:gd name="connsiteX19" fmla="*/ 7305 w 9829"/>
                <a:gd name="connsiteY19" fmla="*/ 2193 h 10000"/>
                <a:gd name="connsiteX20" fmla="*/ 7138 w 9829"/>
                <a:gd name="connsiteY20" fmla="*/ 2345 h 10000"/>
                <a:gd name="connsiteX21" fmla="*/ 7179 w 9829"/>
                <a:gd name="connsiteY21" fmla="*/ 2453 h 10000"/>
                <a:gd name="connsiteX22" fmla="*/ 6847 w 9829"/>
                <a:gd name="connsiteY22" fmla="*/ 2713 h 10000"/>
                <a:gd name="connsiteX23" fmla="*/ 6492 w 9829"/>
                <a:gd name="connsiteY23" fmla="*/ 2496 h 10000"/>
                <a:gd name="connsiteX24" fmla="*/ 5533 w 9829"/>
                <a:gd name="connsiteY24" fmla="*/ 3038 h 10000"/>
                <a:gd name="connsiteX25" fmla="*/ 5449 w 9829"/>
                <a:gd name="connsiteY25" fmla="*/ 2800 h 10000"/>
                <a:gd name="connsiteX26" fmla="*/ 5324 w 9829"/>
                <a:gd name="connsiteY26" fmla="*/ 2648 h 10000"/>
                <a:gd name="connsiteX27" fmla="*/ 5366 w 9829"/>
                <a:gd name="connsiteY27" fmla="*/ 2475 h 10000"/>
                <a:gd name="connsiteX28" fmla="*/ 5240 w 9829"/>
                <a:gd name="connsiteY28" fmla="*/ 2301 h 10000"/>
                <a:gd name="connsiteX29" fmla="*/ 5052 w 9829"/>
                <a:gd name="connsiteY29" fmla="*/ 2280 h 10000"/>
                <a:gd name="connsiteX30" fmla="*/ 5094 w 9829"/>
                <a:gd name="connsiteY30" fmla="*/ 2041 h 10000"/>
                <a:gd name="connsiteX31" fmla="*/ 4948 w 9829"/>
                <a:gd name="connsiteY31" fmla="*/ 1955 h 10000"/>
                <a:gd name="connsiteX32" fmla="*/ 4802 w 9829"/>
                <a:gd name="connsiteY32" fmla="*/ 1651 h 10000"/>
                <a:gd name="connsiteX33" fmla="*/ 4614 w 9829"/>
                <a:gd name="connsiteY33" fmla="*/ 1651 h 10000"/>
                <a:gd name="connsiteX34" fmla="*/ 4427 w 9829"/>
                <a:gd name="connsiteY34" fmla="*/ 1499 h 10000"/>
                <a:gd name="connsiteX35" fmla="*/ 4427 w 9829"/>
                <a:gd name="connsiteY35" fmla="*/ 1434 h 10000"/>
                <a:gd name="connsiteX36" fmla="*/ 4260 w 9829"/>
                <a:gd name="connsiteY36" fmla="*/ 1520 h 10000"/>
                <a:gd name="connsiteX37" fmla="*/ 4051 w 9829"/>
                <a:gd name="connsiteY37" fmla="*/ 1369 h 10000"/>
                <a:gd name="connsiteX38" fmla="*/ 4156 w 9829"/>
                <a:gd name="connsiteY38" fmla="*/ 1152 h 10000"/>
                <a:gd name="connsiteX39" fmla="*/ 3989 w 9829"/>
                <a:gd name="connsiteY39" fmla="*/ 978 h 10000"/>
                <a:gd name="connsiteX40" fmla="*/ 4115 w 9829"/>
                <a:gd name="connsiteY40" fmla="*/ 718 h 10000"/>
                <a:gd name="connsiteX41" fmla="*/ 3697 w 9829"/>
                <a:gd name="connsiteY41" fmla="*/ 372 h 10000"/>
                <a:gd name="connsiteX42" fmla="*/ 3447 w 9829"/>
                <a:gd name="connsiteY42" fmla="*/ 480 h 10000"/>
                <a:gd name="connsiteX43" fmla="*/ 2966 w 9829"/>
                <a:gd name="connsiteY43" fmla="*/ 285 h 10000"/>
                <a:gd name="connsiteX44" fmla="*/ 2779 w 9829"/>
                <a:gd name="connsiteY44" fmla="*/ 414 h 10000"/>
                <a:gd name="connsiteX45" fmla="*/ 2320 w 9829"/>
                <a:gd name="connsiteY45" fmla="*/ 24 h 10000"/>
                <a:gd name="connsiteX46" fmla="*/ 1944 w 9829"/>
                <a:gd name="connsiteY46" fmla="*/ 566 h 10000"/>
                <a:gd name="connsiteX47" fmla="*/ 1944 w 9829"/>
                <a:gd name="connsiteY47" fmla="*/ 891 h 10000"/>
                <a:gd name="connsiteX48" fmla="*/ 1673 w 9829"/>
                <a:gd name="connsiteY48" fmla="*/ 631 h 10000"/>
                <a:gd name="connsiteX49" fmla="*/ 1361 w 9829"/>
                <a:gd name="connsiteY49" fmla="*/ 1065 h 10000"/>
                <a:gd name="connsiteX50" fmla="*/ 1591 w 9829"/>
                <a:gd name="connsiteY50" fmla="*/ 1412 h 10000"/>
                <a:gd name="connsiteX51" fmla="*/ 1173 w 9829"/>
                <a:gd name="connsiteY51" fmla="*/ 1824 h 10000"/>
                <a:gd name="connsiteX52" fmla="*/ 1132 w 9829"/>
                <a:gd name="connsiteY52" fmla="*/ 1824 h 10000"/>
                <a:gd name="connsiteX53" fmla="*/ 1298 w 9829"/>
                <a:gd name="connsiteY53" fmla="*/ 2063 h 10000"/>
                <a:gd name="connsiteX54" fmla="*/ 1089 w 9829"/>
                <a:gd name="connsiteY54" fmla="*/ 2301 h 10000"/>
                <a:gd name="connsiteX55" fmla="*/ 1235 w 9829"/>
                <a:gd name="connsiteY55" fmla="*/ 2453 h 10000"/>
                <a:gd name="connsiteX56" fmla="*/ 1173 w 9829"/>
                <a:gd name="connsiteY56" fmla="*/ 2692 h 10000"/>
                <a:gd name="connsiteX57" fmla="*/ 1089 w 9829"/>
                <a:gd name="connsiteY57" fmla="*/ 2822 h 10000"/>
                <a:gd name="connsiteX58" fmla="*/ 1235 w 9829"/>
                <a:gd name="connsiteY58" fmla="*/ 3082 h 10000"/>
                <a:gd name="connsiteX59" fmla="*/ 986 w 9829"/>
                <a:gd name="connsiteY59" fmla="*/ 3494 h 10000"/>
                <a:gd name="connsiteX60" fmla="*/ 1173 w 9829"/>
                <a:gd name="connsiteY60" fmla="*/ 3733 h 10000"/>
                <a:gd name="connsiteX61" fmla="*/ 839 w 9829"/>
                <a:gd name="connsiteY61" fmla="*/ 4144 h 10000"/>
                <a:gd name="connsiteX62" fmla="*/ 1006 w 9829"/>
                <a:gd name="connsiteY62" fmla="*/ 4362 h 10000"/>
                <a:gd name="connsiteX63" fmla="*/ 756 w 9829"/>
                <a:gd name="connsiteY63" fmla="*/ 4708 h 10000"/>
                <a:gd name="connsiteX64" fmla="*/ 1089 w 9829"/>
                <a:gd name="connsiteY64" fmla="*/ 4839 h 10000"/>
                <a:gd name="connsiteX65" fmla="*/ 986 w 9829"/>
                <a:gd name="connsiteY65" fmla="*/ 5121 h 10000"/>
                <a:gd name="connsiteX66" fmla="*/ 1068 w 9829"/>
                <a:gd name="connsiteY66" fmla="*/ 5446 h 10000"/>
                <a:gd name="connsiteX67" fmla="*/ 1637 w 9829"/>
                <a:gd name="connsiteY67" fmla="*/ 5149 h 10000"/>
                <a:gd name="connsiteX68" fmla="*/ 1964 w 9829"/>
                <a:gd name="connsiteY68" fmla="*/ 4885 h 10000"/>
                <a:gd name="connsiteX69" fmla="*/ 2358 w 9829"/>
                <a:gd name="connsiteY69" fmla="*/ 4891 h 10000"/>
                <a:gd name="connsiteX70" fmla="*/ 2779 w 9829"/>
                <a:gd name="connsiteY70" fmla="*/ 4736 h 10000"/>
                <a:gd name="connsiteX71" fmla="*/ 3297 w 9829"/>
                <a:gd name="connsiteY71" fmla="*/ 4490 h 10000"/>
                <a:gd name="connsiteX72" fmla="*/ 3467 w 9829"/>
                <a:gd name="connsiteY72" fmla="*/ 4302 h 10000"/>
                <a:gd name="connsiteX73" fmla="*/ 3821 w 9829"/>
                <a:gd name="connsiteY73" fmla="*/ 3937 h 10000"/>
                <a:gd name="connsiteX74" fmla="*/ 4399 w 9829"/>
                <a:gd name="connsiteY74" fmla="*/ 4190 h 10000"/>
                <a:gd name="connsiteX75" fmla="*/ 4647 w 9829"/>
                <a:gd name="connsiteY75" fmla="*/ 4173 h 10000"/>
                <a:gd name="connsiteX76" fmla="*/ 4597 w 9829"/>
                <a:gd name="connsiteY76" fmla="*/ 3862 h 10000"/>
                <a:gd name="connsiteX77" fmla="*/ 130 w 9829"/>
                <a:gd name="connsiteY77" fmla="*/ 7788 h 10000"/>
                <a:gd name="connsiteX78" fmla="*/ 1283 w 9829"/>
                <a:gd name="connsiteY78" fmla="*/ 7489 h 10000"/>
                <a:gd name="connsiteX79" fmla="*/ 881 w 9829"/>
                <a:gd name="connsiteY79" fmla="*/ 8134 h 10000"/>
                <a:gd name="connsiteX80" fmla="*/ 672 w 9829"/>
                <a:gd name="connsiteY80" fmla="*/ 8352 h 10000"/>
                <a:gd name="connsiteX81" fmla="*/ 172 w 9829"/>
                <a:gd name="connsiteY81" fmla="*/ 7961 h 10000"/>
                <a:gd name="connsiteX82" fmla="*/ 89 w 9829"/>
                <a:gd name="connsiteY82" fmla="*/ 8070 h 10000"/>
                <a:gd name="connsiteX83" fmla="*/ 214 w 9829"/>
                <a:gd name="connsiteY83" fmla="*/ 8330 h 10000"/>
                <a:gd name="connsiteX84" fmla="*/ 5 w 9829"/>
                <a:gd name="connsiteY84" fmla="*/ 8634 h 10000"/>
                <a:gd name="connsiteX85" fmla="*/ 276 w 9829"/>
                <a:gd name="connsiteY85" fmla="*/ 8763 h 10000"/>
                <a:gd name="connsiteX86" fmla="*/ 463 w 9829"/>
                <a:gd name="connsiteY86" fmla="*/ 8482 h 10000"/>
                <a:gd name="connsiteX87" fmla="*/ 797 w 9829"/>
                <a:gd name="connsiteY87" fmla="*/ 8786 h 10000"/>
                <a:gd name="connsiteX88" fmla="*/ 1027 w 9829"/>
                <a:gd name="connsiteY88" fmla="*/ 8634 h 10000"/>
                <a:gd name="connsiteX89" fmla="*/ 1089 w 9829"/>
                <a:gd name="connsiteY89" fmla="*/ 8742 h 10000"/>
                <a:gd name="connsiteX90" fmla="*/ 1215 w 9829"/>
                <a:gd name="connsiteY90" fmla="*/ 8482 h 10000"/>
                <a:gd name="connsiteX91" fmla="*/ 1611 w 9829"/>
                <a:gd name="connsiteY91" fmla="*/ 8525 h 10000"/>
                <a:gd name="connsiteX92" fmla="*/ 1506 w 9829"/>
                <a:gd name="connsiteY92" fmla="*/ 8677 h 10000"/>
                <a:gd name="connsiteX93" fmla="*/ 1611 w 9829"/>
                <a:gd name="connsiteY93" fmla="*/ 8829 h 10000"/>
                <a:gd name="connsiteX94" fmla="*/ 1924 w 9829"/>
                <a:gd name="connsiteY94" fmla="*/ 8721 h 10000"/>
                <a:gd name="connsiteX95" fmla="*/ 1986 w 9829"/>
                <a:gd name="connsiteY95" fmla="*/ 8873 h 10000"/>
                <a:gd name="connsiteX96" fmla="*/ 1862 w 9829"/>
                <a:gd name="connsiteY96" fmla="*/ 9067 h 10000"/>
                <a:gd name="connsiteX97" fmla="*/ 2049 w 9829"/>
                <a:gd name="connsiteY97" fmla="*/ 9176 h 10000"/>
                <a:gd name="connsiteX98" fmla="*/ 2091 w 9829"/>
                <a:gd name="connsiteY98" fmla="*/ 9415 h 10000"/>
                <a:gd name="connsiteX99" fmla="*/ 1758 w 9829"/>
                <a:gd name="connsiteY99" fmla="*/ 9696 h 10000"/>
                <a:gd name="connsiteX100" fmla="*/ 1862 w 9829"/>
                <a:gd name="connsiteY100" fmla="*/ 9956 h 10000"/>
                <a:gd name="connsiteX101" fmla="*/ 2196 w 9829"/>
                <a:gd name="connsiteY101" fmla="*/ 10000 h 10000"/>
                <a:gd name="connsiteX102" fmla="*/ 2362 w 9829"/>
                <a:gd name="connsiteY102" fmla="*/ 9523 h 10000"/>
                <a:gd name="connsiteX103" fmla="*/ 2987 w 9829"/>
                <a:gd name="connsiteY103" fmla="*/ 9458 h 10000"/>
                <a:gd name="connsiteX104" fmla="*/ 3259 w 9829"/>
                <a:gd name="connsiteY104" fmla="*/ 9111 h 10000"/>
                <a:gd name="connsiteX105" fmla="*/ 3822 w 9829"/>
                <a:gd name="connsiteY105" fmla="*/ 9415 h 10000"/>
                <a:gd name="connsiteX106" fmla="*/ 4094 w 9829"/>
                <a:gd name="connsiteY106" fmla="*/ 8851 h 10000"/>
                <a:gd name="connsiteX107" fmla="*/ 4072 w 9829"/>
                <a:gd name="connsiteY107" fmla="*/ 8763 h 10000"/>
                <a:gd name="connsiteX108" fmla="*/ 4260 w 9829"/>
                <a:gd name="connsiteY108" fmla="*/ 8417 h 10000"/>
                <a:gd name="connsiteX109" fmla="*/ 4156 w 9829"/>
                <a:gd name="connsiteY109" fmla="*/ 8178 h 10000"/>
                <a:gd name="connsiteX110" fmla="*/ 4030 w 9829"/>
                <a:gd name="connsiteY110" fmla="*/ 7961 h 10000"/>
                <a:gd name="connsiteX111" fmla="*/ 4156 w 9829"/>
                <a:gd name="connsiteY111" fmla="*/ 7745 h 10000"/>
                <a:gd name="connsiteX112" fmla="*/ 4218 w 9829"/>
                <a:gd name="connsiteY112" fmla="*/ 7355 h 10000"/>
                <a:gd name="connsiteX113" fmla="*/ 3989 w 9829"/>
                <a:gd name="connsiteY113" fmla="*/ 6964 h 10000"/>
                <a:gd name="connsiteX114" fmla="*/ 4072 w 9829"/>
                <a:gd name="connsiteY114" fmla="*/ 6508 h 10000"/>
                <a:gd name="connsiteX115" fmla="*/ 4156 w 9829"/>
                <a:gd name="connsiteY115" fmla="*/ 6291 h 10000"/>
                <a:gd name="connsiteX116" fmla="*/ 4197 w 9829"/>
                <a:gd name="connsiteY116" fmla="*/ 6097 h 10000"/>
                <a:gd name="connsiteX117" fmla="*/ 4447 w 9829"/>
                <a:gd name="connsiteY117" fmla="*/ 5728 h 10000"/>
                <a:gd name="connsiteX118" fmla="*/ 4948 w 9829"/>
                <a:gd name="connsiteY118" fmla="*/ 5533 h 10000"/>
                <a:gd name="connsiteX119" fmla="*/ 5032 w 9829"/>
                <a:gd name="connsiteY119" fmla="*/ 5620 h 10000"/>
                <a:gd name="connsiteX120" fmla="*/ 4969 w 9829"/>
                <a:gd name="connsiteY120" fmla="*/ 5685 h 10000"/>
                <a:gd name="connsiteX121" fmla="*/ 5115 w 9829"/>
                <a:gd name="connsiteY121" fmla="*/ 5814 h 10000"/>
                <a:gd name="connsiteX122" fmla="*/ 5282 w 9829"/>
                <a:gd name="connsiteY122" fmla="*/ 5641 h 10000"/>
                <a:gd name="connsiteX123" fmla="*/ 5470 w 9829"/>
                <a:gd name="connsiteY123" fmla="*/ 5489 h 10000"/>
                <a:gd name="connsiteX124" fmla="*/ 5865 w 9829"/>
                <a:gd name="connsiteY124" fmla="*/ 4860 h 10000"/>
                <a:gd name="connsiteX125" fmla="*/ 6180 w 9829"/>
                <a:gd name="connsiteY125" fmla="*/ 5056 h 10000"/>
                <a:gd name="connsiteX126" fmla="*/ 6157 w 9829"/>
                <a:gd name="connsiteY126" fmla="*/ 4904 h 10000"/>
                <a:gd name="connsiteX127" fmla="*/ 6366 w 9829"/>
                <a:gd name="connsiteY127" fmla="*/ 4752 h 10000"/>
                <a:gd name="connsiteX128" fmla="*/ 6575 w 9829"/>
                <a:gd name="connsiteY128" fmla="*/ 4860 h 10000"/>
                <a:gd name="connsiteX129" fmla="*/ 6366 w 9829"/>
                <a:gd name="connsiteY129" fmla="*/ 4427 h 10000"/>
                <a:gd name="connsiteX130" fmla="*/ 6492 w 9829"/>
                <a:gd name="connsiteY130" fmla="*/ 4253 h 10000"/>
                <a:gd name="connsiteX131" fmla="*/ 6930 w 9829"/>
                <a:gd name="connsiteY131" fmla="*/ 4123 h 10000"/>
                <a:gd name="connsiteX132" fmla="*/ 6888 w 9829"/>
                <a:gd name="connsiteY132" fmla="*/ 4079 h 10000"/>
                <a:gd name="connsiteX133" fmla="*/ 7223 w 9829"/>
                <a:gd name="connsiteY133" fmla="*/ 3754 h 10000"/>
                <a:gd name="connsiteX134" fmla="*/ 7472 w 9829"/>
                <a:gd name="connsiteY134" fmla="*/ 3581 h 10000"/>
                <a:gd name="connsiteX135" fmla="*/ 8098 w 9829"/>
                <a:gd name="connsiteY135" fmla="*/ 3234 h 10000"/>
                <a:gd name="connsiteX136" fmla="*/ 8286 w 9829"/>
                <a:gd name="connsiteY136" fmla="*/ 3017 h 10000"/>
                <a:gd name="connsiteX137" fmla="*/ 8660 w 9829"/>
                <a:gd name="connsiteY137" fmla="*/ 2605 h 10000"/>
                <a:gd name="connsiteX138" fmla="*/ 9329 w 9829"/>
                <a:gd name="connsiteY138" fmla="*/ 2236 h 10000"/>
                <a:gd name="connsiteX139" fmla="*/ 9370 w 9829"/>
                <a:gd name="connsiteY139" fmla="*/ 2084 h 10000"/>
                <a:gd name="connsiteX140" fmla="*/ 9641 w 9829"/>
                <a:gd name="connsiteY140" fmla="*/ 1846 h 10000"/>
                <a:gd name="connsiteX141" fmla="*/ 9829 w 9829"/>
                <a:gd name="connsiteY141" fmla="*/ 1564 h 10000"/>
                <a:gd name="connsiteX142" fmla="*/ 9537 w 9829"/>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1305 w 10000"/>
                <a:gd name="connsiteY78" fmla="*/ 7489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896 w 10000"/>
                <a:gd name="connsiteY79" fmla="*/ 8134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684 w 10000"/>
                <a:gd name="connsiteY80" fmla="*/ 8352 h 10000"/>
                <a:gd name="connsiteX81" fmla="*/ 175 w 10000"/>
                <a:gd name="connsiteY81" fmla="*/ 7961 h 10000"/>
                <a:gd name="connsiteX82" fmla="*/ 91 w 10000"/>
                <a:gd name="connsiteY82" fmla="*/ 8070 h 10000"/>
                <a:gd name="connsiteX83" fmla="*/ 218 w 10000"/>
                <a:gd name="connsiteY83" fmla="*/ 8330 h 10000"/>
                <a:gd name="connsiteX84" fmla="*/ 5 w 10000"/>
                <a:gd name="connsiteY84" fmla="*/ 8634 h 10000"/>
                <a:gd name="connsiteX85" fmla="*/ 281 w 10000"/>
                <a:gd name="connsiteY85" fmla="*/ 8763 h 10000"/>
                <a:gd name="connsiteX86" fmla="*/ 471 w 10000"/>
                <a:gd name="connsiteY86" fmla="*/ 8482 h 10000"/>
                <a:gd name="connsiteX87" fmla="*/ 811 w 10000"/>
                <a:gd name="connsiteY87" fmla="*/ 8786 h 10000"/>
                <a:gd name="connsiteX88" fmla="*/ 1045 w 10000"/>
                <a:gd name="connsiteY88" fmla="*/ 8634 h 10000"/>
                <a:gd name="connsiteX89" fmla="*/ 1108 w 10000"/>
                <a:gd name="connsiteY89" fmla="*/ 8742 h 10000"/>
                <a:gd name="connsiteX90" fmla="*/ 1236 w 10000"/>
                <a:gd name="connsiteY90" fmla="*/ 8482 h 10000"/>
                <a:gd name="connsiteX91" fmla="*/ 1639 w 10000"/>
                <a:gd name="connsiteY91" fmla="*/ 8525 h 10000"/>
                <a:gd name="connsiteX92" fmla="*/ 1532 w 10000"/>
                <a:gd name="connsiteY92" fmla="*/ 8677 h 10000"/>
                <a:gd name="connsiteX93" fmla="*/ 1639 w 10000"/>
                <a:gd name="connsiteY93" fmla="*/ 8829 h 10000"/>
                <a:gd name="connsiteX94" fmla="*/ 1957 w 10000"/>
                <a:gd name="connsiteY94" fmla="*/ 8721 h 10000"/>
                <a:gd name="connsiteX95" fmla="*/ 2021 w 10000"/>
                <a:gd name="connsiteY95" fmla="*/ 8873 h 10000"/>
                <a:gd name="connsiteX96" fmla="*/ 1894 w 10000"/>
                <a:gd name="connsiteY96" fmla="*/ 9067 h 10000"/>
                <a:gd name="connsiteX97" fmla="*/ 2085 w 10000"/>
                <a:gd name="connsiteY97" fmla="*/ 9176 h 10000"/>
                <a:gd name="connsiteX98" fmla="*/ 2127 w 10000"/>
                <a:gd name="connsiteY98" fmla="*/ 9415 h 10000"/>
                <a:gd name="connsiteX99" fmla="*/ 1789 w 10000"/>
                <a:gd name="connsiteY99" fmla="*/ 9696 h 10000"/>
                <a:gd name="connsiteX100" fmla="*/ 1894 w 10000"/>
                <a:gd name="connsiteY100" fmla="*/ 9956 h 10000"/>
                <a:gd name="connsiteX101" fmla="*/ 2234 w 10000"/>
                <a:gd name="connsiteY101" fmla="*/ 10000 h 10000"/>
                <a:gd name="connsiteX102" fmla="*/ 2403 w 10000"/>
                <a:gd name="connsiteY102" fmla="*/ 9523 h 10000"/>
                <a:gd name="connsiteX103" fmla="*/ 3039 w 10000"/>
                <a:gd name="connsiteY103" fmla="*/ 9458 h 10000"/>
                <a:gd name="connsiteX104" fmla="*/ 3316 w 10000"/>
                <a:gd name="connsiteY104" fmla="*/ 9111 h 10000"/>
                <a:gd name="connsiteX105" fmla="*/ 3888 w 10000"/>
                <a:gd name="connsiteY105" fmla="*/ 9415 h 10000"/>
                <a:gd name="connsiteX106" fmla="*/ 4165 w 10000"/>
                <a:gd name="connsiteY106" fmla="*/ 8851 h 10000"/>
                <a:gd name="connsiteX107" fmla="*/ 4143 w 10000"/>
                <a:gd name="connsiteY107" fmla="*/ 8763 h 10000"/>
                <a:gd name="connsiteX108" fmla="*/ 4334 w 10000"/>
                <a:gd name="connsiteY108" fmla="*/ 8417 h 10000"/>
                <a:gd name="connsiteX109" fmla="*/ 4228 w 10000"/>
                <a:gd name="connsiteY109" fmla="*/ 8178 h 10000"/>
                <a:gd name="connsiteX110" fmla="*/ 4100 w 10000"/>
                <a:gd name="connsiteY110" fmla="*/ 7961 h 10000"/>
                <a:gd name="connsiteX111" fmla="*/ 4228 w 10000"/>
                <a:gd name="connsiteY111" fmla="*/ 7745 h 10000"/>
                <a:gd name="connsiteX112" fmla="*/ 4291 w 10000"/>
                <a:gd name="connsiteY112" fmla="*/ 7355 h 10000"/>
                <a:gd name="connsiteX113" fmla="*/ 4058 w 10000"/>
                <a:gd name="connsiteY113" fmla="*/ 6964 h 10000"/>
                <a:gd name="connsiteX114" fmla="*/ 4143 w 10000"/>
                <a:gd name="connsiteY114" fmla="*/ 6508 h 10000"/>
                <a:gd name="connsiteX115" fmla="*/ 4228 w 10000"/>
                <a:gd name="connsiteY115" fmla="*/ 6291 h 10000"/>
                <a:gd name="connsiteX116" fmla="*/ 4270 w 10000"/>
                <a:gd name="connsiteY116" fmla="*/ 6097 h 10000"/>
                <a:gd name="connsiteX117" fmla="*/ 4524 w 10000"/>
                <a:gd name="connsiteY117" fmla="*/ 5728 h 10000"/>
                <a:gd name="connsiteX118" fmla="*/ 5034 w 10000"/>
                <a:gd name="connsiteY118" fmla="*/ 5533 h 10000"/>
                <a:gd name="connsiteX119" fmla="*/ 5120 w 10000"/>
                <a:gd name="connsiteY119" fmla="*/ 5620 h 10000"/>
                <a:gd name="connsiteX120" fmla="*/ 5055 w 10000"/>
                <a:gd name="connsiteY120" fmla="*/ 5685 h 10000"/>
                <a:gd name="connsiteX121" fmla="*/ 5204 w 10000"/>
                <a:gd name="connsiteY121" fmla="*/ 5814 h 10000"/>
                <a:gd name="connsiteX122" fmla="*/ 5374 w 10000"/>
                <a:gd name="connsiteY122" fmla="*/ 5641 h 10000"/>
                <a:gd name="connsiteX123" fmla="*/ 5565 w 10000"/>
                <a:gd name="connsiteY123" fmla="*/ 5489 h 10000"/>
                <a:gd name="connsiteX124" fmla="*/ 5967 w 10000"/>
                <a:gd name="connsiteY124" fmla="*/ 4860 h 10000"/>
                <a:gd name="connsiteX125" fmla="*/ 6288 w 10000"/>
                <a:gd name="connsiteY125" fmla="*/ 5056 h 10000"/>
                <a:gd name="connsiteX126" fmla="*/ 6264 w 10000"/>
                <a:gd name="connsiteY126" fmla="*/ 4904 h 10000"/>
                <a:gd name="connsiteX127" fmla="*/ 6477 w 10000"/>
                <a:gd name="connsiteY127" fmla="*/ 4752 h 10000"/>
                <a:gd name="connsiteX128" fmla="*/ 6689 w 10000"/>
                <a:gd name="connsiteY128" fmla="*/ 4860 h 10000"/>
                <a:gd name="connsiteX129" fmla="*/ 6477 w 10000"/>
                <a:gd name="connsiteY129" fmla="*/ 4427 h 10000"/>
                <a:gd name="connsiteX130" fmla="*/ 6605 w 10000"/>
                <a:gd name="connsiteY130" fmla="*/ 4253 h 10000"/>
                <a:gd name="connsiteX131" fmla="*/ 7051 w 10000"/>
                <a:gd name="connsiteY131" fmla="*/ 4123 h 10000"/>
                <a:gd name="connsiteX132" fmla="*/ 7008 w 10000"/>
                <a:gd name="connsiteY132" fmla="*/ 4079 h 10000"/>
                <a:gd name="connsiteX133" fmla="*/ 7349 w 10000"/>
                <a:gd name="connsiteY133" fmla="*/ 3754 h 10000"/>
                <a:gd name="connsiteX134" fmla="*/ 7602 w 10000"/>
                <a:gd name="connsiteY134" fmla="*/ 3581 h 10000"/>
                <a:gd name="connsiteX135" fmla="*/ 8239 w 10000"/>
                <a:gd name="connsiteY135" fmla="*/ 3234 h 10000"/>
                <a:gd name="connsiteX136" fmla="*/ 8430 w 10000"/>
                <a:gd name="connsiteY136" fmla="*/ 3017 h 10000"/>
                <a:gd name="connsiteX137" fmla="*/ 8811 w 10000"/>
                <a:gd name="connsiteY137" fmla="*/ 2605 h 10000"/>
                <a:gd name="connsiteX138" fmla="*/ 9491 w 10000"/>
                <a:gd name="connsiteY138" fmla="*/ 2236 h 10000"/>
                <a:gd name="connsiteX139" fmla="*/ 9533 w 10000"/>
                <a:gd name="connsiteY139" fmla="*/ 2084 h 10000"/>
                <a:gd name="connsiteX140" fmla="*/ 9809 w 10000"/>
                <a:gd name="connsiteY140" fmla="*/ 1846 h 10000"/>
                <a:gd name="connsiteX141" fmla="*/ 10000 w 10000"/>
                <a:gd name="connsiteY141" fmla="*/ 1564 h 10000"/>
                <a:gd name="connsiteX142" fmla="*/ 9703 w 10000"/>
                <a:gd name="connsiteY142"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175 w 10000"/>
                <a:gd name="connsiteY80" fmla="*/ 7961 h 10000"/>
                <a:gd name="connsiteX81" fmla="*/ 91 w 10000"/>
                <a:gd name="connsiteY81" fmla="*/ 8070 h 10000"/>
                <a:gd name="connsiteX82" fmla="*/ 218 w 10000"/>
                <a:gd name="connsiteY82" fmla="*/ 8330 h 10000"/>
                <a:gd name="connsiteX83" fmla="*/ 5 w 10000"/>
                <a:gd name="connsiteY83" fmla="*/ 8634 h 10000"/>
                <a:gd name="connsiteX84" fmla="*/ 281 w 10000"/>
                <a:gd name="connsiteY84" fmla="*/ 8763 h 10000"/>
                <a:gd name="connsiteX85" fmla="*/ 471 w 10000"/>
                <a:gd name="connsiteY85" fmla="*/ 8482 h 10000"/>
                <a:gd name="connsiteX86" fmla="*/ 811 w 10000"/>
                <a:gd name="connsiteY86" fmla="*/ 8786 h 10000"/>
                <a:gd name="connsiteX87" fmla="*/ 1045 w 10000"/>
                <a:gd name="connsiteY87" fmla="*/ 8634 h 10000"/>
                <a:gd name="connsiteX88" fmla="*/ 1108 w 10000"/>
                <a:gd name="connsiteY88" fmla="*/ 8742 h 10000"/>
                <a:gd name="connsiteX89" fmla="*/ 1236 w 10000"/>
                <a:gd name="connsiteY89" fmla="*/ 8482 h 10000"/>
                <a:gd name="connsiteX90" fmla="*/ 1639 w 10000"/>
                <a:gd name="connsiteY90" fmla="*/ 8525 h 10000"/>
                <a:gd name="connsiteX91" fmla="*/ 1532 w 10000"/>
                <a:gd name="connsiteY91" fmla="*/ 8677 h 10000"/>
                <a:gd name="connsiteX92" fmla="*/ 1639 w 10000"/>
                <a:gd name="connsiteY92" fmla="*/ 8829 h 10000"/>
                <a:gd name="connsiteX93" fmla="*/ 1957 w 10000"/>
                <a:gd name="connsiteY93" fmla="*/ 8721 h 10000"/>
                <a:gd name="connsiteX94" fmla="*/ 2021 w 10000"/>
                <a:gd name="connsiteY94" fmla="*/ 8873 h 10000"/>
                <a:gd name="connsiteX95" fmla="*/ 1894 w 10000"/>
                <a:gd name="connsiteY95" fmla="*/ 9067 h 10000"/>
                <a:gd name="connsiteX96" fmla="*/ 2085 w 10000"/>
                <a:gd name="connsiteY96" fmla="*/ 9176 h 10000"/>
                <a:gd name="connsiteX97" fmla="*/ 2127 w 10000"/>
                <a:gd name="connsiteY97" fmla="*/ 9415 h 10000"/>
                <a:gd name="connsiteX98" fmla="*/ 1789 w 10000"/>
                <a:gd name="connsiteY98" fmla="*/ 9696 h 10000"/>
                <a:gd name="connsiteX99" fmla="*/ 1894 w 10000"/>
                <a:gd name="connsiteY99" fmla="*/ 9956 h 10000"/>
                <a:gd name="connsiteX100" fmla="*/ 2234 w 10000"/>
                <a:gd name="connsiteY100" fmla="*/ 10000 h 10000"/>
                <a:gd name="connsiteX101" fmla="*/ 2403 w 10000"/>
                <a:gd name="connsiteY101" fmla="*/ 9523 h 10000"/>
                <a:gd name="connsiteX102" fmla="*/ 3039 w 10000"/>
                <a:gd name="connsiteY102" fmla="*/ 9458 h 10000"/>
                <a:gd name="connsiteX103" fmla="*/ 3316 w 10000"/>
                <a:gd name="connsiteY103" fmla="*/ 9111 h 10000"/>
                <a:gd name="connsiteX104" fmla="*/ 3888 w 10000"/>
                <a:gd name="connsiteY104" fmla="*/ 9415 h 10000"/>
                <a:gd name="connsiteX105" fmla="*/ 4165 w 10000"/>
                <a:gd name="connsiteY105" fmla="*/ 8851 h 10000"/>
                <a:gd name="connsiteX106" fmla="*/ 4143 w 10000"/>
                <a:gd name="connsiteY106" fmla="*/ 8763 h 10000"/>
                <a:gd name="connsiteX107" fmla="*/ 4334 w 10000"/>
                <a:gd name="connsiteY107" fmla="*/ 8417 h 10000"/>
                <a:gd name="connsiteX108" fmla="*/ 4228 w 10000"/>
                <a:gd name="connsiteY108" fmla="*/ 8178 h 10000"/>
                <a:gd name="connsiteX109" fmla="*/ 4100 w 10000"/>
                <a:gd name="connsiteY109" fmla="*/ 7961 h 10000"/>
                <a:gd name="connsiteX110" fmla="*/ 4228 w 10000"/>
                <a:gd name="connsiteY110" fmla="*/ 7745 h 10000"/>
                <a:gd name="connsiteX111" fmla="*/ 4291 w 10000"/>
                <a:gd name="connsiteY111" fmla="*/ 7355 h 10000"/>
                <a:gd name="connsiteX112" fmla="*/ 4058 w 10000"/>
                <a:gd name="connsiteY112" fmla="*/ 6964 h 10000"/>
                <a:gd name="connsiteX113" fmla="*/ 4143 w 10000"/>
                <a:gd name="connsiteY113" fmla="*/ 6508 h 10000"/>
                <a:gd name="connsiteX114" fmla="*/ 4228 w 10000"/>
                <a:gd name="connsiteY114" fmla="*/ 6291 h 10000"/>
                <a:gd name="connsiteX115" fmla="*/ 4270 w 10000"/>
                <a:gd name="connsiteY115" fmla="*/ 6097 h 10000"/>
                <a:gd name="connsiteX116" fmla="*/ 4524 w 10000"/>
                <a:gd name="connsiteY116" fmla="*/ 5728 h 10000"/>
                <a:gd name="connsiteX117" fmla="*/ 5034 w 10000"/>
                <a:gd name="connsiteY117" fmla="*/ 5533 h 10000"/>
                <a:gd name="connsiteX118" fmla="*/ 5120 w 10000"/>
                <a:gd name="connsiteY118" fmla="*/ 5620 h 10000"/>
                <a:gd name="connsiteX119" fmla="*/ 5055 w 10000"/>
                <a:gd name="connsiteY119" fmla="*/ 5685 h 10000"/>
                <a:gd name="connsiteX120" fmla="*/ 5204 w 10000"/>
                <a:gd name="connsiteY120" fmla="*/ 5814 h 10000"/>
                <a:gd name="connsiteX121" fmla="*/ 5374 w 10000"/>
                <a:gd name="connsiteY121" fmla="*/ 5641 h 10000"/>
                <a:gd name="connsiteX122" fmla="*/ 5565 w 10000"/>
                <a:gd name="connsiteY122" fmla="*/ 5489 h 10000"/>
                <a:gd name="connsiteX123" fmla="*/ 5967 w 10000"/>
                <a:gd name="connsiteY123" fmla="*/ 4860 h 10000"/>
                <a:gd name="connsiteX124" fmla="*/ 6288 w 10000"/>
                <a:gd name="connsiteY124" fmla="*/ 5056 h 10000"/>
                <a:gd name="connsiteX125" fmla="*/ 6264 w 10000"/>
                <a:gd name="connsiteY125" fmla="*/ 4904 h 10000"/>
                <a:gd name="connsiteX126" fmla="*/ 6477 w 10000"/>
                <a:gd name="connsiteY126" fmla="*/ 4752 h 10000"/>
                <a:gd name="connsiteX127" fmla="*/ 6689 w 10000"/>
                <a:gd name="connsiteY127" fmla="*/ 4860 h 10000"/>
                <a:gd name="connsiteX128" fmla="*/ 6477 w 10000"/>
                <a:gd name="connsiteY128" fmla="*/ 4427 h 10000"/>
                <a:gd name="connsiteX129" fmla="*/ 6605 w 10000"/>
                <a:gd name="connsiteY129" fmla="*/ 4253 h 10000"/>
                <a:gd name="connsiteX130" fmla="*/ 7051 w 10000"/>
                <a:gd name="connsiteY130" fmla="*/ 4123 h 10000"/>
                <a:gd name="connsiteX131" fmla="*/ 7008 w 10000"/>
                <a:gd name="connsiteY131" fmla="*/ 4079 h 10000"/>
                <a:gd name="connsiteX132" fmla="*/ 7349 w 10000"/>
                <a:gd name="connsiteY132" fmla="*/ 3754 h 10000"/>
                <a:gd name="connsiteX133" fmla="*/ 7602 w 10000"/>
                <a:gd name="connsiteY133" fmla="*/ 3581 h 10000"/>
                <a:gd name="connsiteX134" fmla="*/ 8239 w 10000"/>
                <a:gd name="connsiteY134" fmla="*/ 3234 h 10000"/>
                <a:gd name="connsiteX135" fmla="*/ 8430 w 10000"/>
                <a:gd name="connsiteY135" fmla="*/ 3017 h 10000"/>
                <a:gd name="connsiteX136" fmla="*/ 8811 w 10000"/>
                <a:gd name="connsiteY136" fmla="*/ 2605 h 10000"/>
                <a:gd name="connsiteX137" fmla="*/ 9491 w 10000"/>
                <a:gd name="connsiteY137" fmla="*/ 2236 h 10000"/>
                <a:gd name="connsiteX138" fmla="*/ 9533 w 10000"/>
                <a:gd name="connsiteY138" fmla="*/ 2084 h 10000"/>
                <a:gd name="connsiteX139" fmla="*/ 9809 w 10000"/>
                <a:gd name="connsiteY139" fmla="*/ 1846 h 10000"/>
                <a:gd name="connsiteX140" fmla="*/ 10000 w 10000"/>
                <a:gd name="connsiteY140" fmla="*/ 1564 h 10000"/>
                <a:gd name="connsiteX141" fmla="*/ 9703 w 10000"/>
                <a:gd name="connsiteY141" fmla="*/ 1303 h 10000"/>
                <a:gd name="connsiteX0" fmla="*/ 9880 w 10177"/>
                <a:gd name="connsiteY0" fmla="*/ 1303 h 10000"/>
                <a:gd name="connsiteX1" fmla="*/ 9498 w 10177"/>
                <a:gd name="connsiteY1" fmla="*/ 1564 h 10000"/>
                <a:gd name="connsiteX2" fmla="*/ 9307 w 10177"/>
                <a:gd name="connsiteY2" fmla="*/ 1455 h 10000"/>
                <a:gd name="connsiteX3" fmla="*/ 9137 w 10177"/>
                <a:gd name="connsiteY3" fmla="*/ 1239 h 10000"/>
                <a:gd name="connsiteX4" fmla="*/ 9264 w 10177"/>
                <a:gd name="connsiteY4" fmla="*/ 1065 h 10000"/>
                <a:gd name="connsiteX5" fmla="*/ 8967 w 10177"/>
                <a:gd name="connsiteY5" fmla="*/ 826 h 10000"/>
                <a:gd name="connsiteX6" fmla="*/ 8840 w 10177"/>
                <a:gd name="connsiteY6" fmla="*/ 914 h 10000"/>
                <a:gd name="connsiteX7" fmla="*/ 8563 w 10177"/>
                <a:gd name="connsiteY7" fmla="*/ 957 h 10000"/>
                <a:gd name="connsiteX8" fmla="*/ 8587 w 10177"/>
                <a:gd name="connsiteY8" fmla="*/ 1195 h 10000"/>
                <a:gd name="connsiteX9" fmla="*/ 8670 w 10177"/>
                <a:gd name="connsiteY9" fmla="*/ 1260 h 10000"/>
                <a:gd name="connsiteX10" fmla="*/ 8607 w 10177"/>
                <a:gd name="connsiteY10" fmla="*/ 1434 h 10000"/>
                <a:gd name="connsiteX11" fmla="*/ 8437 w 10177"/>
                <a:gd name="connsiteY11" fmla="*/ 1478 h 10000"/>
                <a:gd name="connsiteX12" fmla="*/ 8266 w 10177"/>
                <a:gd name="connsiteY12" fmla="*/ 1607 h 10000"/>
                <a:gd name="connsiteX13" fmla="*/ 8416 w 10177"/>
                <a:gd name="connsiteY13" fmla="*/ 1780 h 10000"/>
                <a:gd name="connsiteX14" fmla="*/ 8395 w 10177"/>
                <a:gd name="connsiteY14" fmla="*/ 1911 h 10000"/>
                <a:gd name="connsiteX15" fmla="*/ 8076 w 10177"/>
                <a:gd name="connsiteY15" fmla="*/ 2063 h 10000"/>
                <a:gd name="connsiteX16" fmla="*/ 7927 w 10177"/>
                <a:gd name="connsiteY16" fmla="*/ 2323 h 10000"/>
                <a:gd name="connsiteX17" fmla="*/ 7546 w 10177"/>
                <a:gd name="connsiteY17" fmla="*/ 1803 h 10000"/>
                <a:gd name="connsiteX18" fmla="*/ 7397 w 10177"/>
                <a:gd name="connsiteY18" fmla="*/ 1976 h 10000"/>
                <a:gd name="connsiteX19" fmla="*/ 7609 w 10177"/>
                <a:gd name="connsiteY19" fmla="*/ 2193 h 10000"/>
                <a:gd name="connsiteX20" fmla="*/ 7439 w 10177"/>
                <a:gd name="connsiteY20" fmla="*/ 2345 h 10000"/>
                <a:gd name="connsiteX21" fmla="*/ 7481 w 10177"/>
                <a:gd name="connsiteY21" fmla="*/ 2453 h 10000"/>
                <a:gd name="connsiteX22" fmla="*/ 7143 w 10177"/>
                <a:gd name="connsiteY22" fmla="*/ 2713 h 10000"/>
                <a:gd name="connsiteX23" fmla="*/ 6782 w 10177"/>
                <a:gd name="connsiteY23" fmla="*/ 2496 h 10000"/>
                <a:gd name="connsiteX24" fmla="*/ 5806 w 10177"/>
                <a:gd name="connsiteY24" fmla="*/ 3038 h 10000"/>
                <a:gd name="connsiteX25" fmla="*/ 5721 w 10177"/>
                <a:gd name="connsiteY25" fmla="*/ 2800 h 10000"/>
                <a:gd name="connsiteX26" fmla="*/ 5594 w 10177"/>
                <a:gd name="connsiteY26" fmla="*/ 2648 h 10000"/>
                <a:gd name="connsiteX27" fmla="*/ 5636 w 10177"/>
                <a:gd name="connsiteY27" fmla="*/ 2475 h 10000"/>
                <a:gd name="connsiteX28" fmla="*/ 5508 w 10177"/>
                <a:gd name="connsiteY28" fmla="*/ 2301 h 10000"/>
                <a:gd name="connsiteX29" fmla="*/ 5317 w 10177"/>
                <a:gd name="connsiteY29" fmla="*/ 2280 h 10000"/>
                <a:gd name="connsiteX30" fmla="*/ 5360 w 10177"/>
                <a:gd name="connsiteY30" fmla="*/ 2041 h 10000"/>
                <a:gd name="connsiteX31" fmla="*/ 5211 w 10177"/>
                <a:gd name="connsiteY31" fmla="*/ 1955 h 10000"/>
                <a:gd name="connsiteX32" fmla="*/ 5063 w 10177"/>
                <a:gd name="connsiteY32" fmla="*/ 1651 h 10000"/>
                <a:gd name="connsiteX33" fmla="*/ 4871 w 10177"/>
                <a:gd name="connsiteY33" fmla="*/ 1651 h 10000"/>
                <a:gd name="connsiteX34" fmla="*/ 4681 w 10177"/>
                <a:gd name="connsiteY34" fmla="*/ 1499 h 10000"/>
                <a:gd name="connsiteX35" fmla="*/ 4681 w 10177"/>
                <a:gd name="connsiteY35" fmla="*/ 1434 h 10000"/>
                <a:gd name="connsiteX36" fmla="*/ 4511 w 10177"/>
                <a:gd name="connsiteY36" fmla="*/ 1520 h 10000"/>
                <a:gd name="connsiteX37" fmla="*/ 4298 w 10177"/>
                <a:gd name="connsiteY37" fmla="*/ 1369 h 10000"/>
                <a:gd name="connsiteX38" fmla="*/ 4405 w 10177"/>
                <a:gd name="connsiteY38" fmla="*/ 1152 h 10000"/>
                <a:gd name="connsiteX39" fmla="*/ 4235 w 10177"/>
                <a:gd name="connsiteY39" fmla="*/ 978 h 10000"/>
                <a:gd name="connsiteX40" fmla="*/ 4364 w 10177"/>
                <a:gd name="connsiteY40" fmla="*/ 718 h 10000"/>
                <a:gd name="connsiteX41" fmla="*/ 3938 w 10177"/>
                <a:gd name="connsiteY41" fmla="*/ 372 h 10000"/>
                <a:gd name="connsiteX42" fmla="*/ 3684 w 10177"/>
                <a:gd name="connsiteY42" fmla="*/ 480 h 10000"/>
                <a:gd name="connsiteX43" fmla="*/ 3195 w 10177"/>
                <a:gd name="connsiteY43" fmla="*/ 285 h 10000"/>
                <a:gd name="connsiteX44" fmla="*/ 3004 w 10177"/>
                <a:gd name="connsiteY44" fmla="*/ 414 h 10000"/>
                <a:gd name="connsiteX45" fmla="*/ 2537 w 10177"/>
                <a:gd name="connsiteY45" fmla="*/ 24 h 10000"/>
                <a:gd name="connsiteX46" fmla="*/ 2155 w 10177"/>
                <a:gd name="connsiteY46" fmla="*/ 566 h 10000"/>
                <a:gd name="connsiteX47" fmla="*/ 2155 w 10177"/>
                <a:gd name="connsiteY47" fmla="*/ 891 h 10000"/>
                <a:gd name="connsiteX48" fmla="*/ 1879 w 10177"/>
                <a:gd name="connsiteY48" fmla="*/ 631 h 10000"/>
                <a:gd name="connsiteX49" fmla="*/ 1562 w 10177"/>
                <a:gd name="connsiteY49" fmla="*/ 1065 h 10000"/>
                <a:gd name="connsiteX50" fmla="*/ 1796 w 10177"/>
                <a:gd name="connsiteY50" fmla="*/ 1412 h 10000"/>
                <a:gd name="connsiteX51" fmla="*/ 1370 w 10177"/>
                <a:gd name="connsiteY51" fmla="*/ 1824 h 10000"/>
                <a:gd name="connsiteX52" fmla="*/ 1329 w 10177"/>
                <a:gd name="connsiteY52" fmla="*/ 1824 h 10000"/>
                <a:gd name="connsiteX53" fmla="*/ 1498 w 10177"/>
                <a:gd name="connsiteY53" fmla="*/ 2063 h 10000"/>
                <a:gd name="connsiteX54" fmla="*/ 1285 w 10177"/>
                <a:gd name="connsiteY54" fmla="*/ 2301 h 10000"/>
                <a:gd name="connsiteX55" fmla="*/ 1433 w 10177"/>
                <a:gd name="connsiteY55" fmla="*/ 2453 h 10000"/>
                <a:gd name="connsiteX56" fmla="*/ 1370 w 10177"/>
                <a:gd name="connsiteY56" fmla="*/ 2692 h 10000"/>
                <a:gd name="connsiteX57" fmla="*/ 1285 w 10177"/>
                <a:gd name="connsiteY57" fmla="*/ 2822 h 10000"/>
                <a:gd name="connsiteX58" fmla="*/ 1433 w 10177"/>
                <a:gd name="connsiteY58" fmla="*/ 3082 h 10000"/>
                <a:gd name="connsiteX59" fmla="*/ 1180 w 10177"/>
                <a:gd name="connsiteY59" fmla="*/ 3494 h 10000"/>
                <a:gd name="connsiteX60" fmla="*/ 1370 w 10177"/>
                <a:gd name="connsiteY60" fmla="*/ 3733 h 10000"/>
                <a:gd name="connsiteX61" fmla="*/ 1031 w 10177"/>
                <a:gd name="connsiteY61" fmla="*/ 4144 h 10000"/>
                <a:gd name="connsiteX62" fmla="*/ 1201 w 10177"/>
                <a:gd name="connsiteY62" fmla="*/ 4362 h 10000"/>
                <a:gd name="connsiteX63" fmla="*/ 946 w 10177"/>
                <a:gd name="connsiteY63" fmla="*/ 4708 h 10000"/>
                <a:gd name="connsiteX64" fmla="*/ 1285 w 10177"/>
                <a:gd name="connsiteY64" fmla="*/ 4839 h 10000"/>
                <a:gd name="connsiteX65" fmla="*/ 1180 w 10177"/>
                <a:gd name="connsiteY65" fmla="*/ 5121 h 10000"/>
                <a:gd name="connsiteX66" fmla="*/ 1264 w 10177"/>
                <a:gd name="connsiteY66" fmla="*/ 5446 h 10000"/>
                <a:gd name="connsiteX67" fmla="*/ 1842 w 10177"/>
                <a:gd name="connsiteY67" fmla="*/ 5149 h 10000"/>
                <a:gd name="connsiteX68" fmla="*/ 2175 w 10177"/>
                <a:gd name="connsiteY68" fmla="*/ 4885 h 10000"/>
                <a:gd name="connsiteX69" fmla="*/ 2576 w 10177"/>
                <a:gd name="connsiteY69" fmla="*/ 4891 h 10000"/>
                <a:gd name="connsiteX70" fmla="*/ 3004 w 10177"/>
                <a:gd name="connsiteY70" fmla="*/ 4736 h 10000"/>
                <a:gd name="connsiteX71" fmla="*/ 3531 w 10177"/>
                <a:gd name="connsiteY71" fmla="*/ 4490 h 10000"/>
                <a:gd name="connsiteX72" fmla="*/ 3704 w 10177"/>
                <a:gd name="connsiteY72" fmla="*/ 4302 h 10000"/>
                <a:gd name="connsiteX73" fmla="*/ 4064 w 10177"/>
                <a:gd name="connsiteY73" fmla="*/ 3937 h 10000"/>
                <a:gd name="connsiteX74" fmla="*/ 4653 w 10177"/>
                <a:gd name="connsiteY74" fmla="*/ 4190 h 10000"/>
                <a:gd name="connsiteX75" fmla="*/ 4905 w 10177"/>
                <a:gd name="connsiteY75" fmla="*/ 4173 h 10000"/>
                <a:gd name="connsiteX76" fmla="*/ 4854 w 10177"/>
                <a:gd name="connsiteY76" fmla="*/ 3862 h 10000"/>
                <a:gd name="connsiteX77" fmla="*/ 4892 w 10177"/>
                <a:gd name="connsiteY77" fmla="*/ 3464 h 10000"/>
                <a:gd name="connsiteX78" fmla="*/ 5459 w 10177"/>
                <a:gd name="connsiteY78" fmla="*/ 3371 h 10000"/>
                <a:gd name="connsiteX79" fmla="*/ 5379 w 10177"/>
                <a:gd name="connsiteY79" fmla="*/ 3848 h 10000"/>
                <a:gd name="connsiteX80" fmla="*/ 352 w 10177"/>
                <a:gd name="connsiteY80" fmla="*/ 7961 h 10000"/>
                <a:gd name="connsiteX81" fmla="*/ 395 w 10177"/>
                <a:gd name="connsiteY81" fmla="*/ 8330 h 10000"/>
                <a:gd name="connsiteX82" fmla="*/ 182 w 10177"/>
                <a:gd name="connsiteY82" fmla="*/ 8634 h 10000"/>
                <a:gd name="connsiteX83" fmla="*/ 458 w 10177"/>
                <a:gd name="connsiteY83" fmla="*/ 8763 h 10000"/>
                <a:gd name="connsiteX84" fmla="*/ 648 w 10177"/>
                <a:gd name="connsiteY84" fmla="*/ 8482 h 10000"/>
                <a:gd name="connsiteX85" fmla="*/ 988 w 10177"/>
                <a:gd name="connsiteY85" fmla="*/ 8786 h 10000"/>
                <a:gd name="connsiteX86" fmla="*/ 1222 w 10177"/>
                <a:gd name="connsiteY86" fmla="*/ 8634 h 10000"/>
                <a:gd name="connsiteX87" fmla="*/ 1285 w 10177"/>
                <a:gd name="connsiteY87" fmla="*/ 8742 h 10000"/>
                <a:gd name="connsiteX88" fmla="*/ 1413 w 10177"/>
                <a:gd name="connsiteY88" fmla="*/ 8482 h 10000"/>
                <a:gd name="connsiteX89" fmla="*/ 1816 w 10177"/>
                <a:gd name="connsiteY89" fmla="*/ 8525 h 10000"/>
                <a:gd name="connsiteX90" fmla="*/ 1709 w 10177"/>
                <a:gd name="connsiteY90" fmla="*/ 8677 h 10000"/>
                <a:gd name="connsiteX91" fmla="*/ 1816 w 10177"/>
                <a:gd name="connsiteY91" fmla="*/ 8829 h 10000"/>
                <a:gd name="connsiteX92" fmla="*/ 2134 w 10177"/>
                <a:gd name="connsiteY92" fmla="*/ 8721 h 10000"/>
                <a:gd name="connsiteX93" fmla="*/ 2198 w 10177"/>
                <a:gd name="connsiteY93" fmla="*/ 8873 h 10000"/>
                <a:gd name="connsiteX94" fmla="*/ 2071 w 10177"/>
                <a:gd name="connsiteY94" fmla="*/ 9067 h 10000"/>
                <a:gd name="connsiteX95" fmla="*/ 2262 w 10177"/>
                <a:gd name="connsiteY95" fmla="*/ 9176 h 10000"/>
                <a:gd name="connsiteX96" fmla="*/ 2304 w 10177"/>
                <a:gd name="connsiteY96" fmla="*/ 9415 h 10000"/>
                <a:gd name="connsiteX97" fmla="*/ 1966 w 10177"/>
                <a:gd name="connsiteY97" fmla="*/ 9696 h 10000"/>
                <a:gd name="connsiteX98" fmla="*/ 2071 w 10177"/>
                <a:gd name="connsiteY98" fmla="*/ 9956 h 10000"/>
                <a:gd name="connsiteX99" fmla="*/ 2411 w 10177"/>
                <a:gd name="connsiteY99" fmla="*/ 10000 h 10000"/>
                <a:gd name="connsiteX100" fmla="*/ 2580 w 10177"/>
                <a:gd name="connsiteY100" fmla="*/ 9523 h 10000"/>
                <a:gd name="connsiteX101" fmla="*/ 3216 w 10177"/>
                <a:gd name="connsiteY101" fmla="*/ 9458 h 10000"/>
                <a:gd name="connsiteX102" fmla="*/ 3493 w 10177"/>
                <a:gd name="connsiteY102" fmla="*/ 9111 h 10000"/>
                <a:gd name="connsiteX103" fmla="*/ 4065 w 10177"/>
                <a:gd name="connsiteY103" fmla="*/ 9415 h 10000"/>
                <a:gd name="connsiteX104" fmla="*/ 4342 w 10177"/>
                <a:gd name="connsiteY104" fmla="*/ 8851 h 10000"/>
                <a:gd name="connsiteX105" fmla="*/ 4320 w 10177"/>
                <a:gd name="connsiteY105" fmla="*/ 8763 h 10000"/>
                <a:gd name="connsiteX106" fmla="*/ 4511 w 10177"/>
                <a:gd name="connsiteY106" fmla="*/ 8417 h 10000"/>
                <a:gd name="connsiteX107" fmla="*/ 4405 w 10177"/>
                <a:gd name="connsiteY107" fmla="*/ 8178 h 10000"/>
                <a:gd name="connsiteX108" fmla="*/ 4277 w 10177"/>
                <a:gd name="connsiteY108" fmla="*/ 7961 h 10000"/>
                <a:gd name="connsiteX109" fmla="*/ 4405 w 10177"/>
                <a:gd name="connsiteY109" fmla="*/ 7745 h 10000"/>
                <a:gd name="connsiteX110" fmla="*/ 4468 w 10177"/>
                <a:gd name="connsiteY110" fmla="*/ 7355 h 10000"/>
                <a:gd name="connsiteX111" fmla="*/ 4235 w 10177"/>
                <a:gd name="connsiteY111" fmla="*/ 6964 h 10000"/>
                <a:gd name="connsiteX112" fmla="*/ 4320 w 10177"/>
                <a:gd name="connsiteY112" fmla="*/ 6508 h 10000"/>
                <a:gd name="connsiteX113" fmla="*/ 4405 w 10177"/>
                <a:gd name="connsiteY113" fmla="*/ 6291 h 10000"/>
                <a:gd name="connsiteX114" fmla="*/ 4447 w 10177"/>
                <a:gd name="connsiteY114" fmla="*/ 6097 h 10000"/>
                <a:gd name="connsiteX115" fmla="*/ 4701 w 10177"/>
                <a:gd name="connsiteY115" fmla="*/ 5728 h 10000"/>
                <a:gd name="connsiteX116" fmla="*/ 5211 w 10177"/>
                <a:gd name="connsiteY116" fmla="*/ 5533 h 10000"/>
                <a:gd name="connsiteX117" fmla="*/ 5297 w 10177"/>
                <a:gd name="connsiteY117" fmla="*/ 5620 h 10000"/>
                <a:gd name="connsiteX118" fmla="*/ 5232 w 10177"/>
                <a:gd name="connsiteY118" fmla="*/ 5685 h 10000"/>
                <a:gd name="connsiteX119" fmla="*/ 5381 w 10177"/>
                <a:gd name="connsiteY119" fmla="*/ 5814 h 10000"/>
                <a:gd name="connsiteX120" fmla="*/ 5551 w 10177"/>
                <a:gd name="connsiteY120" fmla="*/ 5641 h 10000"/>
                <a:gd name="connsiteX121" fmla="*/ 5742 w 10177"/>
                <a:gd name="connsiteY121" fmla="*/ 5489 h 10000"/>
                <a:gd name="connsiteX122" fmla="*/ 6144 w 10177"/>
                <a:gd name="connsiteY122" fmla="*/ 4860 h 10000"/>
                <a:gd name="connsiteX123" fmla="*/ 6465 w 10177"/>
                <a:gd name="connsiteY123" fmla="*/ 5056 h 10000"/>
                <a:gd name="connsiteX124" fmla="*/ 6441 w 10177"/>
                <a:gd name="connsiteY124" fmla="*/ 4904 h 10000"/>
                <a:gd name="connsiteX125" fmla="*/ 6654 w 10177"/>
                <a:gd name="connsiteY125" fmla="*/ 4752 h 10000"/>
                <a:gd name="connsiteX126" fmla="*/ 6866 w 10177"/>
                <a:gd name="connsiteY126" fmla="*/ 4860 h 10000"/>
                <a:gd name="connsiteX127" fmla="*/ 6654 w 10177"/>
                <a:gd name="connsiteY127" fmla="*/ 4427 h 10000"/>
                <a:gd name="connsiteX128" fmla="*/ 6782 w 10177"/>
                <a:gd name="connsiteY128" fmla="*/ 4253 h 10000"/>
                <a:gd name="connsiteX129" fmla="*/ 7228 w 10177"/>
                <a:gd name="connsiteY129" fmla="*/ 4123 h 10000"/>
                <a:gd name="connsiteX130" fmla="*/ 7185 w 10177"/>
                <a:gd name="connsiteY130" fmla="*/ 4079 h 10000"/>
                <a:gd name="connsiteX131" fmla="*/ 7526 w 10177"/>
                <a:gd name="connsiteY131" fmla="*/ 3754 h 10000"/>
                <a:gd name="connsiteX132" fmla="*/ 7779 w 10177"/>
                <a:gd name="connsiteY132" fmla="*/ 3581 h 10000"/>
                <a:gd name="connsiteX133" fmla="*/ 8416 w 10177"/>
                <a:gd name="connsiteY133" fmla="*/ 3234 h 10000"/>
                <a:gd name="connsiteX134" fmla="*/ 8607 w 10177"/>
                <a:gd name="connsiteY134" fmla="*/ 3017 h 10000"/>
                <a:gd name="connsiteX135" fmla="*/ 8988 w 10177"/>
                <a:gd name="connsiteY135" fmla="*/ 2605 h 10000"/>
                <a:gd name="connsiteX136" fmla="*/ 9668 w 10177"/>
                <a:gd name="connsiteY136" fmla="*/ 2236 h 10000"/>
                <a:gd name="connsiteX137" fmla="*/ 9710 w 10177"/>
                <a:gd name="connsiteY137" fmla="*/ 2084 h 10000"/>
                <a:gd name="connsiteX138" fmla="*/ 9986 w 10177"/>
                <a:gd name="connsiteY138" fmla="*/ 1846 h 10000"/>
                <a:gd name="connsiteX139" fmla="*/ 10177 w 10177"/>
                <a:gd name="connsiteY139" fmla="*/ 1564 h 10000"/>
                <a:gd name="connsiteX140" fmla="*/ 9880 w 10177"/>
                <a:gd name="connsiteY140" fmla="*/ 1303 h 10000"/>
                <a:gd name="connsiteX0" fmla="*/ 9703 w 10000"/>
                <a:gd name="connsiteY0" fmla="*/ 1303 h 10000"/>
                <a:gd name="connsiteX1" fmla="*/ 9321 w 10000"/>
                <a:gd name="connsiteY1" fmla="*/ 1564 h 10000"/>
                <a:gd name="connsiteX2" fmla="*/ 9130 w 10000"/>
                <a:gd name="connsiteY2" fmla="*/ 1455 h 10000"/>
                <a:gd name="connsiteX3" fmla="*/ 8960 w 10000"/>
                <a:gd name="connsiteY3" fmla="*/ 1239 h 10000"/>
                <a:gd name="connsiteX4" fmla="*/ 9087 w 10000"/>
                <a:gd name="connsiteY4" fmla="*/ 1065 h 10000"/>
                <a:gd name="connsiteX5" fmla="*/ 8790 w 10000"/>
                <a:gd name="connsiteY5" fmla="*/ 826 h 10000"/>
                <a:gd name="connsiteX6" fmla="*/ 8663 w 10000"/>
                <a:gd name="connsiteY6" fmla="*/ 914 h 10000"/>
                <a:gd name="connsiteX7" fmla="*/ 8386 w 10000"/>
                <a:gd name="connsiteY7" fmla="*/ 957 h 10000"/>
                <a:gd name="connsiteX8" fmla="*/ 8410 w 10000"/>
                <a:gd name="connsiteY8" fmla="*/ 1195 h 10000"/>
                <a:gd name="connsiteX9" fmla="*/ 8493 w 10000"/>
                <a:gd name="connsiteY9" fmla="*/ 1260 h 10000"/>
                <a:gd name="connsiteX10" fmla="*/ 8430 w 10000"/>
                <a:gd name="connsiteY10" fmla="*/ 1434 h 10000"/>
                <a:gd name="connsiteX11" fmla="*/ 8260 w 10000"/>
                <a:gd name="connsiteY11" fmla="*/ 1478 h 10000"/>
                <a:gd name="connsiteX12" fmla="*/ 8089 w 10000"/>
                <a:gd name="connsiteY12" fmla="*/ 1607 h 10000"/>
                <a:gd name="connsiteX13" fmla="*/ 8239 w 10000"/>
                <a:gd name="connsiteY13" fmla="*/ 1780 h 10000"/>
                <a:gd name="connsiteX14" fmla="*/ 8218 w 10000"/>
                <a:gd name="connsiteY14" fmla="*/ 1911 h 10000"/>
                <a:gd name="connsiteX15" fmla="*/ 7899 w 10000"/>
                <a:gd name="connsiteY15" fmla="*/ 2063 h 10000"/>
                <a:gd name="connsiteX16" fmla="*/ 7750 w 10000"/>
                <a:gd name="connsiteY16" fmla="*/ 2323 h 10000"/>
                <a:gd name="connsiteX17" fmla="*/ 7369 w 10000"/>
                <a:gd name="connsiteY17" fmla="*/ 1803 h 10000"/>
                <a:gd name="connsiteX18" fmla="*/ 7220 w 10000"/>
                <a:gd name="connsiteY18" fmla="*/ 1976 h 10000"/>
                <a:gd name="connsiteX19" fmla="*/ 7432 w 10000"/>
                <a:gd name="connsiteY19" fmla="*/ 2193 h 10000"/>
                <a:gd name="connsiteX20" fmla="*/ 7262 w 10000"/>
                <a:gd name="connsiteY20" fmla="*/ 2345 h 10000"/>
                <a:gd name="connsiteX21" fmla="*/ 7304 w 10000"/>
                <a:gd name="connsiteY21" fmla="*/ 2453 h 10000"/>
                <a:gd name="connsiteX22" fmla="*/ 6966 w 10000"/>
                <a:gd name="connsiteY22" fmla="*/ 2713 h 10000"/>
                <a:gd name="connsiteX23" fmla="*/ 6605 w 10000"/>
                <a:gd name="connsiteY23" fmla="*/ 2496 h 10000"/>
                <a:gd name="connsiteX24" fmla="*/ 5629 w 10000"/>
                <a:gd name="connsiteY24" fmla="*/ 3038 h 10000"/>
                <a:gd name="connsiteX25" fmla="*/ 5544 w 10000"/>
                <a:gd name="connsiteY25" fmla="*/ 2800 h 10000"/>
                <a:gd name="connsiteX26" fmla="*/ 5417 w 10000"/>
                <a:gd name="connsiteY26" fmla="*/ 2648 h 10000"/>
                <a:gd name="connsiteX27" fmla="*/ 5459 w 10000"/>
                <a:gd name="connsiteY27" fmla="*/ 2475 h 10000"/>
                <a:gd name="connsiteX28" fmla="*/ 5331 w 10000"/>
                <a:gd name="connsiteY28" fmla="*/ 2301 h 10000"/>
                <a:gd name="connsiteX29" fmla="*/ 5140 w 10000"/>
                <a:gd name="connsiteY29" fmla="*/ 2280 h 10000"/>
                <a:gd name="connsiteX30" fmla="*/ 5183 w 10000"/>
                <a:gd name="connsiteY30" fmla="*/ 2041 h 10000"/>
                <a:gd name="connsiteX31" fmla="*/ 5034 w 10000"/>
                <a:gd name="connsiteY31" fmla="*/ 1955 h 10000"/>
                <a:gd name="connsiteX32" fmla="*/ 4886 w 10000"/>
                <a:gd name="connsiteY32" fmla="*/ 1651 h 10000"/>
                <a:gd name="connsiteX33" fmla="*/ 4694 w 10000"/>
                <a:gd name="connsiteY33" fmla="*/ 1651 h 10000"/>
                <a:gd name="connsiteX34" fmla="*/ 4504 w 10000"/>
                <a:gd name="connsiteY34" fmla="*/ 1499 h 10000"/>
                <a:gd name="connsiteX35" fmla="*/ 4504 w 10000"/>
                <a:gd name="connsiteY35" fmla="*/ 1434 h 10000"/>
                <a:gd name="connsiteX36" fmla="*/ 4334 w 10000"/>
                <a:gd name="connsiteY36" fmla="*/ 1520 h 10000"/>
                <a:gd name="connsiteX37" fmla="*/ 4121 w 10000"/>
                <a:gd name="connsiteY37" fmla="*/ 1369 h 10000"/>
                <a:gd name="connsiteX38" fmla="*/ 4228 w 10000"/>
                <a:gd name="connsiteY38" fmla="*/ 1152 h 10000"/>
                <a:gd name="connsiteX39" fmla="*/ 4058 w 10000"/>
                <a:gd name="connsiteY39" fmla="*/ 978 h 10000"/>
                <a:gd name="connsiteX40" fmla="*/ 4187 w 10000"/>
                <a:gd name="connsiteY40" fmla="*/ 718 h 10000"/>
                <a:gd name="connsiteX41" fmla="*/ 3761 w 10000"/>
                <a:gd name="connsiteY41" fmla="*/ 372 h 10000"/>
                <a:gd name="connsiteX42" fmla="*/ 3507 w 10000"/>
                <a:gd name="connsiteY42" fmla="*/ 480 h 10000"/>
                <a:gd name="connsiteX43" fmla="*/ 3018 w 10000"/>
                <a:gd name="connsiteY43" fmla="*/ 285 h 10000"/>
                <a:gd name="connsiteX44" fmla="*/ 2827 w 10000"/>
                <a:gd name="connsiteY44" fmla="*/ 414 h 10000"/>
                <a:gd name="connsiteX45" fmla="*/ 2360 w 10000"/>
                <a:gd name="connsiteY45" fmla="*/ 24 h 10000"/>
                <a:gd name="connsiteX46" fmla="*/ 1978 w 10000"/>
                <a:gd name="connsiteY46" fmla="*/ 566 h 10000"/>
                <a:gd name="connsiteX47" fmla="*/ 1978 w 10000"/>
                <a:gd name="connsiteY47" fmla="*/ 891 h 10000"/>
                <a:gd name="connsiteX48" fmla="*/ 1702 w 10000"/>
                <a:gd name="connsiteY48" fmla="*/ 631 h 10000"/>
                <a:gd name="connsiteX49" fmla="*/ 1385 w 10000"/>
                <a:gd name="connsiteY49" fmla="*/ 1065 h 10000"/>
                <a:gd name="connsiteX50" fmla="*/ 1619 w 10000"/>
                <a:gd name="connsiteY50" fmla="*/ 1412 h 10000"/>
                <a:gd name="connsiteX51" fmla="*/ 1193 w 10000"/>
                <a:gd name="connsiteY51" fmla="*/ 1824 h 10000"/>
                <a:gd name="connsiteX52" fmla="*/ 1152 w 10000"/>
                <a:gd name="connsiteY52" fmla="*/ 1824 h 10000"/>
                <a:gd name="connsiteX53" fmla="*/ 1321 w 10000"/>
                <a:gd name="connsiteY53" fmla="*/ 2063 h 10000"/>
                <a:gd name="connsiteX54" fmla="*/ 1108 w 10000"/>
                <a:gd name="connsiteY54" fmla="*/ 2301 h 10000"/>
                <a:gd name="connsiteX55" fmla="*/ 1256 w 10000"/>
                <a:gd name="connsiteY55" fmla="*/ 2453 h 10000"/>
                <a:gd name="connsiteX56" fmla="*/ 1193 w 10000"/>
                <a:gd name="connsiteY56" fmla="*/ 2692 h 10000"/>
                <a:gd name="connsiteX57" fmla="*/ 1108 w 10000"/>
                <a:gd name="connsiteY57" fmla="*/ 2822 h 10000"/>
                <a:gd name="connsiteX58" fmla="*/ 1256 w 10000"/>
                <a:gd name="connsiteY58" fmla="*/ 3082 h 10000"/>
                <a:gd name="connsiteX59" fmla="*/ 1003 w 10000"/>
                <a:gd name="connsiteY59" fmla="*/ 3494 h 10000"/>
                <a:gd name="connsiteX60" fmla="*/ 1193 w 10000"/>
                <a:gd name="connsiteY60" fmla="*/ 3733 h 10000"/>
                <a:gd name="connsiteX61" fmla="*/ 854 w 10000"/>
                <a:gd name="connsiteY61" fmla="*/ 4144 h 10000"/>
                <a:gd name="connsiteX62" fmla="*/ 1024 w 10000"/>
                <a:gd name="connsiteY62" fmla="*/ 4362 h 10000"/>
                <a:gd name="connsiteX63" fmla="*/ 769 w 10000"/>
                <a:gd name="connsiteY63" fmla="*/ 4708 h 10000"/>
                <a:gd name="connsiteX64" fmla="*/ 1108 w 10000"/>
                <a:gd name="connsiteY64" fmla="*/ 4839 h 10000"/>
                <a:gd name="connsiteX65" fmla="*/ 1003 w 10000"/>
                <a:gd name="connsiteY65" fmla="*/ 5121 h 10000"/>
                <a:gd name="connsiteX66" fmla="*/ 1087 w 10000"/>
                <a:gd name="connsiteY66" fmla="*/ 5446 h 10000"/>
                <a:gd name="connsiteX67" fmla="*/ 1665 w 10000"/>
                <a:gd name="connsiteY67" fmla="*/ 5149 h 10000"/>
                <a:gd name="connsiteX68" fmla="*/ 1998 w 10000"/>
                <a:gd name="connsiteY68" fmla="*/ 4885 h 10000"/>
                <a:gd name="connsiteX69" fmla="*/ 2399 w 10000"/>
                <a:gd name="connsiteY69" fmla="*/ 4891 h 10000"/>
                <a:gd name="connsiteX70" fmla="*/ 2827 w 10000"/>
                <a:gd name="connsiteY70" fmla="*/ 4736 h 10000"/>
                <a:gd name="connsiteX71" fmla="*/ 3354 w 10000"/>
                <a:gd name="connsiteY71" fmla="*/ 4490 h 10000"/>
                <a:gd name="connsiteX72" fmla="*/ 3527 w 10000"/>
                <a:gd name="connsiteY72" fmla="*/ 4302 h 10000"/>
                <a:gd name="connsiteX73" fmla="*/ 3887 w 10000"/>
                <a:gd name="connsiteY73" fmla="*/ 3937 h 10000"/>
                <a:gd name="connsiteX74" fmla="*/ 4476 w 10000"/>
                <a:gd name="connsiteY74" fmla="*/ 4190 h 10000"/>
                <a:gd name="connsiteX75" fmla="*/ 4728 w 10000"/>
                <a:gd name="connsiteY75" fmla="*/ 4173 h 10000"/>
                <a:gd name="connsiteX76" fmla="*/ 4677 w 10000"/>
                <a:gd name="connsiteY76" fmla="*/ 3862 h 10000"/>
                <a:gd name="connsiteX77" fmla="*/ 4715 w 10000"/>
                <a:gd name="connsiteY77" fmla="*/ 3464 h 10000"/>
                <a:gd name="connsiteX78" fmla="*/ 5282 w 10000"/>
                <a:gd name="connsiteY78" fmla="*/ 3371 h 10000"/>
                <a:gd name="connsiteX79" fmla="*/ 5202 w 10000"/>
                <a:gd name="connsiteY79" fmla="*/ 3848 h 10000"/>
                <a:gd name="connsiteX80" fmla="*/ 218 w 10000"/>
                <a:gd name="connsiteY80" fmla="*/ 8330 h 10000"/>
                <a:gd name="connsiteX81" fmla="*/ 5 w 10000"/>
                <a:gd name="connsiteY81" fmla="*/ 8634 h 10000"/>
                <a:gd name="connsiteX82" fmla="*/ 281 w 10000"/>
                <a:gd name="connsiteY82" fmla="*/ 8763 h 10000"/>
                <a:gd name="connsiteX83" fmla="*/ 471 w 10000"/>
                <a:gd name="connsiteY83" fmla="*/ 8482 h 10000"/>
                <a:gd name="connsiteX84" fmla="*/ 811 w 10000"/>
                <a:gd name="connsiteY84" fmla="*/ 8786 h 10000"/>
                <a:gd name="connsiteX85" fmla="*/ 1045 w 10000"/>
                <a:gd name="connsiteY85" fmla="*/ 8634 h 10000"/>
                <a:gd name="connsiteX86" fmla="*/ 1108 w 10000"/>
                <a:gd name="connsiteY86" fmla="*/ 8742 h 10000"/>
                <a:gd name="connsiteX87" fmla="*/ 1236 w 10000"/>
                <a:gd name="connsiteY87" fmla="*/ 8482 h 10000"/>
                <a:gd name="connsiteX88" fmla="*/ 1639 w 10000"/>
                <a:gd name="connsiteY88" fmla="*/ 8525 h 10000"/>
                <a:gd name="connsiteX89" fmla="*/ 1532 w 10000"/>
                <a:gd name="connsiteY89" fmla="*/ 8677 h 10000"/>
                <a:gd name="connsiteX90" fmla="*/ 1639 w 10000"/>
                <a:gd name="connsiteY90" fmla="*/ 8829 h 10000"/>
                <a:gd name="connsiteX91" fmla="*/ 1957 w 10000"/>
                <a:gd name="connsiteY91" fmla="*/ 8721 h 10000"/>
                <a:gd name="connsiteX92" fmla="*/ 2021 w 10000"/>
                <a:gd name="connsiteY92" fmla="*/ 8873 h 10000"/>
                <a:gd name="connsiteX93" fmla="*/ 1894 w 10000"/>
                <a:gd name="connsiteY93" fmla="*/ 9067 h 10000"/>
                <a:gd name="connsiteX94" fmla="*/ 2085 w 10000"/>
                <a:gd name="connsiteY94" fmla="*/ 9176 h 10000"/>
                <a:gd name="connsiteX95" fmla="*/ 2127 w 10000"/>
                <a:gd name="connsiteY95" fmla="*/ 9415 h 10000"/>
                <a:gd name="connsiteX96" fmla="*/ 1789 w 10000"/>
                <a:gd name="connsiteY96" fmla="*/ 9696 h 10000"/>
                <a:gd name="connsiteX97" fmla="*/ 1894 w 10000"/>
                <a:gd name="connsiteY97" fmla="*/ 9956 h 10000"/>
                <a:gd name="connsiteX98" fmla="*/ 2234 w 10000"/>
                <a:gd name="connsiteY98" fmla="*/ 10000 h 10000"/>
                <a:gd name="connsiteX99" fmla="*/ 2403 w 10000"/>
                <a:gd name="connsiteY99" fmla="*/ 9523 h 10000"/>
                <a:gd name="connsiteX100" fmla="*/ 3039 w 10000"/>
                <a:gd name="connsiteY100" fmla="*/ 9458 h 10000"/>
                <a:gd name="connsiteX101" fmla="*/ 3316 w 10000"/>
                <a:gd name="connsiteY101" fmla="*/ 9111 h 10000"/>
                <a:gd name="connsiteX102" fmla="*/ 3888 w 10000"/>
                <a:gd name="connsiteY102" fmla="*/ 9415 h 10000"/>
                <a:gd name="connsiteX103" fmla="*/ 4165 w 10000"/>
                <a:gd name="connsiteY103" fmla="*/ 8851 h 10000"/>
                <a:gd name="connsiteX104" fmla="*/ 4143 w 10000"/>
                <a:gd name="connsiteY104" fmla="*/ 8763 h 10000"/>
                <a:gd name="connsiteX105" fmla="*/ 4334 w 10000"/>
                <a:gd name="connsiteY105" fmla="*/ 8417 h 10000"/>
                <a:gd name="connsiteX106" fmla="*/ 4228 w 10000"/>
                <a:gd name="connsiteY106" fmla="*/ 8178 h 10000"/>
                <a:gd name="connsiteX107" fmla="*/ 4100 w 10000"/>
                <a:gd name="connsiteY107" fmla="*/ 7961 h 10000"/>
                <a:gd name="connsiteX108" fmla="*/ 4228 w 10000"/>
                <a:gd name="connsiteY108" fmla="*/ 7745 h 10000"/>
                <a:gd name="connsiteX109" fmla="*/ 4291 w 10000"/>
                <a:gd name="connsiteY109" fmla="*/ 7355 h 10000"/>
                <a:gd name="connsiteX110" fmla="*/ 4058 w 10000"/>
                <a:gd name="connsiteY110" fmla="*/ 6964 h 10000"/>
                <a:gd name="connsiteX111" fmla="*/ 4143 w 10000"/>
                <a:gd name="connsiteY111" fmla="*/ 6508 h 10000"/>
                <a:gd name="connsiteX112" fmla="*/ 4228 w 10000"/>
                <a:gd name="connsiteY112" fmla="*/ 6291 h 10000"/>
                <a:gd name="connsiteX113" fmla="*/ 4270 w 10000"/>
                <a:gd name="connsiteY113" fmla="*/ 6097 h 10000"/>
                <a:gd name="connsiteX114" fmla="*/ 4524 w 10000"/>
                <a:gd name="connsiteY114" fmla="*/ 5728 h 10000"/>
                <a:gd name="connsiteX115" fmla="*/ 5034 w 10000"/>
                <a:gd name="connsiteY115" fmla="*/ 5533 h 10000"/>
                <a:gd name="connsiteX116" fmla="*/ 5120 w 10000"/>
                <a:gd name="connsiteY116" fmla="*/ 5620 h 10000"/>
                <a:gd name="connsiteX117" fmla="*/ 5055 w 10000"/>
                <a:gd name="connsiteY117" fmla="*/ 5685 h 10000"/>
                <a:gd name="connsiteX118" fmla="*/ 5204 w 10000"/>
                <a:gd name="connsiteY118" fmla="*/ 5814 h 10000"/>
                <a:gd name="connsiteX119" fmla="*/ 5374 w 10000"/>
                <a:gd name="connsiteY119" fmla="*/ 5641 h 10000"/>
                <a:gd name="connsiteX120" fmla="*/ 5565 w 10000"/>
                <a:gd name="connsiteY120" fmla="*/ 5489 h 10000"/>
                <a:gd name="connsiteX121" fmla="*/ 5967 w 10000"/>
                <a:gd name="connsiteY121" fmla="*/ 4860 h 10000"/>
                <a:gd name="connsiteX122" fmla="*/ 6288 w 10000"/>
                <a:gd name="connsiteY122" fmla="*/ 5056 h 10000"/>
                <a:gd name="connsiteX123" fmla="*/ 6264 w 10000"/>
                <a:gd name="connsiteY123" fmla="*/ 4904 h 10000"/>
                <a:gd name="connsiteX124" fmla="*/ 6477 w 10000"/>
                <a:gd name="connsiteY124" fmla="*/ 4752 h 10000"/>
                <a:gd name="connsiteX125" fmla="*/ 6689 w 10000"/>
                <a:gd name="connsiteY125" fmla="*/ 4860 h 10000"/>
                <a:gd name="connsiteX126" fmla="*/ 6477 w 10000"/>
                <a:gd name="connsiteY126" fmla="*/ 4427 h 10000"/>
                <a:gd name="connsiteX127" fmla="*/ 6605 w 10000"/>
                <a:gd name="connsiteY127" fmla="*/ 4253 h 10000"/>
                <a:gd name="connsiteX128" fmla="*/ 7051 w 10000"/>
                <a:gd name="connsiteY128" fmla="*/ 4123 h 10000"/>
                <a:gd name="connsiteX129" fmla="*/ 7008 w 10000"/>
                <a:gd name="connsiteY129" fmla="*/ 4079 h 10000"/>
                <a:gd name="connsiteX130" fmla="*/ 7349 w 10000"/>
                <a:gd name="connsiteY130" fmla="*/ 3754 h 10000"/>
                <a:gd name="connsiteX131" fmla="*/ 7602 w 10000"/>
                <a:gd name="connsiteY131" fmla="*/ 3581 h 10000"/>
                <a:gd name="connsiteX132" fmla="*/ 8239 w 10000"/>
                <a:gd name="connsiteY132" fmla="*/ 3234 h 10000"/>
                <a:gd name="connsiteX133" fmla="*/ 8430 w 10000"/>
                <a:gd name="connsiteY133" fmla="*/ 3017 h 10000"/>
                <a:gd name="connsiteX134" fmla="*/ 8811 w 10000"/>
                <a:gd name="connsiteY134" fmla="*/ 2605 h 10000"/>
                <a:gd name="connsiteX135" fmla="*/ 9491 w 10000"/>
                <a:gd name="connsiteY135" fmla="*/ 2236 h 10000"/>
                <a:gd name="connsiteX136" fmla="*/ 9533 w 10000"/>
                <a:gd name="connsiteY136" fmla="*/ 2084 h 10000"/>
                <a:gd name="connsiteX137" fmla="*/ 9809 w 10000"/>
                <a:gd name="connsiteY137" fmla="*/ 1846 h 10000"/>
                <a:gd name="connsiteX138" fmla="*/ 10000 w 10000"/>
                <a:gd name="connsiteY138" fmla="*/ 1564 h 10000"/>
                <a:gd name="connsiteX139" fmla="*/ 9703 w 10000"/>
                <a:gd name="connsiteY139" fmla="*/ 1303 h 10000"/>
                <a:gd name="connsiteX0" fmla="*/ 10012 w 10309"/>
                <a:gd name="connsiteY0" fmla="*/ 1303 h 10000"/>
                <a:gd name="connsiteX1" fmla="*/ 9630 w 10309"/>
                <a:gd name="connsiteY1" fmla="*/ 1564 h 10000"/>
                <a:gd name="connsiteX2" fmla="*/ 9439 w 10309"/>
                <a:gd name="connsiteY2" fmla="*/ 1455 h 10000"/>
                <a:gd name="connsiteX3" fmla="*/ 9269 w 10309"/>
                <a:gd name="connsiteY3" fmla="*/ 1239 h 10000"/>
                <a:gd name="connsiteX4" fmla="*/ 9396 w 10309"/>
                <a:gd name="connsiteY4" fmla="*/ 1065 h 10000"/>
                <a:gd name="connsiteX5" fmla="*/ 9099 w 10309"/>
                <a:gd name="connsiteY5" fmla="*/ 826 h 10000"/>
                <a:gd name="connsiteX6" fmla="*/ 8972 w 10309"/>
                <a:gd name="connsiteY6" fmla="*/ 914 h 10000"/>
                <a:gd name="connsiteX7" fmla="*/ 8695 w 10309"/>
                <a:gd name="connsiteY7" fmla="*/ 957 h 10000"/>
                <a:gd name="connsiteX8" fmla="*/ 8719 w 10309"/>
                <a:gd name="connsiteY8" fmla="*/ 1195 h 10000"/>
                <a:gd name="connsiteX9" fmla="*/ 8802 w 10309"/>
                <a:gd name="connsiteY9" fmla="*/ 1260 h 10000"/>
                <a:gd name="connsiteX10" fmla="*/ 8739 w 10309"/>
                <a:gd name="connsiteY10" fmla="*/ 1434 h 10000"/>
                <a:gd name="connsiteX11" fmla="*/ 8569 w 10309"/>
                <a:gd name="connsiteY11" fmla="*/ 1478 h 10000"/>
                <a:gd name="connsiteX12" fmla="*/ 8398 w 10309"/>
                <a:gd name="connsiteY12" fmla="*/ 1607 h 10000"/>
                <a:gd name="connsiteX13" fmla="*/ 8548 w 10309"/>
                <a:gd name="connsiteY13" fmla="*/ 1780 h 10000"/>
                <a:gd name="connsiteX14" fmla="*/ 8527 w 10309"/>
                <a:gd name="connsiteY14" fmla="*/ 1911 h 10000"/>
                <a:gd name="connsiteX15" fmla="*/ 8208 w 10309"/>
                <a:gd name="connsiteY15" fmla="*/ 2063 h 10000"/>
                <a:gd name="connsiteX16" fmla="*/ 8059 w 10309"/>
                <a:gd name="connsiteY16" fmla="*/ 2323 h 10000"/>
                <a:gd name="connsiteX17" fmla="*/ 7678 w 10309"/>
                <a:gd name="connsiteY17" fmla="*/ 1803 h 10000"/>
                <a:gd name="connsiteX18" fmla="*/ 7529 w 10309"/>
                <a:gd name="connsiteY18" fmla="*/ 1976 h 10000"/>
                <a:gd name="connsiteX19" fmla="*/ 7741 w 10309"/>
                <a:gd name="connsiteY19" fmla="*/ 2193 h 10000"/>
                <a:gd name="connsiteX20" fmla="*/ 7571 w 10309"/>
                <a:gd name="connsiteY20" fmla="*/ 2345 h 10000"/>
                <a:gd name="connsiteX21" fmla="*/ 7613 w 10309"/>
                <a:gd name="connsiteY21" fmla="*/ 2453 h 10000"/>
                <a:gd name="connsiteX22" fmla="*/ 7275 w 10309"/>
                <a:gd name="connsiteY22" fmla="*/ 2713 h 10000"/>
                <a:gd name="connsiteX23" fmla="*/ 6914 w 10309"/>
                <a:gd name="connsiteY23" fmla="*/ 2496 h 10000"/>
                <a:gd name="connsiteX24" fmla="*/ 5938 w 10309"/>
                <a:gd name="connsiteY24" fmla="*/ 3038 h 10000"/>
                <a:gd name="connsiteX25" fmla="*/ 5853 w 10309"/>
                <a:gd name="connsiteY25" fmla="*/ 2800 h 10000"/>
                <a:gd name="connsiteX26" fmla="*/ 5726 w 10309"/>
                <a:gd name="connsiteY26" fmla="*/ 2648 h 10000"/>
                <a:gd name="connsiteX27" fmla="*/ 5768 w 10309"/>
                <a:gd name="connsiteY27" fmla="*/ 2475 h 10000"/>
                <a:gd name="connsiteX28" fmla="*/ 5640 w 10309"/>
                <a:gd name="connsiteY28" fmla="*/ 2301 h 10000"/>
                <a:gd name="connsiteX29" fmla="*/ 5449 w 10309"/>
                <a:gd name="connsiteY29" fmla="*/ 2280 h 10000"/>
                <a:gd name="connsiteX30" fmla="*/ 5492 w 10309"/>
                <a:gd name="connsiteY30" fmla="*/ 2041 h 10000"/>
                <a:gd name="connsiteX31" fmla="*/ 5343 w 10309"/>
                <a:gd name="connsiteY31" fmla="*/ 1955 h 10000"/>
                <a:gd name="connsiteX32" fmla="*/ 5195 w 10309"/>
                <a:gd name="connsiteY32" fmla="*/ 1651 h 10000"/>
                <a:gd name="connsiteX33" fmla="*/ 5003 w 10309"/>
                <a:gd name="connsiteY33" fmla="*/ 1651 h 10000"/>
                <a:gd name="connsiteX34" fmla="*/ 4813 w 10309"/>
                <a:gd name="connsiteY34" fmla="*/ 1499 h 10000"/>
                <a:gd name="connsiteX35" fmla="*/ 4813 w 10309"/>
                <a:gd name="connsiteY35" fmla="*/ 1434 h 10000"/>
                <a:gd name="connsiteX36" fmla="*/ 4643 w 10309"/>
                <a:gd name="connsiteY36" fmla="*/ 1520 h 10000"/>
                <a:gd name="connsiteX37" fmla="*/ 4430 w 10309"/>
                <a:gd name="connsiteY37" fmla="*/ 1369 h 10000"/>
                <a:gd name="connsiteX38" fmla="*/ 4537 w 10309"/>
                <a:gd name="connsiteY38" fmla="*/ 1152 h 10000"/>
                <a:gd name="connsiteX39" fmla="*/ 4367 w 10309"/>
                <a:gd name="connsiteY39" fmla="*/ 978 h 10000"/>
                <a:gd name="connsiteX40" fmla="*/ 4496 w 10309"/>
                <a:gd name="connsiteY40" fmla="*/ 718 h 10000"/>
                <a:gd name="connsiteX41" fmla="*/ 4070 w 10309"/>
                <a:gd name="connsiteY41" fmla="*/ 372 h 10000"/>
                <a:gd name="connsiteX42" fmla="*/ 3816 w 10309"/>
                <a:gd name="connsiteY42" fmla="*/ 480 h 10000"/>
                <a:gd name="connsiteX43" fmla="*/ 3327 w 10309"/>
                <a:gd name="connsiteY43" fmla="*/ 285 h 10000"/>
                <a:gd name="connsiteX44" fmla="*/ 3136 w 10309"/>
                <a:gd name="connsiteY44" fmla="*/ 414 h 10000"/>
                <a:gd name="connsiteX45" fmla="*/ 2669 w 10309"/>
                <a:gd name="connsiteY45" fmla="*/ 24 h 10000"/>
                <a:gd name="connsiteX46" fmla="*/ 2287 w 10309"/>
                <a:gd name="connsiteY46" fmla="*/ 566 h 10000"/>
                <a:gd name="connsiteX47" fmla="*/ 2287 w 10309"/>
                <a:gd name="connsiteY47" fmla="*/ 891 h 10000"/>
                <a:gd name="connsiteX48" fmla="*/ 2011 w 10309"/>
                <a:gd name="connsiteY48" fmla="*/ 631 h 10000"/>
                <a:gd name="connsiteX49" fmla="*/ 1694 w 10309"/>
                <a:gd name="connsiteY49" fmla="*/ 1065 h 10000"/>
                <a:gd name="connsiteX50" fmla="*/ 1928 w 10309"/>
                <a:gd name="connsiteY50" fmla="*/ 1412 h 10000"/>
                <a:gd name="connsiteX51" fmla="*/ 1502 w 10309"/>
                <a:gd name="connsiteY51" fmla="*/ 1824 h 10000"/>
                <a:gd name="connsiteX52" fmla="*/ 1461 w 10309"/>
                <a:gd name="connsiteY52" fmla="*/ 1824 h 10000"/>
                <a:gd name="connsiteX53" fmla="*/ 1630 w 10309"/>
                <a:gd name="connsiteY53" fmla="*/ 2063 h 10000"/>
                <a:gd name="connsiteX54" fmla="*/ 1417 w 10309"/>
                <a:gd name="connsiteY54" fmla="*/ 2301 h 10000"/>
                <a:gd name="connsiteX55" fmla="*/ 1565 w 10309"/>
                <a:gd name="connsiteY55" fmla="*/ 2453 h 10000"/>
                <a:gd name="connsiteX56" fmla="*/ 1502 w 10309"/>
                <a:gd name="connsiteY56" fmla="*/ 2692 h 10000"/>
                <a:gd name="connsiteX57" fmla="*/ 1417 w 10309"/>
                <a:gd name="connsiteY57" fmla="*/ 2822 h 10000"/>
                <a:gd name="connsiteX58" fmla="*/ 1565 w 10309"/>
                <a:gd name="connsiteY58" fmla="*/ 3082 h 10000"/>
                <a:gd name="connsiteX59" fmla="*/ 1312 w 10309"/>
                <a:gd name="connsiteY59" fmla="*/ 3494 h 10000"/>
                <a:gd name="connsiteX60" fmla="*/ 1502 w 10309"/>
                <a:gd name="connsiteY60" fmla="*/ 3733 h 10000"/>
                <a:gd name="connsiteX61" fmla="*/ 1163 w 10309"/>
                <a:gd name="connsiteY61" fmla="*/ 4144 h 10000"/>
                <a:gd name="connsiteX62" fmla="*/ 1333 w 10309"/>
                <a:gd name="connsiteY62" fmla="*/ 4362 h 10000"/>
                <a:gd name="connsiteX63" fmla="*/ 1078 w 10309"/>
                <a:gd name="connsiteY63" fmla="*/ 4708 h 10000"/>
                <a:gd name="connsiteX64" fmla="*/ 1417 w 10309"/>
                <a:gd name="connsiteY64" fmla="*/ 4839 h 10000"/>
                <a:gd name="connsiteX65" fmla="*/ 1312 w 10309"/>
                <a:gd name="connsiteY65" fmla="*/ 5121 h 10000"/>
                <a:gd name="connsiteX66" fmla="*/ 1396 w 10309"/>
                <a:gd name="connsiteY66" fmla="*/ 5446 h 10000"/>
                <a:gd name="connsiteX67" fmla="*/ 1974 w 10309"/>
                <a:gd name="connsiteY67" fmla="*/ 5149 h 10000"/>
                <a:gd name="connsiteX68" fmla="*/ 2307 w 10309"/>
                <a:gd name="connsiteY68" fmla="*/ 4885 h 10000"/>
                <a:gd name="connsiteX69" fmla="*/ 2708 w 10309"/>
                <a:gd name="connsiteY69" fmla="*/ 4891 h 10000"/>
                <a:gd name="connsiteX70" fmla="*/ 3136 w 10309"/>
                <a:gd name="connsiteY70" fmla="*/ 4736 h 10000"/>
                <a:gd name="connsiteX71" fmla="*/ 3663 w 10309"/>
                <a:gd name="connsiteY71" fmla="*/ 4490 h 10000"/>
                <a:gd name="connsiteX72" fmla="*/ 3836 w 10309"/>
                <a:gd name="connsiteY72" fmla="*/ 4302 h 10000"/>
                <a:gd name="connsiteX73" fmla="*/ 4196 w 10309"/>
                <a:gd name="connsiteY73" fmla="*/ 3937 h 10000"/>
                <a:gd name="connsiteX74" fmla="*/ 4785 w 10309"/>
                <a:gd name="connsiteY74" fmla="*/ 4190 h 10000"/>
                <a:gd name="connsiteX75" fmla="*/ 5037 w 10309"/>
                <a:gd name="connsiteY75" fmla="*/ 4173 h 10000"/>
                <a:gd name="connsiteX76" fmla="*/ 4986 w 10309"/>
                <a:gd name="connsiteY76" fmla="*/ 3862 h 10000"/>
                <a:gd name="connsiteX77" fmla="*/ 5024 w 10309"/>
                <a:gd name="connsiteY77" fmla="*/ 3464 h 10000"/>
                <a:gd name="connsiteX78" fmla="*/ 5591 w 10309"/>
                <a:gd name="connsiteY78" fmla="*/ 3371 h 10000"/>
                <a:gd name="connsiteX79" fmla="*/ 5511 w 10309"/>
                <a:gd name="connsiteY79" fmla="*/ 3848 h 10000"/>
                <a:gd name="connsiteX80" fmla="*/ 314 w 10309"/>
                <a:gd name="connsiteY80" fmla="*/ 8634 h 10000"/>
                <a:gd name="connsiteX81" fmla="*/ 590 w 10309"/>
                <a:gd name="connsiteY81" fmla="*/ 8763 h 10000"/>
                <a:gd name="connsiteX82" fmla="*/ 780 w 10309"/>
                <a:gd name="connsiteY82" fmla="*/ 8482 h 10000"/>
                <a:gd name="connsiteX83" fmla="*/ 1120 w 10309"/>
                <a:gd name="connsiteY83" fmla="*/ 8786 h 10000"/>
                <a:gd name="connsiteX84" fmla="*/ 1354 w 10309"/>
                <a:gd name="connsiteY84" fmla="*/ 8634 h 10000"/>
                <a:gd name="connsiteX85" fmla="*/ 1417 w 10309"/>
                <a:gd name="connsiteY85" fmla="*/ 8742 h 10000"/>
                <a:gd name="connsiteX86" fmla="*/ 1545 w 10309"/>
                <a:gd name="connsiteY86" fmla="*/ 8482 h 10000"/>
                <a:gd name="connsiteX87" fmla="*/ 1948 w 10309"/>
                <a:gd name="connsiteY87" fmla="*/ 8525 h 10000"/>
                <a:gd name="connsiteX88" fmla="*/ 1841 w 10309"/>
                <a:gd name="connsiteY88" fmla="*/ 8677 h 10000"/>
                <a:gd name="connsiteX89" fmla="*/ 1948 w 10309"/>
                <a:gd name="connsiteY89" fmla="*/ 8829 h 10000"/>
                <a:gd name="connsiteX90" fmla="*/ 2266 w 10309"/>
                <a:gd name="connsiteY90" fmla="*/ 8721 h 10000"/>
                <a:gd name="connsiteX91" fmla="*/ 2330 w 10309"/>
                <a:gd name="connsiteY91" fmla="*/ 8873 h 10000"/>
                <a:gd name="connsiteX92" fmla="*/ 2203 w 10309"/>
                <a:gd name="connsiteY92" fmla="*/ 9067 h 10000"/>
                <a:gd name="connsiteX93" fmla="*/ 2394 w 10309"/>
                <a:gd name="connsiteY93" fmla="*/ 9176 h 10000"/>
                <a:gd name="connsiteX94" fmla="*/ 2436 w 10309"/>
                <a:gd name="connsiteY94" fmla="*/ 9415 h 10000"/>
                <a:gd name="connsiteX95" fmla="*/ 2098 w 10309"/>
                <a:gd name="connsiteY95" fmla="*/ 9696 h 10000"/>
                <a:gd name="connsiteX96" fmla="*/ 2203 w 10309"/>
                <a:gd name="connsiteY96" fmla="*/ 9956 h 10000"/>
                <a:gd name="connsiteX97" fmla="*/ 2543 w 10309"/>
                <a:gd name="connsiteY97" fmla="*/ 10000 h 10000"/>
                <a:gd name="connsiteX98" fmla="*/ 2712 w 10309"/>
                <a:gd name="connsiteY98" fmla="*/ 9523 h 10000"/>
                <a:gd name="connsiteX99" fmla="*/ 3348 w 10309"/>
                <a:gd name="connsiteY99" fmla="*/ 9458 h 10000"/>
                <a:gd name="connsiteX100" fmla="*/ 3625 w 10309"/>
                <a:gd name="connsiteY100" fmla="*/ 9111 h 10000"/>
                <a:gd name="connsiteX101" fmla="*/ 4197 w 10309"/>
                <a:gd name="connsiteY101" fmla="*/ 9415 h 10000"/>
                <a:gd name="connsiteX102" fmla="*/ 4474 w 10309"/>
                <a:gd name="connsiteY102" fmla="*/ 8851 h 10000"/>
                <a:gd name="connsiteX103" fmla="*/ 4452 w 10309"/>
                <a:gd name="connsiteY103" fmla="*/ 8763 h 10000"/>
                <a:gd name="connsiteX104" fmla="*/ 4643 w 10309"/>
                <a:gd name="connsiteY104" fmla="*/ 8417 h 10000"/>
                <a:gd name="connsiteX105" fmla="*/ 4537 w 10309"/>
                <a:gd name="connsiteY105" fmla="*/ 8178 h 10000"/>
                <a:gd name="connsiteX106" fmla="*/ 4409 w 10309"/>
                <a:gd name="connsiteY106" fmla="*/ 7961 h 10000"/>
                <a:gd name="connsiteX107" fmla="*/ 4537 w 10309"/>
                <a:gd name="connsiteY107" fmla="*/ 7745 h 10000"/>
                <a:gd name="connsiteX108" fmla="*/ 4600 w 10309"/>
                <a:gd name="connsiteY108" fmla="*/ 7355 h 10000"/>
                <a:gd name="connsiteX109" fmla="*/ 4367 w 10309"/>
                <a:gd name="connsiteY109" fmla="*/ 6964 h 10000"/>
                <a:gd name="connsiteX110" fmla="*/ 4452 w 10309"/>
                <a:gd name="connsiteY110" fmla="*/ 6508 h 10000"/>
                <a:gd name="connsiteX111" fmla="*/ 4537 w 10309"/>
                <a:gd name="connsiteY111" fmla="*/ 6291 h 10000"/>
                <a:gd name="connsiteX112" fmla="*/ 4579 w 10309"/>
                <a:gd name="connsiteY112" fmla="*/ 6097 h 10000"/>
                <a:gd name="connsiteX113" fmla="*/ 4833 w 10309"/>
                <a:gd name="connsiteY113" fmla="*/ 5728 h 10000"/>
                <a:gd name="connsiteX114" fmla="*/ 5343 w 10309"/>
                <a:gd name="connsiteY114" fmla="*/ 5533 h 10000"/>
                <a:gd name="connsiteX115" fmla="*/ 5429 w 10309"/>
                <a:gd name="connsiteY115" fmla="*/ 5620 h 10000"/>
                <a:gd name="connsiteX116" fmla="*/ 5364 w 10309"/>
                <a:gd name="connsiteY116" fmla="*/ 5685 h 10000"/>
                <a:gd name="connsiteX117" fmla="*/ 5513 w 10309"/>
                <a:gd name="connsiteY117" fmla="*/ 5814 h 10000"/>
                <a:gd name="connsiteX118" fmla="*/ 5683 w 10309"/>
                <a:gd name="connsiteY118" fmla="*/ 5641 h 10000"/>
                <a:gd name="connsiteX119" fmla="*/ 5874 w 10309"/>
                <a:gd name="connsiteY119" fmla="*/ 5489 h 10000"/>
                <a:gd name="connsiteX120" fmla="*/ 6276 w 10309"/>
                <a:gd name="connsiteY120" fmla="*/ 4860 h 10000"/>
                <a:gd name="connsiteX121" fmla="*/ 6597 w 10309"/>
                <a:gd name="connsiteY121" fmla="*/ 5056 h 10000"/>
                <a:gd name="connsiteX122" fmla="*/ 6573 w 10309"/>
                <a:gd name="connsiteY122" fmla="*/ 4904 h 10000"/>
                <a:gd name="connsiteX123" fmla="*/ 6786 w 10309"/>
                <a:gd name="connsiteY123" fmla="*/ 4752 h 10000"/>
                <a:gd name="connsiteX124" fmla="*/ 6998 w 10309"/>
                <a:gd name="connsiteY124" fmla="*/ 4860 h 10000"/>
                <a:gd name="connsiteX125" fmla="*/ 6786 w 10309"/>
                <a:gd name="connsiteY125" fmla="*/ 4427 h 10000"/>
                <a:gd name="connsiteX126" fmla="*/ 6914 w 10309"/>
                <a:gd name="connsiteY126" fmla="*/ 4253 h 10000"/>
                <a:gd name="connsiteX127" fmla="*/ 7360 w 10309"/>
                <a:gd name="connsiteY127" fmla="*/ 4123 h 10000"/>
                <a:gd name="connsiteX128" fmla="*/ 7317 w 10309"/>
                <a:gd name="connsiteY128" fmla="*/ 4079 h 10000"/>
                <a:gd name="connsiteX129" fmla="*/ 7658 w 10309"/>
                <a:gd name="connsiteY129" fmla="*/ 3754 h 10000"/>
                <a:gd name="connsiteX130" fmla="*/ 7911 w 10309"/>
                <a:gd name="connsiteY130" fmla="*/ 3581 h 10000"/>
                <a:gd name="connsiteX131" fmla="*/ 8548 w 10309"/>
                <a:gd name="connsiteY131" fmla="*/ 3234 h 10000"/>
                <a:gd name="connsiteX132" fmla="*/ 8739 w 10309"/>
                <a:gd name="connsiteY132" fmla="*/ 3017 h 10000"/>
                <a:gd name="connsiteX133" fmla="*/ 9120 w 10309"/>
                <a:gd name="connsiteY133" fmla="*/ 2605 h 10000"/>
                <a:gd name="connsiteX134" fmla="*/ 9800 w 10309"/>
                <a:gd name="connsiteY134" fmla="*/ 2236 h 10000"/>
                <a:gd name="connsiteX135" fmla="*/ 9842 w 10309"/>
                <a:gd name="connsiteY135" fmla="*/ 2084 h 10000"/>
                <a:gd name="connsiteX136" fmla="*/ 10118 w 10309"/>
                <a:gd name="connsiteY136" fmla="*/ 1846 h 10000"/>
                <a:gd name="connsiteX137" fmla="*/ 10309 w 10309"/>
                <a:gd name="connsiteY137" fmla="*/ 1564 h 10000"/>
                <a:gd name="connsiteX138" fmla="*/ 10012 w 10309"/>
                <a:gd name="connsiteY138" fmla="*/ 1303 h 10000"/>
                <a:gd name="connsiteX0" fmla="*/ 9422 w 9719"/>
                <a:gd name="connsiteY0" fmla="*/ 1303 h 10000"/>
                <a:gd name="connsiteX1" fmla="*/ 9040 w 9719"/>
                <a:gd name="connsiteY1" fmla="*/ 1564 h 10000"/>
                <a:gd name="connsiteX2" fmla="*/ 8849 w 9719"/>
                <a:gd name="connsiteY2" fmla="*/ 1455 h 10000"/>
                <a:gd name="connsiteX3" fmla="*/ 8679 w 9719"/>
                <a:gd name="connsiteY3" fmla="*/ 1239 h 10000"/>
                <a:gd name="connsiteX4" fmla="*/ 8806 w 9719"/>
                <a:gd name="connsiteY4" fmla="*/ 1065 h 10000"/>
                <a:gd name="connsiteX5" fmla="*/ 8509 w 9719"/>
                <a:gd name="connsiteY5" fmla="*/ 826 h 10000"/>
                <a:gd name="connsiteX6" fmla="*/ 8382 w 9719"/>
                <a:gd name="connsiteY6" fmla="*/ 914 h 10000"/>
                <a:gd name="connsiteX7" fmla="*/ 8105 w 9719"/>
                <a:gd name="connsiteY7" fmla="*/ 957 h 10000"/>
                <a:gd name="connsiteX8" fmla="*/ 8129 w 9719"/>
                <a:gd name="connsiteY8" fmla="*/ 1195 h 10000"/>
                <a:gd name="connsiteX9" fmla="*/ 8212 w 9719"/>
                <a:gd name="connsiteY9" fmla="*/ 1260 h 10000"/>
                <a:gd name="connsiteX10" fmla="*/ 8149 w 9719"/>
                <a:gd name="connsiteY10" fmla="*/ 1434 h 10000"/>
                <a:gd name="connsiteX11" fmla="*/ 7979 w 9719"/>
                <a:gd name="connsiteY11" fmla="*/ 1478 h 10000"/>
                <a:gd name="connsiteX12" fmla="*/ 7808 w 9719"/>
                <a:gd name="connsiteY12" fmla="*/ 1607 h 10000"/>
                <a:gd name="connsiteX13" fmla="*/ 7958 w 9719"/>
                <a:gd name="connsiteY13" fmla="*/ 1780 h 10000"/>
                <a:gd name="connsiteX14" fmla="*/ 7937 w 9719"/>
                <a:gd name="connsiteY14" fmla="*/ 1911 h 10000"/>
                <a:gd name="connsiteX15" fmla="*/ 7618 w 9719"/>
                <a:gd name="connsiteY15" fmla="*/ 2063 h 10000"/>
                <a:gd name="connsiteX16" fmla="*/ 7469 w 9719"/>
                <a:gd name="connsiteY16" fmla="*/ 2323 h 10000"/>
                <a:gd name="connsiteX17" fmla="*/ 7088 w 9719"/>
                <a:gd name="connsiteY17" fmla="*/ 1803 h 10000"/>
                <a:gd name="connsiteX18" fmla="*/ 6939 w 9719"/>
                <a:gd name="connsiteY18" fmla="*/ 1976 h 10000"/>
                <a:gd name="connsiteX19" fmla="*/ 7151 w 9719"/>
                <a:gd name="connsiteY19" fmla="*/ 2193 h 10000"/>
                <a:gd name="connsiteX20" fmla="*/ 6981 w 9719"/>
                <a:gd name="connsiteY20" fmla="*/ 2345 h 10000"/>
                <a:gd name="connsiteX21" fmla="*/ 7023 w 9719"/>
                <a:gd name="connsiteY21" fmla="*/ 2453 h 10000"/>
                <a:gd name="connsiteX22" fmla="*/ 6685 w 9719"/>
                <a:gd name="connsiteY22" fmla="*/ 2713 h 10000"/>
                <a:gd name="connsiteX23" fmla="*/ 6324 w 9719"/>
                <a:gd name="connsiteY23" fmla="*/ 2496 h 10000"/>
                <a:gd name="connsiteX24" fmla="*/ 5348 w 9719"/>
                <a:gd name="connsiteY24" fmla="*/ 3038 h 10000"/>
                <a:gd name="connsiteX25" fmla="*/ 5263 w 9719"/>
                <a:gd name="connsiteY25" fmla="*/ 2800 h 10000"/>
                <a:gd name="connsiteX26" fmla="*/ 5136 w 9719"/>
                <a:gd name="connsiteY26" fmla="*/ 2648 h 10000"/>
                <a:gd name="connsiteX27" fmla="*/ 5178 w 9719"/>
                <a:gd name="connsiteY27" fmla="*/ 2475 h 10000"/>
                <a:gd name="connsiteX28" fmla="*/ 5050 w 9719"/>
                <a:gd name="connsiteY28" fmla="*/ 2301 h 10000"/>
                <a:gd name="connsiteX29" fmla="*/ 4859 w 9719"/>
                <a:gd name="connsiteY29" fmla="*/ 2280 h 10000"/>
                <a:gd name="connsiteX30" fmla="*/ 4902 w 9719"/>
                <a:gd name="connsiteY30" fmla="*/ 2041 h 10000"/>
                <a:gd name="connsiteX31" fmla="*/ 4753 w 9719"/>
                <a:gd name="connsiteY31" fmla="*/ 1955 h 10000"/>
                <a:gd name="connsiteX32" fmla="*/ 4605 w 9719"/>
                <a:gd name="connsiteY32" fmla="*/ 1651 h 10000"/>
                <a:gd name="connsiteX33" fmla="*/ 4413 w 9719"/>
                <a:gd name="connsiteY33" fmla="*/ 1651 h 10000"/>
                <a:gd name="connsiteX34" fmla="*/ 4223 w 9719"/>
                <a:gd name="connsiteY34" fmla="*/ 1499 h 10000"/>
                <a:gd name="connsiteX35" fmla="*/ 4223 w 9719"/>
                <a:gd name="connsiteY35" fmla="*/ 1434 h 10000"/>
                <a:gd name="connsiteX36" fmla="*/ 4053 w 9719"/>
                <a:gd name="connsiteY36" fmla="*/ 1520 h 10000"/>
                <a:gd name="connsiteX37" fmla="*/ 3840 w 9719"/>
                <a:gd name="connsiteY37" fmla="*/ 1369 h 10000"/>
                <a:gd name="connsiteX38" fmla="*/ 3947 w 9719"/>
                <a:gd name="connsiteY38" fmla="*/ 1152 h 10000"/>
                <a:gd name="connsiteX39" fmla="*/ 3777 w 9719"/>
                <a:gd name="connsiteY39" fmla="*/ 978 h 10000"/>
                <a:gd name="connsiteX40" fmla="*/ 3906 w 9719"/>
                <a:gd name="connsiteY40" fmla="*/ 718 h 10000"/>
                <a:gd name="connsiteX41" fmla="*/ 3480 w 9719"/>
                <a:gd name="connsiteY41" fmla="*/ 372 h 10000"/>
                <a:gd name="connsiteX42" fmla="*/ 3226 w 9719"/>
                <a:gd name="connsiteY42" fmla="*/ 480 h 10000"/>
                <a:gd name="connsiteX43" fmla="*/ 2737 w 9719"/>
                <a:gd name="connsiteY43" fmla="*/ 285 h 10000"/>
                <a:gd name="connsiteX44" fmla="*/ 2546 w 9719"/>
                <a:gd name="connsiteY44" fmla="*/ 414 h 10000"/>
                <a:gd name="connsiteX45" fmla="*/ 2079 w 9719"/>
                <a:gd name="connsiteY45" fmla="*/ 24 h 10000"/>
                <a:gd name="connsiteX46" fmla="*/ 1697 w 9719"/>
                <a:gd name="connsiteY46" fmla="*/ 566 h 10000"/>
                <a:gd name="connsiteX47" fmla="*/ 1697 w 9719"/>
                <a:gd name="connsiteY47" fmla="*/ 891 h 10000"/>
                <a:gd name="connsiteX48" fmla="*/ 1421 w 9719"/>
                <a:gd name="connsiteY48" fmla="*/ 631 h 10000"/>
                <a:gd name="connsiteX49" fmla="*/ 1104 w 9719"/>
                <a:gd name="connsiteY49" fmla="*/ 1065 h 10000"/>
                <a:gd name="connsiteX50" fmla="*/ 1338 w 9719"/>
                <a:gd name="connsiteY50" fmla="*/ 1412 h 10000"/>
                <a:gd name="connsiteX51" fmla="*/ 912 w 9719"/>
                <a:gd name="connsiteY51" fmla="*/ 1824 h 10000"/>
                <a:gd name="connsiteX52" fmla="*/ 871 w 9719"/>
                <a:gd name="connsiteY52" fmla="*/ 1824 h 10000"/>
                <a:gd name="connsiteX53" fmla="*/ 1040 w 9719"/>
                <a:gd name="connsiteY53" fmla="*/ 2063 h 10000"/>
                <a:gd name="connsiteX54" fmla="*/ 827 w 9719"/>
                <a:gd name="connsiteY54" fmla="*/ 2301 h 10000"/>
                <a:gd name="connsiteX55" fmla="*/ 975 w 9719"/>
                <a:gd name="connsiteY55" fmla="*/ 2453 h 10000"/>
                <a:gd name="connsiteX56" fmla="*/ 912 w 9719"/>
                <a:gd name="connsiteY56" fmla="*/ 2692 h 10000"/>
                <a:gd name="connsiteX57" fmla="*/ 827 w 9719"/>
                <a:gd name="connsiteY57" fmla="*/ 2822 h 10000"/>
                <a:gd name="connsiteX58" fmla="*/ 975 w 9719"/>
                <a:gd name="connsiteY58" fmla="*/ 3082 h 10000"/>
                <a:gd name="connsiteX59" fmla="*/ 722 w 9719"/>
                <a:gd name="connsiteY59" fmla="*/ 3494 h 10000"/>
                <a:gd name="connsiteX60" fmla="*/ 912 w 9719"/>
                <a:gd name="connsiteY60" fmla="*/ 3733 h 10000"/>
                <a:gd name="connsiteX61" fmla="*/ 573 w 9719"/>
                <a:gd name="connsiteY61" fmla="*/ 4144 h 10000"/>
                <a:gd name="connsiteX62" fmla="*/ 743 w 9719"/>
                <a:gd name="connsiteY62" fmla="*/ 4362 h 10000"/>
                <a:gd name="connsiteX63" fmla="*/ 488 w 9719"/>
                <a:gd name="connsiteY63" fmla="*/ 4708 h 10000"/>
                <a:gd name="connsiteX64" fmla="*/ 827 w 9719"/>
                <a:gd name="connsiteY64" fmla="*/ 4839 h 10000"/>
                <a:gd name="connsiteX65" fmla="*/ 722 w 9719"/>
                <a:gd name="connsiteY65" fmla="*/ 5121 h 10000"/>
                <a:gd name="connsiteX66" fmla="*/ 806 w 9719"/>
                <a:gd name="connsiteY66" fmla="*/ 5446 h 10000"/>
                <a:gd name="connsiteX67" fmla="*/ 1384 w 9719"/>
                <a:gd name="connsiteY67" fmla="*/ 5149 h 10000"/>
                <a:gd name="connsiteX68" fmla="*/ 1717 w 9719"/>
                <a:gd name="connsiteY68" fmla="*/ 4885 h 10000"/>
                <a:gd name="connsiteX69" fmla="*/ 2118 w 9719"/>
                <a:gd name="connsiteY69" fmla="*/ 4891 h 10000"/>
                <a:gd name="connsiteX70" fmla="*/ 2546 w 9719"/>
                <a:gd name="connsiteY70" fmla="*/ 4736 h 10000"/>
                <a:gd name="connsiteX71" fmla="*/ 3073 w 9719"/>
                <a:gd name="connsiteY71" fmla="*/ 4490 h 10000"/>
                <a:gd name="connsiteX72" fmla="*/ 3246 w 9719"/>
                <a:gd name="connsiteY72" fmla="*/ 4302 h 10000"/>
                <a:gd name="connsiteX73" fmla="*/ 3606 w 9719"/>
                <a:gd name="connsiteY73" fmla="*/ 3937 h 10000"/>
                <a:gd name="connsiteX74" fmla="*/ 4195 w 9719"/>
                <a:gd name="connsiteY74" fmla="*/ 4190 h 10000"/>
                <a:gd name="connsiteX75" fmla="*/ 4447 w 9719"/>
                <a:gd name="connsiteY75" fmla="*/ 4173 h 10000"/>
                <a:gd name="connsiteX76" fmla="*/ 4396 w 9719"/>
                <a:gd name="connsiteY76" fmla="*/ 3862 h 10000"/>
                <a:gd name="connsiteX77" fmla="*/ 4434 w 9719"/>
                <a:gd name="connsiteY77" fmla="*/ 3464 h 10000"/>
                <a:gd name="connsiteX78" fmla="*/ 5001 w 9719"/>
                <a:gd name="connsiteY78" fmla="*/ 3371 h 10000"/>
                <a:gd name="connsiteX79" fmla="*/ 4921 w 9719"/>
                <a:gd name="connsiteY79" fmla="*/ 3848 h 10000"/>
                <a:gd name="connsiteX80" fmla="*/ 0 w 9719"/>
                <a:gd name="connsiteY80" fmla="*/ 8763 h 10000"/>
                <a:gd name="connsiteX81" fmla="*/ 190 w 9719"/>
                <a:gd name="connsiteY81" fmla="*/ 8482 h 10000"/>
                <a:gd name="connsiteX82" fmla="*/ 530 w 9719"/>
                <a:gd name="connsiteY82" fmla="*/ 8786 h 10000"/>
                <a:gd name="connsiteX83" fmla="*/ 764 w 9719"/>
                <a:gd name="connsiteY83" fmla="*/ 8634 h 10000"/>
                <a:gd name="connsiteX84" fmla="*/ 827 w 9719"/>
                <a:gd name="connsiteY84" fmla="*/ 8742 h 10000"/>
                <a:gd name="connsiteX85" fmla="*/ 955 w 9719"/>
                <a:gd name="connsiteY85" fmla="*/ 8482 h 10000"/>
                <a:gd name="connsiteX86" fmla="*/ 1358 w 9719"/>
                <a:gd name="connsiteY86" fmla="*/ 8525 h 10000"/>
                <a:gd name="connsiteX87" fmla="*/ 1251 w 9719"/>
                <a:gd name="connsiteY87" fmla="*/ 8677 h 10000"/>
                <a:gd name="connsiteX88" fmla="*/ 1358 w 9719"/>
                <a:gd name="connsiteY88" fmla="*/ 8829 h 10000"/>
                <a:gd name="connsiteX89" fmla="*/ 1676 w 9719"/>
                <a:gd name="connsiteY89" fmla="*/ 8721 h 10000"/>
                <a:gd name="connsiteX90" fmla="*/ 1740 w 9719"/>
                <a:gd name="connsiteY90" fmla="*/ 8873 h 10000"/>
                <a:gd name="connsiteX91" fmla="*/ 1613 w 9719"/>
                <a:gd name="connsiteY91" fmla="*/ 9067 h 10000"/>
                <a:gd name="connsiteX92" fmla="*/ 1804 w 9719"/>
                <a:gd name="connsiteY92" fmla="*/ 9176 h 10000"/>
                <a:gd name="connsiteX93" fmla="*/ 1846 w 9719"/>
                <a:gd name="connsiteY93" fmla="*/ 9415 h 10000"/>
                <a:gd name="connsiteX94" fmla="*/ 1508 w 9719"/>
                <a:gd name="connsiteY94" fmla="*/ 9696 h 10000"/>
                <a:gd name="connsiteX95" fmla="*/ 1613 w 9719"/>
                <a:gd name="connsiteY95" fmla="*/ 9956 h 10000"/>
                <a:gd name="connsiteX96" fmla="*/ 1953 w 9719"/>
                <a:gd name="connsiteY96" fmla="*/ 10000 h 10000"/>
                <a:gd name="connsiteX97" fmla="*/ 2122 w 9719"/>
                <a:gd name="connsiteY97" fmla="*/ 9523 h 10000"/>
                <a:gd name="connsiteX98" fmla="*/ 2758 w 9719"/>
                <a:gd name="connsiteY98" fmla="*/ 9458 h 10000"/>
                <a:gd name="connsiteX99" fmla="*/ 3035 w 9719"/>
                <a:gd name="connsiteY99" fmla="*/ 9111 h 10000"/>
                <a:gd name="connsiteX100" fmla="*/ 3607 w 9719"/>
                <a:gd name="connsiteY100" fmla="*/ 9415 h 10000"/>
                <a:gd name="connsiteX101" fmla="*/ 3884 w 9719"/>
                <a:gd name="connsiteY101" fmla="*/ 8851 h 10000"/>
                <a:gd name="connsiteX102" fmla="*/ 3862 w 9719"/>
                <a:gd name="connsiteY102" fmla="*/ 8763 h 10000"/>
                <a:gd name="connsiteX103" fmla="*/ 4053 w 9719"/>
                <a:gd name="connsiteY103" fmla="*/ 8417 h 10000"/>
                <a:gd name="connsiteX104" fmla="*/ 3947 w 9719"/>
                <a:gd name="connsiteY104" fmla="*/ 8178 h 10000"/>
                <a:gd name="connsiteX105" fmla="*/ 3819 w 9719"/>
                <a:gd name="connsiteY105" fmla="*/ 7961 h 10000"/>
                <a:gd name="connsiteX106" fmla="*/ 3947 w 9719"/>
                <a:gd name="connsiteY106" fmla="*/ 7745 h 10000"/>
                <a:gd name="connsiteX107" fmla="*/ 4010 w 9719"/>
                <a:gd name="connsiteY107" fmla="*/ 7355 h 10000"/>
                <a:gd name="connsiteX108" fmla="*/ 3777 w 9719"/>
                <a:gd name="connsiteY108" fmla="*/ 6964 h 10000"/>
                <a:gd name="connsiteX109" fmla="*/ 3862 w 9719"/>
                <a:gd name="connsiteY109" fmla="*/ 6508 h 10000"/>
                <a:gd name="connsiteX110" fmla="*/ 3947 w 9719"/>
                <a:gd name="connsiteY110" fmla="*/ 6291 h 10000"/>
                <a:gd name="connsiteX111" fmla="*/ 3989 w 9719"/>
                <a:gd name="connsiteY111" fmla="*/ 6097 h 10000"/>
                <a:gd name="connsiteX112" fmla="*/ 4243 w 9719"/>
                <a:gd name="connsiteY112" fmla="*/ 5728 h 10000"/>
                <a:gd name="connsiteX113" fmla="*/ 4753 w 9719"/>
                <a:gd name="connsiteY113" fmla="*/ 5533 h 10000"/>
                <a:gd name="connsiteX114" fmla="*/ 4839 w 9719"/>
                <a:gd name="connsiteY114" fmla="*/ 5620 h 10000"/>
                <a:gd name="connsiteX115" fmla="*/ 4774 w 9719"/>
                <a:gd name="connsiteY115" fmla="*/ 5685 h 10000"/>
                <a:gd name="connsiteX116" fmla="*/ 4923 w 9719"/>
                <a:gd name="connsiteY116" fmla="*/ 5814 h 10000"/>
                <a:gd name="connsiteX117" fmla="*/ 5093 w 9719"/>
                <a:gd name="connsiteY117" fmla="*/ 5641 h 10000"/>
                <a:gd name="connsiteX118" fmla="*/ 5284 w 9719"/>
                <a:gd name="connsiteY118" fmla="*/ 5489 h 10000"/>
                <a:gd name="connsiteX119" fmla="*/ 5686 w 9719"/>
                <a:gd name="connsiteY119" fmla="*/ 4860 h 10000"/>
                <a:gd name="connsiteX120" fmla="*/ 6007 w 9719"/>
                <a:gd name="connsiteY120" fmla="*/ 5056 h 10000"/>
                <a:gd name="connsiteX121" fmla="*/ 5983 w 9719"/>
                <a:gd name="connsiteY121" fmla="*/ 4904 h 10000"/>
                <a:gd name="connsiteX122" fmla="*/ 6196 w 9719"/>
                <a:gd name="connsiteY122" fmla="*/ 4752 h 10000"/>
                <a:gd name="connsiteX123" fmla="*/ 6408 w 9719"/>
                <a:gd name="connsiteY123" fmla="*/ 4860 h 10000"/>
                <a:gd name="connsiteX124" fmla="*/ 6196 w 9719"/>
                <a:gd name="connsiteY124" fmla="*/ 4427 h 10000"/>
                <a:gd name="connsiteX125" fmla="*/ 6324 w 9719"/>
                <a:gd name="connsiteY125" fmla="*/ 4253 h 10000"/>
                <a:gd name="connsiteX126" fmla="*/ 6770 w 9719"/>
                <a:gd name="connsiteY126" fmla="*/ 4123 h 10000"/>
                <a:gd name="connsiteX127" fmla="*/ 6727 w 9719"/>
                <a:gd name="connsiteY127" fmla="*/ 4079 h 10000"/>
                <a:gd name="connsiteX128" fmla="*/ 7068 w 9719"/>
                <a:gd name="connsiteY128" fmla="*/ 3754 h 10000"/>
                <a:gd name="connsiteX129" fmla="*/ 7321 w 9719"/>
                <a:gd name="connsiteY129" fmla="*/ 3581 h 10000"/>
                <a:gd name="connsiteX130" fmla="*/ 7958 w 9719"/>
                <a:gd name="connsiteY130" fmla="*/ 3234 h 10000"/>
                <a:gd name="connsiteX131" fmla="*/ 8149 w 9719"/>
                <a:gd name="connsiteY131" fmla="*/ 3017 h 10000"/>
                <a:gd name="connsiteX132" fmla="*/ 8530 w 9719"/>
                <a:gd name="connsiteY132" fmla="*/ 2605 h 10000"/>
                <a:gd name="connsiteX133" fmla="*/ 9210 w 9719"/>
                <a:gd name="connsiteY133" fmla="*/ 2236 h 10000"/>
                <a:gd name="connsiteX134" fmla="*/ 9252 w 9719"/>
                <a:gd name="connsiteY134" fmla="*/ 2084 h 10000"/>
                <a:gd name="connsiteX135" fmla="*/ 9528 w 9719"/>
                <a:gd name="connsiteY135" fmla="*/ 1846 h 10000"/>
                <a:gd name="connsiteX136" fmla="*/ 9719 w 9719"/>
                <a:gd name="connsiteY136" fmla="*/ 1564 h 10000"/>
                <a:gd name="connsiteX137" fmla="*/ 9422 w 9719"/>
                <a:gd name="connsiteY137" fmla="*/ 1303 h 10000"/>
                <a:gd name="connsiteX0" fmla="*/ 9499 w 9805"/>
                <a:gd name="connsiteY0" fmla="*/ 1303 h 10000"/>
                <a:gd name="connsiteX1" fmla="*/ 9106 w 9805"/>
                <a:gd name="connsiteY1" fmla="*/ 1564 h 10000"/>
                <a:gd name="connsiteX2" fmla="*/ 8910 w 9805"/>
                <a:gd name="connsiteY2" fmla="*/ 1455 h 10000"/>
                <a:gd name="connsiteX3" fmla="*/ 8735 w 9805"/>
                <a:gd name="connsiteY3" fmla="*/ 1239 h 10000"/>
                <a:gd name="connsiteX4" fmla="*/ 8866 w 9805"/>
                <a:gd name="connsiteY4" fmla="*/ 1065 h 10000"/>
                <a:gd name="connsiteX5" fmla="*/ 8560 w 9805"/>
                <a:gd name="connsiteY5" fmla="*/ 826 h 10000"/>
                <a:gd name="connsiteX6" fmla="*/ 8429 w 9805"/>
                <a:gd name="connsiteY6" fmla="*/ 914 h 10000"/>
                <a:gd name="connsiteX7" fmla="*/ 8144 w 9805"/>
                <a:gd name="connsiteY7" fmla="*/ 957 h 10000"/>
                <a:gd name="connsiteX8" fmla="*/ 8169 w 9805"/>
                <a:gd name="connsiteY8" fmla="*/ 1195 h 10000"/>
                <a:gd name="connsiteX9" fmla="*/ 8254 w 9805"/>
                <a:gd name="connsiteY9" fmla="*/ 1260 h 10000"/>
                <a:gd name="connsiteX10" fmla="*/ 8190 w 9805"/>
                <a:gd name="connsiteY10" fmla="*/ 1434 h 10000"/>
                <a:gd name="connsiteX11" fmla="*/ 8015 w 9805"/>
                <a:gd name="connsiteY11" fmla="*/ 1478 h 10000"/>
                <a:gd name="connsiteX12" fmla="*/ 7839 w 9805"/>
                <a:gd name="connsiteY12" fmla="*/ 1607 h 10000"/>
                <a:gd name="connsiteX13" fmla="*/ 7993 w 9805"/>
                <a:gd name="connsiteY13" fmla="*/ 1780 h 10000"/>
                <a:gd name="connsiteX14" fmla="*/ 7971 w 9805"/>
                <a:gd name="connsiteY14" fmla="*/ 1911 h 10000"/>
                <a:gd name="connsiteX15" fmla="*/ 7643 w 9805"/>
                <a:gd name="connsiteY15" fmla="*/ 2063 h 10000"/>
                <a:gd name="connsiteX16" fmla="*/ 7490 w 9805"/>
                <a:gd name="connsiteY16" fmla="*/ 2323 h 10000"/>
                <a:gd name="connsiteX17" fmla="*/ 7098 w 9805"/>
                <a:gd name="connsiteY17" fmla="*/ 1803 h 10000"/>
                <a:gd name="connsiteX18" fmla="*/ 6945 w 9805"/>
                <a:gd name="connsiteY18" fmla="*/ 1976 h 10000"/>
                <a:gd name="connsiteX19" fmla="*/ 7163 w 9805"/>
                <a:gd name="connsiteY19" fmla="*/ 2193 h 10000"/>
                <a:gd name="connsiteX20" fmla="*/ 6988 w 9805"/>
                <a:gd name="connsiteY20" fmla="*/ 2345 h 10000"/>
                <a:gd name="connsiteX21" fmla="*/ 7031 w 9805"/>
                <a:gd name="connsiteY21" fmla="*/ 2453 h 10000"/>
                <a:gd name="connsiteX22" fmla="*/ 6683 w 9805"/>
                <a:gd name="connsiteY22" fmla="*/ 2713 h 10000"/>
                <a:gd name="connsiteX23" fmla="*/ 6312 w 9805"/>
                <a:gd name="connsiteY23" fmla="*/ 2496 h 10000"/>
                <a:gd name="connsiteX24" fmla="*/ 5308 w 9805"/>
                <a:gd name="connsiteY24" fmla="*/ 3038 h 10000"/>
                <a:gd name="connsiteX25" fmla="*/ 5220 w 9805"/>
                <a:gd name="connsiteY25" fmla="*/ 2800 h 10000"/>
                <a:gd name="connsiteX26" fmla="*/ 5089 w 9805"/>
                <a:gd name="connsiteY26" fmla="*/ 2648 h 10000"/>
                <a:gd name="connsiteX27" fmla="*/ 5133 w 9805"/>
                <a:gd name="connsiteY27" fmla="*/ 2475 h 10000"/>
                <a:gd name="connsiteX28" fmla="*/ 5001 w 9805"/>
                <a:gd name="connsiteY28" fmla="*/ 2301 h 10000"/>
                <a:gd name="connsiteX29" fmla="*/ 4804 w 9805"/>
                <a:gd name="connsiteY29" fmla="*/ 2280 h 10000"/>
                <a:gd name="connsiteX30" fmla="*/ 4849 w 9805"/>
                <a:gd name="connsiteY30" fmla="*/ 2041 h 10000"/>
                <a:gd name="connsiteX31" fmla="*/ 4695 w 9805"/>
                <a:gd name="connsiteY31" fmla="*/ 1955 h 10000"/>
                <a:gd name="connsiteX32" fmla="*/ 4543 w 9805"/>
                <a:gd name="connsiteY32" fmla="*/ 1651 h 10000"/>
                <a:gd name="connsiteX33" fmla="*/ 4346 w 9805"/>
                <a:gd name="connsiteY33" fmla="*/ 1651 h 10000"/>
                <a:gd name="connsiteX34" fmla="*/ 4150 w 9805"/>
                <a:gd name="connsiteY34" fmla="*/ 1499 h 10000"/>
                <a:gd name="connsiteX35" fmla="*/ 4150 w 9805"/>
                <a:gd name="connsiteY35" fmla="*/ 1434 h 10000"/>
                <a:gd name="connsiteX36" fmla="*/ 3975 w 9805"/>
                <a:gd name="connsiteY36" fmla="*/ 1520 h 10000"/>
                <a:gd name="connsiteX37" fmla="*/ 3756 w 9805"/>
                <a:gd name="connsiteY37" fmla="*/ 1369 h 10000"/>
                <a:gd name="connsiteX38" fmla="*/ 3866 w 9805"/>
                <a:gd name="connsiteY38" fmla="*/ 1152 h 10000"/>
                <a:gd name="connsiteX39" fmla="*/ 3691 w 9805"/>
                <a:gd name="connsiteY39" fmla="*/ 978 h 10000"/>
                <a:gd name="connsiteX40" fmla="*/ 3824 w 9805"/>
                <a:gd name="connsiteY40" fmla="*/ 718 h 10000"/>
                <a:gd name="connsiteX41" fmla="*/ 3386 w 9805"/>
                <a:gd name="connsiteY41" fmla="*/ 372 h 10000"/>
                <a:gd name="connsiteX42" fmla="*/ 3124 w 9805"/>
                <a:gd name="connsiteY42" fmla="*/ 480 h 10000"/>
                <a:gd name="connsiteX43" fmla="*/ 2621 w 9805"/>
                <a:gd name="connsiteY43" fmla="*/ 285 h 10000"/>
                <a:gd name="connsiteX44" fmla="*/ 2425 w 9805"/>
                <a:gd name="connsiteY44" fmla="*/ 414 h 10000"/>
                <a:gd name="connsiteX45" fmla="*/ 1944 w 9805"/>
                <a:gd name="connsiteY45" fmla="*/ 24 h 10000"/>
                <a:gd name="connsiteX46" fmla="*/ 1551 w 9805"/>
                <a:gd name="connsiteY46" fmla="*/ 566 h 10000"/>
                <a:gd name="connsiteX47" fmla="*/ 1551 w 9805"/>
                <a:gd name="connsiteY47" fmla="*/ 891 h 10000"/>
                <a:gd name="connsiteX48" fmla="*/ 1267 w 9805"/>
                <a:gd name="connsiteY48" fmla="*/ 631 h 10000"/>
                <a:gd name="connsiteX49" fmla="*/ 941 w 9805"/>
                <a:gd name="connsiteY49" fmla="*/ 1065 h 10000"/>
                <a:gd name="connsiteX50" fmla="*/ 1182 w 9805"/>
                <a:gd name="connsiteY50" fmla="*/ 1412 h 10000"/>
                <a:gd name="connsiteX51" fmla="*/ 743 w 9805"/>
                <a:gd name="connsiteY51" fmla="*/ 1824 h 10000"/>
                <a:gd name="connsiteX52" fmla="*/ 701 w 9805"/>
                <a:gd name="connsiteY52" fmla="*/ 1824 h 10000"/>
                <a:gd name="connsiteX53" fmla="*/ 875 w 9805"/>
                <a:gd name="connsiteY53" fmla="*/ 2063 h 10000"/>
                <a:gd name="connsiteX54" fmla="*/ 656 w 9805"/>
                <a:gd name="connsiteY54" fmla="*/ 2301 h 10000"/>
                <a:gd name="connsiteX55" fmla="*/ 808 w 9805"/>
                <a:gd name="connsiteY55" fmla="*/ 2453 h 10000"/>
                <a:gd name="connsiteX56" fmla="*/ 743 w 9805"/>
                <a:gd name="connsiteY56" fmla="*/ 2692 h 10000"/>
                <a:gd name="connsiteX57" fmla="*/ 656 w 9805"/>
                <a:gd name="connsiteY57" fmla="*/ 2822 h 10000"/>
                <a:gd name="connsiteX58" fmla="*/ 808 w 9805"/>
                <a:gd name="connsiteY58" fmla="*/ 3082 h 10000"/>
                <a:gd name="connsiteX59" fmla="*/ 548 w 9805"/>
                <a:gd name="connsiteY59" fmla="*/ 3494 h 10000"/>
                <a:gd name="connsiteX60" fmla="*/ 743 w 9805"/>
                <a:gd name="connsiteY60" fmla="*/ 3733 h 10000"/>
                <a:gd name="connsiteX61" fmla="*/ 395 w 9805"/>
                <a:gd name="connsiteY61" fmla="*/ 4144 h 10000"/>
                <a:gd name="connsiteX62" fmla="*/ 569 w 9805"/>
                <a:gd name="connsiteY62" fmla="*/ 4362 h 10000"/>
                <a:gd name="connsiteX63" fmla="*/ 307 w 9805"/>
                <a:gd name="connsiteY63" fmla="*/ 4708 h 10000"/>
                <a:gd name="connsiteX64" fmla="*/ 656 w 9805"/>
                <a:gd name="connsiteY64" fmla="*/ 4839 h 10000"/>
                <a:gd name="connsiteX65" fmla="*/ 548 w 9805"/>
                <a:gd name="connsiteY65" fmla="*/ 5121 h 10000"/>
                <a:gd name="connsiteX66" fmla="*/ 634 w 9805"/>
                <a:gd name="connsiteY66" fmla="*/ 5446 h 10000"/>
                <a:gd name="connsiteX67" fmla="*/ 1229 w 9805"/>
                <a:gd name="connsiteY67" fmla="*/ 5149 h 10000"/>
                <a:gd name="connsiteX68" fmla="*/ 1572 w 9805"/>
                <a:gd name="connsiteY68" fmla="*/ 4885 h 10000"/>
                <a:gd name="connsiteX69" fmla="*/ 1984 w 9805"/>
                <a:gd name="connsiteY69" fmla="*/ 4891 h 10000"/>
                <a:gd name="connsiteX70" fmla="*/ 2425 w 9805"/>
                <a:gd name="connsiteY70" fmla="*/ 4736 h 10000"/>
                <a:gd name="connsiteX71" fmla="*/ 2967 w 9805"/>
                <a:gd name="connsiteY71" fmla="*/ 4490 h 10000"/>
                <a:gd name="connsiteX72" fmla="*/ 3145 w 9805"/>
                <a:gd name="connsiteY72" fmla="*/ 4302 h 10000"/>
                <a:gd name="connsiteX73" fmla="*/ 3515 w 9805"/>
                <a:gd name="connsiteY73" fmla="*/ 3937 h 10000"/>
                <a:gd name="connsiteX74" fmla="*/ 4121 w 9805"/>
                <a:gd name="connsiteY74" fmla="*/ 4190 h 10000"/>
                <a:gd name="connsiteX75" fmla="*/ 4381 w 9805"/>
                <a:gd name="connsiteY75" fmla="*/ 4173 h 10000"/>
                <a:gd name="connsiteX76" fmla="*/ 4328 w 9805"/>
                <a:gd name="connsiteY76" fmla="*/ 3862 h 10000"/>
                <a:gd name="connsiteX77" fmla="*/ 4367 w 9805"/>
                <a:gd name="connsiteY77" fmla="*/ 3464 h 10000"/>
                <a:gd name="connsiteX78" fmla="*/ 4951 w 9805"/>
                <a:gd name="connsiteY78" fmla="*/ 3371 h 10000"/>
                <a:gd name="connsiteX79" fmla="*/ 4868 w 9805"/>
                <a:gd name="connsiteY79" fmla="*/ 3848 h 10000"/>
                <a:gd name="connsiteX80" fmla="*/ 0 w 9805"/>
                <a:gd name="connsiteY80" fmla="*/ 8482 h 10000"/>
                <a:gd name="connsiteX81" fmla="*/ 350 w 9805"/>
                <a:gd name="connsiteY81" fmla="*/ 8786 h 10000"/>
                <a:gd name="connsiteX82" fmla="*/ 591 w 9805"/>
                <a:gd name="connsiteY82" fmla="*/ 8634 h 10000"/>
                <a:gd name="connsiteX83" fmla="*/ 656 w 9805"/>
                <a:gd name="connsiteY83" fmla="*/ 8742 h 10000"/>
                <a:gd name="connsiteX84" fmla="*/ 788 w 9805"/>
                <a:gd name="connsiteY84" fmla="*/ 8482 h 10000"/>
                <a:gd name="connsiteX85" fmla="*/ 1202 w 9805"/>
                <a:gd name="connsiteY85" fmla="*/ 8525 h 10000"/>
                <a:gd name="connsiteX86" fmla="*/ 1092 w 9805"/>
                <a:gd name="connsiteY86" fmla="*/ 8677 h 10000"/>
                <a:gd name="connsiteX87" fmla="*/ 1202 w 9805"/>
                <a:gd name="connsiteY87" fmla="*/ 8829 h 10000"/>
                <a:gd name="connsiteX88" fmla="*/ 1529 w 9805"/>
                <a:gd name="connsiteY88" fmla="*/ 8721 h 10000"/>
                <a:gd name="connsiteX89" fmla="*/ 1595 w 9805"/>
                <a:gd name="connsiteY89" fmla="*/ 8873 h 10000"/>
                <a:gd name="connsiteX90" fmla="*/ 1465 w 9805"/>
                <a:gd name="connsiteY90" fmla="*/ 9067 h 10000"/>
                <a:gd name="connsiteX91" fmla="*/ 1661 w 9805"/>
                <a:gd name="connsiteY91" fmla="*/ 9176 h 10000"/>
                <a:gd name="connsiteX92" fmla="*/ 1704 w 9805"/>
                <a:gd name="connsiteY92" fmla="*/ 9415 h 10000"/>
                <a:gd name="connsiteX93" fmla="*/ 1357 w 9805"/>
                <a:gd name="connsiteY93" fmla="*/ 9696 h 10000"/>
                <a:gd name="connsiteX94" fmla="*/ 1465 w 9805"/>
                <a:gd name="connsiteY94" fmla="*/ 9956 h 10000"/>
                <a:gd name="connsiteX95" fmla="*/ 1814 w 9805"/>
                <a:gd name="connsiteY95" fmla="*/ 10000 h 10000"/>
                <a:gd name="connsiteX96" fmla="*/ 1988 w 9805"/>
                <a:gd name="connsiteY96" fmla="*/ 9523 h 10000"/>
                <a:gd name="connsiteX97" fmla="*/ 2643 w 9805"/>
                <a:gd name="connsiteY97" fmla="*/ 9458 h 10000"/>
                <a:gd name="connsiteX98" fmla="*/ 2928 w 9805"/>
                <a:gd name="connsiteY98" fmla="*/ 9111 h 10000"/>
                <a:gd name="connsiteX99" fmla="*/ 3516 w 9805"/>
                <a:gd name="connsiteY99" fmla="*/ 9415 h 10000"/>
                <a:gd name="connsiteX100" fmla="*/ 3801 w 9805"/>
                <a:gd name="connsiteY100" fmla="*/ 8851 h 10000"/>
                <a:gd name="connsiteX101" fmla="*/ 3779 w 9805"/>
                <a:gd name="connsiteY101" fmla="*/ 8763 h 10000"/>
                <a:gd name="connsiteX102" fmla="*/ 3975 w 9805"/>
                <a:gd name="connsiteY102" fmla="*/ 8417 h 10000"/>
                <a:gd name="connsiteX103" fmla="*/ 3866 w 9805"/>
                <a:gd name="connsiteY103" fmla="*/ 8178 h 10000"/>
                <a:gd name="connsiteX104" fmla="*/ 3734 w 9805"/>
                <a:gd name="connsiteY104" fmla="*/ 7961 h 10000"/>
                <a:gd name="connsiteX105" fmla="*/ 3866 w 9805"/>
                <a:gd name="connsiteY105" fmla="*/ 7745 h 10000"/>
                <a:gd name="connsiteX106" fmla="*/ 3931 w 9805"/>
                <a:gd name="connsiteY106" fmla="*/ 7355 h 10000"/>
                <a:gd name="connsiteX107" fmla="*/ 3691 w 9805"/>
                <a:gd name="connsiteY107" fmla="*/ 6964 h 10000"/>
                <a:gd name="connsiteX108" fmla="*/ 3779 w 9805"/>
                <a:gd name="connsiteY108" fmla="*/ 6508 h 10000"/>
                <a:gd name="connsiteX109" fmla="*/ 3866 w 9805"/>
                <a:gd name="connsiteY109" fmla="*/ 6291 h 10000"/>
                <a:gd name="connsiteX110" fmla="*/ 3909 w 9805"/>
                <a:gd name="connsiteY110" fmla="*/ 6097 h 10000"/>
                <a:gd name="connsiteX111" fmla="*/ 4171 w 9805"/>
                <a:gd name="connsiteY111" fmla="*/ 5728 h 10000"/>
                <a:gd name="connsiteX112" fmla="*/ 4695 w 9805"/>
                <a:gd name="connsiteY112" fmla="*/ 5533 h 10000"/>
                <a:gd name="connsiteX113" fmla="*/ 4784 w 9805"/>
                <a:gd name="connsiteY113" fmla="*/ 5620 h 10000"/>
                <a:gd name="connsiteX114" fmla="*/ 4717 w 9805"/>
                <a:gd name="connsiteY114" fmla="*/ 5685 h 10000"/>
                <a:gd name="connsiteX115" fmla="*/ 4870 w 9805"/>
                <a:gd name="connsiteY115" fmla="*/ 5814 h 10000"/>
                <a:gd name="connsiteX116" fmla="*/ 5045 w 9805"/>
                <a:gd name="connsiteY116" fmla="*/ 5641 h 10000"/>
                <a:gd name="connsiteX117" fmla="*/ 5242 w 9805"/>
                <a:gd name="connsiteY117" fmla="*/ 5489 h 10000"/>
                <a:gd name="connsiteX118" fmla="*/ 5655 w 9805"/>
                <a:gd name="connsiteY118" fmla="*/ 4860 h 10000"/>
                <a:gd name="connsiteX119" fmla="*/ 5986 w 9805"/>
                <a:gd name="connsiteY119" fmla="*/ 5056 h 10000"/>
                <a:gd name="connsiteX120" fmla="*/ 5961 w 9805"/>
                <a:gd name="connsiteY120" fmla="*/ 4904 h 10000"/>
                <a:gd name="connsiteX121" fmla="*/ 6180 w 9805"/>
                <a:gd name="connsiteY121" fmla="*/ 4752 h 10000"/>
                <a:gd name="connsiteX122" fmla="*/ 6398 w 9805"/>
                <a:gd name="connsiteY122" fmla="*/ 4860 h 10000"/>
                <a:gd name="connsiteX123" fmla="*/ 6180 w 9805"/>
                <a:gd name="connsiteY123" fmla="*/ 4427 h 10000"/>
                <a:gd name="connsiteX124" fmla="*/ 6312 w 9805"/>
                <a:gd name="connsiteY124" fmla="*/ 4253 h 10000"/>
                <a:gd name="connsiteX125" fmla="*/ 6771 w 9805"/>
                <a:gd name="connsiteY125" fmla="*/ 4123 h 10000"/>
                <a:gd name="connsiteX126" fmla="*/ 6726 w 9805"/>
                <a:gd name="connsiteY126" fmla="*/ 4079 h 10000"/>
                <a:gd name="connsiteX127" fmla="*/ 7077 w 9805"/>
                <a:gd name="connsiteY127" fmla="*/ 3754 h 10000"/>
                <a:gd name="connsiteX128" fmla="*/ 7338 w 9805"/>
                <a:gd name="connsiteY128" fmla="*/ 3581 h 10000"/>
                <a:gd name="connsiteX129" fmla="*/ 7993 w 9805"/>
                <a:gd name="connsiteY129" fmla="*/ 3234 h 10000"/>
                <a:gd name="connsiteX130" fmla="*/ 8190 w 9805"/>
                <a:gd name="connsiteY130" fmla="*/ 3017 h 10000"/>
                <a:gd name="connsiteX131" fmla="*/ 8582 w 9805"/>
                <a:gd name="connsiteY131" fmla="*/ 2605 h 10000"/>
                <a:gd name="connsiteX132" fmla="*/ 9281 w 9805"/>
                <a:gd name="connsiteY132" fmla="*/ 2236 h 10000"/>
                <a:gd name="connsiteX133" fmla="*/ 9324 w 9805"/>
                <a:gd name="connsiteY133" fmla="*/ 2084 h 10000"/>
                <a:gd name="connsiteX134" fmla="*/ 9608 w 9805"/>
                <a:gd name="connsiteY134" fmla="*/ 1846 h 10000"/>
                <a:gd name="connsiteX135" fmla="*/ 9805 w 9805"/>
                <a:gd name="connsiteY135" fmla="*/ 1564 h 10000"/>
                <a:gd name="connsiteX136" fmla="*/ 9499 w 9805"/>
                <a:gd name="connsiteY136" fmla="*/ 1303 h 10000"/>
                <a:gd name="connsiteX0" fmla="*/ 9387 w 9699"/>
                <a:gd name="connsiteY0" fmla="*/ 1303 h 10000"/>
                <a:gd name="connsiteX1" fmla="*/ 8986 w 9699"/>
                <a:gd name="connsiteY1" fmla="*/ 1564 h 10000"/>
                <a:gd name="connsiteX2" fmla="*/ 8786 w 9699"/>
                <a:gd name="connsiteY2" fmla="*/ 1455 h 10000"/>
                <a:gd name="connsiteX3" fmla="*/ 8608 w 9699"/>
                <a:gd name="connsiteY3" fmla="*/ 1239 h 10000"/>
                <a:gd name="connsiteX4" fmla="*/ 8741 w 9699"/>
                <a:gd name="connsiteY4" fmla="*/ 1065 h 10000"/>
                <a:gd name="connsiteX5" fmla="*/ 8429 w 9699"/>
                <a:gd name="connsiteY5" fmla="*/ 826 h 10000"/>
                <a:gd name="connsiteX6" fmla="*/ 8296 w 9699"/>
                <a:gd name="connsiteY6" fmla="*/ 914 h 10000"/>
                <a:gd name="connsiteX7" fmla="*/ 8005 w 9699"/>
                <a:gd name="connsiteY7" fmla="*/ 957 h 10000"/>
                <a:gd name="connsiteX8" fmla="*/ 8030 w 9699"/>
                <a:gd name="connsiteY8" fmla="*/ 1195 h 10000"/>
                <a:gd name="connsiteX9" fmla="*/ 8117 w 9699"/>
                <a:gd name="connsiteY9" fmla="*/ 1260 h 10000"/>
                <a:gd name="connsiteX10" fmla="*/ 8052 w 9699"/>
                <a:gd name="connsiteY10" fmla="*/ 1434 h 10000"/>
                <a:gd name="connsiteX11" fmla="*/ 7873 w 9699"/>
                <a:gd name="connsiteY11" fmla="*/ 1478 h 10000"/>
                <a:gd name="connsiteX12" fmla="*/ 7694 w 9699"/>
                <a:gd name="connsiteY12" fmla="*/ 1607 h 10000"/>
                <a:gd name="connsiteX13" fmla="*/ 7851 w 9699"/>
                <a:gd name="connsiteY13" fmla="*/ 1780 h 10000"/>
                <a:gd name="connsiteX14" fmla="*/ 7829 w 9699"/>
                <a:gd name="connsiteY14" fmla="*/ 1911 h 10000"/>
                <a:gd name="connsiteX15" fmla="*/ 7494 w 9699"/>
                <a:gd name="connsiteY15" fmla="*/ 2063 h 10000"/>
                <a:gd name="connsiteX16" fmla="*/ 7338 w 9699"/>
                <a:gd name="connsiteY16" fmla="*/ 2323 h 10000"/>
                <a:gd name="connsiteX17" fmla="*/ 6938 w 9699"/>
                <a:gd name="connsiteY17" fmla="*/ 1803 h 10000"/>
                <a:gd name="connsiteX18" fmla="*/ 6782 w 9699"/>
                <a:gd name="connsiteY18" fmla="*/ 1976 h 10000"/>
                <a:gd name="connsiteX19" fmla="*/ 7004 w 9699"/>
                <a:gd name="connsiteY19" fmla="*/ 2193 h 10000"/>
                <a:gd name="connsiteX20" fmla="*/ 6826 w 9699"/>
                <a:gd name="connsiteY20" fmla="*/ 2345 h 10000"/>
                <a:gd name="connsiteX21" fmla="*/ 6870 w 9699"/>
                <a:gd name="connsiteY21" fmla="*/ 2453 h 10000"/>
                <a:gd name="connsiteX22" fmla="*/ 6515 w 9699"/>
                <a:gd name="connsiteY22" fmla="*/ 2713 h 10000"/>
                <a:gd name="connsiteX23" fmla="*/ 6137 w 9699"/>
                <a:gd name="connsiteY23" fmla="*/ 2496 h 10000"/>
                <a:gd name="connsiteX24" fmla="*/ 5113 w 9699"/>
                <a:gd name="connsiteY24" fmla="*/ 3038 h 10000"/>
                <a:gd name="connsiteX25" fmla="*/ 5023 w 9699"/>
                <a:gd name="connsiteY25" fmla="*/ 2800 h 10000"/>
                <a:gd name="connsiteX26" fmla="*/ 4889 w 9699"/>
                <a:gd name="connsiteY26" fmla="*/ 2648 h 10000"/>
                <a:gd name="connsiteX27" fmla="*/ 4934 w 9699"/>
                <a:gd name="connsiteY27" fmla="*/ 2475 h 10000"/>
                <a:gd name="connsiteX28" fmla="*/ 4799 w 9699"/>
                <a:gd name="connsiteY28" fmla="*/ 2301 h 10000"/>
                <a:gd name="connsiteX29" fmla="*/ 4599 w 9699"/>
                <a:gd name="connsiteY29" fmla="*/ 2280 h 10000"/>
                <a:gd name="connsiteX30" fmla="*/ 4644 w 9699"/>
                <a:gd name="connsiteY30" fmla="*/ 2041 h 10000"/>
                <a:gd name="connsiteX31" fmla="*/ 4487 w 9699"/>
                <a:gd name="connsiteY31" fmla="*/ 1955 h 10000"/>
                <a:gd name="connsiteX32" fmla="*/ 4332 w 9699"/>
                <a:gd name="connsiteY32" fmla="*/ 1651 h 10000"/>
                <a:gd name="connsiteX33" fmla="*/ 4131 w 9699"/>
                <a:gd name="connsiteY33" fmla="*/ 1651 h 10000"/>
                <a:gd name="connsiteX34" fmla="*/ 3932 w 9699"/>
                <a:gd name="connsiteY34" fmla="*/ 1499 h 10000"/>
                <a:gd name="connsiteX35" fmla="*/ 3932 w 9699"/>
                <a:gd name="connsiteY35" fmla="*/ 1434 h 10000"/>
                <a:gd name="connsiteX36" fmla="*/ 3753 w 9699"/>
                <a:gd name="connsiteY36" fmla="*/ 1520 h 10000"/>
                <a:gd name="connsiteX37" fmla="*/ 3530 w 9699"/>
                <a:gd name="connsiteY37" fmla="*/ 1369 h 10000"/>
                <a:gd name="connsiteX38" fmla="*/ 3642 w 9699"/>
                <a:gd name="connsiteY38" fmla="*/ 1152 h 10000"/>
                <a:gd name="connsiteX39" fmla="*/ 3463 w 9699"/>
                <a:gd name="connsiteY39" fmla="*/ 978 h 10000"/>
                <a:gd name="connsiteX40" fmla="*/ 3599 w 9699"/>
                <a:gd name="connsiteY40" fmla="*/ 718 h 10000"/>
                <a:gd name="connsiteX41" fmla="*/ 3152 w 9699"/>
                <a:gd name="connsiteY41" fmla="*/ 372 h 10000"/>
                <a:gd name="connsiteX42" fmla="*/ 2885 w 9699"/>
                <a:gd name="connsiteY42" fmla="*/ 480 h 10000"/>
                <a:gd name="connsiteX43" fmla="*/ 2372 w 9699"/>
                <a:gd name="connsiteY43" fmla="*/ 285 h 10000"/>
                <a:gd name="connsiteX44" fmla="*/ 2172 w 9699"/>
                <a:gd name="connsiteY44" fmla="*/ 414 h 10000"/>
                <a:gd name="connsiteX45" fmla="*/ 1682 w 9699"/>
                <a:gd name="connsiteY45" fmla="*/ 24 h 10000"/>
                <a:gd name="connsiteX46" fmla="*/ 1281 w 9699"/>
                <a:gd name="connsiteY46" fmla="*/ 566 h 10000"/>
                <a:gd name="connsiteX47" fmla="*/ 1281 w 9699"/>
                <a:gd name="connsiteY47" fmla="*/ 891 h 10000"/>
                <a:gd name="connsiteX48" fmla="*/ 991 w 9699"/>
                <a:gd name="connsiteY48" fmla="*/ 631 h 10000"/>
                <a:gd name="connsiteX49" fmla="*/ 659 w 9699"/>
                <a:gd name="connsiteY49" fmla="*/ 1065 h 10000"/>
                <a:gd name="connsiteX50" fmla="*/ 905 w 9699"/>
                <a:gd name="connsiteY50" fmla="*/ 1412 h 10000"/>
                <a:gd name="connsiteX51" fmla="*/ 457 w 9699"/>
                <a:gd name="connsiteY51" fmla="*/ 1824 h 10000"/>
                <a:gd name="connsiteX52" fmla="*/ 414 w 9699"/>
                <a:gd name="connsiteY52" fmla="*/ 1824 h 10000"/>
                <a:gd name="connsiteX53" fmla="*/ 591 w 9699"/>
                <a:gd name="connsiteY53" fmla="*/ 2063 h 10000"/>
                <a:gd name="connsiteX54" fmla="*/ 368 w 9699"/>
                <a:gd name="connsiteY54" fmla="*/ 2301 h 10000"/>
                <a:gd name="connsiteX55" fmla="*/ 523 w 9699"/>
                <a:gd name="connsiteY55" fmla="*/ 2453 h 10000"/>
                <a:gd name="connsiteX56" fmla="*/ 457 w 9699"/>
                <a:gd name="connsiteY56" fmla="*/ 2692 h 10000"/>
                <a:gd name="connsiteX57" fmla="*/ 368 w 9699"/>
                <a:gd name="connsiteY57" fmla="*/ 2822 h 10000"/>
                <a:gd name="connsiteX58" fmla="*/ 523 w 9699"/>
                <a:gd name="connsiteY58" fmla="*/ 3082 h 10000"/>
                <a:gd name="connsiteX59" fmla="*/ 258 w 9699"/>
                <a:gd name="connsiteY59" fmla="*/ 3494 h 10000"/>
                <a:gd name="connsiteX60" fmla="*/ 457 w 9699"/>
                <a:gd name="connsiteY60" fmla="*/ 3733 h 10000"/>
                <a:gd name="connsiteX61" fmla="*/ 102 w 9699"/>
                <a:gd name="connsiteY61" fmla="*/ 4144 h 10000"/>
                <a:gd name="connsiteX62" fmla="*/ 279 w 9699"/>
                <a:gd name="connsiteY62" fmla="*/ 4362 h 10000"/>
                <a:gd name="connsiteX63" fmla="*/ 12 w 9699"/>
                <a:gd name="connsiteY63" fmla="*/ 4708 h 10000"/>
                <a:gd name="connsiteX64" fmla="*/ 368 w 9699"/>
                <a:gd name="connsiteY64" fmla="*/ 4839 h 10000"/>
                <a:gd name="connsiteX65" fmla="*/ 258 w 9699"/>
                <a:gd name="connsiteY65" fmla="*/ 5121 h 10000"/>
                <a:gd name="connsiteX66" fmla="*/ 346 w 9699"/>
                <a:gd name="connsiteY66" fmla="*/ 5446 h 10000"/>
                <a:gd name="connsiteX67" fmla="*/ 952 w 9699"/>
                <a:gd name="connsiteY67" fmla="*/ 5149 h 10000"/>
                <a:gd name="connsiteX68" fmla="*/ 1302 w 9699"/>
                <a:gd name="connsiteY68" fmla="*/ 4885 h 10000"/>
                <a:gd name="connsiteX69" fmla="*/ 1722 w 9699"/>
                <a:gd name="connsiteY69" fmla="*/ 4891 h 10000"/>
                <a:gd name="connsiteX70" fmla="*/ 2172 w 9699"/>
                <a:gd name="connsiteY70" fmla="*/ 4736 h 10000"/>
                <a:gd name="connsiteX71" fmla="*/ 2725 w 9699"/>
                <a:gd name="connsiteY71" fmla="*/ 4490 h 10000"/>
                <a:gd name="connsiteX72" fmla="*/ 2907 w 9699"/>
                <a:gd name="connsiteY72" fmla="*/ 4302 h 10000"/>
                <a:gd name="connsiteX73" fmla="*/ 3284 w 9699"/>
                <a:gd name="connsiteY73" fmla="*/ 3937 h 10000"/>
                <a:gd name="connsiteX74" fmla="*/ 3902 w 9699"/>
                <a:gd name="connsiteY74" fmla="*/ 4190 h 10000"/>
                <a:gd name="connsiteX75" fmla="*/ 4167 w 9699"/>
                <a:gd name="connsiteY75" fmla="*/ 4173 h 10000"/>
                <a:gd name="connsiteX76" fmla="*/ 4113 w 9699"/>
                <a:gd name="connsiteY76" fmla="*/ 3862 h 10000"/>
                <a:gd name="connsiteX77" fmla="*/ 4153 w 9699"/>
                <a:gd name="connsiteY77" fmla="*/ 3464 h 10000"/>
                <a:gd name="connsiteX78" fmla="*/ 4748 w 9699"/>
                <a:gd name="connsiteY78" fmla="*/ 3371 h 10000"/>
                <a:gd name="connsiteX79" fmla="*/ 4664 w 9699"/>
                <a:gd name="connsiteY79" fmla="*/ 3848 h 10000"/>
                <a:gd name="connsiteX80" fmla="*/ 56 w 9699"/>
                <a:gd name="connsiteY80" fmla="*/ 8786 h 10000"/>
                <a:gd name="connsiteX81" fmla="*/ 302 w 9699"/>
                <a:gd name="connsiteY81" fmla="*/ 8634 h 10000"/>
                <a:gd name="connsiteX82" fmla="*/ 368 w 9699"/>
                <a:gd name="connsiteY82" fmla="*/ 8742 h 10000"/>
                <a:gd name="connsiteX83" fmla="*/ 503 w 9699"/>
                <a:gd name="connsiteY83" fmla="*/ 8482 h 10000"/>
                <a:gd name="connsiteX84" fmla="*/ 925 w 9699"/>
                <a:gd name="connsiteY84" fmla="*/ 8525 h 10000"/>
                <a:gd name="connsiteX85" fmla="*/ 813 w 9699"/>
                <a:gd name="connsiteY85" fmla="*/ 8677 h 10000"/>
                <a:gd name="connsiteX86" fmla="*/ 925 w 9699"/>
                <a:gd name="connsiteY86" fmla="*/ 8829 h 10000"/>
                <a:gd name="connsiteX87" fmla="*/ 1258 w 9699"/>
                <a:gd name="connsiteY87" fmla="*/ 8721 h 10000"/>
                <a:gd name="connsiteX88" fmla="*/ 1326 w 9699"/>
                <a:gd name="connsiteY88" fmla="*/ 8873 h 10000"/>
                <a:gd name="connsiteX89" fmla="*/ 1193 w 9699"/>
                <a:gd name="connsiteY89" fmla="*/ 9067 h 10000"/>
                <a:gd name="connsiteX90" fmla="*/ 1393 w 9699"/>
                <a:gd name="connsiteY90" fmla="*/ 9176 h 10000"/>
                <a:gd name="connsiteX91" fmla="*/ 1437 w 9699"/>
                <a:gd name="connsiteY91" fmla="*/ 9415 h 10000"/>
                <a:gd name="connsiteX92" fmla="*/ 1083 w 9699"/>
                <a:gd name="connsiteY92" fmla="*/ 9696 h 10000"/>
                <a:gd name="connsiteX93" fmla="*/ 1193 w 9699"/>
                <a:gd name="connsiteY93" fmla="*/ 9956 h 10000"/>
                <a:gd name="connsiteX94" fmla="*/ 1549 w 9699"/>
                <a:gd name="connsiteY94" fmla="*/ 10000 h 10000"/>
                <a:gd name="connsiteX95" fmla="*/ 1727 w 9699"/>
                <a:gd name="connsiteY95" fmla="*/ 9523 h 10000"/>
                <a:gd name="connsiteX96" fmla="*/ 2395 w 9699"/>
                <a:gd name="connsiteY96" fmla="*/ 9458 h 10000"/>
                <a:gd name="connsiteX97" fmla="*/ 2685 w 9699"/>
                <a:gd name="connsiteY97" fmla="*/ 9111 h 10000"/>
                <a:gd name="connsiteX98" fmla="*/ 3285 w 9699"/>
                <a:gd name="connsiteY98" fmla="*/ 9415 h 10000"/>
                <a:gd name="connsiteX99" fmla="*/ 3576 w 9699"/>
                <a:gd name="connsiteY99" fmla="*/ 8851 h 10000"/>
                <a:gd name="connsiteX100" fmla="*/ 3553 w 9699"/>
                <a:gd name="connsiteY100" fmla="*/ 8763 h 10000"/>
                <a:gd name="connsiteX101" fmla="*/ 3753 w 9699"/>
                <a:gd name="connsiteY101" fmla="*/ 8417 h 10000"/>
                <a:gd name="connsiteX102" fmla="*/ 3642 w 9699"/>
                <a:gd name="connsiteY102" fmla="*/ 8178 h 10000"/>
                <a:gd name="connsiteX103" fmla="*/ 3507 w 9699"/>
                <a:gd name="connsiteY103" fmla="*/ 7961 h 10000"/>
                <a:gd name="connsiteX104" fmla="*/ 3642 w 9699"/>
                <a:gd name="connsiteY104" fmla="*/ 7745 h 10000"/>
                <a:gd name="connsiteX105" fmla="*/ 3708 w 9699"/>
                <a:gd name="connsiteY105" fmla="*/ 7355 h 10000"/>
                <a:gd name="connsiteX106" fmla="*/ 3463 w 9699"/>
                <a:gd name="connsiteY106" fmla="*/ 6964 h 10000"/>
                <a:gd name="connsiteX107" fmla="*/ 3553 w 9699"/>
                <a:gd name="connsiteY107" fmla="*/ 6508 h 10000"/>
                <a:gd name="connsiteX108" fmla="*/ 3642 w 9699"/>
                <a:gd name="connsiteY108" fmla="*/ 6291 h 10000"/>
                <a:gd name="connsiteX109" fmla="*/ 3686 w 9699"/>
                <a:gd name="connsiteY109" fmla="*/ 6097 h 10000"/>
                <a:gd name="connsiteX110" fmla="*/ 3953 w 9699"/>
                <a:gd name="connsiteY110" fmla="*/ 5728 h 10000"/>
                <a:gd name="connsiteX111" fmla="*/ 4487 w 9699"/>
                <a:gd name="connsiteY111" fmla="*/ 5533 h 10000"/>
                <a:gd name="connsiteX112" fmla="*/ 4578 w 9699"/>
                <a:gd name="connsiteY112" fmla="*/ 5620 h 10000"/>
                <a:gd name="connsiteX113" fmla="*/ 4510 w 9699"/>
                <a:gd name="connsiteY113" fmla="*/ 5685 h 10000"/>
                <a:gd name="connsiteX114" fmla="*/ 4666 w 9699"/>
                <a:gd name="connsiteY114" fmla="*/ 5814 h 10000"/>
                <a:gd name="connsiteX115" fmla="*/ 4844 w 9699"/>
                <a:gd name="connsiteY115" fmla="*/ 5641 h 10000"/>
                <a:gd name="connsiteX116" fmla="*/ 5045 w 9699"/>
                <a:gd name="connsiteY116" fmla="*/ 5489 h 10000"/>
                <a:gd name="connsiteX117" fmla="*/ 5466 w 9699"/>
                <a:gd name="connsiteY117" fmla="*/ 4860 h 10000"/>
                <a:gd name="connsiteX118" fmla="*/ 5804 w 9699"/>
                <a:gd name="connsiteY118" fmla="*/ 5056 h 10000"/>
                <a:gd name="connsiteX119" fmla="*/ 5779 w 9699"/>
                <a:gd name="connsiteY119" fmla="*/ 4904 h 10000"/>
                <a:gd name="connsiteX120" fmla="*/ 6002 w 9699"/>
                <a:gd name="connsiteY120" fmla="*/ 4752 h 10000"/>
                <a:gd name="connsiteX121" fmla="*/ 6224 w 9699"/>
                <a:gd name="connsiteY121" fmla="*/ 4860 h 10000"/>
                <a:gd name="connsiteX122" fmla="*/ 6002 w 9699"/>
                <a:gd name="connsiteY122" fmla="*/ 4427 h 10000"/>
                <a:gd name="connsiteX123" fmla="*/ 6137 w 9699"/>
                <a:gd name="connsiteY123" fmla="*/ 4253 h 10000"/>
                <a:gd name="connsiteX124" fmla="*/ 6605 w 9699"/>
                <a:gd name="connsiteY124" fmla="*/ 4123 h 10000"/>
                <a:gd name="connsiteX125" fmla="*/ 6559 w 9699"/>
                <a:gd name="connsiteY125" fmla="*/ 4079 h 10000"/>
                <a:gd name="connsiteX126" fmla="*/ 6917 w 9699"/>
                <a:gd name="connsiteY126" fmla="*/ 3754 h 10000"/>
                <a:gd name="connsiteX127" fmla="*/ 7183 w 9699"/>
                <a:gd name="connsiteY127" fmla="*/ 3581 h 10000"/>
                <a:gd name="connsiteX128" fmla="*/ 7851 w 9699"/>
                <a:gd name="connsiteY128" fmla="*/ 3234 h 10000"/>
                <a:gd name="connsiteX129" fmla="*/ 8052 w 9699"/>
                <a:gd name="connsiteY129" fmla="*/ 3017 h 10000"/>
                <a:gd name="connsiteX130" fmla="*/ 8452 w 9699"/>
                <a:gd name="connsiteY130" fmla="*/ 2605 h 10000"/>
                <a:gd name="connsiteX131" fmla="*/ 9165 w 9699"/>
                <a:gd name="connsiteY131" fmla="*/ 2236 h 10000"/>
                <a:gd name="connsiteX132" fmla="*/ 9208 w 9699"/>
                <a:gd name="connsiteY132" fmla="*/ 2084 h 10000"/>
                <a:gd name="connsiteX133" fmla="*/ 9498 w 9699"/>
                <a:gd name="connsiteY133" fmla="*/ 1846 h 10000"/>
                <a:gd name="connsiteX134" fmla="*/ 9699 w 9699"/>
                <a:gd name="connsiteY134" fmla="*/ 1564 h 10000"/>
                <a:gd name="connsiteX135" fmla="*/ 9387 w 9699"/>
                <a:gd name="connsiteY13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379 w 10000"/>
                <a:gd name="connsiteY81" fmla="*/ 8742 h 10000"/>
                <a:gd name="connsiteX82" fmla="*/ 519 w 10000"/>
                <a:gd name="connsiteY82" fmla="*/ 8482 h 10000"/>
                <a:gd name="connsiteX83" fmla="*/ 954 w 10000"/>
                <a:gd name="connsiteY83" fmla="*/ 8525 h 10000"/>
                <a:gd name="connsiteX84" fmla="*/ 838 w 10000"/>
                <a:gd name="connsiteY84" fmla="*/ 8677 h 10000"/>
                <a:gd name="connsiteX85" fmla="*/ 954 w 10000"/>
                <a:gd name="connsiteY85" fmla="*/ 8829 h 10000"/>
                <a:gd name="connsiteX86" fmla="*/ 1297 w 10000"/>
                <a:gd name="connsiteY86" fmla="*/ 8721 h 10000"/>
                <a:gd name="connsiteX87" fmla="*/ 1367 w 10000"/>
                <a:gd name="connsiteY87" fmla="*/ 8873 h 10000"/>
                <a:gd name="connsiteX88" fmla="*/ 1230 w 10000"/>
                <a:gd name="connsiteY88" fmla="*/ 9067 h 10000"/>
                <a:gd name="connsiteX89" fmla="*/ 1436 w 10000"/>
                <a:gd name="connsiteY89" fmla="*/ 9176 h 10000"/>
                <a:gd name="connsiteX90" fmla="*/ 1482 w 10000"/>
                <a:gd name="connsiteY90" fmla="*/ 9415 h 10000"/>
                <a:gd name="connsiteX91" fmla="*/ 1117 w 10000"/>
                <a:gd name="connsiteY91" fmla="*/ 9696 h 10000"/>
                <a:gd name="connsiteX92" fmla="*/ 1230 w 10000"/>
                <a:gd name="connsiteY92" fmla="*/ 9956 h 10000"/>
                <a:gd name="connsiteX93" fmla="*/ 1597 w 10000"/>
                <a:gd name="connsiteY93" fmla="*/ 10000 h 10000"/>
                <a:gd name="connsiteX94" fmla="*/ 1781 w 10000"/>
                <a:gd name="connsiteY94" fmla="*/ 9523 h 10000"/>
                <a:gd name="connsiteX95" fmla="*/ 2469 w 10000"/>
                <a:gd name="connsiteY95" fmla="*/ 9458 h 10000"/>
                <a:gd name="connsiteX96" fmla="*/ 2768 w 10000"/>
                <a:gd name="connsiteY96" fmla="*/ 9111 h 10000"/>
                <a:gd name="connsiteX97" fmla="*/ 3387 w 10000"/>
                <a:gd name="connsiteY97" fmla="*/ 9415 h 10000"/>
                <a:gd name="connsiteX98" fmla="*/ 3687 w 10000"/>
                <a:gd name="connsiteY98" fmla="*/ 8851 h 10000"/>
                <a:gd name="connsiteX99" fmla="*/ 3663 w 10000"/>
                <a:gd name="connsiteY99" fmla="*/ 8763 h 10000"/>
                <a:gd name="connsiteX100" fmla="*/ 3869 w 10000"/>
                <a:gd name="connsiteY100" fmla="*/ 8417 h 10000"/>
                <a:gd name="connsiteX101" fmla="*/ 3755 w 10000"/>
                <a:gd name="connsiteY101" fmla="*/ 8178 h 10000"/>
                <a:gd name="connsiteX102" fmla="*/ 3616 w 10000"/>
                <a:gd name="connsiteY102" fmla="*/ 7961 h 10000"/>
                <a:gd name="connsiteX103" fmla="*/ 3755 w 10000"/>
                <a:gd name="connsiteY103" fmla="*/ 7745 h 10000"/>
                <a:gd name="connsiteX104" fmla="*/ 3823 w 10000"/>
                <a:gd name="connsiteY104" fmla="*/ 7355 h 10000"/>
                <a:gd name="connsiteX105" fmla="*/ 3570 w 10000"/>
                <a:gd name="connsiteY105" fmla="*/ 6964 h 10000"/>
                <a:gd name="connsiteX106" fmla="*/ 3663 w 10000"/>
                <a:gd name="connsiteY106" fmla="*/ 6508 h 10000"/>
                <a:gd name="connsiteX107" fmla="*/ 3755 w 10000"/>
                <a:gd name="connsiteY107" fmla="*/ 6291 h 10000"/>
                <a:gd name="connsiteX108" fmla="*/ 3800 w 10000"/>
                <a:gd name="connsiteY108" fmla="*/ 6097 h 10000"/>
                <a:gd name="connsiteX109" fmla="*/ 4076 w 10000"/>
                <a:gd name="connsiteY109" fmla="*/ 5728 h 10000"/>
                <a:gd name="connsiteX110" fmla="*/ 4626 w 10000"/>
                <a:gd name="connsiteY110" fmla="*/ 5533 h 10000"/>
                <a:gd name="connsiteX111" fmla="*/ 4720 w 10000"/>
                <a:gd name="connsiteY111" fmla="*/ 5620 h 10000"/>
                <a:gd name="connsiteX112" fmla="*/ 4650 w 10000"/>
                <a:gd name="connsiteY112" fmla="*/ 5685 h 10000"/>
                <a:gd name="connsiteX113" fmla="*/ 4811 w 10000"/>
                <a:gd name="connsiteY113" fmla="*/ 5814 h 10000"/>
                <a:gd name="connsiteX114" fmla="*/ 4994 w 10000"/>
                <a:gd name="connsiteY114" fmla="*/ 5641 h 10000"/>
                <a:gd name="connsiteX115" fmla="*/ 5202 w 10000"/>
                <a:gd name="connsiteY115" fmla="*/ 5489 h 10000"/>
                <a:gd name="connsiteX116" fmla="*/ 5636 w 10000"/>
                <a:gd name="connsiteY116" fmla="*/ 4860 h 10000"/>
                <a:gd name="connsiteX117" fmla="*/ 5984 w 10000"/>
                <a:gd name="connsiteY117" fmla="*/ 5056 h 10000"/>
                <a:gd name="connsiteX118" fmla="*/ 5958 w 10000"/>
                <a:gd name="connsiteY118" fmla="*/ 4904 h 10000"/>
                <a:gd name="connsiteX119" fmla="*/ 6188 w 10000"/>
                <a:gd name="connsiteY119" fmla="*/ 4752 h 10000"/>
                <a:gd name="connsiteX120" fmla="*/ 6417 w 10000"/>
                <a:gd name="connsiteY120" fmla="*/ 4860 h 10000"/>
                <a:gd name="connsiteX121" fmla="*/ 6188 w 10000"/>
                <a:gd name="connsiteY121" fmla="*/ 4427 h 10000"/>
                <a:gd name="connsiteX122" fmla="*/ 6327 w 10000"/>
                <a:gd name="connsiteY122" fmla="*/ 4253 h 10000"/>
                <a:gd name="connsiteX123" fmla="*/ 6810 w 10000"/>
                <a:gd name="connsiteY123" fmla="*/ 4123 h 10000"/>
                <a:gd name="connsiteX124" fmla="*/ 6763 w 10000"/>
                <a:gd name="connsiteY124" fmla="*/ 4079 h 10000"/>
                <a:gd name="connsiteX125" fmla="*/ 7132 w 10000"/>
                <a:gd name="connsiteY125" fmla="*/ 3754 h 10000"/>
                <a:gd name="connsiteX126" fmla="*/ 7406 w 10000"/>
                <a:gd name="connsiteY126" fmla="*/ 3581 h 10000"/>
                <a:gd name="connsiteX127" fmla="*/ 8095 w 10000"/>
                <a:gd name="connsiteY127" fmla="*/ 3234 h 10000"/>
                <a:gd name="connsiteX128" fmla="*/ 8302 w 10000"/>
                <a:gd name="connsiteY128" fmla="*/ 3017 h 10000"/>
                <a:gd name="connsiteX129" fmla="*/ 8714 w 10000"/>
                <a:gd name="connsiteY129" fmla="*/ 2605 h 10000"/>
                <a:gd name="connsiteX130" fmla="*/ 9449 w 10000"/>
                <a:gd name="connsiteY130" fmla="*/ 2236 h 10000"/>
                <a:gd name="connsiteX131" fmla="*/ 9494 w 10000"/>
                <a:gd name="connsiteY131" fmla="*/ 2084 h 10000"/>
                <a:gd name="connsiteX132" fmla="*/ 9793 w 10000"/>
                <a:gd name="connsiteY132" fmla="*/ 1846 h 10000"/>
                <a:gd name="connsiteX133" fmla="*/ 10000 w 10000"/>
                <a:gd name="connsiteY133" fmla="*/ 1564 h 10000"/>
                <a:gd name="connsiteX134" fmla="*/ 9678 w 10000"/>
                <a:gd name="connsiteY13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311 w 10000"/>
                <a:gd name="connsiteY80" fmla="*/ 8634 h 10000"/>
                <a:gd name="connsiteX81" fmla="*/ 519 w 10000"/>
                <a:gd name="connsiteY81" fmla="*/ 8482 h 10000"/>
                <a:gd name="connsiteX82" fmla="*/ 954 w 10000"/>
                <a:gd name="connsiteY82" fmla="*/ 8525 h 10000"/>
                <a:gd name="connsiteX83" fmla="*/ 838 w 10000"/>
                <a:gd name="connsiteY83" fmla="*/ 8677 h 10000"/>
                <a:gd name="connsiteX84" fmla="*/ 954 w 10000"/>
                <a:gd name="connsiteY84" fmla="*/ 8829 h 10000"/>
                <a:gd name="connsiteX85" fmla="*/ 1297 w 10000"/>
                <a:gd name="connsiteY85" fmla="*/ 8721 h 10000"/>
                <a:gd name="connsiteX86" fmla="*/ 1367 w 10000"/>
                <a:gd name="connsiteY86" fmla="*/ 8873 h 10000"/>
                <a:gd name="connsiteX87" fmla="*/ 1230 w 10000"/>
                <a:gd name="connsiteY87" fmla="*/ 9067 h 10000"/>
                <a:gd name="connsiteX88" fmla="*/ 1436 w 10000"/>
                <a:gd name="connsiteY88" fmla="*/ 9176 h 10000"/>
                <a:gd name="connsiteX89" fmla="*/ 1482 w 10000"/>
                <a:gd name="connsiteY89" fmla="*/ 9415 h 10000"/>
                <a:gd name="connsiteX90" fmla="*/ 1117 w 10000"/>
                <a:gd name="connsiteY90" fmla="*/ 9696 h 10000"/>
                <a:gd name="connsiteX91" fmla="*/ 1230 w 10000"/>
                <a:gd name="connsiteY91" fmla="*/ 9956 h 10000"/>
                <a:gd name="connsiteX92" fmla="*/ 1597 w 10000"/>
                <a:gd name="connsiteY92" fmla="*/ 10000 h 10000"/>
                <a:gd name="connsiteX93" fmla="*/ 1781 w 10000"/>
                <a:gd name="connsiteY93" fmla="*/ 9523 h 10000"/>
                <a:gd name="connsiteX94" fmla="*/ 2469 w 10000"/>
                <a:gd name="connsiteY94" fmla="*/ 9458 h 10000"/>
                <a:gd name="connsiteX95" fmla="*/ 2768 w 10000"/>
                <a:gd name="connsiteY95" fmla="*/ 9111 h 10000"/>
                <a:gd name="connsiteX96" fmla="*/ 3387 w 10000"/>
                <a:gd name="connsiteY96" fmla="*/ 9415 h 10000"/>
                <a:gd name="connsiteX97" fmla="*/ 3687 w 10000"/>
                <a:gd name="connsiteY97" fmla="*/ 8851 h 10000"/>
                <a:gd name="connsiteX98" fmla="*/ 3663 w 10000"/>
                <a:gd name="connsiteY98" fmla="*/ 8763 h 10000"/>
                <a:gd name="connsiteX99" fmla="*/ 3869 w 10000"/>
                <a:gd name="connsiteY99" fmla="*/ 8417 h 10000"/>
                <a:gd name="connsiteX100" fmla="*/ 3755 w 10000"/>
                <a:gd name="connsiteY100" fmla="*/ 8178 h 10000"/>
                <a:gd name="connsiteX101" fmla="*/ 3616 w 10000"/>
                <a:gd name="connsiteY101" fmla="*/ 7961 h 10000"/>
                <a:gd name="connsiteX102" fmla="*/ 3755 w 10000"/>
                <a:gd name="connsiteY102" fmla="*/ 7745 h 10000"/>
                <a:gd name="connsiteX103" fmla="*/ 3823 w 10000"/>
                <a:gd name="connsiteY103" fmla="*/ 7355 h 10000"/>
                <a:gd name="connsiteX104" fmla="*/ 3570 w 10000"/>
                <a:gd name="connsiteY104" fmla="*/ 6964 h 10000"/>
                <a:gd name="connsiteX105" fmla="*/ 3663 w 10000"/>
                <a:gd name="connsiteY105" fmla="*/ 6508 h 10000"/>
                <a:gd name="connsiteX106" fmla="*/ 3755 w 10000"/>
                <a:gd name="connsiteY106" fmla="*/ 6291 h 10000"/>
                <a:gd name="connsiteX107" fmla="*/ 3800 w 10000"/>
                <a:gd name="connsiteY107" fmla="*/ 6097 h 10000"/>
                <a:gd name="connsiteX108" fmla="*/ 4076 w 10000"/>
                <a:gd name="connsiteY108" fmla="*/ 5728 h 10000"/>
                <a:gd name="connsiteX109" fmla="*/ 4626 w 10000"/>
                <a:gd name="connsiteY109" fmla="*/ 5533 h 10000"/>
                <a:gd name="connsiteX110" fmla="*/ 4720 w 10000"/>
                <a:gd name="connsiteY110" fmla="*/ 5620 h 10000"/>
                <a:gd name="connsiteX111" fmla="*/ 4650 w 10000"/>
                <a:gd name="connsiteY111" fmla="*/ 5685 h 10000"/>
                <a:gd name="connsiteX112" fmla="*/ 4811 w 10000"/>
                <a:gd name="connsiteY112" fmla="*/ 5814 h 10000"/>
                <a:gd name="connsiteX113" fmla="*/ 4994 w 10000"/>
                <a:gd name="connsiteY113" fmla="*/ 5641 h 10000"/>
                <a:gd name="connsiteX114" fmla="*/ 5202 w 10000"/>
                <a:gd name="connsiteY114" fmla="*/ 5489 h 10000"/>
                <a:gd name="connsiteX115" fmla="*/ 5636 w 10000"/>
                <a:gd name="connsiteY115" fmla="*/ 4860 h 10000"/>
                <a:gd name="connsiteX116" fmla="*/ 5984 w 10000"/>
                <a:gd name="connsiteY116" fmla="*/ 5056 h 10000"/>
                <a:gd name="connsiteX117" fmla="*/ 5958 w 10000"/>
                <a:gd name="connsiteY117" fmla="*/ 4904 h 10000"/>
                <a:gd name="connsiteX118" fmla="*/ 6188 w 10000"/>
                <a:gd name="connsiteY118" fmla="*/ 4752 h 10000"/>
                <a:gd name="connsiteX119" fmla="*/ 6417 w 10000"/>
                <a:gd name="connsiteY119" fmla="*/ 4860 h 10000"/>
                <a:gd name="connsiteX120" fmla="*/ 6188 w 10000"/>
                <a:gd name="connsiteY120" fmla="*/ 4427 h 10000"/>
                <a:gd name="connsiteX121" fmla="*/ 6327 w 10000"/>
                <a:gd name="connsiteY121" fmla="*/ 4253 h 10000"/>
                <a:gd name="connsiteX122" fmla="*/ 6810 w 10000"/>
                <a:gd name="connsiteY122" fmla="*/ 4123 h 10000"/>
                <a:gd name="connsiteX123" fmla="*/ 6763 w 10000"/>
                <a:gd name="connsiteY123" fmla="*/ 4079 h 10000"/>
                <a:gd name="connsiteX124" fmla="*/ 7132 w 10000"/>
                <a:gd name="connsiteY124" fmla="*/ 3754 h 10000"/>
                <a:gd name="connsiteX125" fmla="*/ 7406 w 10000"/>
                <a:gd name="connsiteY125" fmla="*/ 3581 h 10000"/>
                <a:gd name="connsiteX126" fmla="*/ 8095 w 10000"/>
                <a:gd name="connsiteY126" fmla="*/ 3234 h 10000"/>
                <a:gd name="connsiteX127" fmla="*/ 8302 w 10000"/>
                <a:gd name="connsiteY127" fmla="*/ 3017 h 10000"/>
                <a:gd name="connsiteX128" fmla="*/ 8714 w 10000"/>
                <a:gd name="connsiteY128" fmla="*/ 2605 h 10000"/>
                <a:gd name="connsiteX129" fmla="*/ 9449 w 10000"/>
                <a:gd name="connsiteY129" fmla="*/ 2236 h 10000"/>
                <a:gd name="connsiteX130" fmla="*/ 9494 w 10000"/>
                <a:gd name="connsiteY130" fmla="*/ 2084 h 10000"/>
                <a:gd name="connsiteX131" fmla="*/ 9793 w 10000"/>
                <a:gd name="connsiteY131" fmla="*/ 1846 h 10000"/>
                <a:gd name="connsiteX132" fmla="*/ 10000 w 10000"/>
                <a:gd name="connsiteY132" fmla="*/ 1564 h 10000"/>
                <a:gd name="connsiteX133" fmla="*/ 9678 w 10000"/>
                <a:gd name="connsiteY13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519 w 10000"/>
                <a:gd name="connsiteY80" fmla="*/ 8482 h 10000"/>
                <a:gd name="connsiteX81" fmla="*/ 954 w 10000"/>
                <a:gd name="connsiteY81" fmla="*/ 8525 h 10000"/>
                <a:gd name="connsiteX82" fmla="*/ 838 w 10000"/>
                <a:gd name="connsiteY82" fmla="*/ 8677 h 10000"/>
                <a:gd name="connsiteX83" fmla="*/ 954 w 10000"/>
                <a:gd name="connsiteY83" fmla="*/ 8829 h 10000"/>
                <a:gd name="connsiteX84" fmla="*/ 1297 w 10000"/>
                <a:gd name="connsiteY84" fmla="*/ 8721 h 10000"/>
                <a:gd name="connsiteX85" fmla="*/ 1367 w 10000"/>
                <a:gd name="connsiteY85" fmla="*/ 8873 h 10000"/>
                <a:gd name="connsiteX86" fmla="*/ 1230 w 10000"/>
                <a:gd name="connsiteY86" fmla="*/ 9067 h 10000"/>
                <a:gd name="connsiteX87" fmla="*/ 1436 w 10000"/>
                <a:gd name="connsiteY87" fmla="*/ 9176 h 10000"/>
                <a:gd name="connsiteX88" fmla="*/ 1482 w 10000"/>
                <a:gd name="connsiteY88" fmla="*/ 9415 h 10000"/>
                <a:gd name="connsiteX89" fmla="*/ 1117 w 10000"/>
                <a:gd name="connsiteY89" fmla="*/ 9696 h 10000"/>
                <a:gd name="connsiteX90" fmla="*/ 1230 w 10000"/>
                <a:gd name="connsiteY90" fmla="*/ 9956 h 10000"/>
                <a:gd name="connsiteX91" fmla="*/ 1597 w 10000"/>
                <a:gd name="connsiteY91" fmla="*/ 10000 h 10000"/>
                <a:gd name="connsiteX92" fmla="*/ 1781 w 10000"/>
                <a:gd name="connsiteY92" fmla="*/ 9523 h 10000"/>
                <a:gd name="connsiteX93" fmla="*/ 2469 w 10000"/>
                <a:gd name="connsiteY93" fmla="*/ 9458 h 10000"/>
                <a:gd name="connsiteX94" fmla="*/ 2768 w 10000"/>
                <a:gd name="connsiteY94" fmla="*/ 9111 h 10000"/>
                <a:gd name="connsiteX95" fmla="*/ 3387 w 10000"/>
                <a:gd name="connsiteY95" fmla="*/ 9415 h 10000"/>
                <a:gd name="connsiteX96" fmla="*/ 3687 w 10000"/>
                <a:gd name="connsiteY96" fmla="*/ 8851 h 10000"/>
                <a:gd name="connsiteX97" fmla="*/ 3663 w 10000"/>
                <a:gd name="connsiteY97" fmla="*/ 8763 h 10000"/>
                <a:gd name="connsiteX98" fmla="*/ 3869 w 10000"/>
                <a:gd name="connsiteY98" fmla="*/ 8417 h 10000"/>
                <a:gd name="connsiteX99" fmla="*/ 3755 w 10000"/>
                <a:gd name="connsiteY99" fmla="*/ 8178 h 10000"/>
                <a:gd name="connsiteX100" fmla="*/ 3616 w 10000"/>
                <a:gd name="connsiteY100" fmla="*/ 7961 h 10000"/>
                <a:gd name="connsiteX101" fmla="*/ 3755 w 10000"/>
                <a:gd name="connsiteY101" fmla="*/ 7745 h 10000"/>
                <a:gd name="connsiteX102" fmla="*/ 3823 w 10000"/>
                <a:gd name="connsiteY102" fmla="*/ 7355 h 10000"/>
                <a:gd name="connsiteX103" fmla="*/ 3570 w 10000"/>
                <a:gd name="connsiteY103" fmla="*/ 6964 h 10000"/>
                <a:gd name="connsiteX104" fmla="*/ 3663 w 10000"/>
                <a:gd name="connsiteY104" fmla="*/ 6508 h 10000"/>
                <a:gd name="connsiteX105" fmla="*/ 3755 w 10000"/>
                <a:gd name="connsiteY105" fmla="*/ 6291 h 10000"/>
                <a:gd name="connsiteX106" fmla="*/ 3800 w 10000"/>
                <a:gd name="connsiteY106" fmla="*/ 6097 h 10000"/>
                <a:gd name="connsiteX107" fmla="*/ 4076 w 10000"/>
                <a:gd name="connsiteY107" fmla="*/ 5728 h 10000"/>
                <a:gd name="connsiteX108" fmla="*/ 4626 w 10000"/>
                <a:gd name="connsiteY108" fmla="*/ 5533 h 10000"/>
                <a:gd name="connsiteX109" fmla="*/ 4720 w 10000"/>
                <a:gd name="connsiteY109" fmla="*/ 5620 h 10000"/>
                <a:gd name="connsiteX110" fmla="*/ 4650 w 10000"/>
                <a:gd name="connsiteY110" fmla="*/ 5685 h 10000"/>
                <a:gd name="connsiteX111" fmla="*/ 4811 w 10000"/>
                <a:gd name="connsiteY111" fmla="*/ 5814 h 10000"/>
                <a:gd name="connsiteX112" fmla="*/ 4994 w 10000"/>
                <a:gd name="connsiteY112" fmla="*/ 5641 h 10000"/>
                <a:gd name="connsiteX113" fmla="*/ 5202 w 10000"/>
                <a:gd name="connsiteY113" fmla="*/ 5489 h 10000"/>
                <a:gd name="connsiteX114" fmla="*/ 5636 w 10000"/>
                <a:gd name="connsiteY114" fmla="*/ 4860 h 10000"/>
                <a:gd name="connsiteX115" fmla="*/ 5984 w 10000"/>
                <a:gd name="connsiteY115" fmla="*/ 5056 h 10000"/>
                <a:gd name="connsiteX116" fmla="*/ 5958 w 10000"/>
                <a:gd name="connsiteY116" fmla="*/ 4904 h 10000"/>
                <a:gd name="connsiteX117" fmla="*/ 6188 w 10000"/>
                <a:gd name="connsiteY117" fmla="*/ 4752 h 10000"/>
                <a:gd name="connsiteX118" fmla="*/ 6417 w 10000"/>
                <a:gd name="connsiteY118" fmla="*/ 4860 h 10000"/>
                <a:gd name="connsiteX119" fmla="*/ 6188 w 10000"/>
                <a:gd name="connsiteY119" fmla="*/ 4427 h 10000"/>
                <a:gd name="connsiteX120" fmla="*/ 6327 w 10000"/>
                <a:gd name="connsiteY120" fmla="*/ 4253 h 10000"/>
                <a:gd name="connsiteX121" fmla="*/ 6810 w 10000"/>
                <a:gd name="connsiteY121" fmla="*/ 4123 h 10000"/>
                <a:gd name="connsiteX122" fmla="*/ 6763 w 10000"/>
                <a:gd name="connsiteY122" fmla="*/ 4079 h 10000"/>
                <a:gd name="connsiteX123" fmla="*/ 7132 w 10000"/>
                <a:gd name="connsiteY123" fmla="*/ 3754 h 10000"/>
                <a:gd name="connsiteX124" fmla="*/ 7406 w 10000"/>
                <a:gd name="connsiteY124" fmla="*/ 3581 h 10000"/>
                <a:gd name="connsiteX125" fmla="*/ 8095 w 10000"/>
                <a:gd name="connsiteY125" fmla="*/ 3234 h 10000"/>
                <a:gd name="connsiteX126" fmla="*/ 8302 w 10000"/>
                <a:gd name="connsiteY126" fmla="*/ 3017 h 10000"/>
                <a:gd name="connsiteX127" fmla="*/ 8714 w 10000"/>
                <a:gd name="connsiteY127" fmla="*/ 2605 h 10000"/>
                <a:gd name="connsiteX128" fmla="*/ 9449 w 10000"/>
                <a:gd name="connsiteY128" fmla="*/ 2236 h 10000"/>
                <a:gd name="connsiteX129" fmla="*/ 9494 w 10000"/>
                <a:gd name="connsiteY129" fmla="*/ 2084 h 10000"/>
                <a:gd name="connsiteX130" fmla="*/ 9793 w 10000"/>
                <a:gd name="connsiteY130" fmla="*/ 1846 h 10000"/>
                <a:gd name="connsiteX131" fmla="*/ 10000 w 10000"/>
                <a:gd name="connsiteY131" fmla="*/ 1564 h 10000"/>
                <a:gd name="connsiteX132" fmla="*/ 9678 w 10000"/>
                <a:gd name="connsiteY13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525 h 10000"/>
                <a:gd name="connsiteX81" fmla="*/ 838 w 10000"/>
                <a:gd name="connsiteY81" fmla="*/ 8677 h 10000"/>
                <a:gd name="connsiteX82" fmla="*/ 954 w 10000"/>
                <a:gd name="connsiteY82" fmla="*/ 8829 h 10000"/>
                <a:gd name="connsiteX83" fmla="*/ 1297 w 10000"/>
                <a:gd name="connsiteY83" fmla="*/ 8721 h 10000"/>
                <a:gd name="connsiteX84" fmla="*/ 1367 w 10000"/>
                <a:gd name="connsiteY84" fmla="*/ 8873 h 10000"/>
                <a:gd name="connsiteX85" fmla="*/ 1230 w 10000"/>
                <a:gd name="connsiteY85" fmla="*/ 9067 h 10000"/>
                <a:gd name="connsiteX86" fmla="*/ 1436 w 10000"/>
                <a:gd name="connsiteY86" fmla="*/ 9176 h 10000"/>
                <a:gd name="connsiteX87" fmla="*/ 1482 w 10000"/>
                <a:gd name="connsiteY87" fmla="*/ 9415 h 10000"/>
                <a:gd name="connsiteX88" fmla="*/ 1117 w 10000"/>
                <a:gd name="connsiteY88" fmla="*/ 9696 h 10000"/>
                <a:gd name="connsiteX89" fmla="*/ 1230 w 10000"/>
                <a:gd name="connsiteY89" fmla="*/ 9956 h 10000"/>
                <a:gd name="connsiteX90" fmla="*/ 1597 w 10000"/>
                <a:gd name="connsiteY90" fmla="*/ 10000 h 10000"/>
                <a:gd name="connsiteX91" fmla="*/ 1781 w 10000"/>
                <a:gd name="connsiteY91" fmla="*/ 9523 h 10000"/>
                <a:gd name="connsiteX92" fmla="*/ 2469 w 10000"/>
                <a:gd name="connsiteY92" fmla="*/ 9458 h 10000"/>
                <a:gd name="connsiteX93" fmla="*/ 2768 w 10000"/>
                <a:gd name="connsiteY93" fmla="*/ 9111 h 10000"/>
                <a:gd name="connsiteX94" fmla="*/ 3387 w 10000"/>
                <a:gd name="connsiteY94" fmla="*/ 9415 h 10000"/>
                <a:gd name="connsiteX95" fmla="*/ 3687 w 10000"/>
                <a:gd name="connsiteY95" fmla="*/ 8851 h 10000"/>
                <a:gd name="connsiteX96" fmla="*/ 3663 w 10000"/>
                <a:gd name="connsiteY96" fmla="*/ 8763 h 10000"/>
                <a:gd name="connsiteX97" fmla="*/ 3869 w 10000"/>
                <a:gd name="connsiteY97" fmla="*/ 8417 h 10000"/>
                <a:gd name="connsiteX98" fmla="*/ 3755 w 10000"/>
                <a:gd name="connsiteY98" fmla="*/ 8178 h 10000"/>
                <a:gd name="connsiteX99" fmla="*/ 3616 w 10000"/>
                <a:gd name="connsiteY99" fmla="*/ 7961 h 10000"/>
                <a:gd name="connsiteX100" fmla="*/ 3755 w 10000"/>
                <a:gd name="connsiteY100" fmla="*/ 7745 h 10000"/>
                <a:gd name="connsiteX101" fmla="*/ 3823 w 10000"/>
                <a:gd name="connsiteY101" fmla="*/ 7355 h 10000"/>
                <a:gd name="connsiteX102" fmla="*/ 3570 w 10000"/>
                <a:gd name="connsiteY102" fmla="*/ 6964 h 10000"/>
                <a:gd name="connsiteX103" fmla="*/ 3663 w 10000"/>
                <a:gd name="connsiteY103" fmla="*/ 6508 h 10000"/>
                <a:gd name="connsiteX104" fmla="*/ 3755 w 10000"/>
                <a:gd name="connsiteY104" fmla="*/ 6291 h 10000"/>
                <a:gd name="connsiteX105" fmla="*/ 3800 w 10000"/>
                <a:gd name="connsiteY105" fmla="*/ 6097 h 10000"/>
                <a:gd name="connsiteX106" fmla="*/ 4076 w 10000"/>
                <a:gd name="connsiteY106" fmla="*/ 5728 h 10000"/>
                <a:gd name="connsiteX107" fmla="*/ 4626 w 10000"/>
                <a:gd name="connsiteY107" fmla="*/ 5533 h 10000"/>
                <a:gd name="connsiteX108" fmla="*/ 4720 w 10000"/>
                <a:gd name="connsiteY108" fmla="*/ 5620 h 10000"/>
                <a:gd name="connsiteX109" fmla="*/ 4650 w 10000"/>
                <a:gd name="connsiteY109" fmla="*/ 5685 h 10000"/>
                <a:gd name="connsiteX110" fmla="*/ 4811 w 10000"/>
                <a:gd name="connsiteY110" fmla="*/ 5814 h 10000"/>
                <a:gd name="connsiteX111" fmla="*/ 4994 w 10000"/>
                <a:gd name="connsiteY111" fmla="*/ 5641 h 10000"/>
                <a:gd name="connsiteX112" fmla="*/ 5202 w 10000"/>
                <a:gd name="connsiteY112" fmla="*/ 5489 h 10000"/>
                <a:gd name="connsiteX113" fmla="*/ 5636 w 10000"/>
                <a:gd name="connsiteY113" fmla="*/ 4860 h 10000"/>
                <a:gd name="connsiteX114" fmla="*/ 5984 w 10000"/>
                <a:gd name="connsiteY114" fmla="*/ 5056 h 10000"/>
                <a:gd name="connsiteX115" fmla="*/ 5958 w 10000"/>
                <a:gd name="connsiteY115" fmla="*/ 4904 h 10000"/>
                <a:gd name="connsiteX116" fmla="*/ 6188 w 10000"/>
                <a:gd name="connsiteY116" fmla="*/ 4752 h 10000"/>
                <a:gd name="connsiteX117" fmla="*/ 6417 w 10000"/>
                <a:gd name="connsiteY117" fmla="*/ 4860 h 10000"/>
                <a:gd name="connsiteX118" fmla="*/ 6188 w 10000"/>
                <a:gd name="connsiteY118" fmla="*/ 4427 h 10000"/>
                <a:gd name="connsiteX119" fmla="*/ 6327 w 10000"/>
                <a:gd name="connsiteY119" fmla="*/ 4253 h 10000"/>
                <a:gd name="connsiteX120" fmla="*/ 6810 w 10000"/>
                <a:gd name="connsiteY120" fmla="*/ 4123 h 10000"/>
                <a:gd name="connsiteX121" fmla="*/ 6763 w 10000"/>
                <a:gd name="connsiteY121" fmla="*/ 4079 h 10000"/>
                <a:gd name="connsiteX122" fmla="*/ 7132 w 10000"/>
                <a:gd name="connsiteY122" fmla="*/ 3754 h 10000"/>
                <a:gd name="connsiteX123" fmla="*/ 7406 w 10000"/>
                <a:gd name="connsiteY123" fmla="*/ 3581 h 10000"/>
                <a:gd name="connsiteX124" fmla="*/ 8095 w 10000"/>
                <a:gd name="connsiteY124" fmla="*/ 3234 h 10000"/>
                <a:gd name="connsiteX125" fmla="*/ 8302 w 10000"/>
                <a:gd name="connsiteY125" fmla="*/ 3017 h 10000"/>
                <a:gd name="connsiteX126" fmla="*/ 8714 w 10000"/>
                <a:gd name="connsiteY126" fmla="*/ 2605 h 10000"/>
                <a:gd name="connsiteX127" fmla="*/ 9449 w 10000"/>
                <a:gd name="connsiteY127" fmla="*/ 2236 h 10000"/>
                <a:gd name="connsiteX128" fmla="*/ 9494 w 10000"/>
                <a:gd name="connsiteY128" fmla="*/ 2084 h 10000"/>
                <a:gd name="connsiteX129" fmla="*/ 9793 w 10000"/>
                <a:gd name="connsiteY129" fmla="*/ 1846 h 10000"/>
                <a:gd name="connsiteX130" fmla="*/ 10000 w 10000"/>
                <a:gd name="connsiteY130" fmla="*/ 1564 h 10000"/>
                <a:gd name="connsiteX131" fmla="*/ 9678 w 10000"/>
                <a:gd name="connsiteY131"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838 w 10000"/>
                <a:gd name="connsiteY80" fmla="*/ 8677 h 10000"/>
                <a:gd name="connsiteX81" fmla="*/ 954 w 10000"/>
                <a:gd name="connsiteY81" fmla="*/ 8829 h 10000"/>
                <a:gd name="connsiteX82" fmla="*/ 1297 w 10000"/>
                <a:gd name="connsiteY82" fmla="*/ 8721 h 10000"/>
                <a:gd name="connsiteX83" fmla="*/ 1367 w 10000"/>
                <a:gd name="connsiteY83" fmla="*/ 8873 h 10000"/>
                <a:gd name="connsiteX84" fmla="*/ 1230 w 10000"/>
                <a:gd name="connsiteY84" fmla="*/ 9067 h 10000"/>
                <a:gd name="connsiteX85" fmla="*/ 1436 w 10000"/>
                <a:gd name="connsiteY85" fmla="*/ 9176 h 10000"/>
                <a:gd name="connsiteX86" fmla="*/ 1482 w 10000"/>
                <a:gd name="connsiteY86" fmla="*/ 9415 h 10000"/>
                <a:gd name="connsiteX87" fmla="*/ 1117 w 10000"/>
                <a:gd name="connsiteY87" fmla="*/ 9696 h 10000"/>
                <a:gd name="connsiteX88" fmla="*/ 1230 w 10000"/>
                <a:gd name="connsiteY88" fmla="*/ 9956 h 10000"/>
                <a:gd name="connsiteX89" fmla="*/ 1597 w 10000"/>
                <a:gd name="connsiteY89" fmla="*/ 10000 h 10000"/>
                <a:gd name="connsiteX90" fmla="*/ 1781 w 10000"/>
                <a:gd name="connsiteY90" fmla="*/ 9523 h 10000"/>
                <a:gd name="connsiteX91" fmla="*/ 2469 w 10000"/>
                <a:gd name="connsiteY91" fmla="*/ 9458 h 10000"/>
                <a:gd name="connsiteX92" fmla="*/ 2768 w 10000"/>
                <a:gd name="connsiteY92" fmla="*/ 9111 h 10000"/>
                <a:gd name="connsiteX93" fmla="*/ 3387 w 10000"/>
                <a:gd name="connsiteY93" fmla="*/ 9415 h 10000"/>
                <a:gd name="connsiteX94" fmla="*/ 3687 w 10000"/>
                <a:gd name="connsiteY94" fmla="*/ 8851 h 10000"/>
                <a:gd name="connsiteX95" fmla="*/ 3663 w 10000"/>
                <a:gd name="connsiteY95" fmla="*/ 8763 h 10000"/>
                <a:gd name="connsiteX96" fmla="*/ 3869 w 10000"/>
                <a:gd name="connsiteY96" fmla="*/ 8417 h 10000"/>
                <a:gd name="connsiteX97" fmla="*/ 3755 w 10000"/>
                <a:gd name="connsiteY97" fmla="*/ 8178 h 10000"/>
                <a:gd name="connsiteX98" fmla="*/ 3616 w 10000"/>
                <a:gd name="connsiteY98" fmla="*/ 7961 h 10000"/>
                <a:gd name="connsiteX99" fmla="*/ 3755 w 10000"/>
                <a:gd name="connsiteY99" fmla="*/ 7745 h 10000"/>
                <a:gd name="connsiteX100" fmla="*/ 3823 w 10000"/>
                <a:gd name="connsiteY100" fmla="*/ 7355 h 10000"/>
                <a:gd name="connsiteX101" fmla="*/ 3570 w 10000"/>
                <a:gd name="connsiteY101" fmla="*/ 6964 h 10000"/>
                <a:gd name="connsiteX102" fmla="*/ 3663 w 10000"/>
                <a:gd name="connsiteY102" fmla="*/ 6508 h 10000"/>
                <a:gd name="connsiteX103" fmla="*/ 3755 w 10000"/>
                <a:gd name="connsiteY103" fmla="*/ 6291 h 10000"/>
                <a:gd name="connsiteX104" fmla="*/ 3800 w 10000"/>
                <a:gd name="connsiteY104" fmla="*/ 6097 h 10000"/>
                <a:gd name="connsiteX105" fmla="*/ 4076 w 10000"/>
                <a:gd name="connsiteY105" fmla="*/ 5728 h 10000"/>
                <a:gd name="connsiteX106" fmla="*/ 4626 w 10000"/>
                <a:gd name="connsiteY106" fmla="*/ 5533 h 10000"/>
                <a:gd name="connsiteX107" fmla="*/ 4720 w 10000"/>
                <a:gd name="connsiteY107" fmla="*/ 5620 h 10000"/>
                <a:gd name="connsiteX108" fmla="*/ 4650 w 10000"/>
                <a:gd name="connsiteY108" fmla="*/ 5685 h 10000"/>
                <a:gd name="connsiteX109" fmla="*/ 4811 w 10000"/>
                <a:gd name="connsiteY109" fmla="*/ 5814 h 10000"/>
                <a:gd name="connsiteX110" fmla="*/ 4994 w 10000"/>
                <a:gd name="connsiteY110" fmla="*/ 5641 h 10000"/>
                <a:gd name="connsiteX111" fmla="*/ 5202 w 10000"/>
                <a:gd name="connsiteY111" fmla="*/ 5489 h 10000"/>
                <a:gd name="connsiteX112" fmla="*/ 5636 w 10000"/>
                <a:gd name="connsiteY112" fmla="*/ 4860 h 10000"/>
                <a:gd name="connsiteX113" fmla="*/ 5984 w 10000"/>
                <a:gd name="connsiteY113" fmla="*/ 5056 h 10000"/>
                <a:gd name="connsiteX114" fmla="*/ 5958 w 10000"/>
                <a:gd name="connsiteY114" fmla="*/ 4904 h 10000"/>
                <a:gd name="connsiteX115" fmla="*/ 6188 w 10000"/>
                <a:gd name="connsiteY115" fmla="*/ 4752 h 10000"/>
                <a:gd name="connsiteX116" fmla="*/ 6417 w 10000"/>
                <a:gd name="connsiteY116" fmla="*/ 4860 h 10000"/>
                <a:gd name="connsiteX117" fmla="*/ 6188 w 10000"/>
                <a:gd name="connsiteY117" fmla="*/ 4427 h 10000"/>
                <a:gd name="connsiteX118" fmla="*/ 6327 w 10000"/>
                <a:gd name="connsiteY118" fmla="*/ 4253 h 10000"/>
                <a:gd name="connsiteX119" fmla="*/ 6810 w 10000"/>
                <a:gd name="connsiteY119" fmla="*/ 4123 h 10000"/>
                <a:gd name="connsiteX120" fmla="*/ 6763 w 10000"/>
                <a:gd name="connsiteY120" fmla="*/ 4079 h 10000"/>
                <a:gd name="connsiteX121" fmla="*/ 7132 w 10000"/>
                <a:gd name="connsiteY121" fmla="*/ 3754 h 10000"/>
                <a:gd name="connsiteX122" fmla="*/ 7406 w 10000"/>
                <a:gd name="connsiteY122" fmla="*/ 3581 h 10000"/>
                <a:gd name="connsiteX123" fmla="*/ 8095 w 10000"/>
                <a:gd name="connsiteY123" fmla="*/ 3234 h 10000"/>
                <a:gd name="connsiteX124" fmla="*/ 8302 w 10000"/>
                <a:gd name="connsiteY124" fmla="*/ 3017 h 10000"/>
                <a:gd name="connsiteX125" fmla="*/ 8714 w 10000"/>
                <a:gd name="connsiteY125" fmla="*/ 2605 h 10000"/>
                <a:gd name="connsiteX126" fmla="*/ 9449 w 10000"/>
                <a:gd name="connsiteY126" fmla="*/ 2236 h 10000"/>
                <a:gd name="connsiteX127" fmla="*/ 9494 w 10000"/>
                <a:gd name="connsiteY127" fmla="*/ 2084 h 10000"/>
                <a:gd name="connsiteX128" fmla="*/ 9793 w 10000"/>
                <a:gd name="connsiteY128" fmla="*/ 1846 h 10000"/>
                <a:gd name="connsiteX129" fmla="*/ 10000 w 10000"/>
                <a:gd name="connsiteY129" fmla="*/ 1564 h 10000"/>
                <a:gd name="connsiteX130" fmla="*/ 9678 w 10000"/>
                <a:gd name="connsiteY130"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954 w 10000"/>
                <a:gd name="connsiteY80" fmla="*/ 8829 h 10000"/>
                <a:gd name="connsiteX81" fmla="*/ 1297 w 10000"/>
                <a:gd name="connsiteY81" fmla="*/ 8721 h 10000"/>
                <a:gd name="connsiteX82" fmla="*/ 1367 w 10000"/>
                <a:gd name="connsiteY82" fmla="*/ 8873 h 10000"/>
                <a:gd name="connsiteX83" fmla="*/ 1230 w 10000"/>
                <a:gd name="connsiteY83" fmla="*/ 9067 h 10000"/>
                <a:gd name="connsiteX84" fmla="*/ 1436 w 10000"/>
                <a:gd name="connsiteY84" fmla="*/ 9176 h 10000"/>
                <a:gd name="connsiteX85" fmla="*/ 1482 w 10000"/>
                <a:gd name="connsiteY85" fmla="*/ 9415 h 10000"/>
                <a:gd name="connsiteX86" fmla="*/ 1117 w 10000"/>
                <a:gd name="connsiteY86" fmla="*/ 9696 h 10000"/>
                <a:gd name="connsiteX87" fmla="*/ 1230 w 10000"/>
                <a:gd name="connsiteY87" fmla="*/ 9956 h 10000"/>
                <a:gd name="connsiteX88" fmla="*/ 1597 w 10000"/>
                <a:gd name="connsiteY88" fmla="*/ 10000 h 10000"/>
                <a:gd name="connsiteX89" fmla="*/ 1781 w 10000"/>
                <a:gd name="connsiteY89" fmla="*/ 9523 h 10000"/>
                <a:gd name="connsiteX90" fmla="*/ 2469 w 10000"/>
                <a:gd name="connsiteY90" fmla="*/ 9458 h 10000"/>
                <a:gd name="connsiteX91" fmla="*/ 2768 w 10000"/>
                <a:gd name="connsiteY91" fmla="*/ 9111 h 10000"/>
                <a:gd name="connsiteX92" fmla="*/ 3387 w 10000"/>
                <a:gd name="connsiteY92" fmla="*/ 9415 h 10000"/>
                <a:gd name="connsiteX93" fmla="*/ 3687 w 10000"/>
                <a:gd name="connsiteY93" fmla="*/ 8851 h 10000"/>
                <a:gd name="connsiteX94" fmla="*/ 3663 w 10000"/>
                <a:gd name="connsiteY94" fmla="*/ 8763 h 10000"/>
                <a:gd name="connsiteX95" fmla="*/ 3869 w 10000"/>
                <a:gd name="connsiteY95" fmla="*/ 8417 h 10000"/>
                <a:gd name="connsiteX96" fmla="*/ 3755 w 10000"/>
                <a:gd name="connsiteY96" fmla="*/ 8178 h 10000"/>
                <a:gd name="connsiteX97" fmla="*/ 3616 w 10000"/>
                <a:gd name="connsiteY97" fmla="*/ 7961 h 10000"/>
                <a:gd name="connsiteX98" fmla="*/ 3755 w 10000"/>
                <a:gd name="connsiteY98" fmla="*/ 7745 h 10000"/>
                <a:gd name="connsiteX99" fmla="*/ 3823 w 10000"/>
                <a:gd name="connsiteY99" fmla="*/ 7355 h 10000"/>
                <a:gd name="connsiteX100" fmla="*/ 3570 w 10000"/>
                <a:gd name="connsiteY100" fmla="*/ 6964 h 10000"/>
                <a:gd name="connsiteX101" fmla="*/ 3663 w 10000"/>
                <a:gd name="connsiteY101" fmla="*/ 6508 h 10000"/>
                <a:gd name="connsiteX102" fmla="*/ 3755 w 10000"/>
                <a:gd name="connsiteY102" fmla="*/ 6291 h 10000"/>
                <a:gd name="connsiteX103" fmla="*/ 3800 w 10000"/>
                <a:gd name="connsiteY103" fmla="*/ 6097 h 10000"/>
                <a:gd name="connsiteX104" fmla="*/ 4076 w 10000"/>
                <a:gd name="connsiteY104" fmla="*/ 5728 h 10000"/>
                <a:gd name="connsiteX105" fmla="*/ 4626 w 10000"/>
                <a:gd name="connsiteY105" fmla="*/ 5533 h 10000"/>
                <a:gd name="connsiteX106" fmla="*/ 4720 w 10000"/>
                <a:gd name="connsiteY106" fmla="*/ 5620 h 10000"/>
                <a:gd name="connsiteX107" fmla="*/ 4650 w 10000"/>
                <a:gd name="connsiteY107" fmla="*/ 5685 h 10000"/>
                <a:gd name="connsiteX108" fmla="*/ 4811 w 10000"/>
                <a:gd name="connsiteY108" fmla="*/ 5814 h 10000"/>
                <a:gd name="connsiteX109" fmla="*/ 4994 w 10000"/>
                <a:gd name="connsiteY109" fmla="*/ 5641 h 10000"/>
                <a:gd name="connsiteX110" fmla="*/ 5202 w 10000"/>
                <a:gd name="connsiteY110" fmla="*/ 5489 h 10000"/>
                <a:gd name="connsiteX111" fmla="*/ 5636 w 10000"/>
                <a:gd name="connsiteY111" fmla="*/ 4860 h 10000"/>
                <a:gd name="connsiteX112" fmla="*/ 5984 w 10000"/>
                <a:gd name="connsiteY112" fmla="*/ 5056 h 10000"/>
                <a:gd name="connsiteX113" fmla="*/ 5958 w 10000"/>
                <a:gd name="connsiteY113" fmla="*/ 4904 h 10000"/>
                <a:gd name="connsiteX114" fmla="*/ 6188 w 10000"/>
                <a:gd name="connsiteY114" fmla="*/ 4752 h 10000"/>
                <a:gd name="connsiteX115" fmla="*/ 6417 w 10000"/>
                <a:gd name="connsiteY115" fmla="*/ 4860 h 10000"/>
                <a:gd name="connsiteX116" fmla="*/ 6188 w 10000"/>
                <a:gd name="connsiteY116" fmla="*/ 4427 h 10000"/>
                <a:gd name="connsiteX117" fmla="*/ 6327 w 10000"/>
                <a:gd name="connsiteY117" fmla="*/ 4253 h 10000"/>
                <a:gd name="connsiteX118" fmla="*/ 6810 w 10000"/>
                <a:gd name="connsiteY118" fmla="*/ 4123 h 10000"/>
                <a:gd name="connsiteX119" fmla="*/ 6763 w 10000"/>
                <a:gd name="connsiteY119" fmla="*/ 4079 h 10000"/>
                <a:gd name="connsiteX120" fmla="*/ 7132 w 10000"/>
                <a:gd name="connsiteY120" fmla="*/ 3754 h 10000"/>
                <a:gd name="connsiteX121" fmla="*/ 7406 w 10000"/>
                <a:gd name="connsiteY121" fmla="*/ 3581 h 10000"/>
                <a:gd name="connsiteX122" fmla="*/ 8095 w 10000"/>
                <a:gd name="connsiteY122" fmla="*/ 3234 h 10000"/>
                <a:gd name="connsiteX123" fmla="*/ 8302 w 10000"/>
                <a:gd name="connsiteY123" fmla="*/ 3017 h 10000"/>
                <a:gd name="connsiteX124" fmla="*/ 8714 w 10000"/>
                <a:gd name="connsiteY124" fmla="*/ 2605 h 10000"/>
                <a:gd name="connsiteX125" fmla="*/ 9449 w 10000"/>
                <a:gd name="connsiteY125" fmla="*/ 2236 h 10000"/>
                <a:gd name="connsiteX126" fmla="*/ 9494 w 10000"/>
                <a:gd name="connsiteY126" fmla="*/ 2084 h 10000"/>
                <a:gd name="connsiteX127" fmla="*/ 9793 w 10000"/>
                <a:gd name="connsiteY127" fmla="*/ 1846 h 10000"/>
                <a:gd name="connsiteX128" fmla="*/ 10000 w 10000"/>
                <a:gd name="connsiteY128" fmla="*/ 1564 h 10000"/>
                <a:gd name="connsiteX129" fmla="*/ 9678 w 10000"/>
                <a:gd name="connsiteY129"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367 w 10000"/>
                <a:gd name="connsiteY81" fmla="*/ 8873 h 10000"/>
                <a:gd name="connsiteX82" fmla="*/ 1230 w 10000"/>
                <a:gd name="connsiteY82" fmla="*/ 9067 h 10000"/>
                <a:gd name="connsiteX83" fmla="*/ 1436 w 10000"/>
                <a:gd name="connsiteY83" fmla="*/ 9176 h 10000"/>
                <a:gd name="connsiteX84" fmla="*/ 1482 w 10000"/>
                <a:gd name="connsiteY84" fmla="*/ 9415 h 10000"/>
                <a:gd name="connsiteX85" fmla="*/ 1117 w 10000"/>
                <a:gd name="connsiteY85" fmla="*/ 9696 h 10000"/>
                <a:gd name="connsiteX86" fmla="*/ 1230 w 10000"/>
                <a:gd name="connsiteY86" fmla="*/ 9956 h 10000"/>
                <a:gd name="connsiteX87" fmla="*/ 1597 w 10000"/>
                <a:gd name="connsiteY87" fmla="*/ 10000 h 10000"/>
                <a:gd name="connsiteX88" fmla="*/ 1781 w 10000"/>
                <a:gd name="connsiteY88" fmla="*/ 9523 h 10000"/>
                <a:gd name="connsiteX89" fmla="*/ 2469 w 10000"/>
                <a:gd name="connsiteY89" fmla="*/ 9458 h 10000"/>
                <a:gd name="connsiteX90" fmla="*/ 2768 w 10000"/>
                <a:gd name="connsiteY90" fmla="*/ 9111 h 10000"/>
                <a:gd name="connsiteX91" fmla="*/ 3387 w 10000"/>
                <a:gd name="connsiteY91" fmla="*/ 9415 h 10000"/>
                <a:gd name="connsiteX92" fmla="*/ 3687 w 10000"/>
                <a:gd name="connsiteY92" fmla="*/ 8851 h 10000"/>
                <a:gd name="connsiteX93" fmla="*/ 3663 w 10000"/>
                <a:gd name="connsiteY93" fmla="*/ 8763 h 10000"/>
                <a:gd name="connsiteX94" fmla="*/ 3869 w 10000"/>
                <a:gd name="connsiteY94" fmla="*/ 8417 h 10000"/>
                <a:gd name="connsiteX95" fmla="*/ 3755 w 10000"/>
                <a:gd name="connsiteY95" fmla="*/ 8178 h 10000"/>
                <a:gd name="connsiteX96" fmla="*/ 3616 w 10000"/>
                <a:gd name="connsiteY96" fmla="*/ 7961 h 10000"/>
                <a:gd name="connsiteX97" fmla="*/ 3755 w 10000"/>
                <a:gd name="connsiteY97" fmla="*/ 7745 h 10000"/>
                <a:gd name="connsiteX98" fmla="*/ 3823 w 10000"/>
                <a:gd name="connsiteY98" fmla="*/ 7355 h 10000"/>
                <a:gd name="connsiteX99" fmla="*/ 3570 w 10000"/>
                <a:gd name="connsiteY99" fmla="*/ 6964 h 10000"/>
                <a:gd name="connsiteX100" fmla="*/ 3663 w 10000"/>
                <a:gd name="connsiteY100" fmla="*/ 6508 h 10000"/>
                <a:gd name="connsiteX101" fmla="*/ 3755 w 10000"/>
                <a:gd name="connsiteY101" fmla="*/ 6291 h 10000"/>
                <a:gd name="connsiteX102" fmla="*/ 3800 w 10000"/>
                <a:gd name="connsiteY102" fmla="*/ 6097 h 10000"/>
                <a:gd name="connsiteX103" fmla="*/ 4076 w 10000"/>
                <a:gd name="connsiteY103" fmla="*/ 5728 h 10000"/>
                <a:gd name="connsiteX104" fmla="*/ 4626 w 10000"/>
                <a:gd name="connsiteY104" fmla="*/ 5533 h 10000"/>
                <a:gd name="connsiteX105" fmla="*/ 4720 w 10000"/>
                <a:gd name="connsiteY105" fmla="*/ 5620 h 10000"/>
                <a:gd name="connsiteX106" fmla="*/ 4650 w 10000"/>
                <a:gd name="connsiteY106" fmla="*/ 5685 h 10000"/>
                <a:gd name="connsiteX107" fmla="*/ 4811 w 10000"/>
                <a:gd name="connsiteY107" fmla="*/ 5814 h 10000"/>
                <a:gd name="connsiteX108" fmla="*/ 4994 w 10000"/>
                <a:gd name="connsiteY108" fmla="*/ 5641 h 10000"/>
                <a:gd name="connsiteX109" fmla="*/ 5202 w 10000"/>
                <a:gd name="connsiteY109" fmla="*/ 5489 h 10000"/>
                <a:gd name="connsiteX110" fmla="*/ 5636 w 10000"/>
                <a:gd name="connsiteY110" fmla="*/ 4860 h 10000"/>
                <a:gd name="connsiteX111" fmla="*/ 5984 w 10000"/>
                <a:gd name="connsiteY111" fmla="*/ 5056 h 10000"/>
                <a:gd name="connsiteX112" fmla="*/ 5958 w 10000"/>
                <a:gd name="connsiteY112" fmla="*/ 4904 h 10000"/>
                <a:gd name="connsiteX113" fmla="*/ 6188 w 10000"/>
                <a:gd name="connsiteY113" fmla="*/ 4752 h 10000"/>
                <a:gd name="connsiteX114" fmla="*/ 6417 w 10000"/>
                <a:gd name="connsiteY114" fmla="*/ 4860 h 10000"/>
                <a:gd name="connsiteX115" fmla="*/ 6188 w 10000"/>
                <a:gd name="connsiteY115" fmla="*/ 4427 h 10000"/>
                <a:gd name="connsiteX116" fmla="*/ 6327 w 10000"/>
                <a:gd name="connsiteY116" fmla="*/ 4253 h 10000"/>
                <a:gd name="connsiteX117" fmla="*/ 6810 w 10000"/>
                <a:gd name="connsiteY117" fmla="*/ 4123 h 10000"/>
                <a:gd name="connsiteX118" fmla="*/ 6763 w 10000"/>
                <a:gd name="connsiteY118" fmla="*/ 4079 h 10000"/>
                <a:gd name="connsiteX119" fmla="*/ 7132 w 10000"/>
                <a:gd name="connsiteY119" fmla="*/ 3754 h 10000"/>
                <a:gd name="connsiteX120" fmla="*/ 7406 w 10000"/>
                <a:gd name="connsiteY120" fmla="*/ 3581 h 10000"/>
                <a:gd name="connsiteX121" fmla="*/ 8095 w 10000"/>
                <a:gd name="connsiteY121" fmla="*/ 3234 h 10000"/>
                <a:gd name="connsiteX122" fmla="*/ 8302 w 10000"/>
                <a:gd name="connsiteY122" fmla="*/ 3017 h 10000"/>
                <a:gd name="connsiteX123" fmla="*/ 8714 w 10000"/>
                <a:gd name="connsiteY123" fmla="*/ 2605 h 10000"/>
                <a:gd name="connsiteX124" fmla="*/ 9449 w 10000"/>
                <a:gd name="connsiteY124" fmla="*/ 2236 h 10000"/>
                <a:gd name="connsiteX125" fmla="*/ 9494 w 10000"/>
                <a:gd name="connsiteY125" fmla="*/ 2084 h 10000"/>
                <a:gd name="connsiteX126" fmla="*/ 9793 w 10000"/>
                <a:gd name="connsiteY126" fmla="*/ 1846 h 10000"/>
                <a:gd name="connsiteX127" fmla="*/ 10000 w 10000"/>
                <a:gd name="connsiteY127" fmla="*/ 1564 h 10000"/>
                <a:gd name="connsiteX128" fmla="*/ 9678 w 10000"/>
                <a:gd name="connsiteY128"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230 w 10000"/>
                <a:gd name="connsiteY81" fmla="*/ 9067 h 10000"/>
                <a:gd name="connsiteX82" fmla="*/ 1436 w 10000"/>
                <a:gd name="connsiteY82" fmla="*/ 9176 h 10000"/>
                <a:gd name="connsiteX83" fmla="*/ 1482 w 10000"/>
                <a:gd name="connsiteY83" fmla="*/ 9415 h 10000"/>
                <a:gd name="connsiteX84" fmla="*/ 1117 w 10000"/>
                <a:gd name="connsiteY84" fmla="*/ 9696 h 10000"/>
                <a:gd name="connsiteX85" fmla="*/ 1230 w 10000"/>
                <a:gd name="connsiteY85" fmla="*/ 9956 h 10000"/>
                <a:gd name="connsiteX86" fmla="*/ 1597 w 10000"/>
                <a:gd name="connsiteY86" fmla="*/ 10000 h 10000"/>
                <a:gd name="connsiteX87" fmla="*/ 1781 w 10000"/>
                <a:gd name="connsiteY87" fmla="*/ 9523 h 10000"/>
                <a:gd name="connsiteX88" fmla="*/ 2469 w 10000"/>
                <a:gd name="connsiteY88" fmla="*/ 9458 h 10000"/>
                <a:gd name="connsiteX89" fmla="*/ 2768 w 10000"/>
                <a:gd name="connsiteY89" fmla="*/ 9111 h 10000"/>
                <a:gd name="connsiteX90" fmla="*/ 3387 w 10000"/>
                <a:gd name="connsiteY90" fmla="*/ 9415 h 10000"/>
                <a:gd name="connsiteX91" fmla="*/ 3687 w 10000"/>
                <a:gd name="connsiteY91" fmla="*/ 8851 h 10000"/>
                <a:gd name="connsiteX92" fmla="*/ 3663 w 10000"/>
                <a:gd name="connsiteY92" fmla="*/ 8763 h 10000"/>
                <a:gd name="connsiteX93" fmla="*/ 3869 w 10000"/>
                <a:gd name="connsiteY93" fmla="*/ 8417 h 10000"/>
                <a:gd name="connsiteX94" fmla="*/ 3755 w 10000"/>
                <a:gd name="connsiteY94" fmla="*/ 8178 h 10000"/>
                <a:gd name="connsiteX95" fmla="*/ 3616 w 10000"/>
                <a:gd name="connsiteY95" fmla="*/ 7961 h 10000"/>
                <a:gd name="connsiteX96" fmla="*/ 3755 w 10000"/>
                <a:gd name="connsiteY96" fmla="*/ 7745 h 10000"/>
                <a:gd name="connsiteX97" fmla="*/ 3823 w 10000"/>
                <a:gd name="connsiteY97" fmla="*/ 7355 h 10000"/>
                <a:gd name="connsiteX98" fmla="*/ 3570 w 10000"/>
                <a:gd name="connsiteY98" fmla="*/ 6964 h 10000"/>
                <a:gd name="connsiteX99" fmla="*/ 3663 w 10000"/>
                <a:gd name="connsiteY99" fmla="*/ 6508 h 10000"/>
                <a:gd name="connsiteX100" fmla="*/ 3755 w 10000"/>
                <a:gd name="connsiteY100" fmla="*/ 6291 h 10000"/>
                <a:gd name="connsiteX101" fmla="*/ 3800 w 10000"/>
                <a:gd name="connsiteY101" fmla="*/ 6097 h 10000"/>
                <a:gd name="connsiteX102" fmla="*/ 4076 w 10000"/>
                <a:gd name="connsiteY102" fmla="*/ 5728 h 10000"/>
                <a:gd name="connsiteX103" fmla="*/ 4626 w 10000"/>
                <a:gd name="connsiteY103" fmla="*/ 5533 h 10000"/>
                <a:gd name="connsiteX104" fmla="*/ 4720 w 10000"/>
                <a:gd name="connsiteY104" fmla="*/ 5620 h 10000"/>
                <a:gd name="connsiteX105" fmla="*/ 4650 w 10000"/>
                <a:gd name="connsiteY105" fmla="*/ 5685 h 10000"/>
                <a:gd name="connsiteX106" fmla="*/ 4811 w 10000"/>
                <a:gd name="connsiteY106" fmla="*/ 5814 h 10000"/>
                <a:gd name="connsiteX107" fmla="*/ 4994 w 10000"/>
                <a:gd name="connsiteY107" fmla="*/ 5641 h 10000"/>
                <a:gd name="connsiteX108" fmla="*/ 5202 w 10000"/>
                <a:gd name="connsiteY108" fmla="*/ 5489 h 10000"/>
                <a:gd name="connsiteX109" fmla="*/ 5636 w 10000"/>
                <a:gd name="connsiteY109" fmla="*/ 4860 h 10000"/>
                <a:gd name="connsiteX110" fmla="*/ 5984 w 10000"/>
                <a:gd name="connsiteY110" fmla="*/ 5056 h 10000"/>
                <a:gd name="connsiteX111" fmla="*/ 5958 w 10000"/>
                <a:gd name="connsiteY111" fmla="*/ 4904 h 10000"/>
                <a:gd name="connsiteX112" fmla="*/ 6188 w 10000"/>
                <a:gd name="connsiteY112" fmla="*/ 4752 h 10000"/>
                <a:gd name="connsiteX113" fmla="*/ 6417 w 10000"/>
                <a:gd name="connsiteY113" fmla="*/ 4860 h 10000"/>
                <a:gd name="connsiteX114" fmla="*/ 6188 w 10000"/>
                <a:gd name="connsiteY114" fmla="*/ 4427 h 10000"/>
                <a:gd name="connsiteX115" fmla="*/ 6327 w 10000"/>
                <a:gd name="connsiteY115" fmla="*/ 4253 h 10000"/>
                <a:gd name="connsiteX116" fmla="*/ 6810 w 10000"/>
                <a:gd name="connsiteY116" fmla="*/ 4123 h 10000"/>
                <a:gd name="connsiteX117" fmla="*/ 6763 w 10000"/>
                <a:gd name="connsiteY117" fmla="*/ 4079 h 10000"/>
                <a:gd name="connsiteX118" fmla="*/ 7132 w 10000"/>
                <a:gd name="connsiteY118" fmla="*/ 3754 h 10000"/>
                <a:gd name="connsiteX119" fmla="*/ 7406 w 10000"/>
                <a:gd name="connsiteY119" fmla="*/ 3581 h 10000"/>
                <a:gd name="connsiteX120" fmla="*/ 8095 w 10000"/>
                <a:gd name="connsiteY120" fmla="*/ 3234 h 10000"/>
                <a:gd name="connsiteX121" fmla="*/ 8302 w 10000"/>
                <a:gd name="connsiteY121" fmla="*/ 3017 h 10000"/>
                <a:gd name="connsiteX122" fmla="*/ 8714 w 10000"/>
                <a:gd name="connsiteY122" fmla="*/ 2605 h 10000"/>
                <a:gd name="connsiteX123" fmla="*/ 9449 w 10000"/>
                <a:gd name="connsiteY123" fmla="*/ 2236 h 10000"/>
                <a:gd name="connsiteX124" fmla="*/ 9494 w 10000"/>
                <a:gd name="connsiteY124" fmla="*/ 2084 h 10000"/>
                <a:gd name="connsiteX125" fmla="*/ 9793 w 10000"/>
                <a:gd name="connsiteY125" fmla="*/ 1846 h 10000"/>
                <a:gd name="connsiteX126" fmla="*/ 10000 w 10000"/>
                <a:gd name="connsiteY126" fmla="*/ 1564 h 10000"/>
                <a:gd name="connsiteX127" fmla="*/ 9678 w 10000"/>
                <a:gd name="connsiteY127"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36 w 10000"/>
                <a:gd name="connsiteY81" fmla="*/ 9176 h 10000"/>
                <a:gd name="connsiteX82" fmla="*/ 1482 w 10000"/>
                <a:gd name="connsiteY82" fmla="*/ 9415 h 10000"/>
                <a:gd name="connsiteX83" fmla="*/ 1117 w 10000"/>
                <a:gd name="connsiteY83" fmla="*/ 9696 h 10000"/>
                <a:gd name="connsiteX84" fmla="*/ 1230 w 10000"/>
                <a:gd name="connsiteY84" fmla="*/ 9956 h 10000"/>
                <a:gd name="connsiteX85" fmla="*/ 1597 w 10000"/>
                <a:gd name="connsiteY85" fmla="*/ 10000 h 10000"/>
                <a:gd name="connsiteX86" fmla="*/ 1781 w 10000"/>
                <a:gd name="connsiteY86" fmla="*/ 9523 h 10000"/>
                <a:gd name="connsiteX87" fmla="*/ 2469 w 10000"/>
                <a:gd name="connsiteY87" fmla="*/ 9458 h 10000"/>
                <a:gd name="connsiteX88" fmla="*/ 2768 w 10000"/>
                <a:gd name="connsiteY88" fmla="*/ 9111 h 10000"/>
                <a:gd name="connsiteX89" fmla="*/ 3387 w 10000"/>
                <a:gd name="connsiteY89" fmla="*/ 9415 h 10000"/>
                <a:gd name="connsiteX90" fmla="*/ 3687 w 10000"/>
                <a:gd name="connsiteY90" fmla="*/ 8851 h 10000"/>
                <a:gd name="connsiteX91" fmla="*/ 3663 w 10000"/>
                <a:gd name="connsiteY91" fmla="*/ 8763 h 10000"/>
                <a:gd name="connsiteX92" fmla="*/ 3869 w 10000"/>
                <a:gd name="connsiteY92" fmla="*/ 8417 h 10000"/>
                <a:gd name="connsiteX93" fmla="*/ 3755 w 10000"/>
                <a:gd name="connsiteY93" fmla="*/ 8178 h 10000"/>
                <a:gd name="connsiteX94" fmla="*/ 3616 w 10000"/>
                <a:gd name="connsiteY94" fmla="*/ 7961 h 10000"/>
                <a:gd name="connsiteX95" fmla="*/ 3755 w 10000"/>
                <a:gd name="connsiteY95" fmla="*/ 7745 h 10000"/>
                <a:gd name="connsiteX96" fmla="*/ 3823 w 10000"/>
                <a:gd name="connsiteY96" fmla="*/ 7355 h 10000"/>
                <a:gd name="connsiteX97" fmla="*/ 3570 w 10000"/>
                <a:gd name="connsiteY97" fmla="*/ 6964 h 10000"/>
                <a:gd name="connsiteX98" fmla="*/ 3663 w 10000"/>
                <a:gd name="connsiteY98" fmla="*/ 6508 h 10000"/>
                <a:gd name="connsiteX99" fmla="*/ 3755 w 10000"/>
                <a:gd name="connsiteY99" fmla="*/ 6291 h 10000"/>
                <a:gd name="connsiteX100" fmla="*/ 3800 w 10000"/>
                <a:gd name="connsiteY100" fmla="*/ 6097 h 10000"/>
                <a:gd name="connsiteX101" fmla="*/ 4076 w 10000"/>
                <a:gd name="connsiteY101" fmla="*/ 5728 h 10000"/>
                <a:gd name="connsiteX102" fmla="*/ 4626 w 10000"/>
                <a:gd name="connsiteY102" fmla="*/ 5533 h 10000"/>
                <a:gd name="connsiteX103" fmla="*/ 4720 w 10000"/>
                <a:gd name="connsiteY103" fmla="*/ 5620 h 10000"/>
                <a:gd name="connsiteX104" fmla="*/ 4650 w 10000"/>
                <a:gd name="connsiteY104" fmla="*/ 5685 h 10000"/>
                <a:gd name="connsiteX105" fmla="*/ 4811 w 10000"/>
                <a:gd name="connsiteY105" fmla="*/ 5814 h 10000"/>
                <a:gd name="connsiteX106" fmla="*/ 4994 w 10000"/>
                <a:gd name="connsiteY106" fmla="*/ 5641 h 10000"/>
                <a:gd name="connsiteX107" fmla="*/ 5202 w 10000"/>
                <a:gd name="connsiteY107" fmla="*/ 5489 h 10000"/>
                <a:gd name="connsiteX108" fmla="*/ 5636 w 10000"/>
                <a:gd name="connsiteY108" fmla="*/ 4860 h 10000"/>
                <a:gd name="connsiteX109" fmla="*/ 5984 w 10000"/>
                <a:gd name="connsiteY109" fmla="*/ 5056 h 10000"/>
                <a:gd name="connsiteX110" fmla="*/ 5958 w 10000"/>
                <a:gd name="connsiteY110" fmla="*/ 4904 h 10000"/>
                <a:gd name="connsiteX111" fmla="*/ 6188 w 10000"/>
                <a:gd name="connsiteY111" fmla="*/ 4752 h 10000"/>
                <a:gd name="connsiteX112" fmla="*/ 6417 w 10000"/>
                <a:gd name="connsiteY112" fmla="*/ 4860 h 10000"/>
                <a:gd name="connsiteX113" fmla="*/ 6188 w 10000"/>
                <a:gd name="connsiteY113" fmla="*/ 4427 h 10000"/>
                <a:gd name="connsiteX114" fmla="*/ 6327 w 10000"/>
                <a:gd name="connsiteY114" fmla="*/ 4253 h 10000"/>
                <a:gd name="connsiteX115" fmla="*/ 6810 w 10000"/>
                <a:gd name="connsiteY115" fmla="*/ 4123 h 10000"/>
                <a:gd name="connsiteX116" fmla="*/ 6763 w 10000"/>
                <a:gd name="connsiteY116" fmla="*/ 4079 h 10000"/>
                <a:gd name="connsiteX117" fmla="*/ 7132 w 10000"/>
                <a:gd name="connsiteY117" fmla="*/ 3754 h 10000"/>
                <a:gd name="connsiteX118" fmla="*/ 7406 w 10000"/>
                <a:gd name="connsiteY118" fmla="*/ 3581 h 10000"/>
                <a:gd name="connsiteX119" fmla="*/ 8095 w 10000"/>
                <a:gd name="connsiteY119" fmla="*/ 3234 h 10000"/>
                <a:gd name="connsiteX120" fmla="*/ 8302 w 10000"/>
                <a:gd name="connsiteY120" fmla="*/ 3017 h 10000"/>
                <a:gd name="connsiteX121" fmla="*/ 8714 w 10000"/>
                <a:gd name="connsiteY121" fmla="*/ 2605 h 10000"/>
                <a:gd name="connsiteX122" fmla="*/ 9449 w 10000"/>
                <a:gd name="connsiteY122" fmla="*/ 2236 h 10000"/>
                <a:gd name="connsiteX123" fmla="*/ 9494 w 10000"/>
                <a:gd name="connsiteY123" fmla="*/ 2084 h 10000"/>
                <a:gd name="connsiteX124" fmla="*/ 9793 w 10000"/>
                <a:gd name="connsiteY124" fmla="*/ 1846 h 10000"/>
                <a:gd name="connsiteX125" fmla="*/ 10000 w 10000"/>
                <a:gd name="connsiteY125" fmla="*/ 1564 h 10000"/>
                <a:gd name="connsiteX126" fmla="*/ 9678 w 10000"/>
                <a:gd name="connsiteY126"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97 w 10000"/>
                <a:gd name="connsiteY80" fmla="*/ 8721 h 10000"/>
                <a:gd name="connsiteX81" fmla="*/ 1482 w 10000"/>
                <a:gd name="connsiteY81" fmla="*/ 9415 h 10000"/>
                <a:gd name="connsiteX82" fmla="*/ 1117 w 10000"/>
                <a:gd name="connsiteY82" fmla="*/ 9696 h 10000"/>
                <a:gd name="connsiteX83" fmla="*/ 1230 w 10000"/>
                <a:gd name="connsiteY83" fmla="*/ 9956 h 10000"/>
                <a:gd name="connsiteX84" fmla="*/ 1597 w 10000"/>
                <a:gd name="connsiteY84" fmla="*/ 10000 h 10000"/>
                <a:gd name="connsiteX85" fmla="*/ 1781 w 10000"/>
                <a:gd name="connsiteY85" fmla="*/ 9523 h 10000"/>
                <a:gd name="connsiteX86" fmla="*/ 2469 w 10000"/>
                <a:gd name="connsiteY86" fmla="*/ 9458 h 10000"/>
                <a:gd name="connsiteX87" fmla="*/ 2768 w 10000"/>
                <a:gd name="connsiteY87" fmla="*/ 9111 h 10000"/>
                <a:gd name="connsiteX88" fmla="*/ 3387 w 10000"/>
                <a:gd name="connsiteY88" fmla="*/ 9415 h 10000"/>
                <a:gd name="connsiteX89" fmla="*/ 3687 w 10000"/>
                <a:gd name="connsiteY89" fmla="*/ 8851 h 10000"/>
                <a:gd name="connsiteX90" fmla="*/ 3663 w 10000"/>
                <a:gd name="connsiteY90" fmla="*/ 8763 h 10000"/>
                <a:gd name="connsiteX91" fmla="*/ 3869 w 10000"/>
                <a:gd name="connsiteY91" fmla="*/ 8417 h 10000"/>
                <a:gd name="connsiteX92" fmla="*/ 3755 w 10000"/>
                <a:gd name="connsiteY92" fmla="*/ 8178 h 10000"/>
                <a:gd name="connsiteX93" fmla="*/ 3616 w 10000"/>
                <a:gd name="connsiteY93" fmla="*/ 7961 h 10000"/>
                <a:gd name="connsiteX94" fmla="*/ 3755 w 10000"/>
                <a:gd name="connsiteY94" fmla="*/ 7745 h 10000"/>
                <a:gd name="connsiteX95" fmla="*/ 3823 w 10000"/>
                <a:gd name="connsiteY95" fmla="*/ 7355 h 10000"/>
                <a:gd name="connsiteX96" fmla="*/ 3570 w 10000"/>
                <a:gd name="connsiteY96" fmla="*/ 6964 h 10000"/>
                <a:gd name="connsiteX97" fmla="*/ 3663 w 10000"/>
                <a:gd name="connsiteY97" fmla="*/ 6508 h 10000"/>
                <a:gd name="connsiteX98" fmla="*/ 3755 w 10000"/>
                <a:gd name="connsiteY98" fmla="*/ 6291 h 10000"/>
                <a:gd name="connsiteX99" fmla="*/ 3800 w 10000"/>
                <a:gd name="connsiteY99" fmla="*/ 6097 h 10000"/>
                <a:gd name="connsiteX100" fmla="*/ 4076 w 10000"/>
                <a:gd name="connsiteY100" fmla="*/ 5728 h 10000"/>
                <a:gd name="connsiteX101" fmla="*/ 4626 w 10000"/>
                <a:gd name="connsiteY101" fmla="*/ 5533 h 10000"/>
                <a:gd name="connsiteX102" fmla="*/ 4720 w 10000"/>
                <a:gd name="connsiteY102" fmla="*/ 5620 h 10000"/>
                <a:gd name="connsiteX103" fmla="*/ 4650 w 10000"/>
                <a:gd name="connsiteY103" fmla="*/ 5685 h 10000"/>
                <a:gd name="connsiteX104" fmla="*/ 4811 w 10000"/>
                <a:gd name="connsiteY104" fmla="*/ 5814 h 10000"/>
                <a:gd name="connsiteX105" fmla="*/ 4994 w 10000"/>
                <a:gd name="connsiteY105" fmla="*/ 5641 h 10000"/>
                <a:gd name="connsiteX106" fmla="*/ 5202 w 10000"/>
                <a:gd name="connsiteY106" fmla="*/ 5489 h 10000"/>
                <a:gd name="connsiteX107" fmla="*/ 5636 w 10000"/>
                <a:gd name="connsiteY107" fmla="*/ 4860 h 10000"/>
                <a:gd name="connsiteX108" fmla="*/ 5984 w 10000"/>
                <a:gd name="connsiteY108" fmla="*/ 5056 h 10000"/>
                <a:gd name="connsiteX109" fmla="*/ 5958 w 10000"/>
                <a:gd name="connsiteY109" fmla="*/ 4904 h 10000"/>
                <a:gd name="connsiteX110" fmla="*/ 6188 w 10000"/>
                <a:gd name="connsiteY110" fmla="*/ 4752 h 10000"/>
                <a:gd name="connsiteX111" fmla="*/ 6417 w 10000"/>
                <a:gd name="connsiteY111" fmla="*/ 4860 h 10000"/>
                <a:gd name="connsiteX112" fmla="*/ 6188 w 10000"/>
                <a:gd name="connsiteY112" fmla="*/ 4427 h 10000"/>
                <a:gd name="connsiteX113" fmla="*/ 6327 w 10000"/>
                <a:gd name="connsiteY113" fmla="*/ 4253 h 10000"/>
                <a:gd name="connsiteX114" fmla="*/ 6810 w 10000"/>
                <a:gd name="connsiteY114" fmla="*/ 4123 h 10000"/>
                <a:gd name="connsiteX115" fmla="*/ 6763 w 10000"/>
                <a:gd name="connsiteY115" fmla="*/ 4079 h 10000"/>
                <a:gd name="connsiteX116" fmla="*/ 7132 w 10000"/>
                <a:gd name="connsiteY116" fmla="*/ 3754 h 10000"/>
                <a:gd name="connsiteX117" fmla="*/ 7406 w 10000"/>
                <a:gd name="connsiteY117" fmla="*/ 3581 h 10000"/>
                <a:gd name="connsiteX118" fmla="*/ 8095 w 10000"/>
                <a:gd name="connsiteY118" fmla="*/ 3234 h 10000"/>
                <a:gd name="connsiteX119" fmla="*/ 8302 w 10000"/>
                <a:gd name="connsiteY119" fmla="*/ 3017 h 10000"/>
                <a:gd name="connsiteX120" fmla="*/ 8714 w 10000"/>
                <a:gd name="connsiteY120" fmla="*/ 2605 h 10000"/>
                <a:gd name="connsiteX121" fmla="*/ 9449 w 10000"/>
                <a:gd name="connsiteY121" fmla="*/ 2236 h 10000"/>
                <a:gd name="connsiteX122" fmla="*/ 9494 w 10000"/>
                <a:gd name="connsiteY122" fmla="*/ 2084 h 10000"/>
                <a:gd name="connsiteX123" fmla="*/ 9793 w 10000"/>
                <a:gd name="connsiteY123" fmla="*/ 1846 h 10000"/>
                <a:gd name="connsiteX124" fmla="*/ 10000 w 10000"/>
                <a:gd name="connsiteY124" fmla="*/ 1564 h 10000"/>
                <a:gd name="connsiteX125" fmla="*/ 9678 w 10000"/>
                <a:gd name="connsiteY125"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482 w 10000"/>
                <a:gd name="connsiteY80" fmla="*/ 9415 h 10000"/>
                <a:gd name="connsiteX81" fmla="*/ 1117 w 10000"/>
                <a:gd name="connsiteY81" fmla="*/ 9696 h 10000"/>
                <a:gd name="connsiteX82" fmla="*/ 1230 w 10000"/>
                <a:gd name="connsiteY82" fmla="*/ 9956 h 10000"/>
                <a:gd name="connsiteX83" fmla="*/ 1597 w 10000"/>
                <a:gd name="connsiteY83" fmla="*/ 10000 h 10000"/>
                <a:gd name="connsiteX84" fmla="*/ 1781 w 10000"/>
                <a:gd name="connsiteY84" fmla="*/ 9523 h 10000"/>
                <a:gd name="connsiteX85" fmla="*/ 2469 w 10000"/>
                <a:gd name="connsiteY85" fmla="*/ 9458 h 10000"/>
                <a:gd name="connsiteX86" fmla="*/ 2768 w 10000"/>
                <a:gd name="connsiteY86" fmla="*/ 9111 h 10000"/>
                <a:gd name="connsiteX87" fmla="*/ 3387 w 10000"/>
                <a:gd name="connsiteY87" fmla="*/ 9415 h 10000"/>
                <a:gd name="connsiteX88" fmla="*/ 3687 w 10000"/>
                <a:gd name="connsiteY88" fmla="*/ 8851 h 10000"/>
                <a:gd name="connsiteX89" fmla="*/ 3663 w 10000"/>
                <a:gd name="connsiteY89" fmla="*/ 8763 h 10000"/>
                <a:gd name="connsiteX90" fmla="*/ 3869 w 10000"/>
                <a:gd name="connsiteY90" fmla="*/ 8417 h 10000"/>
                <a:gd name="connsiteX91" fmla="*/ 3755 w 10000"/>
                <a:gd name="connsiteY91" fmla="*/ 8178 h 10000"/>
                <a:gd name="connsiteX92" fmla="*/ 3616 w 10000"/>
                <a:gd name="connsiteY92" fmla="*/ 7961 h 10000"/>
                <a:gd name="connsiteX93" fmla="*/ 3755 w 10000"/>
                <a:gd name="connsiteY93" fmla="*/ 7745 h 10000"/>
                <a:gd name="connsiteX94" fmla="*/ 3823 w 10000"/>
                <a:gd name="connsiteY94" fmla="*/ 7355 h 10000"/>
                <a:gd name="connsiteX95" fmla="*/ 3570 w 10000"/>
                <a:gd name="connsiteY95" fmla="*/ 6964 h 10000"/>
                <a:gd name="connsiteX96" fmla="*/ 3663 w 10000"/>
                <a:gd name="connsiteY96" fmla="*/ 6508 h 10000"/>
                <a:gd name="connsiteX97" fmla="*/ 3755 w 10000"/>
                <a:gd name="connsiteY97" fmla="*/ 6291 h 10000"/>
                <a:gd name="connsiteX98" fmla="*/ 3800 w 10000"/>
                <a:gd name="connsiteY98" fmla="*/ 6097 h 10000"/>
                <a:gd name="connsiteX99" fmla="*/ 4076 w 10000"/>
                <a:gd name="connsiteY99" fmla="*/ 5728 h 10000"/>
                <a:gd name="connsiteX100" fmla="*/ 4626 w 10000"/>
                <a:gd name="connsiteY100" fmla="*/ 5533 h 10000"/>
                <a:gd name="connsiteX101" fmla="*/ 4720 w 10000"/>
                <a:gd name="connsiteY101" fmla="*/ 5620 h 10000"/>
                <a:gd name="connsiteX102" fmla="*/ 4650 w 10000"/>
                <a:gd name="connsiteY102" fmla="*/ 5685 h 10000"/>
                <a:gd name="connsiteX103" fmla="*/ 4811 w 10000"/>
                <a:gd name="connsiteY103" fmla="*/ 5814 h 10000"/>
                <a:gd name="connsiteX104" fmla="*/ 4994 w 10000"/>
                <a:gd name="connsiteY104" fmla="*/ 5641 h 10000"/>
                <a:gd name="connsiteX105" fmla="*/ 5202 w 10000"/>
                <a:gd name="connsiteY105" fmla="*/ 5489 h 10000"/>
                <a:gd name="connsiteX106" fmla="*/ 5636 w 10000"/>
                <a:gd name="connsiteY106" fmla="*/ 4860 h 10000"/>
                <a:gd name="connsiteX107" fmla="*/ 5984 w 10000"/>
                <a:gd name="connsiteY107" fmla="*/ 5056 h 10000"/>
                <a:gd name="connsiteX108" fmla="*/ 5958 w 10000"/>
                <a:gd name="connsiteY108" fmla="*/ 4904 h 10000"/>
                <a:gd name="connsiteX109" fmla="*/ 6188 w 10000"/>
                <a:gd name="connsiteY109" fmla="*/ 4752 h 10000"/>
                <a:gd name="connsiteX110" fmla="*/ 6417 w 10000"/>
                <a:gd name="connsiteY110" fmla="*/ 4860 h 10000"/>
                <a:gd name="connsiteX111" fmla="*/ 6188 w 10000"/>
                <a:gd name="connsiteY111" fmla="*/ 4427 h 10000"/>
                <a:gd name="connsiteX112" fmla="*/ 6327 w 10000"/>
                <a:gd name="connsiteY112" fmla="*/ 4253 h 10000"/>
                <a:gd name="connsiteX113" fmla="*/ 6810 w 10000"/>
                <a:gd name="connsiteY113" fmla="*/ 4123 h 10000"/>
                <a:gd name="connsiteX114" fmla="*/ 6763 w 10000"/>
                <a:gd name="connsiteY114" fmla="*/ 4079 h 10000"/>
                <a:gd name="connsiteX115" fmla="*/ 7132 w 10000"/>
                <a:gd name="connsiteY115" fmla="*/ 3754 h 10000"/>
                <a:gd name="connsiteX116" fmla="*/ 7406 w 10000"/>
                <a:gd name="connsiteY116" fmla="*/ 3581 h 10000"/>
                <a:gd name="connsiteX117" fmla="*/ 8095 w 10000"/>
                <a:gd name="connsiteY117" fmla="*/ 3234 h 10000"/>
                <a:gd name="connsiteX118" fmla="*/ 8302 w 10000"/>
                <a:gd name="connsiteY118" fmla="*/ 3017 h 10000"/>
                <a:gd name="connsiteX119" fmla="*/ 8714 w 10000"/>
                <a:gd name="connsiteY119" fmla="*/ 2605 h 10000"/>
                <a:gd name="connsiteX120" fmla="*/ 9449 w 10000"/>
                <a:gd name="connsiteY120" fmla="*/ 2236 h 10000"/>
                <a:gd name="connsiteX121" fmla="*/ 9494 w 10000"/>
                <a:gd name="connsiteY121" fmla="*/ 2084 h 10000"/>
                <a:gd name="connsiteX122" fmla="*/ 9793 w 10000"/>
                <a:gd name="connsiteY122" fmla="*/ 1846 h 10000"/>
                <a:gd name="connsiteX123" fmla="*/ 10000 w 10000"/>
                <a:gd name="connsiteY123" fmla="*/ 1564 h 10000"/>
                <a:gd name="connsiteX124" fmla="*/ 9678 w 10000"/>
                <a:gd name="connsiteY124"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117 w 10000"/>
                <a:gd name="connsiteY80" fmla="*/ 9696 h 10000"/>
                <a:gd name="connsiteX81" fmla="*/ 1230 w 10000"/>
                <a:gd name="connsiteY81" fmla="*/ 9956 h 10000"/>
                <a:gd name="connsiteX82" fmla="*/ 1597 w 10000"/>
                <a:gd name="connsiteY82" fmla="*/ 10000 h 10000"/>
                <a:gd name="connsiteX83" fmla="*/ 1781 w 10000"/>
                <a:gd name="connsiteY83" fmla="*/ 9523 h 10000"/>
                <a:gd name="connsiteX84" fmla="*/ 2469 w 10000"/>
                <a:gd name="connsiteY84" fmla="*/ 9458 h 10000"/>
                <a:gd name="connsiteX85" fmla="*/ 2768 w 10000"/>
                <a:gd name="connsiteY85" fmla="*/ 9111 h 10000"/>
                <a:gd name="connsiteX86" fmla="*/ 3387 w 10000"/>
                <a:gd name="connsiteY86" fmla="*/ 9415 h 10000"/>
                <a:gd name="connsiteX87" fmla="*/ 3687 w 10000"/>
                <a:gd name="connsiteY87" fmla="*/ 8851 h 10000"/>
                <a:gd name="connsiteX88" fmla="*/ 3663 w 10000"/>
                <a:gd name="connsiteY88" fmla="*/ 8763 h 10000"/>
                <a:gd name="connsiteX89" fmla="*/ 3869 w 10000"/>
                <a:gd name="connsiteY89" fmla="*/ 8417 h 10000"/>
                <a:gd name="connsiteX90" fmla="*/ 3755 w 10000"/>
                <a:gd name="connsiteY90" fmla="*/ 8178 h 10000"/>
                <a:gd name="connsiteX91" fmla="*/ 3616 w 10000"/>
                <a:gd name="connsiteY91" fmla="*/ 7961 h 10000"/>
                <a:gd name="connsiteX92" fmla="*/ 3755 w 10000"/>
                <a:gd name="connsiteY92" fmla="*/ 7745 h 10000"/>
                <a:gd name="connsiteX93" fmla="*/ 3823 w 10000"/>
                <a:gd name="connsiteY93" fmla="*/ 7355 h 10000"/>
                <a:gd name="connsiteX94" fmla="*/ 3570 w 10000"/>
                <a:gd name="connsiteY94" fmla="*/ 6964 h 10000"/>
                <a:gd name="connsiteX95" fmla="*/ 3663 w 10000"/>
                <a:gd name="connsiteY95" fmla="*/ 6508 h 10000"/>
                <a:gd name="connsiteX96" fmla="*/ 3755 w 10000"/>
                <a:gd name="connsiteY96" fmla="*/ 6291 h 10000"/>
                <a:gd name="connsiteX97" fmla="*/ 3800 w 10000"/>
                <a:gd name="connsiteY97" fmla="*/ 6097 h 10000"/>
                <a:gd name="connsiteX98" fmla="*/ 4076 w 10000"/>
                <a:gd name="connsiteY98" fmla="*/ 5728 h 10000"/>
                <a:gd name="connsiteX99" fmla="*/ 4626 w 10000"/>
                <a:gd name="connsiteY99" fmla="*/ 5533 h 10000"/>
                <a:gd name="connsiteX100" fmla="*/ 4720 w 10000"/>
                <a:gd name="connsiteY100" fmla="*/ 5620 h 10000"/>
                <a:gd name="connsiteX101" fmla="*/ 4650 w 10000"/>
                <a:gd name="connsiteY101" fmla="*/ 5685 h 10000"/>
                <a:gd name="connsiteX102" fmla="*/ 4811 w 10000"/>
                <a:gd name="connsiteY102" fmla="*/ 5814 h 10000"/>
                <a:gd name="connsiteX103" fmla="*/ 4994 w 10000"/>
                <a:gd name="connsiteY103" fmla="*/ 5641 h 10000"/>
                <a:gd name="connsiteX104" fmla="*/ 5202 w 10000"/>
                <a:gd name="connsiteY104" fmla="*/ 5489 h 10000"/>
                <a:gd name="connsiteX105" fmla="*/ 5636 w 10000"/>
                <a:gd name="connsiteY105" fmla="*/ 4860 h 10000"/>
                <a:gd name="connsiteX106" fmla="*/ 5984 w 10000"/>
                <a:gd name="connsiteY106" fmla="*/ 5056 h 10000"/>
                <a:gd name="connsiteX107" fmla="*/ 5958 w 10000"/>
                <a:gd name="connsiteY107" fmla="*/ 4904 h 10000"/>
                <a:gd name="connsiteX108" fmla="*/ 6188 w 10000"/>
                <a:gd name="connsiteY108" fmla="*/ 4752 h 10000"/>
                <a:gd name="connsiteX109" fmla="*/ 6417 w 10000"/>
                <a:gd name="connsiteY109" fmla="*/ 4860 h 10000"/>
                <a:gd name="connsiteX110" fmla="*/ 6188 w 10000"/>
                <a:gd name="connsiteY110" fmla="*/ 4427 h 10000"/>
                <a:gd name="connsiteX111" fmla="*/ 6327 w 10000"/>
                <a:gd name="connsiteY111" fmla="*/ 4253 h 10000"/>
                <a:gd name="connsiteX112" fmla="*/ 6810 w 10000"/>
                <a:gd name="connsiteY112" fmla="*/ 4123 h 10000"/>
                <a:gd name="connsiteX113" fmla="*/ 6763 w 10000"/>
                <a:gd name="connsiteY113" fmla="*/ 4079 h 10000"/>
                <a:gd name="connsiteX114" fmla="*/ 7132 w 10000"/>
                <a:gd name="connsiteY114" fmla="*/ 3754 h 10000"/>
                <a:gd name="connsiteX115" fmla="*/ 7406 w 10000"/>
                <a:gd name="connsiteY115" fmla="*/ 3581 h 10000"/>
                <a:gd name="connsiteX116" fmla="*/ 8095 w 10000"/>
                <a:gd name="connsiteY116" fmla="*/ 3234 h 10000"/>
                <a:gd name="connsiteX117" fmla="*/ 8302 w 10000"/>
                <a:gd name="connsiteY117" fmla="*/ 3017 h 10000"/>
                <a:gd name="connsiteX118" fmla="*/ 8714 w 10000"/>
                <a:gd name="connsiteY118" fmla="*/ 2605 h 10000"/>
                <a:gd name="connsiteX119" fmla="*/ 9449 w 10000"/>
                <a:gd name="connsiteY119" fmla="*/ 2236 h 10000"/>
                <a:gd name="connsiteX120" fmla="*/ 9494 w 10000"/>
                <a:gd name="connsiteY120" fmla="*/ 2084 h 10000"/>
                <a:gd name="connsiteX121" fmla="*/ 9793 w 10000"/>
                <a:gd name="connsiteY121" fmla="*/ 1846 h 10000"/>
                <a:gd name="connsiteX122" fmla="*/ 10000 w 10000"/>
                <a:gd name="connsiteY122" fmla="*/ 1564 h 10000"/>
                <a:gd name="connsiteX123" fmla="*/ 9678 w 10000"/>
                <a:gd name="connsiteY123"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230 w 10000"/>
                <a:gd name="connsiteY80" fmla="*/ 9956 h 10000"/>
                <a:gd name="connsiteX81" fmla="*/ 1597 w 10000"/>
                <a:gd name="connsiteY81" fmla="*/ 10000 h 10000"/>
                <a:gd name="connsiteX82" fmla="*/ 1781 w 10000"/>
                <a:gd name="connsiteY82" fmla="*/ 9523 h 10000"/>
                <a:gd name="connsiteX83" fmla="*/ 2469 w 10000"/>
                <a:gd name="connsiteY83" fmla="*/ 9458 h 10000"/>
                <a:gd name="connsiteX84" fmla="*/ 2768 w 10000"/>
                <a:gd name="connsiteY84" fmla="*/ 9111 h 10000"/>
                <a:gd name="connsiteX85" fmla="*/ 3387 w 10000"/>
                <a:gd name="connsiteY85" fmla="*/ 9415 h 10000"/>
                <a:gd name="connsiteX86" fmla="*/ 3687 w 10000"/>
                <a:gd name="connsiteY86" fmla="*/ 8851 h 10000"/>
                <a:gd name="connsiteX87" fmla="*/ 3663 w 10000"/>
                <a:gd name="connsiteY87" fmla="*/ 8763 h 10000"/>
                <a:gd name="connsiteX88" fmla="*/ 3869 w 10000"/>
                <a:gd name="connsiteY88" fmla="*/ 8417 h 10000"/>
                <a:gd name="connsiteX89" fmla="*/ 3755 w 10000"/>
                <a:gd name="connsiteY89" fmla="*/ 8178 h 10000"/>
                <a:gd name="connsiteX90" fmla="*/ 3616 w 10000"/>
                <a:gd name="connsiteY90" fmla="*/ 7961 h 10000"/>
                <a:gd name="connsiteX91" fmla="*/ 3755 w 10000"/>
                <a:gd name="connsiteY91" fmla="*/ 7745 h 10000"/>
                <a:gd name="connsiteX92" fmla="*/ 3823 w 10000"/>
                <a:gd name="connsiteY92" fmla="*/ 7355 h 10000"/>
                <a:gd name="connsiteX93" fmla="*/ 3570 w 10000"/>
                <a:gd name="connsiteY93" fmla="*/ 6964 h 10000"/>
                <a:gd name="connsiteX94" fmla="*/ 3663 w 10000"/>
                <a:gd name="connsiteY94" fmla="*/ 6508 h 10000"/>
                <a:gd name="connsiteX95" fmla="*/ 3755 w 10000"/>
                <a:gd name="connsiteY95" fmla="*/ 6291 h 10000"/>
                <a:gd name="connsiteX96" fmla="*/ 3800 w 10000"/>
                <a:gd name="connsiteY96" fmla="*/ 6097 h 10000"/>
                <a:gd name="connsiteX97" fmla="*/ 4076 w 10000"/>
                <a:gd name="connsiteY97" fmla="*/ 5728 h 10000"/>
                <a:gd name="connsiteX98" fmla="*/ 4626 w 10000"/>
                <a:gd name="connsiteY98" fmla="*/ 5533 h 10000"/>
                <a:gd name="connsiteX99" fmla="*/ 4720 w 10000"/>
                <a:gd name="connsiteY99" fmla="*/ 5620 h 10000"/>
                <a:gd name="connsiteX100" fmla="*/ 4650 w 10000"/>
                <a:gd name="connsiteY100" fmla="*/ 5685 h 10000"/>
                <a:gd name="connsiteX101" fmla="*/ 4811 w 10000"/>
                <a:gd name="connsiteY101" fmla="*/ 5814 h 10000"/>
                <a:gd name="connsiteX102" fmla="*/ 4994 w 10000"/>
                <a:gd name="connsiteY102" fmla="*/ 5641 h 10000"/>
                <a:gd name="connsiteX103" fmla="*/ 5202 w 10000"/>
                <a:gd name="connsiteY103" fmla="*/ 5489 h 10000"/>
                <a:gd name="connsiteX104" fmla="*/ 5636 w 10000"/>
                <a:gd name="connsiteY104" fmla="*/ 4860 h 10000"/>
                <a:gd name="connsiteX105" fmla="*/ 5984 w 10000"/>
                <a:gd name="connsiteY105" fmla="*/ 5056 h 10000"/>
                <a:gd name="connsiteX106" fmla="*/ 5958 w 10000"/>
                <a:gd name="connsiteY106" fmla="*/ 4904 h 10000"/>
                <a:gd name="connsiteX107" fmla="*/ 6188 w 10000"/>
                <a:gd name="connsiteY107" fmla="*/ 4752 h 10000"/>
                <a:gd name="connsiteX108" fmla="*/ 6417 w 10000"/>
                <a:gd name="connsiteY108" fmla="*/ 4860 h 10000"/>
                <a:gd name="connsiteX109" fmla="*/ 6188 w 10000"/>
                <a:gd name="connsiteY109" fmla="*/ 4427 h 10000"/>
                <a:gd name="connsiteX110" fmla="*/ 6327 w 10000"/>
                <a:gd name="connsiteY110" fmla="*/ 4253 h 10000"/>
                <a:gd name="connsiteX111" fmla="*/ 6810 w 10000"/>
                <a:gd name="connsiteY111" fmla="*/ 4123 h 10000"/>
                <a:gd name="connsiteX112" fmla="*/ 6763 w 10000"/>
                <a:gd name="connsiteY112" fmla="*/ 4079 h 10000"/>
                <a:gd name="connsiteX113" fmla="*/ 7132 w 10000"/>
                <a:gd name="connsiteY113" fmla="*/ 3754 h 10000"/>
                <a:gd name="connsiteX114" fmla="*/ 7406 w 10000"/>
                <a:gd name="connsiteY114" fmla="*/ 3581 h 10000"/>
                <a:gd name="connsiteX115" fmla="*/ 8095 w 10000"/>
                <a:gd name="connsiteY115" fmla="*/ 3234 h 10000"/>
                <a:gd name="connsiteX116" fmla="*/ 8302 w 10000"/>
                <a:gd name="connsiteY116" fmla="*/ 3017 h 10000"/>
                <a:gd name="connsiteX117" fmla="*/ 8714 w 10000"/>
                <a:gd name="connsiteY117" fmla="*/ 2605 h 10000"/>
                <a:gd name="connsiteX118" fmla="*/ 9449 w 10000"/>
                <a:gd name="connsiteY118" fmla="*/ 2236 h 10000"/>
                <a:gd name="connsiteX119" fmla="*/ 9494 w 10000"/>
                <a:gd name="connsiteY119" fmla="*/ 2084 h 10000"/>
                <a:gd name="connsiteX120" fmla="*/ 9793 w 10000"/>
                <a:gd name="connsiteY120" fmla="*/ 1846 h 10000"/>
                <a:gd name="connsiteX121" fmla="*/ 10000 w 10000"/>
                <a:gd name="connsiteY121" fmla="*/ 1564 h 10000"/>
                <a:gd name="connsiteX122" fmla="*/ 9678 w 10000"/>
                <a:gd name="connsiteY122" fmla="*/ 1303 h 10000"/>
                <a:gd name="connsiteX0" fmla="*/ 9678 w 10000"/>
                <a:gd name="connsiteY0" fmla="*/ 1303 h 10000"/>
                <a:gd name="connsiteX1" fmla="*/ 9265 w 10000"/>
                <a:gd name="connsiteY1" fmla="*/ 1564 h 10000"/>
                <a:gd name="connsiteX2" fmla="*/ 9059 w 10000"/>
                <a:gd name="connsiteY2" fmla="*/ 1455 h 10000"/>
                <a:gd name="connsiteX3" fmla="*/ 8875 w 10000"/>
                <a:gd name="connsiteY3" fmla="*/ 1239 h 10000"/>
                <a:gd name="connsiteX4" fmla="*/ 9012 w 10000"/>
                <a:gd name="connsiteY4" fmla="*/ 1065 h 10000"/>
                <a:gd name="connsiteX5" fmla="*/ 8691 w 10000"/>
                <a:gd name="connsiteY5" fmla="*/ 826 h 10000"/>
                <a:gd name="connsiteX6" fmla="*/ 8553 w 10000"/>
                <a:gd name="connsiteY6" fmla="*/ 914 h 10000"/>
                <a:gd name="connsiteX7" fmla="*/ 8253 w 10000"/>
                <a:gd name="connsiteY7" fmla="*/ 957 h 10000"/>
                <a:gd name="connsiteX8" fmla="*/ 8279 w 10000"/>
                <a:gd name="connsiteY8" fmla="*/ 1195 h 10000"/>
                <a:gd name="connsiteX9" fmla="*/ 8369 w 10000"/>
                <a:gd name="connsiteY9" fmla="*/ 1260 h 10000"/>
                <a:gd name="connsiteX10" fmla="*/ 8302 w 10000"/>
                <a:gd name="connsiteY10" fmla="*/ 1434 h 10000"/>
                <a:gd name="connsiteX11" fmla="*/ 8117 w 10000"/>
                <a:gd name="connsiteY11" fmla="*/ 1478 h 10000"/>
                <a:gd name="connsiteX12" fmla="*/ 7933 w 10000"/>
                <a:gd name="connsiteY12" fmla="*/ 1607 h 10000"/>
                <a:gd name="connsiteX13" fmla="*/ 8095 w 10000"/>
                <a:gd name="connsiteY13" fmla="*/ 1780 h 10000"/>
                <a:gd name="connsiteX14" fmla="*/ 8072 w 10000"/>
                <a:gd name="connsiteY14" fmla="*/ 1911 h 10000"/>
                <a:gd name="connsiteX15" fmla="*/ 7727 w 10000"/>
                <a:gd name="connsiteY15" fmla="*/ 2063 h 10000"/>
                <a:gd name="connsiteX16" fmla="*/ 7566 w 10000"/>
                <a:gd name="connsiteY16" fmla="*/ 2323 h 10000"/>
                <a:gd name="connsiteX17" fmla="*/ 7153 w 10000"/>
                <a:gd name="connsiteY17" fmla="*/ 1803 h 10000"/>
                <a:gd name="connsiteX18" fmla="*/ 6992 w 10000"/>
                <a:gd name="connsiteY18" fmla="*/ 1976 h 10000"/>
                <a:gd name="connsiteX19" fmla="*/ 7221 w 10000"/>
                <a:gd name="connsiteY19" fmla="*/ 2193 h 10000"/>
                <a:gd name="connsiteX20" fmla="*/ 7038 w 10000"/>
                <a:gd name="connsiteY20" fmla="*/ 2345 h 10000"/>
                <a:gd name="connsiteX21" fmla="*/ 7083 w 10000"/>
                <a:gd name="connsiteY21" fmla="*/ 2453 h 10000"/>
                <a:gd name="connsiteX22" fmla="*/ 6717 w 10000"/>
                <a:gd name="connsiteY22" fmla="*/ 2713 h 10000"/>
                <a:gd name="connsiteX23" fmla="*/ 6327 w 10000"/>
                <a:gd name="connsiteY23" fmla="*/ 2496 h 10000"/>
                <a:gd name="connsiteX24" fmla="*/ 5272 w 10000"/>
                <a:gd name="connsiteY24" fmla="*/ 3038 h 10000"/>
                <a:gd name="connsiteX25" fmla="*/ 5179 w 10000"/>
                <a:gd name="connsiteY25" fmla="*/ 2800 h 10000"/>
                <a:gd name="connsiteX26" fmla="*/ 5041 w 10000"/>
                <a:gd name="connsiteY26" fmla="*/ 2648 h 10000"/>
                <a:gd name="connsiteX27" fmla="*/ 5087 w 10000"/>
                <a:gd name="connsiteY27" fmla="*/ 2475 h 10000"/>
                <a:gd name="connsiteX28" fmla="*/ 4948 w 10000"/>
                <a:gd name="connsiteY28" fmla="*/ 2301 h 10000"/>
                <a:gd name="connsiteX29" fmla="*/ 4742 w 10000"/>
                <a:gd name="connsiteY29" fmla="*/ 2280 h 10000"/>
                <a:gd name="connsiteX30" fmla="*/ 4788 w 10000"/>
                <a:gd name="connsiteY30" fmla="*/ 2041 h 10000"/>
                <a:gd name="connsiteX31" fmla="*/ 4626 w 10000"/>
                <a:gd name="connsiteY31" fmla="*/ 1955 h 10000"/>
                <a:gd name="connsiteX32" fmla="*/ 4466 w 10000"/>
                <a:gd name="connsiteY32" fmla="*/ 1651 h 10000"/>
                <a:gd name="connsiteX33" fmla="*/ 4259 w 10000"/>
                <a:gd name="connsiteY33" fmla="*/ 1651 h 10000"/>
                <a:gd name="connsiteX34" fmla="*/ 4054 w 10000"/>
                <a:gd name="connsiteY34" fmla="*/ 1499 h 10000"/>
                <a:gd name="connsiteX35" fmla="*/ 4054 w 10000"/>
                <a:gd name="connsiteY35" fmla="*/ 1434 h 10000"/>
                <a:gd name="connsiteX36" fmla="*/ 3869 w 10000"/>
                <a:gd name="connsiteY36" fmla="*/ 1520 h 10000"/>
                <a:gd name="connsiteX37" fmla="*/ 3640 w 10000"/>
                <a:gd name="connsiteY37" fmla="*/ 1369 h 10000"/>
                <a:gd name="connsiteX38" fmla="*/ 3755 w 10000"/>
                <a:gd name="connsiteY38" fmla="*/ 1152 h 10000"/>
                <a:gd name="connsiteX39" fmla="*/ 3570 w 10000"/>
                <a:gd name="connsiteY39" fmla="*/ 978 h 10000"/>
                <a:gd name="connsiteX40" fmla="*/ 3711 w 10000"/>
                <a:gd name="connsiteY40" fmla="*/ 718 h 10000"/>
                <a:gd name="connsiteX41" fmla="*/ 3250 w 10000"/>
                <a:gd name="connsiteY41" fmla="*/ 372 h 10000"/>
                <a:gd name="connsiteX42" fmla="*/ 2975 w 10000"/>
                <a:gd name="connsiteY42" fmla="*/ 480 h 10000"/>
                <a:gd name="connsiteX43" fmla="*/ 2446 w 10000"/>
                <a:gd name="connsiteY43" fmla="*/ 285 h 10000"/>
                <a:gd name="connsiteX44" fmla="*/ 2239 w 10000"/>
                <a:gd name="connsiteY44" fmla="*/ 414 h 10000"/>
                <a:gd name="connsiteX45" fmla="*/ 1734 w 10000"/>
                <a:gd name="connsiteY45" fmla="*/ 24 h 10000"/>
                <a:gd name="connsiteX46" fmla="*/ 1321 w 10000"/>
                <a:gd name="connsiteY46" fmla="*/ 566 h 10000"/>
                <a:gd name="connsiteX47" fmla="*/ 1321 w 10000"/>
                <a:gd name="connsiteY47" fmla="*/ 891 h 10000"/>
                <a:gd name="connsiteX48" fmla="*/ 1022 w 10000"/>
                <a:gd name="connsiteY48" fmla="*/ 631 h 10000"/>
                <a:gd name="connsiteX49" fmla="*/ 679 w 10000"/>
                <a:gd name="connsiteY49" fmla="*/ 1065 h 10000"/>
                <a:gd name="connsiteX50" fmla="*/ 933 w 10000"/>
                <a:gd name="connsiteY50" fmla="*/ 1412 h 10000"/>
                <a:gd name="connsiteX51" fmla="*/ 471 w 10000"/>
                <a:gd name="connsiteY51" fmla="*/ 1824 h 10000"/>
                <a:gd name="connsiteX52" fmla="*/ 427 w 10000"/>
                <a:gd name="connsiteY52" fmla="*/ 1824 h 10000"/>
                <a:gd name="connsiteX53" fmla="*/ 609 w 10000"/>
                <a:gd name="connsiteY53" fmla="*/ 2063 h 10000"/>
                <a:gd name="connsiteX54" fmla="*/ 379 w 10000"/>
                <a:gd name="connsiteY54" fmla="*/ 2301 h 10000"/>
                <a:gd name="connsiteX55" fmla="*/ 539 w 10000"/>
                <a:gd name="connsiteY55" fmla="*/ 2453 h 10000"/>
                <a:gd name="connsiteX56" fmla="*/ 471 w 10000"/>
                <a:gd name="connsiteY56" fmla="*/ 2692 h 10000"/>
                <a:gd name="connsiteX57" fmla="*/ 379 w 10000"/>
                <a:gd name="connsiteY57" fmla="*/ 2822 h 10000"/>
                <a:gd name="connsiteX58" fmla="*/ 539 w 10000"/>
                <a:gd name="connsiteY58" fmla="*/ 3082 h 10000"/>
                <a:gd name="connsiteX59" fmla="*/ 266 w 10000"/>
                <a:gd name="connsiteY59" fmla="*/ 3494 h 10000"/>
                <a:gd name="connsiteX60" fmla="*/ 471 w 10000"/>
                <a:gd name="connsiteY60" fmla="*/ 3733 h 10000"/>
                <a:gd name="connsiteX61" fmla="*/ 105 w 10000"/>
                <a:gd name="connsiteY61" fmla="*/ 4144 h 10000"/>
                <a:gd name="connsiteX62" fmla="*/ 288 w 10000"/>
                <a:gd name="connsiteY62" fmla="*/ 4362 h 10000"/>
                <a:gd name="connsiteX63" fmla="*/ 12 w 10000"/>
                <a:gd name="connsiteY63" fmla="*/ 4708 h 10000"/>
                <a:gd name="connsiteX64" fmla="*/ 379 w 10000"/>
                <a:gd name="connsiteY64" fmla="*/ 4839 h 10000"/>
                <a:gd name="connsiteX65" fmla="*/ 266 w 10000"/>
                <a:gd name="connsiteY65" fmla="*/ 5121 h 10000"/>
                <a:gd name="connsiteX66" fmla="*/ 357 w 10000"/>
                <a:gd name="connsiteY66" fmla="*/ 5446 h 10000"/>
                <a:gd name="connsiteX67" fmla="*/ 982 w 10000"/>
                <a:gd name="connsiteY67" fmla="*/ 5149 h 10000"/>
                <a:gd name="connsiteX68" fmla="*/ 1342 w 10000"/>
                <a:gd name="connsiteY68" fmla="*/ 4885 h 10000"/>
                <a:gd name="connsiteX69" fmla="*/ 1775 w 10000"/>
                <a:gd name="connsiteY69" fmla="*/ 4891 h 10000"/>
                <a:gd name="connsiteX70" fmla="*/ 2239 w 10000"/>
                <a:gd name="connsiteY70" fmla="*/ 4736 h 10000"/>
                <a:gd name="connsiteX71" fmla="*/ 2810 w 10000"/>
                <a:gd name="connsiteY71" fmla="*/ 4490 h 10000"/>
                <a:gd name="connsiteX72" fmla="*/ 2997 w 10000"/>
                <a:gd name="connsiteY72" fmla="*/ 4302 h 10000"/>
                <a:gd name="connsiteX73" fmla="*/ 3386 w 10000"/>
                <a:gd name="connsiteY73" fmla="*/ 3937 h 10000"/>
                <a:gd name="connsiteX74" fmla="*/ 4023 w 10000"/>
                <a:gd name="connsiteY74" fmla="*/ 4190 h 10000"/>
                <a:gd name="connsiteX75" fmla="*/ 4296 w 10000"/>
                <a:gd name="connsiteY75" fmla="*/ 4173 h 10000"/>
                <a:gd name="connsiteX76" fmla="*/ 4241 w 10000"/>
                <a:gd name="connsiteY76" fmla="*/ 3862 h 10000"/>
                <a:gd name="connsiteX77" fmla="*/ 4282 w 10000"/>
                <a:gd name="connsiteY77" fmla="*/ 3464 h 10000"/>
                <a:gd name="connsiteX78" fmla="*/ 4895 w 10000"/>
                <a:gd name="connsiteY78" fmla="*/ 3371 h 10000"/>
                <a:gd name="connsiteX79" fmla="*/ 4809 w 10000"/>
                <a:gd name="connsiteY79" fmla="*/ 3848 h 10000"/>
                <a:gd name="connsiteX80" fmla="*/ 1597 w 10000"/>
                <a:gd name="connsiteY80" fmla="*/ 10000 h 10000"/>
                <a:gd name="connsiteX81" fmla="*/ 1781 w 10000"/>
                <a:gd name="connsiteY81" fmla="*/ 9523 h 10000"/>
                <a:gd name="connsiteX82" fmla="*/ 2469 w 10000"/>
                <a:gd name="connsiteY82" fmla="*/ 9458 h 10000"/>
                <a:gd name="connsiteX83" fmla="*/ 2768 w 10000"/>
                <a:gd name="connsiteY83" fmla="*/ 9111 h 10000"/>
                <a:gd name="connsiteX84" fmla="*/ 3387 w 10000"/>
                <a:gd name="connsiteY84" fmla="*/ 9415 h 10000"/>
                <a:gd name="connsiteX85" fmla="*/ 3687 w 10000"/>
                <a:gd name="connsiteY85" fmla="*/ 8851 h 10000"/>
                <a:gd name="connsiteX86" fmla="*/ 3663 w 10000"/>
                <a:gd name="connsiteY86" fmla="*/ 8763 h 10000"/>
                <a:gd name="connsiteX87" fmla="*/ 3869 w 10000"/>
                <a:gd name="connsiteY87" fmla="*/ 8417 h 10000"/>
                <a:gd name="connsiteX88" fmla="*/ 3755 w 10000"/>
                <a:gd name="connsiteY88" fmla="*/ 8178 h 10000"/>
                <a:gd name="connsiteX89" fmla="*/ 3616 w 10000"/>
                <a:gd name="connsiteY89" fmla="*/ 7961 h 10000"/>
                <a:gd name="connsiteX90" fmla="*/ 3755 w 10000"/>
                <a:gd name="connsiteY90" fmla="*/ 7745 h 10000"/>
                <a:gd name="connsiteX91" fmla="*/ 3823 w 10000"/>
                <a:gd name="connsiteY91" fmla="*/ 7355 h 10000"/>
                <a:gd name="connsiteX92" fmla="*/ 3570 w 10000"/>
                <a:gd name="connsiteY92" fmla="*/ 6964 h 10000"/>
                <a:gd name="connsiteX93" fmla="*/ 3663 w 10000"/>
                <a:gd name="connsiteY93" fmla="*/ 6508 h 10000"/>
                <a:gd name="connsiteX94" fmla="*/ 3755 w 10000"/>
                <a:gd name="connsiteY94" fmla="*/ 6291 h 10000"/>
                <a:gd name="connsiteX95" fmla="*/ 3800 w 10000"/>
                <a:gd name="connsiteY95" fmla="*/ 6097 h 10000"/>
                <a:gd name="connsiteX96" fmla="*/ 4076 w 10000"/>
                <a:gd name="connsiteY96" fmla="*/ 5728 h 10000"/>
                <a:gd name="connsiteX97" fmla="*/ 4626 w 10000"/>
                <a:gd name="connsiteY97" fmla="*/ 5533 h 10000"/>
                <a:gd name="connsiteX98" fmla="*/ 4720 w 10000"/>
                <a:gd name="connsiteY98" fmla="*/ 5620 h 10000"/>
                <a:gd name="connsiteX99" fmla="*/ 4650 w 10000"/>
                <a:gd name="connsiteY99" fmla="*/ 5685 h 10000"/>
                <a:gd name="connsiteX100" fmla="*/ 4811 w 10000"/>
                <a:gd name="connsiteY100" fmla="*/ 5814 h 10000"/>
                <a:gd name="connsiteX101" fmla="*/ 4994 w 10000"/>
                <a:gd name="connsiteY101" fmla="*/ 5641 h 10000"/>
                <a:gd name="connsiteX102" fmla="*/ 5202 w 10000"/>
                <a:gd name="connsiteY102" fmla="*/ 5489 h 10000"/>
                <a:gd name="connsiteX103" fmla="*/ 5636 w 10000"/>
                <a:gd name="connsiteY103" fmla="*/ 4860 h 10000"/>
                <a:gd name="connsiteX104" fmla="*/ 5984 w 10000"/>
                <a:gd name="connsiteY104" fmla="*/ 5056 h 10000"/>
                <a:gd name="connsiteX105" fmla="*/ 5958 w 10000"/>
                <a:gd name="connsiteY105" fmla="*/ 4904 h 10000"/>
                <a:gd name="connsiteX106" fmla="*/ 6188 w 10000"/>
                <a:gd name="connsiteY106" fmla="*/ 4752 h 10000"/>
                <a:gd name="connsiteX107" fmla="*/ 6417 w 10000"/>
                <a:gd name="connsiteY107" fmla="*/ 4860 h 10000"/>
                <a:gd name="connsiteX108" fmla="*/ 6188 w 10000"/>
                <a:gd name="connsiteY108" fmla="*/ 4427 h 10000"/>
                <a:gd name="connsiteX109" fmla="*/ 6327 w 10000"/>
                <a:gd name="connsiteY109" fmla="*/ 4253 h 10000"/>
                <a:gd name="connsiteX110" fmla="*/ 6810 w 10000"/>
                <a:gd name="connsiteY110" fmla="*/ 4123 h 10000"/>
                <a:gd name="connsiteX111" fmla="*/ 6763 w 10000"/>
                <a:gd name="connsiteY111" fmla="*/ 4079 h 10000"/>
                <a:gd name="connsiteX112" fmla="*/ 7132 w 10000"/>
                <a:gd name="connsiteY112" fmla="*/ 3754 h 10000"/>
                <a:gd name="connsiteX113" fmla="*/ 7406 w 10000"/>
                <a:gd name="connsiteY113" fmla="*/ 3581 h 10000"/>
                <a:gd name="connsiteX114" fmla="*/ 8095 w 10000"/>
                <a:gd name="connsiteY114" fmla="*/ 3234 h 10000"/>
                <a:gd name="connsiteX115" fmla="*/ 8302 w 10000"/>
                <a:gd name="connsiteY115" fmla="*/ 3017 h 10000"/>
                <a:gd name="connsiteX116" fmla="*/ 8714 w 10000"/>
                <a:gd name="connsiteY116" fmla="*/ 2605 h 10000"/>
                <a:gd name="connsiteX117" fmla="*/ 9449 w 10000"/>
                <a:gd name="connsiteY117" fmla="*/ 2236 h 10000"/>
                <a:gd name="connsiteX118" fmla="*/ 9494 w 10000"/>
                <a:gd name="connsiteY118" fmla="*/ 2084 h 10000"/>
                <a:gd name="connsiteX119" fmla="*/ 9793 w 10000"/>
                <a:gd name="connsiteY119" fmla="*/ 1846 h 10000"/>
                <a:gd name="connsiteX120" fmla="*/ 10000 w 10000"/>
                <a:gd name="connsiteY120" fmla="*/ 1564 h 10000"/>
                <a:gd name="connsiteX121" fmla="*/ 9678 w 10000"/>
                <a:gd name="connsiteY121" fmla="*/ 1303 h 10000"/>
                <a:gd name="connsiteX0" fmla="*/ 9678 w 10000"/>
                <a:gd name="connsiteY0" fmla="*/ 1303 h 9922"/>
                <a:gd name="connsiteX1" fmla="*/ 9265 w 10000"/>
                <a:gd name="connsiteY1" fmla="*/ 1564 h 9922"/>
                <a:gd name="connsiteX2" fmla="*/ 9059 w 10000"/>
                <a:gd name="connsiteY2" fmla="*/ 1455 h 9922"/>
                <a:gd name="connsiteX3" fmla="*/ 8875 w 10000"/>
                <a:gd name="connsiteY3" fmla="*/ 1239 h 9922"/>
                <a:gd name="connsiteX4" fmla="*/ 9012 w 10000"/>
                <a:gd name="connsiteY4" fmla="*/ 1065 h 9922"/>
                <a:gd name="connsiteX5" fmla="*/ 8691 w 10000"/>
                <a:gd name="connsiteY5" fmla="*/ 826 h 9922"/>
                <a:gd name="connsiteX6" fmla="*/ 8553 w 10000"/>
                <a:gd name="connsiteY6" fmla="*/ 914 h 9922"/>
                <a:gd name="connsiteX7" fmla="*/ 8253 w 10000"/>
                <a:gd name="connsiteY7" fmla="*/ 957 h 9922"/>
                <a:gd name="connsiteX8" fmla="*/ 8279 w 10000"/>
                <a:gd name="connsiteY8" fmla="*/ 1195 h 9922"/>
                <a:gd name="connsiteX9" fmla="*/ 8369 w 10000"/>
                <a:gd name="connsiteY9" fmla="*/ 1260 h 9922"/>
                <a:gd name="connsiteX10" fmla="*/ 8302 w 10000"/>
                <a:gd name="connsiteY10" fmla="*/ 1434 h 9922"/>
                <a:gd name="connsiteX11" fmla="*/ 8117 w 10000"/>
                <a:gd name="connsiteY11" fmla="*/ 1478 h 9922"/>
                <a:gd name="connsiteX12" fmla="*/ 7933 w 10000"/>
                <a:gd name="connsiteY12" fmla="*/ 1607 h 9922"/>
                <a:gd name="connsiteX13" fmla="*/ 8095 w 10000"/>
                <a:gd name="connsiteY13" fmla="*/ 1780 h 9922"/>
                <a:gd name="connsiteX14" fmla="*/ 8072 w 10000"/>
                <a:gd name="connsiteY14" fmla="*/ 1911 h 9922"/>
                <a:gd name="connsiteX15" fmla="*/ 7727 w 10000"/>
                <a:gd name="connsiteY15" fmla="*/ 2063 h 9922"/>
                <a:gd name="connsiteX16" fmla="*/ 7566 w 10000"/>
                <a:gd name="connsiteY16" fmla="*/ 2323 h 9922"/>
                <a:gd name="connsiteX17" fmla="*/ 7153 w 10000"/>
                <a:gd name="connsiteY17" fmla="*/ 1803 h 9922"/>
                <a:gd name="connsiteX18" fmla="*/ 6992 w 10000"/>
                <a:gd name="connsiteY18" fmla="*/ 1976 h 9922"/>
                <a:gd name="connsiteX19" fmla="*/ 7221 w 10000"/>
                <a:gd name="connsiteY19" fmla="*/ 2193 h 9922"/>
                <a:gd name="connsiteX20" fmla="*/ 7038 w 10000"/>
                <a:gd name="connsiteY20" fmla="*/ 2345 h 9922"/>
                <a:gd name="connsiteX21" fmla="*/ 7083 w 10000"/>
                <a:gd name="connsiteY21" fmla="*/ 2453 h 9922"/>
                <a:gd name="connsiteX22" fmla="*/ 6717 w 10000"/>
                <a:gd name="connsiteY22" fmla="*/ 2713 h 9922"/>
                <a:gd name="connsiteX23" fmla="*/ 6327 w 10000"/>
                <a:gd name="connsiteY23" fmla="*/ 2496 h 9922"/>
                <a:gd name="connsiteX24" fmla="*/ 5272 w 10000"/>
                <a:gd name="connsiteY24" fmla="*/ 3038 h 9922"/>
                <a:gd name="connsiteX25" fmla="*/ 5179 w 10000"/>
                <a:gd name="connsiteY25" fmla="*/ 2800 h 9922"/>
                <a:gd name="connsiteX26" fmla="*/ 5041 w 10000"/>
                <a:gd name="connsiteY26" fmla="*/ 2648 h 9922"/>
                <a:gd name="connsiteX27" fmla="*/ 5087 w 10000"/>
                <a:gd name="connsiteY27" fmla="*/ 2475 h 9922"/>
                <a:gd name="connsiteX28" fmla="*/ 4948 w 10000"/>
                <a:gd name="connsiteY28" fmla="*/ 2301 h 9922"/>
                <a:gd name="connsiteX29" fmla="*/ 4742 w 10000"/>
                <a:gd name="connsiteY29" fmla="*/ 2280 h 9922"/>
                <a:gd name="connsiteX30" fmla="*/ 4788 w 10000"/>
                <a:gd name="connsiteY30" fmla="*/ 2041 h 9922"/>
                <a:gd name="connsiteX31" fmla="*/ 4626 w 10000"/>
                <a:gd name="connsiteY31" fmla="*/ 1955 h 9922"/>
                <a:gd name="connsiteX32" fmla="*/ 4466 w 10000"/>
                <a:gd name="connsiteY32" fmla="*/ 1651 h 9922"/>
                <a:gd name="connsiteX33" fmla="*/ 4259 w 10000"/>
                <a:gd name="connsiteY33" fmla="*/ 1651 h 9922"/>
                <a:gd name="connsiteX34" fmla="*/ 4054 w 10000"/>
                <a:gd name="connsiteY34" fmla="*/ 1499 h 9922"/>
                <a:gd name="connsiteX35" fmla="*/ 4054 w 10000"/>
                <a:gd name="connsiteY35" fmla="*/ 1434 h 9922"/>
                <a:gd name="connsiteX36" fmla="*/ 3869 w 10000"/>
                <a:gd name="connsiteY36" fmla="*/ 1520 h 9922"/>
                <a:gd name="connsiteX37" fmla="*/ 3640 w 10000"/>
                <a:gd name="connsiteY37" fmla="*/ 1369 h 9922"/>
                <a:gd name="connsiteX38" fmla="*/ 3755 w 10000"/>
                <a:gd name="connsiteY38" fmla="*/ 1152 h 9922"/>
                <a:gd name="connsiteX39" fmla="*/ 3570 w 10000"/>
                <a:gd name="connsiteY39" fmla="*/ 978 h 9922"/>
                <a:gd name="connsiteX40" fmla="*/ 3711 w 10000"/>
                <a:gd name="connsiteY40" fmla="*/ 718 h 9922"/>
                <a:gd name="connsiteX41" fmla="*/ 3250 w 10000"/>
                <a:gd name="connsiteY41" fmla="*/ 372 h 9922"/>
                <a:gd name="connsiteX42" fmla="*/ 2975 w 10000"/>
                <a:gd name="connsiteY42" fmla="*/ 480 h 9922"/>
                <a:gd name="connsiteX43" fmla="*/ 2446 w 10000"/>
                <a:gd name="connsiteY43" fmla="*/ 285 h 9922"/>
                <a:gd name="connsiteX44" fmla="*/ 2239 w 10000"/>
                <a:gd name="connsiteY44" fmla="*/ 414 h 9922"/>
                <a:gd name="connsiteX45" fmla="*/ 1734 w 10000"/>
                <a:gd name="connsiteY45" fmla="*/ 24 h 9922"/>
                <a:gd name="connsiteX46" fmla="*/ 1321 w 10000"/>
                <a:gd name="connsiteY46" fmla="*/ 566 h 9922"/>
                <a:gd name="connsiteX47" fmla="*/ 1321 w 10000"/>
                <a:gd name="connsiteY47" fmla="*/ 891 h 9922"/>
                <a:gd name="connsiteX48" fmla="*/ 1022 w 10000"/>
                <a:gd name="connsiteY48" fmla="*/ 631 h 9922"/>
                <a:gd name="connsiteX49" fmla="*/ 679 w 10000"/>
                <a:gd name="connsiteY49" fmla="*/ 1065 h 9922"/>
                <a:gd name="connsiteX50" fmla="*/ 933 w 10000"/>
                <a:gd name="connsiteY50" fmla="*/ 1412 h 9922"/>
                <a:gd name="connsiteX51" fmla="*/ 471 w 10000"/>
                <a:gd name="connsiteY51" fmla="*/ 1824 h 9922"/>
                <a:gd name="connsiteX52" fmla="*/ 427 w 10000"/>
                <a:gd name="connsiteY52" fmla="*/ 1824 h 9922"/>
                <a:gd name="connsiteX53" fmla="*/ 609 w 10000"/>
                <a:gd name="connsiteY53" fmla="*/ 2063 h 9922"/>
                <a:gd name="connsiteX54" fmla="*/ 379 w 10000"/>
                <a:gd name="connsiteY54" fmla="*/ 2301 h 9922"/>
                <a:gd name="connsiteX55" fmla="*/ 539 w 10000"/>
                <a:gd name="connsiteY55" fmla="*/ 2453 h 9922"/>
                <a:gd name="connsiteX56" fmla="*/ 471 w 10000"/>
                <a:gd name="connsiteY56" fmla="*/ 2692 h 9922"/>
                <a:gd name="connsiteX57" fmla="*/ 379 w 10000"/>
                <a:gd name="connsiteY57" fmla="*/ 2822 h 9922"/>
                <a:gd name="connsiteX58" fmla="*/ 539 w 10000"/>
                <a:gd name="connsiteY58" fmla="*/ 3082 h 9922"/>
                <a:gd name="connsiteX59" fmla="*/ 266 w 10000"/>
                <a:gd name="connsiteY59" fmla="*/ 3494 h 9922"/>
                <a:gd name="connsiteX60" fmla="*/ 471 w 10000"/>
                <a:gd name="connsiteY60" fmla="*/ 3733 h 9922"/>
                <a:gd name="connsiteX61" fmla="*/ 105 w 10000"/>
                <a:gd name="connsiteY61" fmla="*/ 4144 h 9922"/>
                <a:gd name="connsiteX62" fmla="*/ 288 w 10000"/>
                <a:gd name="connsiteY62" fmla="*/ 4362 h 9922"/>
                <a:gd name="connsiteX63" fmla="*/ 12 w 10000"/>
                <a:gd name="connsiteY63" fmla="*/ 4708 h 9922"/>
                <a:gd name="connsiteX64" fmla="*/ 379 w 10000"/>
                <a:gd name="connsiteY64" fmla="*/ 4839 h 9922"/>
                <a:gd name="connsiteX65" fmla="*/ 266 w 10000"/>
                <a:gd name="connsiteY65" fmla="*/ 5121 h 9922"/>
                <a:gd name="connsiteX66" fmla="*/ 357 w 10000"/>
                <a:gd name="connsiteY66" fmla="*/ 5446 h 9922"/>
                <a:gd name="connsiteX67" fmla="*/ 982 w 10000"/>
                <a:gd name="connsiteY67" fmla="*/ 5149 h 9922"/>
                <a:gd name="connsiteX68" fmla="*/ 1342 w 10000"/>
                <a:gd name="connsiteY68" fmla="*/ 4885 h 9922"/>
                <a:gd name="connsiteX69" fmla="*/ 1775 w 10000"/>
                <a:gd name="connsiteY69" fmla="*/ 4891 h 9922"/>
                <a:gd name="connsiteX70" fmla="*/ 2239 w 10000"/>
                <a:gd name="connsiteY70" fmla="*/ 4736 h 9922"/>
                <a:gd name="connsiteX71" fmla="*/ 2810 w 10000"/>
                <a:gd name="connsiteY71" fmla="*/ 4490 h 9922"/>
                <a:gd name="connsiteX72" fmla="*/ 2997 w 10000"/>
                <a:gd name="connsiteY72" fmla="*/ 4302 h 9922"/>
                <a:gd name="connsiteX73" fmla="*/ 3386 w 10000"/>
                <a:gd name="connsiteY73" fmla="*/ 3937 h 9922"/>
                <a:gd name="connsiteX74" fmla="*/ 4023 w 10000"/>
                <a:gd name="connsiteY74" fmla="*/ 4190 h 9922"/>
                <a:gd name="connsiteX75" fmla="*/ 4296 w 10000"/>
                <a:gd name="connsiteY75" fmla="*/ 4173 h 9922"/>
                <a:gd name="connsiteX76" fmla="*/ 4241 w 10000"/>
                <a:gd name="connsiteY76" fmla="*/ 3862 h 9922"/>
                <a:gd name="connsiteX77" fmla="*/ 4282 w 10000"/>
                <a:gd name="connsiteY77" fmla="*/ 3464 h 9922"/>
                <a:gd name="connsiteX78" fmla="*/ 4895 w 10000"/>
                <a:gd name="connsiteY78" fmla="*/ 3371 h 9922"/>
                <a:gd name="connsiteX79" fmla="*/ 4809 w 10000"/>
                <a:gd name="connsiteY79" fmla="*/ 3848 h 9922"/>
                <a:gd name="connsiteX80" fmla="*/ 1781 w 10000"/>
                <a:gd name="connsiteY80" fmla="*/ 9523 h 9922"/>
                <a:gd name="connsiteX81" fmla="*/ 2469 w 10000"/>
                <a:gd name="connsiteY81" fmla="*/ 9458 h 9922"/>
                <a:gd name="connsiteX82" fmla="*/ 2768 w 10000"/>
                <a:gd name="connsiteY82" fmla="*/ 9111 h 9922"/>
                <a:gd name="connsiteX83" fmla="*/ 3387 w 10000"/>
                <a:gd name="connsiteY83" fmla="*/ 9415 h 9922"/>
                <a:gd name="connsiteX84" fmla="*/ 3687 w 10000"/>
                <a:gd name="connsiteY84" fmla="*/ 8851 h 9922"/>
                <a:gd name="connsiteX85" fmla="*/ 3663 w 10000"/>
                <a:gd name="connsiteY85" fmla="*/ 8763 h 9922"/>
                <a:gd name="connsiteX86" fmla="*/ 3869 w 10000"/>
                <a:gd name="connsiteY86" fmla="*/ 8417 h 9922"/>
                <a:gd name="connsiteX87" fmla="*/ 3755 w 10000"/>
                <a:gd name="connsiteY87" fmla="*/ 8178 h 9922"/>
                <a:gd name="connsiteX88" fmla="*/ 3616 w 10000"/>
                <a:gd name="connsiteY88" fmla="*/ 7961 h 9922"/>
                <a:gd name="connsiteX89" fmla="*/ 3755 w 10000"/>
                <a:gd name="connsiteY89" fmla="*/ 7745 h 9922"/>
                <a:gd name="connsiteX90" fmla="*/ 3823 w 10000"/>
                <a:gd name="connsiteY90" fmla="*/ 7355 h 9922"/>
                <a:gd name="connsiteX91" fmla="*/ 3570 w 10000"/>
                <a:gd name="connsiteY91" fmla="*/ 6964 h 9922"/>
                <a:gd name="connsiteX92" fmla="*/ 3663 w 10000"/>
                <a:gd name="connsiteY92" fmla="*/ 6508 h 9922"/>
                <a:gd name="connsiteX93" fmla="*/ 3755 w 10000"/>
                <a:gd name="connsiteY93" fmla="*/ 6291 h 9922"/>
                <a:gd name="connsiteX94" fmla="*/ 3800 w 10000"/>
                <a:gd name="connsiteY94" fmla="*/ 6097 h 9922"/>
                <a:gd name="connsiteX95" fmla="*/ 4076 w 10000"/>
                <a:gd name="connsiteY95" fmla="*/ 5728 h 9922"/>
                <a:gd name="connsiteX96" fmla="*/ 4626 w 10000"/>
                <a:gd name="connsiteY96" fmla="*/ 5533 h 9922"/>
                <a:gd name="connsiteX97" fmla="*/ 4720 w 10000"/>
                <a:gd name="connsiteY97" fmla="*/ 5620 h 9922"/>
                <a:gd name="connsiteX98" fmla="*/ 4650 w 10000"/>
                <a:gd name="connsiteY98" fmla="*/ 5685 h 9922"/>
                <a:gd name="connsiteX99" fmla="*/ 4811 w 10000"/>
                <a:gd name="connsiteY99" fmla="*/ 5814 h 9922"/>
                <a:gd name="connsiteX100" fmla="*/ 4994 w 10000"/>
                <a:gd name="connsiteY100" fmla="*/ 5641 h 9922"/>
                <a:gd name="connsiteX101" fmla="*/ 5202 w 10000"/>
                <a:gd name="connsiteY101" fmla="*/ 5489 h 9922"/>
                <a:gd name="connsiteX102" fmla="*/ 5636 w 10000"/>
                <a:gd name="connsiteY102" fmla="*/ 4860 h 9922"/>
                <a:gd name="connsiteX103" fmla="*/ 5984 w 10000"/>
                <a:gd name="connsiteY103" fmla="*/ 5056 h 9922"/>
                <a:gd name="connsiteX104" fmla="*/ 5958 w 10000"/>
                <a:gd name="connsiteY104" fmla="*/ 4904 h 9922"/>
                <a:gd name="connsiteX105" fmla="*/ 6188 w 10000"/>
                <a:gd name="connsiteY105" fmla="*/ 4752 h 9922"/>
                <a:gd name="connsiteX106" fmla="*/ 6417 w 10000"/>
                <a:gd name="connsiteY106" fmla="*/ 4860 h 9922"/>
                <a:gd name="connsiteX107" fmla="*/ 6188 w 10000"/>
                <a:gd name="connsiteY107" fmla="*/ 4427 h 9922"/>
                <a:gd name="connsiteX108" fmla="*/ 6327 w 10000"/>
                <a:gd name="connsiteY108" fmla="*/ 4253 h 9922"/>
                <a:gd name="connsiteX109" fmla="*/ 6810 w 10000"/>
                <a:gd name="connsiteY109" fmla="*/ 4123 h 9922"/>
                <a:gd name="connsiteX110" fmla="*/ 6763 w 10000"/>
                <a:gd name="connsiteY110" fmla="*/ 4079 h 9922"/>
                <a:gd name="connsiteX111" fmla="*/ 7132 w 10000"/>
                <a:gd name="connsiteY111" fmla="*/ 3754 h 9922"/>
                <a:gd name="connsiteX112" fmla="*/ 7406 w 10000"/>
                <a:gd name="connsiteY112" fmla="*/ 3581 h 9922"/>
                <a:gd name="connsiteX113" fmla="*/ 8095 w 10000"/>
                <a:gd name="connsiteY113" fmla="*/ 3234 h 9922"/>
                <a:gd name="connsiteX114" fmla="*/ 8302 w 10000"/>
                <a:gd name="connsiteY114" fmla="*/ 3017 h 9922"/>
                <a:gd name="connsiteX115" fmla="*/ 8714 w 10000"/>
                <a:gd name="connsiteY115" fmla="*/ 2605 h 9922"/>
                <a:gd name="connsiteX116" fmla="*/ 9449 w 10000"/>
                <a:gd name="connsiteY116" fmla="*/ 2236 h 9922"/>
                <a:gd name="connsiteX117" fmla="*/ 9494 w 10000"/>
                <a:gd name="connsiteY117" fmla="*/ 2084 h 9922"/>
                <a:gd name="connsiteX118" fmla="*/ 9793 w 10000"/>
                <a:gd name="connsiteY118" fmla="*/ 1846 h 9922"/>
                <a:gd name="connsiteX119" fmla="*/ 10000 w 10000"/>
                <a:gd name="connsiteY119" fmla="*/ 1564 h 9922"/>
                <a:gd name="connsiteX120" fmla="*/ 9678 w 10000"/>
                <a:gd name="connsiteY120" fmla="*/ 1303 h 9922"/>
                <a:gd name="connsiteX0" fmla="*/ 9678 w 10000"/>
                <a:gd name="connsiteY0" fmla="*/ 1313 h 9532"/>
                <a:gd name="connsiteX1" fmla="*/ 9265 w 10000"/>
                <a:gd name="connsiteY1" fmla="*/ 1576 h 9532"/>
                <a:gd name="connsiteX2" fmla="*/ 9059 w 10000"/>
                <a:gd name="connsiteY2" fmla="*/ 1466 h 9532"/>
                <a:gd name="connsiteX3" fmla="*/ 8875 w 10000"/>
                <a:gd name="connsiteY3" fmla="*/ 1249 h 9532"/>
                <a:gd name="connsiteX4" fmla="*/ 9012 w 10000"/>
                <a:gd name="connsiteY4" fmla="*/ 1073 h 9532"/>
                <a:gd name="connsiteX5" fmla="*/ 8691 w 10000"/>
                <a:gd name="connsiteY5" fmla="*/ 832 h 9532"/>
                <a:gd name="connsiteX6" fmla="*/ 8553 w 10000"/>
                <a:gd name="connsiteY6" fmla="*/ 921 h 9532"/>
                <a:gd name="connsiteX7" fmla="*/ 8253 w 10000"/>
                <a:gd name="connsiteY7" fmla="*/ 965 h 9532"/>
                <a:gd name="connsiteX8" fmla="*/ 8279 w 10000"/>
                <a:gd name="connsiteY8" fmla="*/ 1204 h 9532"/>
                <a:gd name="connsiteX9" fmla="*/ 8369 w 10000"/>
                <a:gd name="connsiteY9" fmla="*/ 1270 h 9532"/>
                <a:gd name="connsiteX10" fmla="*/ 8302 w 10000"/>
                <a:gd name="connsiteY10" fmla="*/ 1445 h 9532"/>
                <a:gd name="connsiteX11" fmla="*/ 8117 w 10000"/>
                <a:gd name="connsiteY11" fmla="*/ 1490 h 9532"/>
                <a:gd name="connsiteX12" fmla="*/ 7933 w 10000"/>
                <a:gd name="connsiteY12" fmla="*/ 1620 h 9532"/>
                <a:gd name="connsiteX13" fmla="*/ 8095 w 10000"/>
                <a:gd name="connsiteY13" fmla="*/ 1794 h 9532"/>
                <a:gd name="connsiteX14" fmla="*/ 8072 w 10000"/>
                <a:gd name="connsiteY14" fmla="*/ 1926 h 9532"/>
                <a:gd name="connsiteX15" fmla="*/ 7727 w 10000"/>
                <a:gd name="connsiteY15" fmla="*/ 2079 h 9532"/>
                <a:gd name="connsiteX16" fmla="*/ 7566 w 10000"/>
                <a:gd name="connsiteY16" fmla="*/ 2341 h 9532"/>
                <a:gd name="connsiteX17" fmla="*/ 7153 w 10000"/>
                <a:gd name="connsiteY17" fmla="*/ 1817 h 9532"/>
                <a:gd name="connsiteX18" fmla="*/ 6992 w 10000"/>
                <a:gd name="connsiteY18" fmla="*/ 1992 h 9532"/>
                <a:gd name="connsiteX19" fmla="*/ 7221 w 10000"/>
                <a:gd name="connsiteY19" fmla="*/ 2210 h 9532"/>
                <a:gd name="connsiteX20" fmla="*/ 7038 w 10000"/>
                <a:gd name="connsiteY20" fmla="*/ 2363 h 9532"/>
                <a:gd name="connsiteX21" fmla="*/ 7083 w 10000"/>
                <a:gd name="connsiteY21" fmla="*/ 2472 h 9532"/>
                <a:gd name="connsiteX22" fmla="*/ 6717 w 10000"/>
                <a:gd name="connsiteY22" fmla="*/ 2734 h 9532"/>
                <a:gd name="connsiteX23" fmla="*/ 6327 w 10000"/>
                <a:gd name="connsiteY23" fmla="*/ 2516 h 9532"/>
                <a:gd name="connsiteX24" fmla="*/ 5272 w 10000"/>
                <a:gd name="connsiteY24" fmla="*/ 3062 h 9532"/>
                <a:gd name="connsiteX25" fmla="*/ 5179 w 10000"/>
                <a:gd name="connsiteY25" fmla="*/ 2822 h 9532"/>
                <a:gd name="connsiteX26" fmla="*/ 5041 w 10000"/>
                <a:gd name="connsiteY26" fmla="*/ 2669 h 9532"/>
                <a:gd name="connsiteX27" fmla="*/ 5087 w 10000"/>
                <a:gd name="connsiteY27" fmla="*/ 2494 h 9532"/>
                <a:gd name="connsiteX28" fmla="*/ 4948 w 10000"/>
                <a:gd name="connsiteY28" fmla="*/ 2319 h 9532"/>
                <a:gd name="connsiteX29" fmla="*/ 4742 w 10000"/>
                <a:gd name="connsiteY29" fmla="*/ 2298 h 9532"/>
                <a:gd name="connsiteX30" fmla="*/ 4788 w 10000"/>
                <a:gd name="connsiteY30" fmla="*/ 2057 h 9532"/>
                <a:gd name="connsiteX31" fmla="*/ 4626 w 10000"/>
                <a:gd name="connsiteY31" fmla="*/ 1970 h 9532"/>
                <a:gd name="connsiteX32" fmla="*/ 4466 w 10000"/>
                <a:gd name="connsiteY32" fmla="*/ 1664 h 9532"/>
                <a:gd name="connsiteX33" fmla="*/ 4259 w 10000"/>
                <a:gd name="connsiteY33" fmla="*/ 1664 h 9532"/>
                <a:gd name="connsiteX34" fmla="*/ 4054 w 10000"/>
                <a:gd name="connsiteY34" fmla="*/ 1511 h 9532"/>
                <a:gd name="connsiteX35" fmla="*/ 4054 w 10000"/>
                <a:gd name="connsiteY35" fmla="*/ 1445 h 9532"/>
                <a:gd name="connsiteX36" fmla="*/ 3869 w 10000"/>
                <a:gd name="connsiteY36" fmla="*/ 1532 h 9532"/>
                <a:gd name="connsiteX37" fmla="*/ 3640 w 10000"/>
                <a:gd name="connsiteY37" fmla="*/ 1380 h 9532"/>
                <a:gd name="connsiteX38" fmla="*/ 3755 w 10000"/>
                <a:gd name="connsiteY38" fmla="*/ 1161 h 9532"/>
                <a:gd name="connsiteX39" fmla="*/ 3570 w 10000"/>
                <a:gd name="connsiteY39" fmla="*/ 986 h 9532"/>
                <a:gd name="connsiteX40" fmla="*/ 3711 w 10000"/>
                <a:gd name="connsiteY40" fmla="*/ 724 h 9532"/>
                <a:gd name="connsiteX41" fmla="*/ 3250 w 10000"/>
                <a:gd name="connsiteY41" fmla="*/ 375 h 9532"/>
                <a:gd name="connsiteX42" fmla="*/ 2975 w 10000"/>
                <a:gd name="connsiteY42" fmla="*/ 484 h 9532"/>
                <a:gd name="connsiteX43" fmla="*/ 2446 w 10000"/>
                <a:gd name="connsiteY43" fmla="*/ 287 h 9532"/>
                <a:gd name="connsiteX44" fmla="*/ 2239 w 10000"/>
                <a:gd name="connsiteY44" fmla="*/ 417 h 9532"/>
                <a:gd name="connsiteX45" fmla="*/ 1734 w 10000"/>
                <a:gd name="connsiteY45" fmla="*/ 24 h 9532"/>
                <a:gd name="connsiteX46" fmla="*/ 1321 w 10000"/>
                <a:gd name="connsiteY46" fmla="*/ 570 h 9532"/>
                <a:gd name="connsiteX47" fmla="*/ 1321 w 10000"/>
                <a:gd name="connsiteY47" fmla="*/ 898 h 9532"/>
                <a:gd name="connsiteX48" fmla="*/ 1022 w 10000"/>
                <a:gd name="connsiteY48" fmla="*/ 636 h 9532"/>
                <a:gd name="connsiteX49" fmla="*/ 679 w 10000"/>
                <a:gd name="connsiteY49" fmla="*/ 1073 h 9532"/>
                <a:gd name="connsiteX50" fmla="*/ 933 w 10000"/>
                <a:gd name="connsiteY50" fmla="*/ 1423 h 9532"/>
                <a:gd name="connsiteX51" fmla="*/ 471 w 10000"/>
                <a:gd name="connsiteY51" fmla="*/ 1838 h 9532"/>
                <a:gd name="connsiteX52" fmla="*/ 427 w 10000"/>
                <a:gd name="connsiteY52" fmla="*/ 1838 h 9532"/>
                <a:gd name="connsiteX53" fmla="*/ 609 w 10000"/>
                <a:gd name="connsiteY53" fmla="*/ 2079 h 9532"/>
                <a:gd name="connsiteX54" fmla="*/ 379 w 10000"/>
                <a:gd name="connsiteY54" fmla="*/ 2319 h 9532"/>
                <a:gd name="connsiteX55" fmla="*/ 539 w 10000"/>
                <a:gd name="connsiteY55" fmla="*/ 2472 h 9532"/>
                <a:gd name="connsiteX56" fmla="*/ 471 w 10000"/>
                <a:gd name="connsiteY56" fmla="*/ 2713 h 9532"/>
                <a:gd name="connsiteX57" fmla="*/ 379 w 10000"/>
                <a:gd name="connsiteY57" fmla="*/ 2844 h 9532"/>
                <a:gd name="connsiteX58" fmla="*/ 539 w 10000"/>
                <a:gd name="connsiteY58" fmla="*/ 3106 h 9532"/>
                <a:gd name="connsiteX59" fmla="*/ 266 w 10000"/>
                <a:gd name="connsiteY59" fmla="*/ 3521 h 9532"/>
                <a:gd name="connsiteX60" fmla="*/ 471 w 10000"/>
                <a:gd name="connsiteY60" fmla="*/ 3762 h 9532"/>
                <a:gd name="connsiteX61" fmla="*/ 105 w 10000"/>
                <a:gd name="connsiteY61" fmla="*/ 4177 h 9532"/>
                <a:gd name="connsiteX62" fmla="*/ 288 w 10000"/>
                <a:gd name="connsiteY62" fmla="*/ 4396 h 9532"/>
                <a:gd name="connsiteX63" fmla="*/ 12 w 10000"/>
                <a:gd name="connsiteY63" fmla="*/ 4745 h 9532"/>
                <a:gd name="connsiteX64" fmla="*/ 379 w 10000"/>
                <a:gd name="connsiteY64" fmla="*/ 4877 h 9532"/>
                <a:gd name="connsiteX65" fmla="*/ 266 w 10000"/>
                <a:gd name="connsiteY65" fmla="*/ 5161 h 9532"/>
                <a:gd name="connsiteX66" fmla="*/ 357 w 10000"/>
                <a:gd name="connsiteY66" fmla="*/ 5489 h 9532"/>
                <a:gd name="connsiteX67" fmla="*/ 982 w 10000"/>
                <a:gd name="connsiteY67" fmla="*/ 5189 h 9532"/>
                <a:gd name="connsiteX68" fmla="*/ 1342 w 10000"/>
                <a:gd name="connsiteY68" fmla="*/ 4923 h 9532"/>
                <a:gd name="connsiteX69" fmla="*/ 1775 w 10000"/>
                <a:gd name="connsiteY69" fmla="*/ 4929 h 9532"/>
                <a:gd name="connsiteX70" fmla="*/ 2239 w 10000"/>
                <a:gd name="connsiteY70" fmla="*/ 4773 h 9532"/>
                <a:gd name="connsiteX71" fmla="*/ 2810 w 10000"/>
                <a:gd name="connsiteY71" fmla="*/ 4525 h 9532"/>
                <a:gd name="connsiteX72" fmla="*/ 2997 w 10000"/>
                <a:gd name="connsiteY72" fmla="*/ 4336 h 9532"/>
                <a:gd name="connsiteX73" fmla="*/ 3386 w 10000"/>
                <a:gd name="connsiteY73" fmla="*/ 3968 h 9532"/>
                <a:gd name="connsiteX74" fmla="*/ 4023 w 10000"/>
                <a:gd name="connsiteY74" fmla="*/ 4223 h 9532"/>
                <a:gd name="connsiteX75" fmla="*/ 4296 w 10000"/>
                <a:gd name="connsiteY75" fmla="*/ 4206 h 9532"/>
                <a:gd name="connsiteX76" fmla="*/ 4241 w 10000"/>
                <a:gd name="connsiteY76" fmla="*/ 3892 h 9532"/>
                <a:gd name="connsiteX77" fmla="*/ 4282 w 10000"/>
                <a:gd name="connsiteY77" fmla="*/ 3491 h 9532"/>
                <a:gd name="connsiteX78" fmla="*/ 4895 w 10000"/>
                <a:gd name="connsiteY78" fmla="*/ 3398 h 9532"/>
                <a:gd name="connsiteX79" fmla="*/ 4809 w 10000"/>
                <a:gd name="connsiteY79" fmla="*/ 3878 h 9532"/>
                <a:gd name="connsiteX80" fmla="*/ 2469 w 10000"/>
                <a:gd name="connsiteY80" fmla="*/ 9532 h 9532"/>
                <a:gd name="connsiteX81" fmla="*/ 2768 w 10000"/>
                <a:gd name="connsiteY81" fmla="*/ 9183 h 9532"/>
                <a:gd name="connsiteX82" fmla="*/ 3387 w 10000"/>
                <a:gd name="connsiteY82" fmla="*/ 9489 h 9532"/>
                <a:gd name="connsiteX83" fmla="*/ 3687 w 10000"/>
                <a:gd name="connsiteY83" fmla="*/ 8921 h 9532"/>
                <a:gd name="connsiteX84" fmla="*/ 3663 w 10000"/>
                <a:gd name="connsiteY84" fmla="*/ 8832 h 9532"/>
                <a:gd name="connsiteX85" fmla="*/ 3869 w 10000"/>
                <a:gd name="connsiteY85" fmla="*/ 8483 h 9532"/>
                <a:gd name="connsiteX86" fmla="*/ 3755 w 10000"/>
                <a:gd name="connsiteY86" fmla="*/ 8242 h 9532"/>
                <a:gd name="connsiteX87" fmla="*/ 3616 w 10000"/>
                <a:gd name="connsiteY87" fmla="*/ 8024 h 9532"/>
                <a:gd name="connsiteX88" fmla="*/ 3755 w 10000"/>
                <a:gd name="connsiteY88" fmla="*/ 7806 h 9532"/>
                <a:gd name="connsiteX89" fmla="*/ 3823 w 10000"/>
                <a:gd name="connsiteY89" fmla="*/ 7413 h 9532"/>
                <a:gd name="connsiteX90" fmla="*/ 3570 w 10000"/>
                <a:gd name="connsiteY90" fmla="*/ 7019 h 9532"/>
                <a:gd name="connsiteX91" fmla="*/ 3663 w 10000"/>
                <a:gd name="connsiteY91" fmla="*/ 6559 h 9532"/>
                <a:gd name="connsiteX92" fmla="*/ 3755 w 10000"/>
                <a:gd name="connsiteY92" fmla="*/ 6340 h 9532"/>
                <a:gd name="connsiteX93" fmla="*/ 3800 w 10000"/>
                <a:gd name="connsiteY93" fmla="*/ 6145 h 9532"/>
                <a:gd name="connsiteX94" fmla="*/ 4076 w 10000"/>
                <a:gd name="connsiteY94" fmla="*/ 5773 h 9532"/>
                <a:gd name="connsiteX95" fmla="*/ 4626 w 10000"/>
                <a:gd name="connsiteY95" fmla="*/ 5576 h 9532"/>
                <a:gd name="connsiteX96" fmla="*/ 4720 w 10000"/>
                <a:gd name="connsiteY96" fmla="*/ 5664 h 9532"/>
                <a:gd name="connsiteX97" fmla="*/ 4650 w 10000"/>
                <a:gd name="connsiteY97" fmla="*/ 5730 h 9532"/>
                <a:gd name="connsiteX98" fmla="*/ 4811 w 10000"/>
                <a:gd name="connsiteY98" fmla="*/ 5860 h 9532"/>
                <a:gd name="connsiteX99" fmla="*/ 4994 w 10000"/>
                <a:gd name="connsiteY99" fmla="*/ 5685 h 9532"/>
                <a:gd name="connsiteX100" fmla="*/ 5202 w 10000"/>
                <a:gd name="connsiteY100" fmla="*/ 5532 h 9532"/>
                <a:gd name="connsiteX101" fmla="*/ 5636 w 10000"/>
                <a:gd name="connsiteY101" fmla="*/ 4898 h 9532"/>
                <a:gd name="connsiteX102" fmla="*/ 5984 w 10000"/>
                <a:gd name="connsiteY102" fmla="*/ 5096 h 9532"/>
                <a:gd name="connsiteX103" fmla="*/ 5958 w 10000"/>
                <a:gd name="connsiteY103" fmla="*/ 4943 h 9532"/>
                <a:gd name="connsiteX104" fmla="*/ 6188 w 10000"/>
                <a:gd name="connsiteY104" fmla="*/ 4789 h 9532"/>
                <a:gd name="connsiteX105" fmla="*/ 6417 w 10000"/>
                <a:gd name="connsiteY105" fmla="*/ 4898 h 9532"/>
                <a:gd name="connsiteX106" fmla="*/ 6188 w 10000"/>
                <a:gd name="connsiteY106" fmla="*/ 4462 h 9532"/>
                <a:gd name="connsiteX107" fmla="*/ 6327 w 10000"/>
                <a:gd name="connsiteY107" fmla="*/ 4286 h 9532"/>
                <a:gd name="connsiteX108" fmla="*/ 6810 w 10000"/>
                <a:gd name="connsiteY108" fmla="*/ 4155 h 9532"/>
                <a:gd name="connsiteX109" fmla="*/ 6763 w 10000"/>
                <a:gd name="connsiteY109" fmla="*/ 4111 h 9532"/>
                <a:gd name="connsiteX110" fmla="*/ 7132 w 10000"/>
                <a:gd name="connsiteY110" fmla="*/ 3784 h 9532"/>
                <a:gd name="connsiteX111" fmla="*/ 7406 w 10000"/>
                <a:gd name="connsiteY111" fmla="*/ 3609 h 9532"/>
                <a:gd name="connsiteX112" fmla="*/ 8095 w 10000"/>
                <a:gd name="connsiteY112" fmla="*/ 3259 h 9532"/>
                <a:gd name="connsiteX113" fmla="*/ 8302 w 10000"/>
                <a:gd name="connsiteY113" fmla="*/ 3041 h 9532"/>
                <a:gd name="connsiteX114" fmla="*/ 8714 w 10000"/>
                <a:gd name="connsiteY114" fmla="*/ 2625 h 9532"/>
                <a:gd name="connsiteX115" fmla="*/ 9449 w 10000"/>
                <a:gd name="connsiteY115" fmla="*/ 2254 h 9532"/>
                <a:gd name="connsiteX116" fmla="*/ 9494 w 10000"/>
                <a:gd name="connsiteY116" fmla="*/ 2100 h 9532"/>
                <a:gd name="connsiteX117" fmla="*/ 9793 w 10000"/>
                <a:gd name="connsiteY117" fmla="*/ 1861 h 9532"/>
                <a:gd name="connsiteX118" fmla="*/ 10000 w 10000"/>
                <a:gd name="connsiteY118" fmla="*/ 1576 h 9532"/>
                <a:gd name="connsiteX119" fmla="*/ 9678 w 10000"/>
                <a:gd name="connsiteY119" fmla="*/ 1313 h 9532"/>
                <a:gd name="connsiteX0" fmla="*/ 9678 w 10000"/>
                <a:gd name="connsiteY0" fmla="*/ 1377 h 9964"/>
                <a:gd name="connsiteX1" fmla="*/ 9265 w 10000"/>
                <a:gd name="connsiteY1" fmla="*/ 1653 h 9964"/>
                <a:gd name="connsiteX2" fmla="*/ 9059 w 10000"/>
                <a:gd name="connsiteY2" fmla="*/ 1538 h 9964"/>
                <a:gd name="connsiteX3" fmla="*/ 8875 w 10000"/>
                <a:gd name="connsiteY3" fmla="*/ 1310 h 9964"/>
                <a:gd name="connsiteX4" fmla="*/ 9012 w 10000"/>
                <a:gd name="connsiteY4" fmla="*/ 1126 h 9964"/>
                <a:gd name="connsiteX5" fmla="*/ 8691 w 10000"/>
                <a:gd name="connsiteY5" fmla="*/ 873 h 9964"/>
                <a:gd name="connsiteX6" fmla="*/ 8553 w 10000"/>
                <a:gd name="connsiteY6" fmla="*/ 966 h 9964"/>
                <a:gd name="connsiteX7" fmla="*/ 8253 w 10000"/>
                <a:gd name="connsiteY7" fmla="*/ 1012 h 9964"/>
                <a:gd name="connsiteX8" fmla="*/ 8279 w 10000"/>
                <a:gd name="connsiteY8" fmla="*/ 1263 h 9964"/>
                <a:gd name="connsiteX9" fmla="*/ 8369 w 10000"/>
                <a:gd name="connsiteY9" fmla="*/ 1332 h 9964"/>
                <a:gd name="connsiteX10" fmla="*/ 8302 w 10000"/>
                <a:gd name="connsiteY10" fmla="*/ 1516 h 9964"/>
                <a:gd name="connsiteX11" fmla="*/ 8117 w 10000"/>
                <a:gd name="connsiteY11" fmla="*/ 1563 h 9964"/>
                <a:gd name="connsiteX12" fmla="*/ 7933 w 10000"/>
                <a:gd name="connsiteY12" fmla="*/ 1700 h 9964"/>
                <a:gd name="connsiteX13" fmla="*/ 8095 w 10000"/>
                <a:gd name="connsiteY13" fmla="*/ 1882 h 9964"/>
                <a:gd name="connsiteX14" fmla="*/ 8072 w 10000"/>
                <a:gd name="connsiteY14" fmla="*/ 2021 h 9964"/>
                <a:gd name="connsiteX15" fmla="*/ 7727 w 10000"/>
                <a:gd name="connsiteY15" fmla="*/ 2181 h 9964"/>
                <a:gd name="connsiteX16" fmla="*/ 7566 w 10000"/>
                <a:gd name="connsiteY16" fmla="*/ 2456 h 9964"/>
                <a:gd name="connsiteX17" fmla="*/ 7153 w 10000"/>
                <a:gd name="connsiteY17" fmla="*/ 1906 h 9964"/>
                <a:gd name="connsiteX18" fmla="*/ 6992 w 10000"/>
                <a:gd name="connsiteY18" fmla="*/ 2090 h 9964"/>
                <a:gd name="connsiteX19" fmla="*/ 7221 w 10000"/>
                <a:gd name="connsiteY19" fmla="*/ 2319 h 9964"/>
                <a:gd name="connsiteX20" fmla="*/ 7038 w 10000"/>
                <a:gd name="connsiteY20" fmla="*/ 2479 h 9964"/>
                <a:gd name="connsiteX21" fmla="*/ 7083 w 10000"/>
                <a:gd name="connsiteY21" fmla="*/ 2593 h 9964"/>
                <a:gd name="connsiteX22" fmla="*/ 6717 w 10000"/>
                <a:gd name="connsiteY22" fmla="*/ 2868 h 9964"/>
                <a:gd name="connsiteX23" fmla="*/ 6327 w 10000"/>
                <a:gd name="connsiteY23" fmla="*/ 2640 h 9964"/>
                <a:gd name="connsiteX24" fmla="*/ 5272 w 10000"/>
                <a:gd name="connsiteY24" fmla="*/ 3212 h 9964"/>
                <a:gd name="connsiteX25" fmla="*/ 5179 w 10000"/>
                <a:gd name="connsiteY25" fmla="*/ 2961 h 9964"/>
                <a:gd name="connsiteX26" fmla="*/ 5041 w 10000"/>
                <a:gd name="connsiteY26" fmla="*/ 2800 h 9964"/>
                <a:gd name="connsiteX27" fmla="*/ 5087 w 10000"/>
                <a:gd name="connsiteY27" fmla="*/ 2616 h 9964"/>
                <a:gd name="connsiteX28" fmla="*/ 4948 w 10000"/>
                <a:gd name="connsiteY28" fmla="*/ 2433 h 9964"/>
                <a:gd name="connsiteX29" fmla="*/ 4742 w 10000"/>
                <a:gd name="connsiteY29" fmla="*/ 2411 h 9964"/>
                <a:gd name="connsiteX30" fmla="*/ 4788 w 10000"/>
                <a:gd name="connsiteY30" fmla="*/ 2158 h 9964"/>
                <a:gd name="connsiteX31" fmla="*/ 4626 w 10000"/>
                <a:gd name="connsiteY31" fmla="*/ 2067 h 9964"/>
                <a:gd name="connsiteX32" fmla="*/ 4466 w 10000"/>
                <a:gd name="connsiteY32" fmla="*/ 1746 h 9964"/>
                <a:gd name="connsiteX33" fmla="*/ 4259 w 10000"/>
                <a:gd name="connsiteY33" fmla="*/ 1746 h 9964"/>
                <a:gd name="connsiteX34" fmla="*/ 4054 w 10000"/>
                <a:gd name="connsiteY34" fmla="*/ 1585 h 9964"/>
                <a:gd name="connsiteX35" fmla="*/ 4054 w 10000"/>
                <a:gd name="connsiteY35" fmla="*/ 1516 h 9964"/>
                <a:gd name="connsiteX36" fmla="*/ 3869 w 10000"/>
                <a:gd name="connsiteY36" fmla="*/ 1607 h 9964"/>
                <a:gd name="connsiteX37" fmla="*/ 3640 w 10000"/>
                <a:gd name="connsiteY37" fmla="*/ 1448 h 9964"/>
                <a:gd name="connsiteX38" fmla="*/ 3755 w 10000"/>
                <a:gd name="connsiteY38" fmla="*/ 1218 h 9964"/>
                <a:gd name="connsiteX39" fmla="*/ 3570 w 10000"/>
                <a:gd name="connsiteY39" fmla="*/ 1034 h 9964"/>
                <a:gd name="connsiteX40" fmla="*/ 3711 w 10000"/>
                <a:gd name="connsiteY40" fmla="*/ 760 h 9964"/>
                <a:gd name="connsiteX41" fmla="*/ 3250 w 10000"/>
                <a:gd name="connsiteY41" fmla="*/ 393 h 9964"/>
                <a:gd name="connsiteX42" fmla="*/ 2975 w 10000"/>
                <a:gd name="connsiteY42" fmla="*/ 508 h 9964"/>
                <a:gd name="connsiteX43" fmla="*/ 2446 w 10000"/>
                <a:gd name="connsiteY43" fmla="*/ 301 h 9964"/>
                <a:gd name="connsiteX44" fmla="*/ 2239 w 10000"/>
                <a:gd name="connsiteY44" fmla="*/ 437 h 9964"/>
                <a:gd name="connsiteX45" fmla="*/ 1734 w 10000"/>
                <a:gd name="connsiteY45" fmla="*/ 25 h 9964"/>
                <a:gd name="connsiteX46" fmla="*/ 1321 w 10000"/>
                <a:gd name="connsiteY46" fmla="*/ 598 h 9964"/>
                <a:gd name="connsiteX47" fmla="*/ 1321 w 10000"/>
                <a:gd name="connsiteY47" fmla="*/ 942 h 9964"/>
                <a:gd name="connsiteX48" fmla="*/ 1022 w 10000"/>
                <a:gd name="connsiteY48" fmla="*/ 667 h 9964"/>
                <a:gd name="connsiteX49" fmla="*/ 679 w 10000"/>
                <a:gd name="connsiteY49" fmla="*/ 1126 h 9964"/>
                <a:gd name="connsiteX50" fmla="*/ 933 w 10000"/>
                <a:gd name="connsiteY50" fmla="*/ 1493 h 9964"/>
                <a:gd name="connsiteX51" fmla="*/ 471 w 10000"/>
                <a:gd name="connsiteY51" fmla="*/ 1928 h 9964"/>
                <a:gd name="connsiteX52" fmla="*/ 427 w 10000"/>
                <a:gd name="connsiteY52" fmla="*/ 1928 h 9964"/>
                <a:gd name="connsiteX53" fmla="*/ 609 w 10000"/>
                <a:gd name="connsiteY53" fmla="*/ 2181 h 9964"/>
                <a:gd name="connsiteX54" fmla="*/ 379 w 10000"/>
                <a:gd name="connsiteY54" fmla="*/ 2433 h 9964"/>
                <a:gd name="connsiteX55" fmla="*/ 539 w 10000"/>
                <a:gd name="connsiteY55" fmla="*/ 2593 h 9964"/>
                <a:gd name="connsiteX56" fmla="*/ 471 w 10000"/>
                <a:gd name="connsiteY56" fmla="*/ 2846 h 9964"/>
                <a:gd name="connsiteX57" fmla="*/ 379 w 10000"/>
                <a:gd name="connsiteY57" fmla="*/ 2984 h 9964"/>
                <a:gd name="connsiteX58" fmla="*/ 539 w 10000"/>
                <a:gd name="connsiteY58" fmla="*/ 3258 h 9964"/>
                <a:gd name="connsiteX59" fmla="*/ 266 w 10000"/>
                <a:gd name="connsiteY59" fmla="*/ 3694 h 9964"/>
                <a:gd name="connsiteX60" fmla="*/ 471 w 10000"/>
                <a:gd name="connsiteY60" fmla="*/ 3947 h 9964"/>
                <a:gd name="connsiteX61" fmla="*/ 105 w 10000"/>
                <a:gd name="connsiteY61" fmla="*/ 4382 h 9964"/>
                <a:gd name="connsiteX62" fmla="*/ 288 w 10000"/>
                <a:gd name="connsiteY62" fmla="*/ 4612 h 9964"/>
                <a:gd name="connsiteX63" fmla="*/ 12 w 10000"/>
                <a:gd name="connsiteY63" fmla="*/ 4978 h 9964"/>
                <a:gd name="connsiteX64" fmla="*/ 379 w 10000"/>
                <a:gd name="connsiteY64" fmla="*/ 5116 h 9964"/>
                <a:gd name="connsiteX65" fmla="*/ 266 w 10000"/>
                <a:gd name="connsiteY65" fmla="*/ 5414 h 9964"/>
                <a:gd name="connsiteX66" fmla="*/ 357 w 10000"/>
                <a:gd name="connsiteY66" fmla="*/ 5758 h 9964"/>
                <a:gd name="connsiteX67" fmla="*/ 982 w 10000"/>
                <a:gd name="connsiteY67" fmla="*/ 5444 h 9964"/>
                <a:gd name="connsiteX68" fmla="*/ 1342 w 10000"/>
                <a:gd name="connsiteY68" fmla="*/ 5165 h 9964"/>
                <a:gd name="connsiteX69" fmla="*/ 1775 w 10000"/>
                <a:gd name="connsiteY69" fmla="*/ 5171 h 9964"/>
                <a:gd name="connsiteX70" fmla="*/ 2239 w 10000"/>
                <a:gd name="connsiteY70" fmla="*/ 5007 h 9964"/>
                <a:gd name="connsiteX71" fmla="*/ 2810 w 10000"/>
                <a:gd name="connsiteY71" fmla="*/ 4747 h 9964"/>
                <a:gd name="connsiteX72" fmla="*/ 2997 w 10000"/>
                <a:gd name="connsiteY72" fmla="*/ 4549 h 9964"/>
                <a:gd name="connsiteX73" fmla="*/ 3386 w 10000"/>
                <a:gd name="connsiteY73" fmla="*/ 4163 h 9964"/>
                <a:gd name="connsiteX74" fmla="*/ 4023 w 10000"/>
                <a:gd name="connsiteY74" fmla="*/ 4430 h 9964"/>
                <a:gd name="connsiteX75" fmla="*/ 4296 w 10000"/>
                <a:gd name="connsiteY75" fmla="*/ 4413 h 9964"/>
                <a:gd name="connsiteX76" fmla="*/ 4241 w 10000"/>
                <a:gd name="connsiteY76" fmla="*/ 4083 h 9964"/>
                <a:gd name="connsiteX77" fmla="*/ 4282 w 10000"/>
                <a:gd name="connsiteY77" fmla="*/ 3662 h 9964"/>
                <a:gd name="connsiteX78" fmla="*/ 4895 w 10000"/>
                <a:gd name="connsiteY78" fmla="*/ 3565 h 9964"/>
                <a:gd name="connsiteX79" fmla="*/ 4809 w 10000"/>
                <a:gd name="connsiteY79" fmla="*/ 4068 h 9964"/>
                <a:gd name="connsiteX80" fmla="*/ 2768 w 10000"/>
                <a:gd name="connsiteY80" fmla="*/ 9634 h 9964"/>
                <a:gd name="connsiteX81" fmla="*/ 3387 w 10000"/>
                <a:gd name="connsiteY81" fmla="*/ 9955 h 9964"/>
                <a:gd name="connsiteX82" fmla="*/ 3687 w 10000"/>
                <a:gd name="connsiteY82" fmla="*/ 9359 h 9964"/>
                <a:gd name="connsiteX83" fmla="*/ 3663 w 10000"/>
                <a:gd name="connsiteY83" fmla="*/ 9266 h 9964"/>
                <a:gd name="connsiteX84" fmla="*/ 3869 w 10000"/>
                <a:gd name="connsiteY84" fmla="*/ 8899 h 9964"/>
                <a:gd name="connsiteX85" fmla="*/ 3755 w 10000"/>
                <a:gd name="connsiteY85" fmla="*/ 8647 h 9964"/>
                <a:gd name="connsiteX86" fmla="*/ 3616 w 10000"/>
                <a:gd name="connsiteY86" fmla="*/ 8418 h 9964"/>
                <a:gd name="connsiteX87" fmla="*/ 3755 w 10000"/>
                <a:gd name="connsiteY87" fmla="*/ 8189 h 9964"/>
                <a:gd name="connsiteX88" fmla="*/ 3823 w 10000"/>
                <a:gd name="connsiteY88" fmla="*/ 7777 h 9964"/>
                <a:gd name="connsiteX89" fmla="*/ 3570 w 10000"/>
                <a:gd name="connsiteY89" fmla="*/ 7364 h 9964"/>
                <a:gd name="connsiteX90" fmla="*/ 3663 w 10000"/>
                <a:gd name="connsiteY90" fmla="*/ 6881 h 9964"/>
                <a:gd name="connsiteX91" fmla="*/ 3755 w 10000"/>
                <a:gd name="connsiteY91" fmla="*/ 6651 h 9964"/>
                <a:gd name="connsiteX92" fmla="*/ 3800 w 10000"/>
                <a:gd name="connsiteY92" fmla="*/ 6447 h 9964"/>
                <a:gd name="connsiteX93" fmla="*/ 4076 w 10000"/>
                <a:gd name="connsiteY93" fmla="*/ 6056 h 9964"/>
                <a:gd name="connsiteX94" fmla="*/ 4626 w 10000"/>
                <a:gd name="connsiteY94" fmla="*/ 5850 h 9964"/>
                <a:gd name="connsiteX95" fmla="*/ 4720 w 10000"/>
                <a:gd name="connsiteY95" fmla="*/ 5942 h 9964"/>
                <a:gd name="connsiteX96" fmla="*/ 4650 w 10000"/>
                <a:gd name="connsiteY96" fmla="*/ 6011 h 9964"/>
                <a:gd name="connsiteX97" fmla="*/ 4811 w 10000"/>
                <a:gd name="connsiteY97" fmla="*/ 6148 h 9964"/>
                <a:gd name="connsiteX98" fmla="*/ 4994 w 10000"/>
                <a:gd name="connsiteY98" fmla="*/ 5964 h 9964"/>
                <a:gd name="connsiteX99" fmla="*/ 5202 w 10000"/>
                <a:gd name="connsiteY99" fmla="*/ 5804 h 9964"/>
                <a:gd name="connsiteX100" fmla="*/ 5636 w 10000"/>
                <a:gd name="connsiteY100" fmla="*/ 5138 h 9964"/>
                <a:gd name="connsiteX101" fmla="*/ 5984 w 10000"/>
                <a:gd name="connsiteY101" fmla="*/ 5346 h 9964"/>
                <a:gd name="connsiteX102" fmla="*/ 5958 w 10000"/>
                <a:gd name="connsiteY102" fmla="*/ 5186 h 9964"/>
                <a:gd name="connsiteX103" fmla="*/ 6188 w 10000"/>
                <a:gd name="connsiteY103" fmla="*/ 5024 h 9964"/>
                <a:gd name="connsiteX104" fmla="*/ 6417 w 10000"/>
                <a:gd name="connsiteY104" fmla="*/ 5138 h 9964"/>
                <a:gd name="connsiteX105" fmla="*/ 6188 w 10000"/>
                <a:gd name="connsiteY105" fmla="*/ 4681 h 9964"/>
                <a:gd name="connsiteX106" fmla="*/ 6327 w 10000"/>
                <a:gd name="connsiteY106" fmla="*/ 4496 h 9964"/>
                <a:gd name="connsiteX107" fmla="*/ 6810 w 10000"/>
                <a:gd name="connsiteY107" fmla="*/ 4359 h 9964"/>
                <a:gd name="connsiteX108" fmla="*/ 6763 w 10000"/>
                <a:gd name="connsiteY108" fmla="*/ 4313 h 9964"/>
                <a:gd name="connsiteX109" fmla="*/ 7132 w 10000"/>
                <a:gd name="connsiteY109" fmla="*/ 3970 h 9964"/>
                <a:gd name="connsiteX110" fmla="*/ 7406 w 10000"/>
                <a:gd name="connsiteY110" fmla="*/ 3786 h 9964"/>
                <a:gd name="connsiteX111" fmla="*/ 8095 w 10000"/>
                <a:gd name="connsiteY111" fmla="*/ 3419 h 9964"/>
                <a:gd name="connsiteX112" fmla="*/ 8302 w 10000"/>
                <a:gd name="connsiteY112" fmla="*/ 3190 h 9964"/>
                <a:gd name="connsiteX113" fmla="*/ 8714 w 10000"/>
                <a:gd name="connsiteY113" fmla="*/ 2754 h 9964"/>
                <a:gd name="connsiteX114" fmla="*/ 9449 w 10000"/>
                <a:gd name="connsiteY114" fmla="*/ 2365 h 9964"/>
                <a:gd name="connsiteX115" fmla="*/ 9494 w 10000"/>
                <a:gd name="connsiteY115" fmla="*/ 2203 h 9964"/>
                <a:gd name="connsiteX116" fmla="*/ 9793 w 10000"/>
                <a:gd name="connsiteY116" fmla="*/ 1952 h 9964"/>
                <a:gd name="connsiteX117" fmla="*/ 10000 w 10000"/>
                <a:gd name="connsiteY117" fmla="*/ 1653 h 9964"/>
                <a:gd name="connsiteX118" fmla="*/ 9678 w 10000"/>
                <a:gd name="connsiteY118" fmla="*/ 1377 h 9964"/>
                <a:gd name="connsiteX0" fmla="*/ 9678 w 10000"/>
                <a:gd name="connsiteY0" fmla="*/ 1382 h 9991"/>
                <a:gd name="connsiteX1" fmla="*/ 9265 w 10000"/>
                <a:gd name="connsiteY1" fmla="*/ 1659 h 9991"/>
                <a:gd name="connsiteX2" fmla="*/ 9059 w 10000"/>
                <a:gd name="connsiteY2" fmla="*/ 1544 h 9991"/>
                <a:gd name="connsiteX3" fmla="*/ 8875 w 10000"/>
                <a:gd name="connsiteY3" fmla="*/ 1315 h 9991"/>
                <a:gd name="connsiteX4" fmla="*/ 9012 w 10000"/>
                <a:gd name="connsiteY4" fmla="*/ 1130 h 9991"/>
                <a:gd name="connsiteX5" fmla="*/ 8691 w 10000"/>
                <a:gd name="connsiteY5" fmla="*/ 876 h 9991"/>
                <a:gd name="connsiteX6" fmla="*/ 8553 w 10000"/>
                <a:gd name="connsiteY6" fmla="*/ 969 h 9991"/>
                <a:gd name="connsiteX7" fmla="*/ 8253 w 10000"/>
                <a:gd name="connsiteY7" fmla="*/ 1016 h 9991"/>
                <a:gd name="connsiteX8" fmla="*/ 8279 w 10000"/>
                <a:gd name="connsiteY8" fmla="*/ 1268 h 9991"/>
                <a:gd name="connsiteX9" fmla="*/ 8369 w 10000"/>
                <a:gd name="connsiteY9" fmla="*/ 1337 h 9991"/>
                <a:gd name="connsiteX10" fmla="*/ 8302 w 10000"/>
                <a:gd name="connsiteY10" fmla="*/ 1521 h 9991"/>
                <a:gd name="connsiteX11" fmla="*/ 8117 w 10000"/>
                <a:gd name="connsiteY11" fmla="*/ 1569 h 9991"/>
                <a:gd name="connsiteX12" fmla="*/ 7933 w 10000"/>
                <a:gd name="connsiteY12" fmla="*/ 1706 h 9991"/>
                <a:gd name="connsiteX13" fmla="*/ 8095 w 10000"/>
                <a:gd name="connsiteY13" fmla="*/ 1889 h 9991"/>
                <a:gd name="connsiteX14" fmla="*/ 8072 w 10000"/>
                <a:gd name="connsiteY14" fmla="*/ 2028 h 9991"/>
                <a:gd name="connsiteX15" fmla="*/ 7727 w 10000"/>
                <a:gd name="connsiteY15" fmla="*/ 2189 h 9991"/>
                <a:gd name="connsiteX16" fmla="*/ 7566 w 10000"/>
                <a:gd name="connsiteY16" fmla="*/ 2465 h 9991"/>
                <a:gd name="connsiteX17" fmla="*/ 7153 w 10000"/>
                <a:gd name="connsiteY17" fmla="*/ 1913 h 9991"/>
                <a:gd name="connsiteX18" fmla="*/ 6992 w 10000"/>
                <a:gd name="connsiteY18" fmla="*/ 2098 h 9991"/>
                <a:gd name="connsiteX19" fmla="*/ 7221 w 10000"/>
                <a:gd name="connsiteY19" fmla="*/ 2327 h 9991"/>
                <a:gd name="connsiteX20" fmla="*/ 7038 w 10000"/>
                <a:gd name="connsiteY20" fmla="*/ 2488 h 9991"/>
                <a:gd name="connsiteX21" fmla="*/ 7083 w 10000"/>
                <a:gd name="connsiteY21" fmla="*/ 2602 h 9991"/>
                <a:gd name="connsiteX22" fmla="*/ 6717 w 10000"/>
                <a:gd name="connsiteY22" fmla="*/ 2878 h 9991"/>
                <a:gd name="connsiteX23" fmla="*/ 6327 w 10000"/>
                <a:gd name="connsiteY23" fmla="*/ 2650 h 9991"/>
                <a:gd name="connsiteX24" fmla="*/ 5272 w 10000"/>
                <a:gd name="connsiteY24" fmla="*/ 3224 h 9991"/>
                <a:gd name="connsiteX25" fmla="*/ 5179 w 10000"/>
                <a:gd name="connsiteY25" fmla="*/ 2972 h 9991"/>
                <a:gd name="connsiteX26" fmla="*/ 5041 w 10000"/>
                <a:gd name="connsiteY26" fmla="*/ 2810 h 9991"/>
                <a:gd name="connsiteX27" fmla="*/ 5087 w 10000"/>
                <a:gd name="connsiteY27" fmla="*/ 2625 h 9991"/>
                <a:gd name="connsiteX28" fmla="*/ 4948 w 10000"/>
                <a:gd name="connsiteY28" fmla="*/ 2442 h 9991"/>
                <a:gd name="connsiteX29" fmla="*/ 4742 w 10000"/>
                <a:gd name="connsiteY29" fmla="*/ 2420 h 9991"/>
                <a:gd name="connsiteX30" fmla="*/ 4788 w 10000"/>
                <a:gd name="connsiteY30" fmla="*/ 2166 h 9991"/>
                <a:gd name="connsiteX31" fmla="*/ 4626 w 10000"/>
                <a:gd name="connsiteY31" fmla="*/ 2074 h 9991"/>
                <a:gd name="connsiteX32" fmla="*/ 4466 w 10000"/>
                <a:gd name="connsiteY32" fmla="*/ 1752 h 9991"/>
                <a:gd name="connsiteX33" fmla="*/ 4259 w 10000"/>
                <a:gd name="connsiteY33" fmla="*/ 1752 h 9991"/>
                <a:gd name="connsiteX34" fmla="*/ 4054 w 10000"/>
                <a:gd name="connsiteY34" fmla="*/ 1591 h 9991"/>
                <a:gd name="connsiteX35" fmla="*/ 4054 w 10000"/>
                <a:gd name="connsiteY35" fmla="*/ 1521 h 9991"/>
                <a:gd name="connsiteX36" fmla="*/ 3869 w 10000"/>
                <a:gd name="connsiteY36" fmla="*/ 1613 h 9991"/>
                <a:gd name="connsiteX37" fmla="*/ 3640 w 10000"/>
                <a:gd name="connsiteY37" fmla="*/ 1453 h 9991"/>
                <a:gd name="connsiteX38" fmla="*/ 3755 w 10000"/>
                <a:gd name="connsiteY38" fmla="*/ 1222 h 9991"/>
                <a:gd name="connsiteX39" fmla="*/ 3570 w 10000"/>
                <a:gd name="connsiteY39" fmla="*/ 1038 h 9991"/>
                <a:gd name="connsiteX40" fmla="*/ 3711 w 10000"/>
                <a:gd name="connsiteY40" fmla="*/ 763 h 9991"/>
                <a:gd name="connsiteX41" fmla="*/ 3250 w 10000"/>
                <a:gd name="connsiteY41" fmla="*/ 394 h 9991"/>
                <a:gd name="connsiteX42" fmla="*/ 2975 w 10000"/>
                <a:gd name="connsiteY42" fmla="*/ 510 h 9991"/>
                <a:gd name="connsiteX43" fmla="*/ 2446 w 10000"/>
                <a:gd name="connsiteY43" fmla="*/ 302 h 9991"/>
                <a:gd name="connsiteX44" fmla="*/ 2239 w 10000"/>
                <a:gd name="connsiteY44" fmla="*/ 439 h 9991"/>
                <a:gd name="connsiteX45" fmla="*/ 1734 w 10000"/>
                <a:gd name="connsiteY45" fmla="*/ 25 h 9991"/>
                <a:gd name="connsiteX46" fmla="*/ 1321 w 10000"/>
                <a:gd name="connsiteY46" fmla="*/ 600 h 9991"/>
                <a:gd name="connsiteX47" fmla="*/ 1321 w 10000"/>
                <a:gd name="connsiteY47" fmla="*/ 945 h 9991"/>
                <a:gd name="connsiteX48" fmla="*/ 1022 w 10000"/>
                <a:gd name="connsiteY48" fmla="*/ 669 h 9991"/>
                <a:gd name="connsiteX49" fmla="*/ 679 w 10000"/>
                <a:gd name="connsiteY49" fmla="*/ 1130 h 9991"/>
                <a:gd name="connsiteX50" fmla="*/ 933 w 10000"/>
                <a:gd name="connsiteY50" fmla="*/ 1498 h 9991"/>
                <a:gd name="connsiteX51" fmla="*/ 471 w 10000"/>
                <a:gd name="connsiteY51" fmla="*/ 1935 h 9991"/>
                <a:gd name="connsiteX52" fmla="*/ 427 w 10000"/>
                <a:gd name="connsiteY52" fmla="*/ 1935 h 9991"/>
                <a:gd name="connsiteX53" fmla="*/ 609 w 10000"/>
                <a:gd name="connsiteY53" fmla="*/ 2189 h 9991"/>
                <a:gd name="connsiteX54" fmla="*/ 379 w 10000"/>
                <a:gd name="connsiteY54" fmla="*/ 2442 h 9991"/>
                <a:gd name="connsiteX55" fmla="*/ 539 w 10000"/>
                <a:gd name="connsiteY55" fmla="*/ 2602 h 9991"/>
                <a:gd name="connsiteX56" fmla="*/ 471 w 10000"/>
                <a:gd name="connsiteY56" fmla="*/ 2856 h 9991"/>
                <a:gd name="connsiteX57" fmla="*/ 379 w 10000"/>
                <a:gd name="connsiteY57" fmla="*/ 2995 h 9991"/>
                <a:gd name="connsiteX58" fmla="*/ 539 w 10000"/>
                <a:gd name="connsiteY58" fmla="*/ 3270 h 9991"/>
                <a:gd name="connsiteX59" fmla="*/ 266 w 10000"/>
                <a:gd name="connsiteY59" fmla="*/ 3707 h 9991"/>
                <a:gd name="connsiteX60" fmla="*/ 471 w 10000"/>
                <a:gd name="connsiteY60" fmla="*/ 3961 h 9991"/>
                <a:gd name="connsiteX61" fmla="*/ 105 w 10000"/>
                <a:gd name="connsiteY61" fmla="*/ 4398 h 9991"/>
                <a:gd name="connsiteX62" fmla="*/ 288 w 10000"/>
                <a:gd name="connsiteY62" fmla="*/ 4629 h 9991"/>
                <a:gd name="connsiteX63" fmla="*/ 12 w 10000"/>
                <a:gd name="connsiteY63" fmla="*/ 4996 h 9991"/>
                <a:gd name="connsiteX64" fmla="*/ 379 w 10000"/>
                <a:gd name="connsiteY64" fmla="*/ 5134 h 9991"/>
                <a:gd name="connsiteX65" fmla="*/ 266 w 10000"/>
                <a:gd name="connsiteY65" fmla="*/ 5434 h 9991"/>
                <a:gd name="connsiteX66" fmla="*/ 357 w 10000"/>
                <a:gd name="connsiteY66" fmla="*/ 5779 h 9991"/>
                <a:gd name="connsiteX67" fmla="*/ 982 w 10000"/>
                <a:gd name="connsiteY67" fmla="*/ 5464 h 9991"/>
                <a:gd name="connsiteX68" fmla="*/ 1342 w 10000"/>
                <a:gd name="connsiteY68" fmla="*/ 5184 h 9991"/>
                <a:gd name="connsiteX69" fmla="*/ 1775 w 10000"/>
                <a:gd name="connsiteY69" fmla="*/ 5190 h 9991"/>
                <a:gd name="connsiteX70" fmla="*/ 2239 w 10000"/>
                <a:gd name="connsiteY70" fmla="*/ 5025 h 9991"/>
                <a:gd name="connsiteX71" fmla="*/ 2810 w 10000"/>
                <a:gd name="connsiteY71" fmla="*/ 4764 h 9991"/>
                <a:gd name="connsiteX72" fmla="*/ 2997 w 10000"/>
                <a:gd name="connsiteY72" fmla="*/ 4565 h 9991"/>
                <a:gd name="connsiteX73" fmla="*/ 3386 w 10000"/>
                <a:gd name="connsiteY73" fmla="*/ 4178 h 9991"/>
                <a:gd name="connsiteX74" fmla="*/ 4023 w 10000"/>
                <a:gd name="connsiteY74" fmla="*/ 4446 h 9991"/>
                <a:gd name="connsiteX75" fmla="*/ 4296 w 10000"/>
                <a:gd name="connsiteY75" fmla="*/ 4429 h 9991"/>
                <a:gd name="connsiteX76" fmla="*/ 4241 w 10000"/>
                <a:gd name="connsiteY76" fmla="*/ 4098 h 9991"/>
                <a:gd name="connsiteX77" fmla="*/ 4282 w 10000"/>
                <a:gd name="connsiteY77" fmla="*/ 3675 h 9991"/>
                <a:gd name="connsiteX78" fmla="*/ 4895 w 10000"/>
                <a:gd name="connsiteY78" fmla="*/ 3578 h 9991"/>
                <a:gd name="connsiteX79" fmla="*/ 4809 w 10000"/>
                <a:gd name="connsiteY79" fmla="*/ 4083 h 9991"/>
                <a:gd name="connsiteX80" fmla="*/ 3387 w 10000"/>
                <a:gd name="connsiteY80" fmla="*/ 9991 h 9991"/>
                <a:gd name="connsiteX81" fmla="*/ 3687 w 10000"/>
                <a:gd name="connsiteY81" fmla="*/ 9393 h 9991"/>
                <a:gd name="connsiteX82" fmla="*/ 3663 w 10000"/>
                <a:gd name="connsiteY82" fmla="*/ 9299 h 9991"/>
                <a:gd name="connsiteX83" fmla="*/ 3869 w 10000"/>
                <a:gd name="connsiteY83" fmla="*/ 8931 h 9991"/>
                <a:gd name="connsiteX84" fmla="*/ 3755 w 10000"/>
                <a:gd name="connsiteY84" fmla="*/ 8678 h 9991"/>
                <a:gd name="connsiteX85" fmla="*/ 3616 w 10000"/>
                <a:gd name="connsiteY85" fmla="*/ 8448 h 9991"/>
                <a:gd name="connsiteX86" fmla="*/ 3755 w 10000"/>
                <a:gd name="connsiteY86" fmla="*/ 8219 h 9991"/>
                <a:gd name="connsiteX87" fmla="*/ 3823 w 10000"/>
                <a:gd name="connsiteY87" fmla="*/ 7805 h 9991"/>
                <a:gd name="connsiteX88" fmla="*/ 3570 w 10000"/>
                <a:gd name="connsiteY88" fmla="*/ 7391 h 9991"/>
                <a:gd name="connsiteX89" fmla="*/ 3663 w 10000"/>
                <a:gd name="connsiteY89" fmla="*/ 6906 h 9991"/>
                <a:gd name="connsiteX90" fmla="*/ 3755 w 10000"/>
                <a:gd name="connsiteY90" fmla="*/ 6675 h 9991"/>
                <a:gd name="connsiteX91" fmla="*/ 3800 w 10000"/>
                <a:gd name="connsiteY91" fmla="*/ 6470 h 9991"/>
                <a:gd name="connsiteX92" fmla="*/ 4076 w 10000"/>
                <a:gd name="connsiteY92" fmla="*/ 6078 h 9991"/>
                <a:gd name="connsiteX93" fmla="*/ 4626 w 10000"/>
                <a:gd name="connsiteY93" fmla="*/ 5871 h 9991"/>
                <a:gd name="connsiteX94" fmla="*/ 4720 w 10000"/>
                <a:gd name="connsiteY94" fmla="*/ 5963 h 9991"/>
                <a:gd name="connsiteX95" fmla="*/ 4650 w 10000"/>
                <a:gd name="connsiteY95" fmla="*/ 6033 h 9991"/>
                <a:gd name="connsiteX96" fmla="*/ 4811 w 10000"/>
                <a:gd name="connsiteY96" fmla="*/ 6170 h 9991"/>
                <a:gd name="connsiteX97" fmla="*/ 4994 w 10000"/>
                <a:gd name="connsiteY97" fmla="*/ 5986 h 9991"/>
                <a:gd name="connsiteX98" fmla="*/ 5202 w 10000"/>
                <a:gd name="connsiteY98" fmla="*/ 5825 h 9991"/>
                <a:gd name="connsiteX99" fmla="*/ 5636 w 10000"/>
                <a:gd name="connsiteY99" fmla="*/ 5157 h 9991"/>
                <a:gd name="connsiteX100" fmla="*/ 5984 w 10000"/>
                <a:gd name="connsiteY100" fmla="*/ 5365 h 9991"/>
                <a:gd name="connsiteX101" fmla="*/ 5958 w 10000"/>
                <a:gd name="connsiteY101" fmla="*/ 5205 h 9991"/>
                <a:gd name="connsiteX102" fmla="*/ 6188 w 10000"/>
                <a:gd name="connsiteY102" fmla="*/ 5042 h 9991"/>
                <a:gd name="connsiteX103" fmla="*/ 6417 w 10000"/>
                <a:gd name="connsiteY103" fmla="*/ 5157 h 9991"/>
                <a:gd name="connsiteX104" fmla="*/ 6188 w 10000"/>
                <a:gd name="connsiteY104" fmla="*/ 4698 h 9991"/>
                <a:gd name="connsiteX105" fmla="*/ 6327 w 10000"/>
                <a:gd name="connsiteY105" fmla="*/ 4512 h 9991"/>
                <a:gd name="connsiteX106" fmla="*/ 6810 w 10000"/>
                <a:gd name="connsiteY106" fmla="*/ 4375 h 9991"/>
                <a:gd name="connsiteX107" fmla="*/ 6763 w 10000"/>
                <a:gd name="connsiteY107" fmla="*/ 4329 h 9991"/>
                <a:gd name="connsiteX108" fmla="*/ 7132 w 10000"/>
                <a:gd name="connsiteY108" fmla="*/ 3984 h 9991"/>
                <a:gd name="connsiteX109" fmla="*/ 7406 w 10000"/>
                <a:gd name="connsiteY109" fmla="*/ 3800 h 9991"/>
                <a:gd name="connsiteX110" fmla="*/ 8095 w 10000"/>
                <a:gd name="connsiteY110" fmla="*/ 3431 h 9991"/>
                <a:gd name="connsiteX111" fmla="*/ 8302 w 10000"/>
                <a:gd name="connsiteY111" fmla="*/ 3202 h 9991"/>
                <a:gd name="connsiteX112" fmla="*/ 8714 w 10000"/>
                <a:gd name="connsiteY112" fmla="*/ 2764 h 9991"/>
                <a:gd name="connsiteX113" fmla="*/ 9449 w 10000"/>
                <a:gd name="connsiteY113" fmla="*/ 2374 h 9991"/>
                <a:gd name="connsiteX114" fmla="*/ 9494 w 10000"/>
                <a:gd name="connsiteY114" fmla="*/ 2211 h 9991"/>
                <a:gd name="connsiteX115" fmla="*/ 9793 w 10000"/>
                <a:gd name="connsiteY115" fmla="*/ 1959 h 9991"/>
                <a:gd name="connsiteX116" fmla="*/ 10000 w 10000"/>
                <a:gd name="connsiteY116" fmla="*/ 1659 h 9991"/>
                <a:gd name="connsiteX117" fmla="*/ 9678 w 10000"/>
                <a:gd name="connsiteY117" fmla="*/ 1382 h 9991"/>
                <a:gd name="connsiteX0" fmla="*/ 9678 w 10000"/>
                <a:gd name="connsiteY0" fmla="*/ 1383 h 9401"/>
                <a:gd name="connsiteX1" fmla="*/ 9265 w 10000"/>
                <a:gd name="connsiteY1" fmla="*/ 1660 h 9401"/>
                <a:gd name="connsiteX2" fmla="*/ 9059 w 10000"/>
                <a:gd name="connsiteY2" fmla="*/ 1545 h 9401"/>
                <a:gd name="connsiteX3" fmla="*/ 8875 w 10000"/>
                <a:gd name="connsiteY3" fmla="*/ 1316 h 9401"/>
                <a:gd name="connsiteX4" fmla="*/ 9012 w 10000"/>
                <a:gd name="connsiteY4" fmla="*/ 1131 h 9401"/>
                <a:gd name="connsiteX5" fmla="*/ 8691 w 10000"/>
                <a:gd name="connsiteY5" fmla="*/ 877 h 9401"/>
                <a:gd name="connsiteX6" fmla="*/ 8553 w 10000"/>
                <a:gd name="connsiteY6" fmla="*/ 970 h 9401"/>
                <a:gd name="connsiteX7" fmla="*/ 8253 w 10000"/>
                <a:gd name="connsiteY7" fmla="*/ 1017 h 9401"/>
                <a:gd name="connsiteX8" fmla="*/ 8279 w 10000"/>
                <a:gd name="connsiteY8" fmla="*/ 1269 h 9401"/>
                <a:gd name="connsiteX9" fmla="*/ 8369 w 10000"/>
                <a:gd name="connsiteY9" fmla="*/ 1338 h 9401"/>
                <a:gd name="connsiteX10" fmla="*/ 8302 w 10000"/>
                <a:gd name="connsiteY10" fmla="*/ 1522 h 9401"/>
                <a:gd name="connsiteX11" fmla="*/ 8117 w 10000"/>
                <a:gd name="connsiteY11" fmla="*/ 1570 h 9401"/>
                <a:gd name="connsiteX12" fmla="*/ 7933 w 10000"/>
                <a:gd name="connsiteY12" fmla="*/ 1708 h 9401"/>
                <a:gd name="connsiteX13" fmla="*/ 8095 w 10000"/>
                <a:gd name="connsiteY13" fmla="*/ 1891 h 9401"/>
                <a:gd name="connsiteX14" fmla="*/ 8072 w 10000"/>
                <a:gd name="connsiteY14" fmla="*/ 2030 h 9401"/>
                <a:gd name="connsiteX15" fmla="*/ 7727 w 10000"/>
                <a:gd name="connsiteY15" fmla="*/ 2191 h 9401"/>
                <a:gd name="connsiteX16" fmla="*/ 7566 w 10000"/>
                <a:gd name="connsiteY16" fmla="*/ 2467 h 9401"/>
                <a:gd name="connsiteX17" fmla="*/ 7153 w 10000"/>
                <a:gd name="connsiteY17" fmla="*/ 1915 h 9401"/>
                <a:gd name="connsiteX18" fmla="*/ 6992 w 10000"/>
                <a:gd name="connsiteY18" fmla="*/ 2100 h 9401"/>
                <a:gd name="connsiteX19" fmla="*/ 7221 w 10000"/>
                <a:gd name="connsiteY19" fmla="*/ 2329 h 9401"/>
                <a:gd name="connsiteX20" fmla="*/ 7038 w 10000"/>
                <a:gd name="connsiteY20" fmla="*/ 2490 h 9401"/>
                <a:gd name="connsiteX21" fmla="*/ 7083 w 10000"/>
                <a:gd name="connsiteY21" fmla="*/ 2604 h 9401"/>
                <a:gd name="connsiteX22" fmla="*/ 6717 w 10000"/>
                <a:gd name="connsiteY22" fmla="*/ 2881 h 9401"/>
                <a:gd name="connsiteX23" fmla="*/ 6327 w 10000"/>
                <a:gd name="connsiteY23" fmla="*/ 2652 h 9401"/>
                <a:gd name="connsiteX24" fmla="*/ 5272 w 10000"/>
                <a:gd name="connsiteY24" fmla="*/ 3227 h 9401"/>
                <a:gd name="connsiteX25" fmla="*/ 5179 w 10000"/>
                <a:gd name="connsiteY25" fmla="*/ 2975 h 9401"/>
                <a:gd name="connsiteX26" fmla="*/ 5041 w 10000"/>
                <a:gd name="connsiteY26" fmla="*/ 2813 h 9401"/>
                <a:gd name="connsiteX27" fmla="*/ 5087 w 10000"/>
                <a:gd name="connsiteY27" fmla="*/ 2627 h 9401"/>
                <a:gd name="connsiteX28" fmla="*/ 4948 w 10000"/>
                <a:gd name="connsiteY28" fmla="*/ 2444 h 9401"/>
                <a:gd name="connsiteX29" fmla="*/ 4742 w 10000"/>
                <a:gd name="connsiteY29" fmla="*/ 2422 h 9401"/>
                <a:gd name="connsiteX30" fmla="*/ 4788 w 10000"/>
                <a:gd name="connsiteY30" fmla="*/ 2168 h 9401"/>
                <a:gd name="connsiteX31" fmla="*/ 4626 w 10000"/>
                <a:gd name="connsiteY31" fmla="*/ 2076 h 9401"/>
                <a:gd name="connsiteX32" fmla="*/ 4466 w 10000"/>
                <a:gd name="connsiteY32" fmla="*/ 1754 h 9401"/>
                <a:gd name="connsiteX33" fmla="*/ 4259 w 10000"/>
                <a:gd name="connsiteY33" fmla="*/ 1754 h 9401"/>
                <a:gd name="connsiteX34" fmla="*/ 4054 w 10000"/>
                <a:gd name="connsiteY34" fmla="*/ 1592 h 9401"/>
                <a:gd name="connsiteX35" fmla="*/ 4054 w 10000"/>
                <a:gd name="connsiteY35" fmla="*/ 1522 h 9401"/>
                <a:gd name="connsiteX36" fmla="*/ 3869 w 10000"/>
                <a:gd name="connsiteY36" fmla="*/ 1614 h 9401"/>
                <a:gd name="connsiteX37" fmla="*/ 3640 w 10000"/>
                <a:gd name="connsiteY37" fmla="*/ 1454 h 9401"/>
                <a:gd name="connsiteX38" fmla="*/ 3755 w 10000"/>
                <a:gd name="connsiteY38" fmla="*/ 1223 h 9401"/>
                <a:gd name="connsiteX39" fmla="*/ 3570 w 10000"/>
                <a:gd name="connsiteY39" fmla="*/ 1039 h 9401"/>
                <a:gd name="connsiteX40" fmla="*/ 3711 w 10000"/>
                <a:gd name="connsiteY40" fmla="*/ 764 h 9401"/>
                <a:gd name="connsiteX41" fmla="*/ 3250 w 10000"/>
                <a:gd name="connsiteY41" fmla="*/ 394 h 9401"/>
                <a:gd name="connsiteX42" fmla="*/ 2975 w 10000"/>
                <a:gd name="connsiteY42" fmla="*/ 510 h 9401"/>
                <a:gd name="connsiteX43" fmla="*/ 2446 w 10000"/>
                <a:gd name="connsiteY43" fmla="*/ 302 h 9401"/>
                <a:gd name="connsiteX44" fmla="*/ 2239 w 10000"/>
                <a:gd name="connsiteY44" fmla="*/ 439 h 9401"/>
                <a:gd name="connsiteX45" fmla="*/ 1734 w 10000"/>
                <a:gd name="connsiteY45" fmla="*/ 25 h 9401"/>
                <a:gd name="connsiteX46" fmla="*/ 1321 w 10000"/>
                <a:gd name="connsiteY46" fmla="*/ 601 h 9401"/>
                <a:gd name="connsiteX47" fmla="*/ 1321 w 10000"/>
                <a:gd name="connsiteY47" fmla="*/ 946 h 9401"/>
                <a:gd name="connsiteX48" fmla="*/ 1022 w 10000"/>
                <a:gd name="connsiteY48" fmla="*/ 670 h 9401"/>
                <a:gd name="connsiteX49" fmla="*/ 679 w 10000"/>
                <a:gd name="connsiteY49" fmla="*/ 1131 h 9401"/>
                <a:gd name="connsiteX50" fmla="*/ 933 w 10000"/>
                <a:gd name="connsiteY50" fmla="*/ 1499 h 9401"/>
                <a:gd name="connsiteX51" fmla="*/ 471 w 10000"/>
                <a:gd name="connsiteY51" fmla="*/ 1937 h 9401"/>
                <a:gd name="connsiteX52" fmla="*/ 427 w 10000"/>
                <a:gd name="connsiteY52" fmla="*/ 1937 h 9401"/>
                <a:gd name="connsiteX53" fmla="*/ 609 w 10000"/>
                <a:gd name="connsiteY53" fmla="*/ 2191 h 9401"/>
                <a:gd name="connsiteX54" fmla="*/ 379 w 10000"/>
                <a:gd name="connsiteY54" fmla="*/ 2444 h 9401"/>
                <a:gd name="connsiteX55" fmla="*/ 539 w 10000"/>
                <a:gd name="connsiteY55" fmla="*/ 2604 h 9401"/>
                <a:gd name="connsiteX56" fmla="*/ 471 w 10000"/>
                <a:gd name="connsiteY56" fmla="*/ 2859 h 9401"/>
                <a:gd name="connsiteX57" fmla="*/ 379 w 10000"/>
                <a:gd name="connsiteY57" fmla="*/ 2998 h 9401"/>
                <a:gd name="connsiteX58" fmla="*/ 539 w 10000"/>
                <a:gd name="connsiteY58" fmla="*/ 3273 h 9401"/>
                <a:gd name="connsiteX59" fmla="*/ 266 w 10000"/>
                <a:gd name="connsiteY59" fmla="*/ 3710 h 9401"/>
                <a:gd name="connsiteX60" fmla="*/ 471 w 10000"/>
                <a:gd name="connsiteY60" fmla="*/ 3965 h 9401"/>
                <a:gd name="connsiteX61" fmla="*/ 105 w 10000"/>
                <a:gd name="connsiteY61" fmla="*/ 4402 h 9401"/>
                <a:gd name="connsiteX62" fmla="*/ 288 w 10000"/>
                <a:gd name="connsiteY62" fmla="*/ 4633 h 9401"/>
                <a:gd name="connsiteX63" fmla="*/ 12 w 10000"/>
                <a:gd name="connsiteY63" fmla="*/ 5001 h 9401"/>
                <a:gd name="connsiteX64" fmla="*/ 379 w 10000"/>
                <a:gd name="connsiteY64" fmla="*/ 5139 h 9401"/>
                <a:gd name="connsiteX65" fmla="*/ 266 w 10000"/>
                <a:gd name="connsiteY65" fmla="*/ 5439 h 9401"/>
                <a:gd name="connsiteX66" fmla="*/ 357 w 10000"/>
                <a:gd name="connsiteY66" fmla="*/ 5784 h 9401"/>
                <a:gd name="connsiteX67" fmla="*/ 982 w 10000"/>
                <a:gd name="connsiteY67" fmla="*/ 5469 h 9401"/>
                <a:gd name="connsiteX68" fmla="*/ 1342 w 10000"/>
                <a:gd name="connsiteY68" fmla="*/ 5189 h 9401"/>
                <a:gd name="connsiteX69" fmla="*/ 1775 w 10000"/>
                <a:gd name="connsiteY69" fmla="*/ 5195 h 9401"/>
                <a:gd name="connsiteX70" fmla="*/ 2239 w 10000"/>
                <a:gd name="connsiteY70" fmla="*/ 5030 h 9401"/>
                <a:gd name="connsiteX71" fmla="*/ 2810 w 10000"/>
                <a:gd name="connsiteY71" fmla="*/ 4768 h 9401"/>
                <a:gd name="connsiteX72" fmla="*/ 2997 w 10000"/>
                <a:gd name="connsiteY72" fmla="*/ 4569 h 9401"/>
                <a:gd name="connsiteX73" fmla="*/ 3386 w 10000"/>
                <a:gd name="connsiteY73" fmla="*/ 4182 h 9401"/>
                <a:gd name="connsiteX74" fmla="*/ 4023 w 10000"/>
                <a:gd name="connsiteY74" fmla="*/ 4450 h 9401"/>
                <a:gd name="connsiteX75" fmla="*/ 4296 w 10000"/>
                <a:gd name="connsiteY75" fmla="*/ 4433 h 9401"/>
                <a:gd name="connsiteX76" fmla="*/ 4241 w 10000"/>
                <a:gd name="connsiteY76" fmla="*/ 4102 h 9401"/>
                <a:gd name="connsiteX77" fmla="*/ 4282 w 10000"/>
                <a:gd name="connsiteY77" fmla="*/ 3678 h 9401"/>
                <a:gd name="connsiteX78" fmla="*/ 4895 w 10000"/>
                <a:gd name="connsiteY78" fmla="*/ 3581 h 9401"/>
                <a:gd name="connsiteX79" fmla="*/ 4809 w 10000"/>
                <a:gd name="connsiteY79" fmla="*/ 4087 h 9401"/>
                <a:gd name="connsiteX80" fmla="*/ 3687 w 10000"/>
                <a:gd name="connsiteY80" fmla="*/ 9401 h 9401"/>
                <a:gd name="connsiteX81" fmla="*/ 3663 w 10000"/>
                <a:gd name="connsiteY81" fmla="*/ 9307 h 9401"/>
                <a:gd name="connsiteX82" fmla="*/ 3869 w 10000"/>
                <a:gd name="connsiteY82" fmla="*/ 8939 h 9401"/>
                <a:gd name="connsiteX83" fmla="*/ 3755 w 10000"/>
                <a:gd name="connsiteY83" fmla="*/ 8686 h 9401"/>
                <a:gd name="connsiteX84" fmla="*/ 3616 w 10000"/>
                <a:gd name="connsiteY84" fmla="*/ 8456 h 9401"/>
                <a:gd name="connsiteX85" fmla="*/ 3755 w 10000"/>
                <a:gd name="connsiteY85" fmla="*/ 8226 h 9401"/>
                <a:gd name="connsiteX86" fmla="*/ 3823 w 10000"/>
                <a:gd name="connsiteY86" fmla="*/ 7812 h 9401"/>
                <a:gd name="connsiteX87" fmla="*/ 3570 w 10000"/>
                <a:gd name="connsiteY87" fmla="*/ 7398 h 9401"/>
                <a:gd name="connsiteX88" fmla="*/ 3663 w 10000"/>
                <a:gd name="connsiteY88" fmla="*/ 6912 h 9401"/>
                <a:gd name="connsiteX89" fmla="*/ 3755 w 10000"/>
                <a:gd name="connsiteY89" fmla="*/ 6681 h 9401"/>
                <a:gd name="connsiteX90" fmla="*/ 3800 w 10000"/>
                <a:gd name="connsiteY90" fmla="*/ 6476 h 9401"/>
                <a:gd name="connsiteX91" fmla="*/ 4076 w 10000"/>
                <a:gd name="connsiteY91" fmla="*/ 6083 h 9401"/>
                <a:gd name="connsiteX92" fmla="*/ 4626 w 10000"/>
                <a:gd name="connsiteY92" fmla="*/ 5876 h 9401"/>
                <a:gd name="connsiteX93" fmla="*/ 4720 w 10000"/>
                <a:gd name="connsiteY93" fmla="*/ 5968 h 9401"/>
                <a:gd name="connsiteX94" fmla="*/ 4650 w 10000"/>
                <a:gd name="connsiteY94" fmla="*/ 6038 h 9401"/>
                <a:gd name="connsiteX95" fmla="*/ 4811 w 10000"/>
                <a:gd name="connsiteY95" fmla="*/ 6176 h 9401"/>
                <a:gd name="connsiteX96" fmla="*/ 4994 w 10000"/>
                <a:gd name="connsiteY96" fmla="*/ 5991 h 9401"/>
                <a:gd name="connsiteX97" fmla="*/ 5202 w 10000"/>
                <a:gd name="connsiteY97" fmla="*/ 5830 h 9401"/>
                <a:gd name="connsiteX98" fmla="*/ 5636 w 10000"/>
                <a:gd name="connsiteY98" fmla="*/ 5162 h 9401"/>
                <a:gd name="connsiteX99" fmla="*/ 5984 w 10000"/>
                <a:gd name="connsiteY99" fmla="*/ 5370 h 9401"/>
                <a:gd name="connsiteX100" fmla="*/ 5958 w 10000"/>
                <a:gd name="connsiteY100" fmla="*/ 5210 h 9401"/>
                <a:gd name="connsiteX101" fmla="*/ 6188 w 10000"/>
                <a:gd name="connsiteY101" fmla="*/ 5047 h 9401"/>
                <a:gd name="connsiteX102" fmla="*/ 6417 w 10000"/>
                <a:gd name="connsiteY102" fmla="*/ 5162 h 9401"/>
                <a:gd name="connsiteX103" fmla="*/ 6188 w 10000"/>
                <a:gd name="connsiteY103" fmla="*/ 4702 h 9401"/>
                <a:gd name="connsiteX104" fmla="*/ 6327 w 10000"/>
                <a:gd name="connsiteY104" fmla="*/ 4516 h 9401"/>
                <a:gd name="connsiteX105" fmla="*/ 6810 w 10000"/>
                <a:gd name="connsiteY105" fmla="*/ 4379 h 9401"/>
                <a:gd name="connsiteX106" fmla="*/ 6763 w 10000"/>
                <a:gd name="connsiteY106" fmla="*/ 4333 h 9401"/>
                <a:gd name="connsiteX107" fmla="*/ 7132 w 10000"/>
                <a:gd name="connsiteY107" fmla="*/ 3988 h 9401"/>
                <a:gd name="connsiteX108" fmla="*/ 7406 w 10000"/>
                <a:gd name="connsiteY108" fmla="*/ 3803 h 9401"/>
                <a:gd name="connsiteX109" fmla="*/ 8095 w 10000"/>
                <a:gd name="connsiteY109" fmla="*/ 3434 h 9401"/>
                <a:gd name="connsiteX110" fmla="*/ 8302 w 10000"/>
                <a:gd name="connsiteY110" fmla="*/ 3205 h 9401"/>
                <a:gd name="connsiteX111" fmla="*/ 8714 w 10000"/>
                <a:gd name="connsiteY111" fmla="*/ 2766 h 9401"/>
                <a:gd name="connsiteX112" fmla="*/ 9449 w 10000"/>
                <a:gd name="connsiteY112" fmla="*/ 2376 h 9401"/>
                <a:gd name="connsiteX113" fmla="*/ 9494 w 10000"/>
                <a:gd name="connsiteY113" fmla="*/ 2213 h 9401"/>
                <a:gd name="connsiteX114" fmla="*/ 9793 w 10000"/>
                <a:gd name="connsiteY114" fmla="*/ 1961 h 9401"/>
                <a:gd name="connsiteX115" fmla="*/ 10000 w 10000"/>
                <a:gd name="connsiteY115" fmla="*/ 1660 h 9401"/>
                <a:gd name="connsiteX116" fmla="*/ 9678 w 10000"/>
                <a:gd name="connsiteY116" fmla="*/ 1383 h 9401"/>
                <a:gd name="connsiteX0" fmla="*/ 9678 w 10000"/>
                <a:gd name="connsiteY0" fmla="*/ 1471 h 10304"/>
                <a:gd name="connsiteX1" fmla="*/ 9265 w 10000"/>
                <a:gd name="connsiteY1" fmla="*/ 1766 h 10304"/>
                <a:gd name="connsiteX2" fmla="*/ 9059 w 10000"/>
                <a:gd name="connsiteY2" fmla="*/ 1643 h 10304"/>
                <a:gd name="connsiteX3" fmla="*/ 8875 w 10000"/>
                <a:gd name="connsiteY3" fmla="*/ 1400 h 10304"/>
                <a:gd name="connsiteX4" fmla="*/ 9012 w 10000"/>
                <a:gd name="connsiteY4" fmla="*/ 1203 h 10304"/>
                <a:gd name="connsiteX5" fmla="*/ 8691 w 10000"/>
                <a:gd name="connsiteY5" fmla="*/ 933 h 10304"/>
                <a:gd name="connsiteX6" fmla="*/ 8553 w 10000"/>
                <a:gd name="connsiteY6" fmla="*/ 1032 h 10304"/>
                <a:gd name="connsiteX7" fmla="*/ 8253 w 10000"/>
                <a:gd name="connsiteY7" fmla="*/ 1082 h 10304"/>
                <a:gd name="connsiteX8" fmla="*/ 8279 w 10000"/>
                <a:gd name="connsiteY8" fmla="*/ 1350 h 10304"/>
                <a:gd name="connsiteX9" fmla="*/ 8369 w 10000"/>
                <a:gd name="connsiteY9" fmla="*/ 1423 h 10304"/>
                <a:gd name="connsiteX10" fmla="*/ 8302 w 10000"/>
                <a:gd name="connsiteY10" fmla="*/ 1619 h 10304"/>
                <a:gd name="connsiteX11" fmla="*/ 8117 w 10000"/>
                <a:gd name="connsiteY11" fmla="*/ 1670 h 10304"/>
                <a:gd name="connsiteX12" fmla="*/ 7933 w 10000"/>
                <a:gd name="connsiteY12" fmla="*/ 1817 h 10304"/>
                <a:gd name="connsiteX13" fmla="*/ 8095 w 10000"/>
                <a:gd name="connsiteY13" fmla="*/ 2011 h 10304"/>
                <a:gd name="connsiteX14" fmla="*/ 8072 w 10000"/>
                <a:gd name="connsiteY14" fmla="*/ 2159 h 10304"/>
                <a:gd name="connsiteX15" fmla="*/ 7727 w 10000"/>
                <a:gd name="connsiteY15" fmla="*/ 2331 h 10304"/>
                <a:gd name="connsiteX16" fmla="*/ 7566 w 10000"/>
                <a:gd name="connsiteY16" fmla="*/ 2624 h 10304"/>
                <a:gd name="connsiteX17" fmla="*/ 7153 w 10000"/>
                <a:gd name="connsiteY17" fmla="*/ 2037 h 10304"/>
                <a:gd name="connsiteX18" fmla="*/ 6992 w 10000"/>
                <a:gd name="connsiteY18" fmla="*/ 2234 h 10304"/>
                <a:gd name="connsiteX19" fmla="*/ 7221 w 10000"/>
                <a:gd name="connsiteY19" fmla="*/ 2477 h 10304"/>
                <a:gd name="connsiteX20" fmla="*/ 7038 w 10000"/>
                <a:gd name="connsiteY20" fmla="*/ 2649 h 10304"/>
                <a:gd name="connsiteX21" fmla="*/ 7083 w 10000"/>
                <a:gd name="connsiteY21" fmla="*/ 2770 h 10304"/>
                <a:gd name="connsiteX22" fmla="*/ 6717 w 10000"/>
                <a:gd name="connsiteY22" fmla="*/ 3065 h 10304"/>
                <a:gd name="connsiteX23" fmla="*/ 6327 w 10000"/>
                <a:gd name="connsiteY23" fmla="*/ 2821 h 10304"/>
                <a:gd name="connsiteX24" fmla="*/ 5272 w 10000"/>
                <a:gd name="connsiteY24" fmla="*/ 3433 h 10304"/>
                <a:gd name="connsiteX25" fmla="*/ 5179 w 10000"/>
                <a:gd name="connsiteY25" fmla="*/ 3165 h 10304"/>
                <a:gd name="connsiteX26" fmla="*/ 5041 w 10000"/>
                <a:gd name="connsiteY26" fmla="*/ 2992 h 10304"/>
                <a:gd name="connsiteX27" fmla="*/ 5087 w 10000"/>
                <a:gd name="connsiteY27" fmla="*/ 2794 h 10304"/>
                <a:gd name="connsiteX28" fmla="*/ 4948 w 10000"/>
                <a:gd name="connsiteY28" fmla="*/ 2600 h 10304"/>
                <a:gd name="connsiteX29" fmla="*/ 4742 w 10000"/>
                <a:gd name="connsiteY29" fmla="*/ 2576 h 10304"/>
                <a:gd name="connsiteX30" fmla="*/ 4788 w 10000"/>
                <a:gd name="connsiteY30" fmla="*/ 2306 h 10304"/>
                <a:gd name="connsiteX31" fmla="*/ 4626 w 10000"/>
                <a:gd name="connsiteY31" fmla="*/ 2208 h 10304"/>
                <a:gd name="connsiteX32" fmla="*/ 4466 w 10000"/>
                <a:gd name="connsiteY32" fmla="*/ 1866 h 10304"/>
                <a:gd name="connsiteX33" fmla="*/ 4259 w 10000"/>
                <a:gd name="connsiteY33" fmla="*/ 1866 h 10304"/>
                <a:gd name="connsiteX34" fmla="*/ 4054 w 10000"/>
                <a:gd name="connsiteY34" fmla="*/ 1693 h 10304"/>
                <a:gd name="connsiteX35" fmla="*/ 4054 w 10000"/>
                <a:gd name="connsiteY35" fmla="*/ 1619 h 10304"/>
                <a:gd name="connsiteX36" fmla="*/ 3869 w 10000"/>
                <a:gd name="connsiteY36" fmla="*/ 1717 h 10304"/>
                <a:gd name="connsiteX37" fmla="*/ 3640 w 10000"/>
                <a:gd name="connsiteY37" fmla="*/ 1547 h 10304"/>
                <a:gd name="connsiteX38" fmla="*/ 3755 w 10000"/>
                <a:gd name="connsiteY38" fmla="*/ 1301 h 10304"/>
                <a:gd name="connsiteX39" fmla="*/ 3570 w 10000"/>
                <a:gd name="connsiteY39" fmla="*/ 1105 h 10304"/>
                <a:gd name="connsiteX40" fmla="*/ 3711 w 10000"/>
                <a:gd name="connsiteY40" fmla="*/ 813 h 10304"/>
                <a:gd name="connsiteX41" fmla="*/ 3250 w 10000"/>
                <a:gd name="connsiteY41" fmla="*/ 419 h 10304"/>
                <a:gd name="connsiteX42" fmla="*/ 2975 w 10000"/>
                <a:gd name="connsiteY42" fmla="*/ 542 h 10304"/>
                <a:gd name="connsiteX43" fmla="*/ 2446 w 10000"/>
                <a:gd name="connsiteY43" fmla="*/ 321 h 10304"/>
                <a:gd name="connsiteX44" fmla="*/ 2239 w 10000"/>
                <a:gd name="connsiteY44" fmla="*/ 467 h 10304"/>
                <a:gd name="connsiteX45" fmla="*/ 1734 w 10000"/>
                <a:gd name="connsiteY45" fmla="*/ 27 h 10304"/>
                <a:gd name="connsiteX46" fmla="*/ 1321 w 10000"/>
                <a:gd name="connsiteY46" fmla="*/ 639 h 10304"/>
                <a:gd name="connsiteX47" fmla="*/ 1321 w 10000"/>
                <a:gd name="connsiteY47" fmla="*/ 1006 h 10304"/>
                <a:gd name="connsiteX48" fmla="*/ 1022 w 10000"/>
                <a:gd name="connsiteY48" fmla="*/ 713 h 10304"/>
                <a:gd name="connsiteX49" fmla="*/ 679 w 10000"/>
                <a:gd name="connsiteY49" fmla="*/ 1203 h 10304"/>
                <a:gd name="connsiteX50" fmla="*/ 933 w 10000"/>
                <a:gd name="connsiteY50" fmla="*/ 1595 h 10304"/>
                <a:gd name="connsiteX51" fmla="*/ 471 w 10000"/>
                <a:gd name="connsiteY51" fmla="*/ 2060 h 10304"/>
                <a:gd name="connsiteX52" fmla="*/ 427 w 10000"/>
                <a:gd name="connsiteY52" fmla="*/ 2060 h 10304"/>
                <a:gd name="connsiteX53" fmla="*/ 609 w 10000"/>
                <a:gd name="connsiteY53" fmla="*/ 2331 h 10304"/>
                <a:gd name="connsiteX54" fmla="*/ 379 w 10000"/>
                <a:gd name="connsiteY54" fmla="*/ 2600 h 10304"/>
                <a:gd name="connsiteX55" fmla="*/ 539 w 10000"/>
                <a:gd name="connsiteY55" fmla="*/ 2770 h 10304"/>
                <a:gd name="connsiteX56" fmla="*/ 471 w 10000"/>
                <a:gd name="connsiteY56" fmla="*/ 3041 h 10304"/>
                <a:gd name="connsiteX57" fmla="*/ 379 w 10000"/>
                <a:gd name="connsiteY57" fmla="*/ 3189 h 10304"/>
                <a:gd name="connsiteX58" fmla="*/ 539 w 10000"/>
                <a:gd name="connsiteY58" fmla="*/ 3482 h 10304"/>
                <a:gd name="connsiteX59" fmla="*/ 266 w 10000"/>
                <a:gd name="connsiteY59" fmla="*/ 3946 h 10304"/>
                <a:gd name="connsiteX60" fmla="*/ 471 w 10000"/>
                <a:gd name="connsiteY60" fmla="*/ 4218 h 10304"/>
                <a:gd name="connsiteX61" fmla="*/ 105 w 10000"/>
                <a:gd name="connsiteY61" fmla="*/ 4682 h 10304"/>
                <a:gd name="connsiteX62" fmla="*/ 288 w 10000"/>
                <a:gd name="connsiteY62" fmla="*/ 4928 h 10304"/>
                <a:gd name="connsiteX63" fmla="*/ 12 w 10000"/>
                <a:gd name="connsiteY63" fmla="*/ 5320 h 10304"/>
                <a:gd name="connsiteX64" fmla="*/ 379 w 10000"/>
                <a:gd name="connsiteY64" fmla="*/ 5466 h 10304"/>
                <a:gd name="connsiteX65" fmla="*/ 266 w 10000"/>
                <a:gd name="connsiteY65" fmla="*/ 5786 h 10304"/>
                <a:gd name="connsiteX66" fmla="*/ 357 w 10000"/>
                <a:gd name="connsiteY66" fmla="*/ 6153 h 10304"/>
                <a:gd name="connsiteX67" fmla="*/ 982 w 10000"/>
                <a:gd name="connsiteY67" fmla="*/ 5817 h 10304"/>
                <a:gd name="connsiteX68" fmla="*/ 1342 w 10000"/>
                <a:gd name="connsiteY68" fmla="*/ 5520 h 10304"/>
                <a:gd name="connsiteX69" fmla="*/ 1775 w 10000"/>
                <a:gd name="connsiteY69" fmla="*/ 5526 h 10304"/>
                <a:gd name="connsiteX70" fmla="*/ 2239 w 10000"/>
                <a:gd name="connsiteY70" fmla="*/ 5350 h 10304"/>
                <a:gd name="connsiteX71" fmla="*/ 2810 w 10000"/>
                <a:gd name="connsiteY71" fmla="*/ 5072 h 10304"/>
                <a:gd name="connsiteX72" fmla="*/ 2997 w 10000"/>
                <a:gd name="connsiteY72" fmla="*/ 4860 h 10304"/>
                <a:gd name="connsiteX73" fmla="*/ 3386 w 10000"/>
                <a:gd name="connsiteY73" fmla="*/ 4448 h 10304"/>
                <a:gd name="connsiteX74" fmla="*/ 4023 w 10000"/>
                <a:gd name="connsiteY74" fmla="*/ 4734 h 10304"/>
                <a:gd name="connsiteX75" fmla="*/ 4296 w 10000"/>
                <a:gd name="connsiteY75" fmla="*/ 4715 h 10304"/>
                <a:gd name="connsiteX76" fmla="*/ 4241 w 10000"/>
                <a:gd name="connsiteY76" fmla="*/ 4363 h 10304"/>
                <a:gd name="connsiteX77" fmla="*/ 4282 w 10000"/>
                <a:gd name="connsiteY77" fmla="*/ 3912 h 10304"/>
                <a:gd name="connsiteX78" fmla="*/ 4895 w 10000"/>
                <a:gd name="connsiteY78" fmla="*/ 3809 h 10304"/>
                <a:gd name="connsiteX79" fmla="*/ 4809 w 10000"/>
                <a:gd name="connsiteY79" fmla="*/ 4347 h 10304"/>
                <a:gd name="connsiteX80" fmla="*/ 3687 w 10000"/>
                <a:gd name="connsiteY80" fmla="*/ 10000 h 10304"/>
                <a:gd name="connsiteX81" fmla="*/ 3869 w 10000"/>
                <a:gd name="connsiteY81" fmla="*/ 9509 h 10304"/>
                <a:gd name="connsiteX82" fmla="*/ 3755 w 10000"/>
                <a:gd name="connsiteY82" fmla="*/ 9239 h 10304"/>
                <a:gd name="connsiteX83" fmla="*/ 3616 w 10000"/>
                <a:gd name="connsiteY83" fmla="*/ 8995 h 10304"/>
                <a:gd name="connsiteX84" fmla="*/ 3755 w 10000"/>
                <a:gd name="connsiteY84" fmla="*/ 8750 h 10304"/>
                <a:gd name="connsiteX85" fmla="*/ 3823 w 10000"/>
                <a:gd name="connsiteY85" fmla="*/ 8310 h 10304"/>
                <a:gd name="connsiteX86" fmla="*/ 3570 w 10000"/>
                <a:gd name="connsiteY86" fmla="*/ 7869 h 10304"/>
                <a:gd name="connsiteX87" fmla="*/ 3663 w 10000"/>
                <a:gd name="connsiteY87" fmla="*/ 7352 h 10304"/>
                <a:gd name="connsiteX88" fmla="*/ 3755 w 10000"/>
                <a:gd name="connsiteY88" fmla="*/ 7107 h 10304"/>
                <a:gd name="connsiteX89" fmla="*/ 3800 w 10000"/>
                <a:gd name="connsiteY89" fmla="*/ 6889 h 10304"/>
                <a:gd name="connsiteX90" fmla="*/ 4076 w 10000"/>
                <a:gd name="connsiteY90" fmla="*/ 6471 h 10304"/>
                <a:gd name="connsiteX91" fmla="*/ 4626 w 10000"/>
                <a:gd name="connsiteY91" fmla="*/ 6250 h 10304"/>
                <a:gd name="connsiteX92" fmla="*/ 4720 w 10000"/>
                <a:gd name="connsiteY92" fmla="*/ 6348 h 10304"/>
                <a:gd name="connsiteX93" fmla="*/ 4650 w 10000"/>
                <a:gd name="connsiteY93" fmla="*/ 6423 h 10304"/>
                <a:gd name="connsiteX94" fmla="*/ 4811 w 10000"/>
                <a:gd name="connsiteY94" fmla="*/ 6570 h 10304"/>
                <a:gd name="connsiteX95" fmla="*/ 4994 w 10000"/>
                <a:gd name="connsiteY95" fmla="*/ 6373 h 10304"/>
                <a:gd name="connsiteX96" fmla="*/ 5202 w 10000"/>
                <a:gd name="connsiteY96" fmla="*/ 6201 h 10304"/>
                <a:gd name="connsiteX97" fmla="*/ 5636 w 10000"/>
                <a:gd name="connsiteY97" fmla="*/ 5491 h 10304"/>
                <a:gd name="connsiteX98" fmla="*/ 5984 w 10000"/>
                <a:gd name="connsiteY98" fmla="*/ 5712 h 10304"/>
                <a:gd name="connsiteX99" fmla="*/ 5958 w 10000"/>
                <a:gd name="connsiteY99" fmla="*/ 5542 h 10304"/>
                <a:gd name="connsiteX100" fmla="*/ 6188 w 10000"/>
                <a:gd name="connsiteY100" fmla="*/ 5369 h 10304"/>
                <a:gd name="connsiteX101" fmla="*/ 6417 w 10000"/>
                <a:gd name="connsiteY101" fmla="*/ 5491 h 10304"/>
                <a:gd name="connsiteX102" fmla="*/ 6188 w 10000"/>
                <a:gd name="connsiteY102" fmla="*/ 5002 h 10304"/>
                <a:gd name="connsiteX103" fmla="*/ 6327 w 10000"/>
                <a:gd name="connsiteY103" fmla="*/ 4804 h 10304"/>
                <a:gd name="connsiteX104" fmla="*/ 6810 w 10000"/>
                <a:gd name="connsiteY104" fmla="*/ 4658 h 10304"/>
                <a:gd name="connsiteX105" fmla="*/ 6763 w 10000"/>
                <a:gd name="connsiteY105" fmla="*/ 4609 h 10304"/>
                <a:gd name="connsiteX106" fmla="*/ 7132 w 10000"/>
                <a:gd name="connsiteY106" fmla="*/ 4242 h 10304"/>
                <a:gd name="connsiteX107" fmla="*/ 7406 w 10000"/>
                <a:gd name="connsiteY107" fmla="*/ 4045 h 10304"/>
                <a:gd name="connsiteX108" fmla="*/ 8095 w 10000"/>
                <a:gd name="connsiteY108" fmla="*/ 3653 h 10304"/>
                <a:gd name="connsiteX109" fmla="*/ 8302 w 10000"/>
                <a:gd name="connsiteY109" fmla="*/ 3409 h 10304"/>
                <a:gd name="connsiteX110" fmla="*/ 8714 w 10000"/>
                <a:gd name="connsiteY110" fmla="*/ 2942 h 10304"/>
                <a:gd name="connsiteX111" fmla="*/ 9449 w 10000"/>
                <a:gd name="connsiteY111" fmla="*/ 2527 h 10304"/>
                <a:gd name="connsiteX112" fmla="*/ 9494 w 10000"/>
                <a:gd name="connsiteY112" fmla="*/ 2354 h 10304"/>
                <a:gd name="connsiteX113" fmla="*/ 9793 w 10000"/>
                <a:gd name="connsiteY113" fmla="*/ 2086 h 10304"/>
                <a:gd name="connsiteX114" fmla="*/ 10000 w 10000"/>
                <a:gd name="connsiteY114" fmla="*/ 1766 h 10304"/>
                <a:gd name="connsiteX115" fmla="*/ 9678 w 10000"/>
                <a:gd name="connsiteY115" fmla="*/ 1471 h 10304"/>
                <a:gd name="connsiteX0" fmla="*/ 3869 w 10000"/>
                <a:gd name="connsiteY0" fmla="*/ 9509 h 10812"/>
                <a:gd name="connsiteX1" fmla="*/ 3755 w 10000"/>
                <a:gd name="connsiteY1" fmla="*/ 9239 h 10812"/>
                <a:gd name="connsiteX2" fmla="*/ 3616 w 10000"/>
                <a:gd name="connsiteY2" fmla="*/ 8995 h 10812"/>
                <a:gd name="connsiteX3" fmla="*/ 3755 w 10000"/>
                <a:gd name="connsiteY3" fmla="*/ 8750 h 10812"/>
                <a:gd name="connsiteX4" fmla="*/ 3823 w 10000"/>
                <a:gd name="connsiteY4" fmla="*/ 8310 h 10812"/>
                <a:gd name="connsiteX5" fmla="*/ 3570 w 10000"/>
                <a:gd name="connsiteY5" fmla="*/ 7869 h 10812"/>
                <a:gd name="connsiteX6" fmla="*/ 3663 w 10000"/>
                <a:gd name="connsiteY6" fmla="*/ 7352 h 10812"/>
                <a:gd name="connsiteX7" fmla="*/ 3755 w 10000"/>
                <a:gd name="connsiteY7" fmla="*/ 7107 h 10812"/>
                <a:gd name="connsiteX8" fmla="*/ 3800 w 10000"/>
                <a:gd name="connsiteY8" fmla="*/ 6889 h 10812"/>
                <a:gd name="connsiteX9" fmla="*/ 4076 w 10000"/>
                <a:gd name="connsiteY9" fmla="*/ 6471 h 10812"/>
                <a:gd name="connsiteX10" fmla="*/ 4626 w 10000"/>
                <a:gd name="connsiteY10" fmla="*/ 6250 h 10812"/>
                <a:gd name="connsiteX11" fmla="*/ 4720 w 10000"/>
                <a:gd name="connsiteY11" fmla="*/ 6348 h 10812"/>
                <a:gd name="connsiteX12" fmla="*/ 4650 w 10000"/>
                <a:gd name="connsiteY12" fmla="*/ 6423 h 10812"/>
                <a:gd name="connsiteX13" fmla="*/ 4811 w 10000"/>
                <a:gd name="connsiteY13" fmla="*/ 6570 h 10812"/>
                <a:gd name="connsiteX14" fmla="*/ 4994 w 10000"/>
                <a:gd name="connsiteY14" fmla="*/ 6373 h 10812"/>
                <a:gd name="connsiteX15" fmla="*/ 5202 w 10000"/>
                <a:gd name="connsiteY15" fmla="*/ 6201 h 10812"/>
                <a:gd name="connsiteX16" fmla="*/ 5636 w 10000"/>
                <a:gd name="connsiteY16" fmla="*/ 5491 h 10812"/>
                <a:gd name="connsiteX17" fmla="*/ 5984 w 10000"/>
                <a:gd name="connsiteY17" fmla="*/ 5712 h 10812"/>
                <a:gd name="connsiteX18" fmla="*/ 5958 w 10000"/>
                <a:gd name="connsiteY18" fmla="*/ 5542 h 10812"/>
                <a:gd name="connsiteX19" fmla="*/ 6188 w 10000"/>
                <a:gd name="connsiteY19" fmla="*/ 5369 h 10812"/>
                <a:gd name="connsiteX20" fmla="*/ 6417 w 10000"/>
                <a:gd name="connsiteY20" fmla="*/ 5491 h 10812"/>
                <a:gd name="connsiteX21" fmla="*/ 6188 w 10000"/>
                <a:gd name="connsiteY21" fmla="*/ 5002 h 10812"/>
                <a:gd name="connsiteX22" fmla="*/ 6327 w 10000"/>
                <a:gd name="connsiteY22" fmla="*/ 4804 h 10812"/>
                <a:gd name="connsiteX23" fmla="*/ 6810 w 10000"/>
                <a:gd name="connsiteY23" fmla="*/ 4658 h 10812"/>
                <a:gd name="connsiteX24" fmla="*/ 6763 w 10000"/>
                <a:gd name="connsiteY24" fmla="*/ 4609 h 10812"/>
                <a:gd name="connsiteX25" fmla="*/ 7132 w 10000"/>
                <a:gd name="connsiteY25" fmla="*/ 4242 h 10812"/>
                <a:gd name="connsiteX26" fmla="*/ 7406 w 10000"/>
                <a:gd name="connsiteY26" fmla="*/ 4045 h 10812"/>
                <a:gd name="connsiteX27" fmla="*/ 8095 w 10000"/>
                <a:gd name="connsiteY27" fmla="*/ 3653 h 10812"/>
                <a:gd name="connsiteX28" fmla="*/ 8302 w 10000"/>
                <a:gd name="connsiteY28" fmla="*/ 3409 h 10812"/>
                <a:gd name="connsiteX29" fmla="*/ 8714 w 10000"/>
                <a:gd name="connsiteY29" fmla="*/ 2942 h 10812"/>
                <a:gd name="connsiteX30" fmla="*/ 9449 w 10000"/>
                <a:gd name="connsiteY30" fmla="*/ 2527 h 10812"/>
                <a:gd name="connsiteX31" fmla="*/ 9494 w 10000"/>
                <a:gd name="connsiteY31" fmla="*/ 2354 h 10812"/>
                <a:gd name="connsiteX32" fmla="*/ 9793 w 10000"/>
                <a:gd name="connsiteY32" fmla="*/ 2086 h 10812"/>
                <a:gd name="connsiteX33" fmla="*/ 10000 w 10000"/>
                <a:gd name="connsiteY33" fmla="*/ 1766 h 10812"/>
                <a:gd name="connsiteX34" fmla="*/ 9678 w 10000"/>
                <a:gd name="connsiteY34" fmla="*/ 1471 h 10812"/>
                <a:gd name="connsiteX35" fmla="*/ 9265 w 10000"/>
                <a:gd name="connsiteY35" fmla="*/ 1766 h 10812"/>
                <a:gd name="connsiteX36" fmla="*/ 9059 w 10000"/>
                <a:gd name="connsiteY36" fmla="*/ 1643 h 10812"/>
                <a:gd name="connsiteX37" fmla="*/ 8875 w 10000"/>
                <a:gd name="connsiteY37" fmla="*/ 1400 h 10812"/>
                <a:gd name="connsiteX38" fmla="*/ 9012 w 10000"/>
                <a:gd name="connsiteY38" fmla="*/ 1203 h 10812"/>
                <a:gd name="connsiteX39" fmla="*/ 8691 w 10000"/>
                <a:gd name="connsiteY39" fmla="*/ 933 h 10812"/>
                <a:gd name="connsiteX40" fmla="*/ 8553 w 10000"/>
                <a:gd name="connsiteY40" fmla="*/ 1032 h 10812"/>
                <a:gd name="connsiteX41" fmla="*/ 8253 w 10000"/>
                <a:gd name="connsiteY41" fmla="*/ 1082 h 10812"/>
                <a:gd name="connsiteX42" fmla="*/ 8279 w 10000"/>
                <a:gd name="connsiteY42" fmla="*/ 1350 h 10812"/>
                <a:gd name="connsiteX43" fmla="*/ 8369 w 10000"/>
                <a:gd name="connsiteY43" fmla="*/ 1423 h 10812"/>
                <a:gd name="connsiteX44" fmla="*/ 8302 w 10000"/>
                <a:gd name="connsiteY44" fmla="*/ 1619 h 10812"/>
                <a:gd name="connsiteX45" fmla="*/ 8117 w 10000"/>
                <a:gd name="connsiteY45" fmla="*/ 1670 h 10812"/>
                <a:gd name="connsiteX46" fmla="*/ 7933 w 10000"/>
                <a:gd name="connsiteY46" fmla="*/ 1817 h 10812"/>
                <a:gd name="connsiteX47" fmla="*/ 8095 w 10000"/>
                <a:gd name="connsiteY47" fmla="*/ 2011 h 10812"/>
                <a:gd name="connsiteX48" fmla="*/ 8072 w 10000"/>
                <a:gd name="connsiteY48" fmla="*/ 2159 h 10812"/>
                <a:gd name="connsiteX49" fmla="*/ 7727 w 10000"/>
                <a:gd name="connsiteY49" fmla="*/ 2331 h 10812"/>
                <a:gd name="connsiteX50" fmla="*/ 7566 w 10000"/>
                <a:gd name="connsiteY50" fmla="*/ 2624 h 10812"/>
                <a:gd name="connsiteX51" fmla="*/ 7153 w 10000"/>
                <a:gd name="connsiteY51" fmla="*/ 2037 h 10812"/>
                <a:gd name="connsiteX52" fmla="*/ 6992 w 10000"/>
                <a:gd name="connsiteY52" fmla="*/ 2234 h 10812"/>
                <a:gd name="connsiteX53" fmla="*/ 7221 w 10000"/>
                <a:gd name="connsiteY53" fmla="*/ 2477 h 10812"/>
                <a:gd name="connsiteX54" fmla="*/ 7038 w 10000"/>
                <a:gd name="connsiteY54" fmla="*/ 2649 h 10812"/>
                <a:gd name="connsiteX55" fmla="*/ 7083 w 10000"/>
                <a:gd name="connsiteY55" fmla="*/ 2770 h 10812"/>
                <a:gd name="connsiteX56" fmla="*/ 6717 w 10000"/>
                <a:gd name="connsiteY56" fmla="*/ 3065 h 10812"/>
                <a:gd name="connsiteX57" fmla="*/ 6327 w 10000"/>
                <a:gd name="connsiteY57" fmla="*/ 2821 h 10812"/>
                <a:gd name="connsiteX58" fmla="*/ 5272 w 10000"/>
                <a:gd name="connsiteY58" fmla="*/ 3433 h 10812"/>
                <a:gd name="connsiteX59" fmla="*/ 5179 w 10000"/>
                <a:gd name="connsiteY59" fmla="*/ 3165 h 10812"/>
                <a:gd name="connsiteX60" fmla="*/ 5041 w 10000"/>
                <a:gd name="connsiteY60" fmla="*/ 2992 h 10812"/>
                <a:gd name="connsiteX61" fmla="*/ 5087 w 10000"/>
                <a:gd name="connsiteY61" fmla="*/ 2794 h 10812"/>
                <a:gd name="connsiteX62" fmla="*/ 4948 w 10000"/>
                <a:gd name="connsiteY62" fmla="*/ 2600 h 10812"/>
                <a:gd name="connsiteX63" fmla="*/ 4742 w 10000"/>
                <a:gd name="connsiteY63" fmla="*/ 2576 h 10812"/>
                <a:gd name="connsiteX64" fmla="*/ 4788 w 10000"/>
                <a:gd name="connsiteY64" fmla="*/ 2306 h 10812"/>
                <a:gd name="connsiteX65" fmla="*/ 4626 w 10000"/>
                <a:gd name="connsiteY65" fmla="*/ 2208 h 10812"/>
                <a:gd name="connsiteX66" fmla="*/ 4466 w 10000"/>
                <a:gd name="connsiteY66" fmla="*/ 1866 h 10812"/>
                <a:gd name="connsiteX67" fmla="*/ 4259 w 10000"/>
                <a:gd name="connsiteY67" fmla="*/ 1866 h 10812"/>
                <a:gd name="connsiteX68" fmla="*/ 4054 w 10000"/>
                <a:gd name="connsiteY68" fmla="*/ 1693 h 10812"/>
                <a:gd name="connsiteX69" fmla="*/ 4054 w 10000"/>
                <a:gd name="connsiteY69" fmla="*/ 1619 h 10812"/>
                <a:gd name="connsiteX70" fmla="*/ 3869 w 10000"/>
                <a:gd name="connsiteY70" fmla="*/ 1717 h 10812"/>
                <a:gd name="connsiteX71" fmla="*/ 3640 w 10000"/>
                <a:gd name="connsiteY71" fmla="*/ 1547 h 10812"/>
                <a:gd name="connsiteX72" fmla="*/ 3755 w 10000"/>
                <a:gd name="connsiteY72" fmla="*/ 1301 h 10812"/>
                <a:gd name="connsiteX73" fmla="*/ 3570 w 10000"/>
                <a:gd name="connsiteY73" fmla="*/ 1105 h 10812"/>
                <a:gd name="connsiteX74" fmla="*/ 3711 w 10000"/>
                <a:gd name="connsiteY74" fmla="*/ 813 h 10812"/>
                <a:gd name="connsiteX75" fmla="*/ 3250 w 10000"/>
                <a:gd name="connsiteY75" fmla="*/ 419 h 10812"/>
                <a:gd name="connsiteX76" fmla="*/ 2975 w 10000"/>
                <a:gd name="connsiteY76" fmla="*/ 542 h 10812"/>
                <a:gd name="connsiteX77" fmla="*/ 2446 w 10000"/>
                <a:gd name="connsiteY77" fmla="*/ 321 h 10812"/>
                <a:gd name="connsiteX78" fmla="*/ 2239 w 10000"/>
                <a:gd name="connsiteY78" fmla="*/ 467 h 10812"/>
                <a:gd name="connsiteX79" fmla="*/ 1734 w 10000"/>
                <a:gd name="connsiteY79" fmla="*/ 27 h 10812"/>
                <a:gd name="connsiteX80" fmla="*/ 1321 w 10000"/>
                <a:gd name="connsiteY80" fmla="*/ 639 h 10812"/>
                <a:gd name="connsiteX81" fmla="*/ 1321 w 10000"/>
                <a:gd name="connsiteY81" fmla="*/ 1006 h 10812"/>
                <a:gd name="connsiteX82" fmla="*/ 1022 w 10000"/>
                <a:gd name="connsiteY82" fmla="*/ 713 h 10812"/>
                <a:gd name="connsiteX83" fmla="*/ 679 w 10000"/>
                <a:gd name="connsiteY83" fmla="*/ 1203 h 10812"/>
                <a:gd name="connsiteX84" fmla="*/ 933 w 10000"/>
                <a:gd name="connsiteY84" fmla="*/ 1595 h 10812"/>
                <a:gd name="connsiteX85" fmla="*/ 471 w 10000"/>
                <a:gd name="connsiteY85" fmla="*/ 2060 h 10812"/>
                <a:gd name="connsiteX86" fmla="*/ 427 w 10000"/>
                <a:gd name="connsiteY86" fmla="*/ 2060 h 10812"/>
                <a:gd name="connsiteX87" fmla="*/ 609 w 10000"/>
                <a:gd name="connsiteY87" fmla="*/ 2331 h 10812"/>
                <a:gd name="connsiteX88" fmla="*/ 379 w 10000"/>
                <a:gd name="connsiteY88" fmla="*/ 2600 h 10812"/>
                <a:gd name="connsiteX89" fmla="*/ 539 w 10000"/>
                <a:gd name="connsiteY89" fmla="*/ 2770 h 10812"/>
                <a:gd name="connsiteX90" fmla="*/ 471 w 10000"/>
                <a:gd name="connsiteY90" fmla="*/ 3041 h 10812"/>
                <a:gd name="connsiteX91" fmla="*/ 379 w 10000"/>
                <a:gd name="connsiteY91" fmla="*/ 3189 h 10812"/>
                <a:gd name="connsiteX92" fmla="*/ 539 w 10000"/>
                <a:gd name="connsiteY92" fmla="*/ 3482 h 10812"/>
                <a:gd name="connsiteX93" fmla="*/ 266 w 10000"/>
                <a:gd name="connsiteY93" fmla="*/ 3946 h 10812"/>
                <a:gd name="connsiteX94" fmla="*/ 471 w 10000"/>
                <a:gd name="connsiteY94" fmla="*/ 4218 h 10812"/>
                <a:gd name="connsiteX95" fmla="*/ 105 w 10000"/>
                <a:gd name="connsiteY95" fmla="*/ 4682 h 10812"/>
                <a:gd name="connsiteX96" fmla="*/ 288 w 10000"/>
                <a:gd name="connsiteY96" fmla="*/ 4928 h 10812"/>
                <a:gd name="connsiteX97" fmla="*/ 12 w 10000"/>
                <a:gd name="connsiteY97" fmla="*/ 5320 h 10812"/>
                <a:gd name="connsiteX98" fmla="*/ 379 w 10000"/>
                <a:gd name="connsiteY98" fmla="*/ 5466 h 10812"/>
                <a:gd name="connsiteX99" fmla="*/ 266 w 10000"/>
                <a:gd name="connsiteY99" fmla="*/ 5786 h 10812"/>
                <a:gd name="connsiteX100" fmla="*/ 357 w 10000"/>
                <a:gd name="connsiteY100" fmla="*/ 6153 h 10812"/>
                <a:gd name="connsiteX101" fmla="*/ 982 w 10000"/>
                <a:gd name="connsiteY101" fmla="*/ 5817 h 10812"/>
                <a:gd name="connsiteX102" fmla="*/ 1342 w 10000"/>
                <a:gd name="connsiteY102" fmla="*/ 5520 h 10812"/>
                <a:gd name="connsiteX103" fmla="*/ 1775 w 10000"/>
                <a:gd name="connsiteY103" fmla="*/ 5526 h 10812"/>
                <a:gd name="connsiteX104" fmla="*/ 2239 w 10000"/>
                <a:gd name="connsiteY104" fmla="*/ 5350 h 10812"/>
                <a:gd name="connsiteX105" fmla="*/ 2810 w 10000"/>
                <a:gd name="connsiteY105" fmla="*/ 5072 h 10812"/>
                <a:gd name="connsiteX106" fmla="*/ 2997 w 10000"/>
                <a:gd name="connsiteY106" fmla="*/ 4860 h 10812"/>
                <a:gd name="connsiteX107" fmla="*/ 3386 w 10000"/>
                <a:gd name="connsiteY107" fmla="*/ 4448 h 10812"/>
                <a:gd name="connsiteX108" fmla="*/ 4023 w 10000"/>
                <a:gd name="connsiteY108" fmla="*/ 4734 h 10812"/>
                <a:gd name="connsiteX109" fmla="*/ 4296 w 10000"/>
                <a:gd name="connsiteY109" fmla="*/ 4715 h 10812"/>
                <a:gd name="connsiteX110" fmla="*/ 4241 w 10000"/>
                <a:gd name="connsiteY110" fmla="*/ 4363 h 10812"/>
                <a:gd name="connsiteX111" fmla="*/ 4282 w 10000"/>
                <a:gd name="connsiteY111" fmla="*/ 3912 h 10812"/>
                <a:gd name="connsiteX112" fmla="*/ 4895 w 10000"/>
                <a:gd name="connsiteY112" fmla="*/ 3809 h 10812"/>
                <a:gd name="connsiteX113" fmla="*/ 4809 w 10000"/>
                <a:gd name="connsiteY113" fmla="*/ 4347 h 10812"/>
                <a:gd name="connsiteX114" fmla="*/ 4405 w 10000"/>
                <a:gd name="connsiteY114" fmla="*/ 10812 h 10812"/>
                <a:gd name="connsiteX0" fmla="*/ 3869 w 10000"/>
                <a:gd name="connsiteY0" fmla="*/ 9509 h 9509"/>
                <a:gd name="connsiteX1" fmla="*/ 3755 w 10000"/>
                <a:gd name="connsiteY1" fmla="*/ 9239 h 9509"/>
                <a:gd name="connsiteX2" fmla="*/ 3616 w 10000"/>
                <a:gd name="connsiteY2" fmla="*/ 8995 h 9509"/>
                <a:gd name="connsiteX3" fmla="*/ 3755 w 10000"/>
                <a:gd name="connsiteY3" fmla="*/ 8750 h 9509"/>
                <a:gd name="connsiteX4" fmla="*/ 3823 w 10000"/>
                <a:gd name="connsiteY4" fmla="*/ 8310 h 9509"/>
                <a:gd name="connsiteX5" fmla="*/ 3570 w 10000"/>
                <a:gd name="connsiteY5" fmla="*/ 7869 h 9509"/>
                <a:gd name="connsiteX6" fmla="*/ 3663 w 10000"/>
                <a:gd name="connsiteY6" fmla="*/ 7352 h 9509"/>
                <a:gd name="connsiteX7" fmla="*/ 3755 w 10000"/>
                <a:gd name="connsiteY7" fmla="*/ 7107 h 9509"/>
                <a:gd name="connsiteX8" fmla="*/ 3800 w 10000"/>
                <a:gd name="connsiteY8" fmla="*/ 6889 h 9509"/>
                <a:gd name="connsiteX9" fmla="*/ 4076 w 10000"/>
                <a:gd name="connsiteY9" fmla="*/ 6471 h 9509"/>
                <a:gd name="connsiteX10" fmla="*/ 4626 w 10000"/>
                <a:gd name="connsiteY10" fmla="*/ 6250 h 9509"/>
                <a:gd name="connsiteX11" fmla="*/ 4720 w 10000"/>
                <a:gd name="connsiteY11" fmla="*/ 6348 h 9509"/>
                <a:gd name="connsiteX12" fmla="*/ 4650 w 10000"/>
                <a:gd name="connsiteY12" fmla="*/ 6423 h 9509"/>
                <a:gd name="connsiteX13" fmla="*/ 4811 w 10000"/>
                <a:gd name="connsiteY13" fmla="*/ 6570 h 9509"/>
                <a:gd name="connsiteX14" fmla="*/ 4994 w 10000"/>
                <a:gd name="connsiteY14" fmla="*/ 6373 h 9509"/>
                <a:gd name="connsiteX15" fmla="*/ 5202 w 10000"/>
                <a:gd name="connsiteY15" fmla="*/ 6201 h 9509"/>
                <a:gd name="connsiteX16" fmla="*/ 5636 w 10000"/>
                <a:gd name="connsiteY16" fmla="*/ 5491 h 9509"/>
                <a:gd name="connsiteX17" fmla="*/ 5984 w 10000"/>
                <a:gd name="connsiteY17" fmla="*/ 5712 h 9509"/>
                <a:gd name="connsiteX18" fmla="*/ 5958 w 10000"/>
                <a:gd name="connsiteY18" fmla="*/ 5542 h 9509"/>
                <a:gd name="connsiteX19" fmla="*/ 6188 w 10000"/>
                <a:gd name="connsiteY19" fmla="*/ 5369 h 9509"/>
                <a:gd name="connsiteX20" fmla="*/ 6417 w 10000"/>
                <a:gd name="connsiteY20" fmla="*/ 5491 h 9509"/>
                <a:gd name="connsiteX21" fmla="*/ 6188 w 10000"/>
                <a:gd name="connsiteY21" fmla="*/ 5002 h 9509"/>
                <a:gd name="connsiteX22" fmla="*/ 6327 w 10000"/>
                <a:gd name="connsiteY22" fmla="*/ 4804 h 9509"/>
                <a:gd name="connsiteX23" fmla="*/ 6810 w 10000"/>
                <a:gd name="connsiteY23" fmla="*/ 4658 h 9509"/>
                <a:gd name="connsiteX24" fmla="*/ 6763 w 10000"/>
                <a:gd name="connsiteY24" fmla="*/ 4609 h 9509"/>
                <a:gd name="connsiteX25" fmla="*/ 7132 w 10000"/>
                <a:gd name="connsiteY25" fmla="*/ 4242 h 9509"/>
                <a:gd name="connsiteX26" fmla="*/ 7406 w 10000"/>
                <a:gd name="connsiteY26" fmla="*/ 4045 h 9509"/>
                <a:gd name="connsiteX27" fmla="*/ 8095 w 10000"/>
                <a:gd name="connsiteY27" fmla="*/ 3653 h 9509"/>
                <a:gd name="connsiteX28" fmla="*/ 8302 w 10000"/>
                <a:gd name="connsiteY28" fmla="*/ 3409 h 9509"/>
                <a:gd name="connsiteX29" fmla="*/ 8714 w 10000"/>
                <a:gd name="connsiteY29" fmla="*/ 2942 h 9509"/>
                <a:gd name="connsiteX30" fmla="*/ 9449 w 10000"/>
                <a:gd name="connsiteY30" fmla="*/ 2527 h 9509"/>
                <a:gd name="connsiteX31" fmla="*/ 9494 w 10000"/>
                <a:gd name="connsiteY31" fmla="*/ 2354 h 9509"/>
                <a:gd name="connsiteX32" fmla="*/ 9793 w 10000"/>
                <a:gd name="connsiteY32" fmla="*/ 2086 h 9509"/>
                <a:gd name="connsiteX33" fmla="*/ 10000 w 10000"/>
                <a:gd name="connsiteY33" fmla="*/ 1766 h 9509"/>
                <a:gd name="connsiteX34" fmla="*/ 9678 w 10000"/>
                <a:gd name="connsiteY34" fmla="*/ 1471 h 9509"/>
                <a:gd name="connsiteX35" fmla="*/ 9265 w 10000"/>
                <a:gd name="connsiteY35" fmla="*/ 1766 h 9509"/>
                <a:gd name="connsiteX36" fmla="*/ 9059 w 10000"/>
                <a:gd name="connsiteY36" fmla="*/ 1643 h 9509"/>
                <a:gd name="connsiteX37" fmla="*/ 8875 w 10000"/>
                <a:gd name="connsiteY37" fmla="*/ 1400 h 9509"/>
                <a:gd name="connsiteX38" fmla="*/ 9012 w 10000"/>
                <a:gd name="connsiteY38" fmla="*/ 1203 h 9509"/>
                <a:gd name="connsiteX39" fmla="*/ 8691 w 10000"/>
                <a:gd name="connsiteY39" fmla="*/ 933 h 9509"/>
                <a:gd name="connsiteX40" fmla="*/ 8553 w 10000"/>
                <a:gd name="connsiteY40" fmla="*/ 1032 h 9509"/>
                <a:gd name="connsiteX41" fmla="*/ 8253 w 10000"/>
                <a:gd name="connsiteY41" fmla="*/ 1082 h 9509"/>
                <a:gd name="connsiteX42" fmla="*/ 8279 w 10000"/>
                <a:gd name="connsiteY42" fmla="*/ 1350 h 9509"/>
                <a:gd name="connsiteX43" fmla="*/ 8369 w 10000"/>
                <a:gd name="connsiteY43" fmla="*/ 1423 h 9509"/>
                <a:gd name="connsiteX44" fmla="*/ 8302 w 10000"/>
                <a:gd name="connsiteY44" fmla="*/ 1619 h 9509"/>
                <a:gd name="connsiteX45" fmla="*/ 8117 w 10000"/>
                <a:gd name="connsiteY45" fmla="*/ 1670 h 9509"/>
                <a:gd name="connsiteX46" fmla="*/ 7933 w 10000"/>
                <a:gd name="connsiteY46" fmla="*/ 1817 h 9509"/>
                <a:gd name="connsiteX47" fmla="*/ 8095 w 10000"/>
                <a:gd name="connsiteY47" fmla="*/ 2011 h 9509"/>
                <a:gd name="connsiteX48" fmla="*/ 8072 w 10000"/>
                <a:gd name="connsiteY48" fmla="*/ 2159 h 9509"/>
                <a:gd name="connsiteX49" fmla="*/ 7727 w 10000"/>
                <a:gd name="connsiteY49" fmla="*/ 2331 h 9509"/>
                <a:gd name="connsiteX50" fmla="*/ 7566 w 10000"/>
                <a:gd name="connsiteY50" fmla="*/ 2624 h 9509"/>
                <a:gd name="connsiteX51" fmla="*/ 7153 w 10000"/>
                <a:gd name="connsiteY51" fmla="*/ 2037 h 9509"/>
                <a:gd name="connsiteX52" fmla="*/ 6992 w 10000"/>
                <a:gd name="connsiteY52" fmla="*/ 2234 h 9509"/>
                <a:gd name="connsiteX53" fmla="*/ 7221 w 10000"/>
                <a:gd name="connsiteY53" fmla="*/ 2477 h 9509"/>
                <a:gd name="connsiteX54" fmla="*/ 7038 w 10000"/>
                <a:gd name="connsiteY54" fmla="*/ 2649 h 9509"/>
                <a:gd name="connsiteX55" fmla="*/ 7083 w 10000"/>
                <a:gd name="connsiteY55" fmla="*/ 2770 h 9509"/>
                <a:gd name="connsiteX56" fmla="*/ 6717 w 10000"/>
                <a:gd name="connsiteY56" fmla="*/ 3065 h 9509"/>
                <a:gd name="connsiteX57" fmla="*/ 6327 w 10000"/>
                <a:gd name="connsiteY57" fmla="*/ 2821 h 9509"/>
                <a:gd name="connsiteX58" fmla="*/ 5272 w 10000"/>
                <a:gd name="connsiteY58" fmla="*/ 3433 h 9509"/>
                <a:gd name="connsiteX59" fmla="*/ 5179 w 10000"/>
                <a:gd name="connsiteY59" fmla="*/ 3165 h 9509"/>
                <a:gd name="connsiteX60" fmla="*/ 5041 w 10000"/>
                <a:gd name="connsiteY60" fmla="*/ 2992 h 9509"/>
                <a:gd name="connsiteX61" fmla="*/ 5087 w 10000"/>
                <a:gd name="connsiteY61" fmla="*/ 2794 h 9509"/>
                <a:gd name="connsiteX62" fmla="*/ 4948 w 10000"/>
                <a:gd name="connsiteY62" fmla="*/ 2600 h 9509"/>
                <a:gd name="connsiteX63" fmla="*/ 4742 w 10000"/>
                <a:gd name="connsiteY63" fmla="*/ 2576 h 9509"/>
                <a:gd name="connsiteX64" fmla="*/ 4788 w 10000"/>
                <a:gd name="connsiteY64" fmla="*/ 2306 h 9509"/>
                <a:gd name="connsiteX65" fmla="*/ 4626 w 10000"/>
                <a:gd name="connsiteY65" fmla="*/ 2208 h 9509"/>
                <a:gd name="connsiteX66" fmla="*/ 4466 w 10000"/>
                <a:gd name="connsiteY66" fmla="*/ 1866 h 9509"/>
                <a:gd name="connsiteX67" fmla="*/ 4259 w 10000"/>
                <a:gd name="connsiteY67" fmla="*/ 1866 h 9509"/>
                <a:gd name="connsiteX68" fmla="*/ 4054 w 10000"/>
                <a:gd name="connsiteY68" fmla="*/ 1693 h 9509"/>
                <a:gd name="connsiteX69" fmla="*/ 4054 w 10000"/>
                <a:gd name="connsiteY69" fmla="*/ 1619 h 9509"/>
                <a:gd name="connsiteX70" fmla="*/ 3869 w 10000"/>
                <a:gd name="connsiteY70" fmla="*/ 1717 h 9509"/>
                <a:gd name="connsiteX71" fmla="*/ 3640 w 10000"/>
                <a:gd name="connsiteY71" fmla="*/ 1547 h 9509"/>
                <a:gd name="connsiteX72" fmla="*/ 3755 w 10000"/>
                <a:gd name="connsiteY72" fmla="*/ 1301 h 9509"/>
                <a:gd name="connsiteX73" fmla="*/ 3570 w 10000"/>
                <a:gd name="connsiteY73" fmla="*/ 1105 h 9509"/>
                <a:gd name="connsiteX74" fmla="*/ 3711 w 10000"/>
                <a:gd name="connsiteY74" fmla="*/ 813 h 9509"/>
                <a:gd name="connsiteX75" fmla="*/ 3250 w 10000"/>
                <a:gd name="connsiteY75" fmla="*/ 419 h 9509"/>
                <a:gd name="connsiteX76" fmla="*/ 2975 w 10000"/>
                <a:gd name="connsiteY76" fmla="*/ 542 h 9509"/>
                <a:gd name="connsiteX77" fmla="*/ 2446 w 10000"/>
                <a:gd name="connsiteY77" fmla="*/ 321 h 9509"/>
                <a:gd name="connsiteX78" fmla="*/ 2239 w 10000"/>
                <a:gd name="connsiteY78" fmla="*/ 467 h 9509"/>
                <a:gd name="connsiteX79" fmla="*/ 1734 w 10000"/>
                <a:gd name="connsiteY79" fmla="*/ 27 h 9509"/>
                <a:gd name="connsiteX80" fmla="*/ 1321 w 10000"/>
                <a:gd name="connsiteY80" fmla="*/ 639 h 9509"/>
                <a:gd name="connsiteX81" fmla="*/ 1321 w 10000"/>
                <a:gd name="connsiteY81" fmla="*/ 1006 h 9509"/>
                <a:gd name="connsiteX82" fmla="*/ 1022 w 10000"/>
                <a:gd name="connsiteY82" fmla="*/ 713 h 9509"/>
                <a:gd name="connsiteX83" fmla="*/ 679 w 10000"/>
                <a:gd name="connsiteY83" fmla="*/ 1203 h 9509"/>
                <a:gd name="connsiteX84" fmla="*/ 933 w 10000"/>
                <a:gd name="connsiteY84" fmla="*/ 1595 h 9509"/>
                <a:gd name="connsiteX85" fmla="*/ 471 w 10000"/>
                <a:gd name="connsiteY85" fmla="*/ 2060 h 9509"/>
                <a:gd name="connsiteX86" fmla="*/ 427 w 10000"/>
                <a:gd name="connsiteY86" fmla="*/ 2060 h 9509"/>
                <a:gd name="connsiteX87" fmla="*/ 609 w 10000"/>
                <a:gd name="connsiteY87" fmla="*/ 2331 h 9509"/>
                <a:gd name="connsiteX88" fmla="*/ 379 w 10000"/>
                <a:gd name="connsiteY88" fmla="*/ 2600 h 9509"/>
                <a:gd name="connsiteX89" fmla="*/ 539 w 10000"/>
                <a:gd name="connsiteY89" fmla="*/ 2770 h 9509"/>
                <a:gd name="connsiteX90" fmla="*/ 471 w 10000"/>
                <a:gd name="connsiteY90" fmla="*/ 3041 h 9509"/>
                <a:gd name="connsiteX91" fmla="*/ 379 w 10000"/>
                <a:gd name="connsiteY91" fmla="*/ 3189 h 9509"/>
                <a:gd name="connsiteX92" fmla="*/ 539 w 10000"/>
                <a:gd name="connsiteY92" fmla="*/ 3482 h 9509"/>
                <a:gd name="connsiteX93" fmla="*/ 266 w 10000"/>
                <a:gd name="connsiteY93" fmla="*/ 3946 h 9509"/>
                <a:gd name="connsiteX94" fmla="*/ 471 w 10000"/>
                <a:gd name="connsiteY94" fmla="*/ 4218 h 9509"/>
                <a:gd name="connsiteX95" fmla="*/ 105 w 10000"/>
                <a:gd name="connsiteY95" fmla="*/ 4682 h 9509"/>
                <a:gd name="connsiteX96" fmla="*/ 288 w 10000"/>
                <a:gd name="connsiteY96" fmla="*/ 4928 h 9509"/>
                <a:gd name="connsiteX97" fmla="*/ 12 w 10000"/>
                <a:gd name="connsiteY97" fmla="*/ 5320 h 9509"/>
                <a:gd name="connsiteX98" fmla="*/ 379 w 10000"/>
                <a:gd name="connsiteY98" fmla="*/ 5466 h 9509"/>
                <a:gd name="connsiteX99" fmla="*/ 266 w 10000"/>
                <a:gd name="connsiteY99" fmla="*/ 5786 h 9509"/>
                <a:gd name="connsiteX100" fmla="*/ 357 w 10000"/>
                <a:gd name="connsiteY100" fmla="*/ 6153 h 9509"/>
                <a:gd name="connsiteX101" fmla="*/ 982 w 10000"/>
                <a:gd name="connsiteY101" fmla="*/ 5817 h 9509"/>
                <a:gd name="connsiteX102" fmla="*/ 1342 w 10000"/>
                <a:gd name="connsiteY102" fmla="*/ 5520 h 9509"/>
                <a:gd name="connsiteX103" fmla="*/ 1775 w 10000"/>
                <a:gd name="connsiteY103" fmla="*/ 5526 h 9509"/>
                <a:gd name="connsiteX104" fmla="*/ 2239 w 10000"/>
                <a:gd name="connsiteY104" fmla="*/ 5350 h 9509"/>
                <a:gd name="connsiteX105" fmla="*/ 2810 w 10000"/>
                <a:gd name="connsiteY105" fmla="*/ 5072 h 9509"/>
                <a:gd name="connsiteX106" fmla="*/ 2997 w 10000"/>
                <a:gd name="connsiteY106" fmla="*/ 4860 h 9509"/>
                <a:gd name="connsiteX107" fmla="*/ 3386 w 10000"/>
                <a:gd name="connsiteY107" fmla="*/ 4448 h 9509"/>
                <a:gd name="connsiteX108" fmla="*/ 4023 w 10000"/>
                <a:gd name="connsiteY108" fmla="*/ 4734 h 9509"/>
                <a:gd name="connsiteX109" fmla="*/ 4296 w 10000"/>
                <a:gd name="connsiteY109" fmla="*/ 4715 h 9509"/>
                <a:gd name="connsiteX110" fmla="*/ 4241 w 10000"/>
                <a:gd name="connsiteY110" fmla="*/ 4363 h 9509"/>
                <a:gd name="connsiteX111" fmla="*/ 4282 w 10000"/>
                <a:gd name="connsiteY111" fmla="*/ 3912 h 9509"/>
                <a:gd name="connsiteX112" fmla="*/ 4895 w 10000"/>
                <a:gd name="connsiteY112" fmla="*/ 3809 h 9509"/>
                <a:gd name="connsiteX113" fmla="*/ 4809 w 10000"/>
                <a:gd name="connsiteY113" fmla="*/ 4347 h 9509"/>
                <a:gd name="connsiteX0" fmla="*/ 3755 w 10000"/>
                <a:gd name="connsiteY0" fmla="*/ 9716 h 9716"/>
                <a:gd name="connsiteX1" fmla="*/ 3616 w 10000"/>
                <a:gd name="connsiteY1" fmla="*/ 9459 h 9716"/>
                <a:gd name="connsiteX2" fmla="*/ 3755 w 10000"/>
                <a:gd name="connsiteY2" fmla="*/ 9202 h 9716"/>
                <a:gd name="connsiteX3" fmla="*/ 3823 w 10000"/>
                <a:gd name="connsiteY3" fmla="*/ 8739 h 9716"/>
                <a:gd name="connsiteX4" fmla="*/ 3570 w 10000"/>
                <a:gd name="connsiteY4" fmla="*/ 8275 h 9716"/>
                <a:gd name="connsiteX5" fmla="*/ 3663 w 10000"/>
                <a:gd name="connsiteY5" fmla="*/ 7732 h 9716"/>
                <a:gd name="connsiteX6" fmla="*/ 3755 w 10000"/>
                <a:gd name="connsiteY6" fmla="*/ 7474 h 9716"/>
                <a:gd name="connsiteX7" fmla="*/ 3800 w 10000"/>
                <a:gd name="connsiteY7" fmla="*/ 7245 h 9716"/>
                <a:gd name="connsiteX8" fmla="*/ 4076 w 10000"/>
                <a:gd name="connsiteY8" fmla="*/ 6805 h 9716"/>
                <a:gd name="connsiteX9" fmla="*/ 4626 w 10000"/>
                <a:gd name="connsiteY9" fmla="*/ 6573 h 9716"/>
                <a:gd name="connsiteX10" fmla="*/ 4720 w 10000"/>
                <a:gd name="connsiteY10" fmla="*/ 6676 h 9716"/>
                <a:gd name="connsiteX11" fmla="*/ 4650 w 10000"/>
                <a:gd name="connsiteY11" fmla="*/ 6755 h 9716"/>
                <a:gd name="connsiteX12" fmla="*/ 4811 w 10000"/>
                <a:gd name="connsiteY12" fmla="*/ 6909 h 9716"/>
                <a:gd name="connsiteX13" fmla="*/ 4994 w 10000"/>
                <a:gd name="connsiteY13" fmla="*/ 6702 h 9716"/>
                <a:gd name="connsiteX14" fmla="*/ 5202 w 10000"/>
                <a:gd name="connsiteY14" fmla="*/ 6521 h 9716"/>
                <a:gd name="connsiteX15" fmla="*/ 5636 w 10000"/>
                <a:gd name="connsiteY15" fmla="*/ 5775 h 9716"/>
                <a:gd name="connsiteX16" fmla="*/ 5984 w 10000"/>
                <a:gd name="connsiteY16" fmla="*/ 6007 h 9716"/>
                <a:gd name="connsiteX17" fmla="*/ 5958 w 10000"/>
                <a:gd name="connsiteY17" fmla="*/ 5828 h 9716"/>
                <a:gd name="connsiteX18" fmla="*/ 6188 w 10000"/>
                <a:gd name="connsiteY18" fmla="*/ 5646 h 9716"/>
                <a:gd name="connsiteX19" fmla="*/ 6417 w 10000"/>
                <a:gd name="connsiteY19" fmla="*/ 5775 h 9716"/>
                <a:gd name="connsiteX20" fmla="*/ 6188 w 10000"/>
                <a:gd name="connsiteY20" fmla="*/ 5260 h 9716"/>
                <a:gd name="connsiteX21" fmla="*/ 6327 w 10000"/>
                <a:gd name="connsiteY21" fmla="*/ 5052 h 9716"/>
                <a:gd name="connsiteX22" fmla="*/ 6810 w 10000"/>
                <a:gd name="connsiteY22" fmla="*/ 4899 h 9716"/>
                <a:gd name="connsiteX23" fmla="*/ 6763 w 10000"/>
                <a:gd name="connsiteY23" fmla="*/ 4847 h 9716"/>
                <a:gd name="connsiteX24" fmla="*/ 7132 w 10000"/>
                <a:gd name="connsiteY24" fmla="*/ 4461 h 9716"/>
                <a:gd name="connsiteX25" fmla="*/ 7406 w 10000"/>
                <a:gd name="connsiteY25" fmla="*/ 4254 h 9716"/>
                <a:gd name="connsiteX26" fmla="*/ 8095 w 10000"/>
                <a:gd name="connsiteY26" fmla="*/ 3842 h 9716"/>
                <a:gd name="connsiteX27" fmla="*/ 8302 w 10000"/>
                <a:gd name="connsiteY27" fmla="*/ 3585 h 9716"/>
                <a:gd name="connsiteX28" fmla="*/ 8714 w 10000"/>
                <a:gd name="connsiteY28" fmla="*/ 3094 h 9716"/>
                <a:gd name="connsiteX29" fmla="*/ 9449 w 10000"/>
                <a:gd name="connsiteY29" fmla="*/ 2657 h 9716"/>
                <a:gd name="connsiteX30" fmla="*/ 9494 w 10000"/>
                <a:gd name="connsiteY30" fmla="*/ 2476 h 9716"/>
                <a:gd name="connsiteX31" fmla="*/ 9793 w 10000"/>
                <a:gd name="connsiteY31" fmla="*/ 2194 h 9716"/>
                <a:gd name="connsiteX32" fmla="*/ 10000 w 10000"/>
                <a:gd name="connsiteY32" fmla="*/ 1857 h 9716"/>
                <a:gd name="connsiteX33" fmla="*/ 9678 w 10000"/>
                <a:gd name="connsiteY33" fmla="*/ 1547 h 9716"/>
                <a:gd name="connsiteX34" fmla="*/ 9265 w 10000"/>
                <a:gd name="connsiteY34" fmla="*/ 1857 h 9716"/>
                <a:gd name="connsiteX35" fmla="*/ 9059 w 10000"/>
                <a:gd name="connsiteY35" fmla="*/ 1728 h 9716"/>
                <a:gd name="connsiteX36" fmla="*/ 8875 w 10000"/>
                <a:gd name="connsiteY36" fmla="*/ 1472 h 9716"/>
                <a:gd name="connsiteX37" fmla="*/ 9012 w 10000"/>
                <a:gd name="connsiteY37" fmla="*/ 1265 h 9716"/>
                <a:gd name="connsiteX38" fmla="*/ 8691 w 10000"/>
                <a:gd name="connsiteY38" fmla="*/ 981 h 9716"/>
                <a:gd name="connsiteX39" fmla="*/ 8553 w 10000"/>
                <a:gd name="connsiteY39" fmla="*/ 1085 h 9716"/>
                <a:gd name="connsiteX40" fmla="*/ 8253 w 10000"/>
                <a:gd name="connsiteY40" fmla="*/ 1138 h 9716"/>
                <a:gd name="connsiteX41" fmla="*/ 8279 w 10000"/>
                <a:gd name="connsiteY41" fmla="*/ 1420 h 9716"/>
                <a:gd name="connsiteX42" fmla="*/ 8369 w 10000"/>
                <a:gd name="connsiteY42" fmla="*/ 1496 h 9716"/>
                <a:gd name="connsiteX43" fmla="*/ 8302 w 10000"/>
                <a:gd name="connsiteY43" fmla="*/ 1703 h 9716"/>
                <a:gd name="connsiteX44" fmla="*/ 8117 w 10000"/>
                <a:gd name="connsiteY44" fmla="*/ 1756 h 9716"/>
                <a:gd name="connsiteX45" fmla="*/ 7933 w 10000"/>
                <a:gd name="connsiteY45" fmla="*/ 1911 h 9716"/>
                <a:gd name="connsiteX46" fmla="*/ 8095 w 10000"/>
                <a:gd name="connsiteY46" fmla="*/ 2115 h 9716"/>
                <a:gd name="connsiteX47" fmla="*/ 8072 w 10000"/>
                <a:gd name="connsiteY47" fmla="*/ 2270 h 9716"/>
                <a:gd name="connsiteX48" fmla="*/ 7727 w 10000"/>
                <a:gd name="connsiteY48" fmla="*/ 2451 h 9716"/>
                <a:gd name="connsiteX49" fmla="*/ 7566 w 10000"/>
                <a:gd name="connsiteY49" fmla="*/ 2759 h 9716"/>
                <a:gd name="connsiteX50" fmla="*/ 7153 w 10000"/>
                <a:gd name="connsiteY50" fmla="*/ 2142 h 9716"/>
                <a:gd name="connsiteX51" fmla="*/ 6992 w 10000"/>
                <a:gd name="connsiteY51" fmla="*/ 2349 h 9716"/>
                <a:gd name="connsiteX52" fmla="*/ 7221 w 10000"/>
                <a:gd name="connsiteY52" fmla="*/ 2605 h 9716"/>
                <a:gd name="connsiteX53" fmla="*/ 7038 w 10000"/>
                <a:gd name="connsiteY53" fmla="*/ 2786 h 9716"/>
                <a:gd name="connsiteX54" fmla="*/ 7083 w 10000"/>
                <a:gd name="connsiteY54" fmla="*/ 2913 h 9716"/>
                <a:gd name="connsiteX55" fmla="*/ 6717 w 10000"/>
                <a:gd name="connsiteY55" fmla="*/ 3223 h 9716"/>
                <a:gd name="connsiteX56" fmla="*/ 6327 w 10000"/>
                <a:gd name="connsiteY56" fmla="*/ 2967 h 9716"/>
                <a:gd name="connsiteX57" fmla="*/ 5272 w 10000"/>
                <a:gd name="connsiteY57" fmla="*/ 3610 h 9716"/>
                <a:gd name="connsiteX58" fmla="*/ 5179 w 10000"/>
                <a:gd name="connsiteY58" fmla="*/ 3328 h 9716"/>
                <a:gd name="connsiteX59" fmla="*/ 5041 w 10000"/>
                <a:gd name="connsiteY59" fmla="*/ 3146 h 9716"/>
                <a:gd name="connsiteX60" fmla="*/ 5087 w 10000"/>
                <a:gd name="connsiteY60" fmla="*/ 2938 h 9716"/>
                <a:gd name="connsiteX61" fmla="*/ 4948 w 10000"/>
                <a:gd name="connsiteY61" fmla="*/ 2734 h 9716"/>
                <a:gd name="connsiteX62" fmla="*/ 4742 w 10000"/>
                <a:gd name="connsiteY62" fmla="*/ 2709 h 9716"/>
                <a:gd name="connsiteX63" fmla="*/ 4788 w 10000"/>
                <a:gd name="connsiteY63" fmla="*/ 2425 h 9716"/>
                <a:gd name="connsiteX64" fmla="*/ 4626 w 10000"/>
                <a:gd name="connsiteY64" fmla="*/ 2322 h 9716"/>
                <a:gd name="connsiteX65" fmla="*/ 4466 w 10000"/>
                <a:gd name="connsiteY65" fmla="*/ 1962 h 9716"/>
                <a:gd name="connsiteX66" fmla="*/ 4259 w 10000"/>
                <a:gd name="connsiteY66" fmla="*/ 1962 h 9716"/>
                <a:gd name="connsiteX67" fmla="*/ 4054 w 10000"/>
                <a:gd name="connsiteY67" fmla="*/ 1780 h 9716"/>
                <a:gd name="connsiteX68" fmla="*/ 4054 w 10000"/>
                <a:gd name="connsiteY68" fmla="*/ 1703 h 9716"/>
                <a:gd name="connsiteX69" fmla="*/ 3869 w 10000"/>
                <a:gd name="connsiteY69" fmla="*/ 1806 h 9716"/>
                <a:gd name="connsiteX70" fmla="*/ 3640 w 10000"/>
                <a:gd name="connsiteY70" fmla="*/ 1627 h 9716"/>
                <a:gd name="connsiteX71" fmla="*/ 3755 w 10000"/>
                <a:gd name="connsiteY71" fmla="*/ 1368 h 9716"/>
                <a:gd name="connsiteX72" fmla="*/ 3570 w 10000"/>
                <a:gd name="connsiteY72" fmla="*/ 1162 h 9716"/>
                <a:gd name="connsiteX73" fmla="*/ 3711 w 10000"/>
                <a:gd name="connsiteY73" fmla="*/ 855 h 9716"/>
                <a:gd name="connsiteX74" fmla="*/ 3250 w 10000"/>
                <a:gd name="connsiteY74" fmla="*/ 441 h 9716"/>
                <a:gd name="connsiteX75" fmla="*/ 2975 w 10000"/>
                <a:gd name="connsiteY75" fmla="*/ 570 h 9716"/>
                <a:gd name="connsiteX76" fmla="*/ 2446 w 10000"/>
                <a:gd name="connsiteY76" fmla="*/ 338 h 9716"/>
                <a:gd name="connsiteX77" fmla="*/ 2239 w 10000"/>
                <a:gd name="connsiteY77" fmla="*/ 491 h 9716"/>
                <a:gd name="connsiteX78" fmla="*/ 1734 w 10000"/>
                <a:gd name="connsiteY78" fmla="*/ 28 h 9716"/>
                <a:gd name="connsiteX79" fmla="*/ 1321 w 10000"/>
                <a:gd name="connsiteY79" fmla="*/ 672 h 9716"/>
                <a:gd name="connsiteX80" fmla="*/ 1321 w 10000"/>
                <a:gd name="connsiteY80" fmla="*/ 1058 h 9716"/>
                <a:gd name="connsiteX81" fmla="*/ 1022 w 10000"/>
                <a:gd name="connsiteY81" fmla="*/ 750 h 9716"/>
                <a:gd name="connsiteX82" fmla="*/ 679 w 10000"/>
                <a:gd name="connsiteY82" fmla="*/ 1265 h 9716"/>
                <a:gd name="connsiteX83" fmla="*/ 933 w 10000"/>
                <a:gd name="connsiteY83" fmla="*/ 1677 h 9716"/>
                <a:gd name="connsiteX84" fmla="*/ 471 w 10000"/>
                <a:gd name="connsiteY84" fmla="*/ 2166 h 9716"/>
                <a:gd name="connsiteX85" fmla="*/ 427 w 10000"/>
                <a:gd name="connsiteY85" fmla="*/ 2166 h 9716"/>
                <a:gd name="connsiteX86" fmla="*/ 609 w 10000"/>
                <a:gd name="connsiteY86" fmla="*/ 2451 h 9716"/>
                <a:gd name="connsiteX87" fmla="*/ 379 w 10000"/>
                <a:gd name="connsiteY87" fmla="*/ 2734 h 9716"/>
                <a:gd name="connsiteX88" fmla="*/ 539 w 10000"/>
                <a:gd name="connsiteY88" fmla="*/ 2913 h 9716"/>
                <a:gd name="connsiteX89" fmla="*/ 471 w 10000"/>
                <a:gd name="connsiteY89" fmla="*/ 3198 h 9716"/>
                <a:gd name="connsiteX90" fmla="*/ 379 w 10000"/>
                <a:gd name="connsiteY90" fmla="*/ 3354 h 9716"/>
                <a:gd name="connsiteX91" fmla="*/ 539 w 10000"/>
                <a:gd name="connsiteY91" fmla="*/ 3662 h 9716"/>
                <a:gd name="connsiteX92" fmla="*/ 266 w 10000"/>
                <a:gd name="connsiteY92" fmla="*/ 4150 h 9716"/>
                <a:gd name="connsiteX93" fmla="*/ 471 w 10000"/>
                <a:gd name="connsiteY93" fmla="*/ 4436 h 9716"/>
                <a:gd name="connsiteX94" fmla="*/ 105 w 10000"/>
                <a:gd name="connsiteY94" fmla="*/ 4924 h 9716"/>
                <a:gd name="connsiteX95" fmla="*/ 288 w 10000"/>
                <a:gd name="connsiteY95" fmla="*/ 5182 h 9716"/>
                <a:gd name="connsiteX96" fmla="*/ 12 w 10000"/>
                <a:gd name="connsiteY96" fmla="*/ 5595 h 9716"/>
                <a:gd name="connsiteX97" fmla="*/ 379 w 10000"/>
                <a:gd name="connsiteY97" fmla="*/ 5748 h 9716"/>
                <a:gd name="connsiteX98" fmla="*/ 266 w 10000"/>
                <a:gd name="connsiteY98" fmla="*/ 6085 h 9716"/>
                <a:gd name="connsiteX99" fmla="*/ 357 w 10000"/>
                <a:gd name="connsiteY99" fmla="*/ 6471 h 9716"/>
                <a:gd name="connsiteX100" fmla="*/ 982 w 10000"/>
                <a:gd name="connsiteY100" fmla="*/ 6117 h 9716"/>
                <a:gd name="connsiteX101" fmla="*/ 1342 w 10000"/>
                <a:gd name="connsiteY101" fmla="*/ 5805 h 9716"/>
                <a:gd name="connsiteX102" fmla="*/ 1775 w 10000"/>
                <a:gd name="connsiteY102" fmla="*/ 5811 h 9716"/>
                <a:gd name="connsiteX103" fmla="*/ 2239 w 10000"/>
                <a:gd name="connsiteY103" fmla="*/ 5626 h 9716"/>
                <a:gd name="connsiteX104" fmla="*/ 2810 w 10000"/>
                <a:gd name="connsiteY104" fmla="*/ 5334 h 9716"/>
                <a:gd name="connsiteX105" fmla="*/ 2997 w 10000"/>
                <a:gd name="connsiteY105" fmla="*/ 5111 h 9716"/>
                <a:gd name="connsiteX106" fmla="*/ 3386 w 10000"/>
                <a:gd name="connsiteY106" fmla="*/ 4678 h 9716"/>
                <a:gd name="connsiteX107" fmla="*/ 4023 w 10000"/>
                <a:gd name="connsiteY107" fmla="*/ 4978 h 9716"/>
                <a:gd name="connsiteX108" fmla="*/ 4296 w 10000"/>
                <a:gd name="connsiteY108" fmla="*/ 4958 h 9716"/>
                <a:gd name="connsiteX109" fmla="*/ 4241 w 10000"/>
                <a:gd name="connsiteY109" fmla="*/ 4588 h 9716"/>
                <a:gd name="connsiteX110" fmla="*/ 4282 w 10000"/>
                <a:gd name="connsiteY110" fmla="*/ 4114 h 9716"/>
                <a:gd name="connsiteX111" fmla="*/ 4895 w 10000"/>
                <a:gd name="connsiteY111" fmla="*/ 4006 h 9716"/>
                <a:gd name="connsiteX112" fmla="*/ 4809 w 10000"/>
                <a:gd name="connsiteY112" fmla="*/ 4571 h 9716"/>
                <a:gd name="connsiteX0" fmla="*/ 3616 w 10000"/>
                <a:gd name="connsiteY0" fmla="*/ 9735 h 9735"/>
                <a:gd name="connsiteX1" fmla="*/ 3755 w 10000"/>
                <a:gd name="connsiteY1" fmla="*/ 9471 h 9735"/>
                <a:gd name="connsiteX2" fmla="*/ 3823 w 10000"/>
                <a:gd name="connsiteY2" fmla="*/ 8994 h 9735"/>
                <a:gd name="connsiteX3" fmla="*/ 3570 w 10000"/>
                <a:gd name="connsiteY3" fmla="*/ 8517 h 9735"/>
                <a:gd name="connsiteX4" fmla="*/ 3663 w 10000"/>
                <a:gd name="connsiteY4" fmla="*/ 7958 h 9735"/>
                <a:gd name="connsiteX5" fmla="*/ 3755 w 10000"/>
                <a:gd name="connsiteY5" fmla="*/ 7692 h 9735"/>
                <a:gd name="connsiteX6" fmla="*/ 3800 w 10000"/>
                <a:gd name="connsiteY6" fmla="*/ 7457 h 9735"/>
                <a:gd name="connsiteX7" fmla="*/ 4076 w 10000"/>
                <a:gd name="connsiteY7" fmla="*/ 7004 h 9735"/>
                <a:gd name="connsiteX8" fmla="*/ 4626 w 10000"/>
                <a:gd name="connsiteY8" fmla="*/ 6765 h 9735"/>
                <a:gd name="connsiteX9" fmla="*/ 4720 w 10000"/>
                <a:gd name="connsiteY9" fmla="*/ 6871 h 9735"/>
                <a:gd name="connsiteX10" fmla="*/ 4650 w 10000"/>
                <a:gd name="connsiteY10" fmla="*/ 6952 h 9735"/>
                <a:gd name="connsiteX11" fmla="*/ 4811 w 10000"/>
                <a:gd name="connsiteY11" fmla="*/ 7111 h 9735"/>
                <a:gd name="connsiteX12" fmla="*/ 4994 w 10000"/>
                <a:gd name="connsiteY12" fmla="*/ 6898 h 9735"/>
                <a:gd name="connsiteX13" fmla="*/ 5202 w 10000"/>
                <a:gd name="connsiteY13" fmla="*/ 6712 h 9735"/>
                <a:gd name="connsiteX14" fmla="*/ 5636 w 10000"/>
                <a:gd name="connsiteY14" fmla="*/ 5944 h 9735"/>
                <a:gd name="connsiteX15" fmla="*/ 5984 w 10000"/>
                <a:gd name="connsiteY15" fmla="*/ 6183 h 9735"/>
                <a:gd name="connsiteX16" fmla="*/ 5958 w 10000"/>
                <a:gd name="connsiteY16" fmla="*/ 5998 h 9735"/>
                <a:gd name="connsiteX17" fmla="*/ 6188 w 10000"/>
                <a:gd name="connsiteY17" fmla="*/ 5811 h 9735"/>
                <a:gd name="connsiteX18" fmla="*/ 6417 w 10000"/>
                <a:gd name="connsiteY18" fmla="*/ 5944 h 9735"/>
                <a:gd name="connsiteX19" fmla="*/ 6188 w 10000"/>
                <a:gd name="connsiteY19" fmla="*/ 5414 h 9735"/>
                <a:gd name="connsiteX20" fmla="*/ 6327 w 10000"/>
                <a:gd name="connsiteY20" fmla="*/ 5200 h 9735"/>
                <a:gd name="connsiteX21" fmla="*/ 6810 w 10000"/>
                <a:gd name="connsiteY21" fmla="*/ 5042 h 9735"/>
                <a:gd name="connsiteX22" fmla="*/ 6763 w 10000"/>
                <a:gd name="connsiteY22" fmla="*/ 4989 h 9735"/>
                <a:gd name="connsiteX23" fmla="*/ 7132 w 10000"/>
                <a:gd name="connsiteY23" fmla="*/ 4591 h 9735"/>
                <a:gd name="connsiteX24" fmla="*/ 7406 w 10000"/>
                <a:gd name="connsiteY24" fmla="*/ 4378 h 9735"/>
                <a:gd name="connsiteX25" fmla="*/ 8095 w 10000"/>
                <a:gd name="connsiteY25" fmla="*/ 3954 h 9735"/>
                <a:gd name="connsiteX26" fmla="*/ 8302 w 10000"/>
                <a:gd name="connsiteY26" fmla="*/ 3690 h 9735"/>
                <a:gd name="connsiteX27" fmla="*/ 8714 w 10000"/>
                <a:gd name="connsiteY27" fmla="*/ 3184 h 9735"/>
                <a:gd name="connsiteX28" fmla="*/ 9449 w 10000"/>
                <a:gd name="connsiteY28" fmla="*/ 2735 h 9735"/>
                <a:gd name="connsiteX29" fmla="*/ 9494 w 10000"/>
                <a:gd name="connsiteY29" fmla="*/ 2548 h 9735"/>
                <a:gd name="connsiteX30" fmla="*/ 9793 w 10000"/>
                <a:gd name="connsiteY30" fmla="*/ 2258 h 9735"/>
                <a:gd name="connsiteX31" fmla="*/ 10000 w 10000"/>
                <a:gd name="connsiteY31" fmla="*/ 1911 h 9735"/>
                <a:gd name="connsiteX32" fmla="*/ 9678 w 10000"/>
                <a:gd name="connsiteY32" fmla="*/ 1592 h 9735"/>
                <a:gd name="connsiteX33" fmla="*/ 9265 w 10000"/>
                <a:gd name="connsiteY33" fmla="*/ 1911 h 9735"/>
                <a:gd name="connsiteX34" fmla="*/ 9059 w 10000"/>
                <a:gd name="connsiteY34" fmla="*/ 1779 h 9735"/>
                <a:gd name="connsiteX35" fmla="*/ 8875 w 10000"/>
                <a:gd name="connsiteY35" fmla="*/ 1515 h 9735"/>
                <a:gd name="connsiteX36" fmla="*/ 9012 w 10000"/>
                <a:gd name="connsiteY36" fmla="*/ 1302 h 9735"/>
                <a:gd name="connsiteX37" fmla="*/ 8691 w 10000"/>
                <a:gd name="connsiteY37" fmla="*/ 1010 h 9735"/>
                <a:gd name="connsiteX38" fmla="*/ 8553 w 10000"/>
                <a:gd name="connsiteY38" fmla="*/ 1117 h 9735"/>
                <a:gd name="connsiteX39" fmla="*/ 8253 w 10000"/>
                <a:gd name="connsiteY39" fmla="*/ 1171 h 9735"/>
                <a:gd name="connsiteX40" fmla="*/ 8279 w 10000"/>
                <a:gd name="connsiteY40" fmla="*/ 1462 h 9735"/>
                <a:gd name="connsiteX41" fmla="*/ 8369 w 10000"/>
                <a:gd name="connsiteY41" fmla="*/ 1540 h 9735"/>
                <a:gd name="connsiteX42" fmla="*/ 8302 w 10000"/>
                <a:gd name="connsiteY42" fmla="*/ 1753 h 9735"/>
                <a:gd name="connsiteX43" fmla="*/ 8117 w 10000"/>
                <a:gd name="connsiteY43" fmla="*/ 1807 h 9735"/>
                <a:gd name="connsiteX44" fmla="*/ 7933 w 10000"/>
                <a:gd name="connsiteY44" fmla="*/ 1967 h 9735"/>
                <a:gd name="connsiteX45" fmla="*/ 8095 w 10000"/>
                <a:gd name="connsiteY45" fmla="*/ 2177 h 9735"/>
                <a:gd name="connsiteX46" fmla="*/ 8072 w 10000"/>
                <a:gd name="connsiteY46" fmla="*/ 2336 h 9735"/>
                <a:gd name="connsiteX47" fmla="*/ 7727 w 10000"/>
                <a:gd name="connsiteY47" fmla="*/ 2523 h 9735"/>
                <a:gd name="connsiteX48" fmla="*/ 7566 w 10000"/>
                <a:gd name="connsiteY48" fmla="*/ 2840 h 9735"/>
                <a:gd name="connsiteX49" fmla="*/ 7153 w 10000"/>
                <a:gd name="connsiteY49" fmla="*/ 2205 h 9735"/>
                <a:gd name="connsiteX50" fmla="*/ 6992 w 10000"/>
                <a:gd name="connsiteY50" fmla="*/ 2418 h 9735"/>
                <a:gd name="connsiteX51" fmla="*/ 7221 w 10000"/>
                <a:gd name="connsiteY51" fmla="*/ 2681 h 9735"/>
                <a:gd name="connsiteX52" fmla="*/ 7038 w 10000"/>
                <a:gd name="connsiteY52" fmla="*/ 2867 h 9735"/>
                <a:gd name="connsiteX53" fmla="*/ 7083 w 10000"/>
                <a:gd name="connsiteY53" fmla="*/ 2998 h 9735"/>
                <a:gd name="connsiteX54" fmla="*/ 6717 w 10000"/>
                <a:gd name="connsiteY54" fmla="*/ 3317 h 9735"/>
                <a:gd name="connsiteX55" fmla="*/ 6327 w 10000"/>
                <a:gd name="connsiteY55" fmla="*/ 3054 h 9735"/>
                <a:gd name="connsiteX56" fmla="*/ 5272 w 10000"/>
                <a:gd name="connsiteY56" fmla="*/ 3716 h 9735"/>
                <a:gd name="connsiteX57" fmla="*/ 5179 w 10000"/>
                <a:gd name="connsiteY57" fmla="*/ 3425 h 9735"/>
                <a:gd name="connsiteX58" fmla="*/ 5041 w 10000"/>
                <a:gd name="connsiteY58" fmla="*/ 3238 h 9735"/>
                <a:gd name="connsiteX59" fmla="*/ 5087 w 10000"/>
                <a:gd name="connsiteY59" fmla="*/ 3024 h 9735"/>
                <a:gd name="connsiteX60" fmla="*/ 4948 w 10000"/>
                <a:gd name="connsiteY60" fmla="*/ 2814 h 9735"/>
                <a:gd name="connsiteX61" fmla="*/ 4742 w 10000"/>
                <a:gd name="connsiteY61" fmla="*/ 2788 h 9735"/>
                <a:gd name="connsiteX62" fmla="*/ 4788 w 10000"/>
                <a:gd name="connsiteY62" fmla="*/ 2496 h 9735"/>
                <a:gd name="connsiteX63" fmla="*/ 4626 w 10000"/>
                <a:gd name="connsiteY63" fmla="*/ 2390 h 9735"/>
                <a:gd name="connsiteX64" fmla="*/ 4466 w 10000"/>
                <a:gd name="connsiteY64" fmla="*/ 2019 h 9735"/>
                <a:gd name="connsiteX65" fmla="*/ 4259 w 10000"/>
                <a:gd name="connsiteY65" fmla="*/ 2019 h 9735"/>
                <a:gd name="connsiteX66" fmla="*/ 4054 w 10000"/>
                <a:gd name="connsiteY66" fmla="*/ 1832 h 9735"/>
                <a:gd name="connsiteX67" fmla="*/ 4054 w 10000"/>
                <a:gd name="connsiteY67" fmla="*/ 1753 h 9735"/>
                <a:gd name="connsiteX68" fmla="*/ 3869 w 10000"/>
                <a:gd name="connsiteY68" fmla="*/ 1859 h 9735"/>
                <a:gd name="connsiteX69" fmla="*/ 3640 w 10000"/>
                <a:gd name="connsiteY69" fmla="*/ 1675 h 9735"/>
                <a:gd name="connsiteX70" fmla="*/ 3755 w 10000"/>
                <a:gd name="connsiteY70" fmla="*/ 1408 h 9735"/>
                <a:gd name="connsiteX71" fmla="*/ 3570 w 10000"/>
                <a:gd name="connsiteY71" fmla="*/ 1196 h 9735"/>
                <a:gd name="connsiteX72" fmla="*/ 3711 w 10000"/>
                <a:gd name="connsiteY72" fmla="*/ 880 h 9735"/>
                <a:gd name="connsiteX73" fmla="*/ 3250 w 10000"/>
                <a:gd name="connsiteY73" fmla="*/ 454 h 9735"/>
                <a:gd name="connsiteX74" fmla="*/ 2975 w 10000"/>
                <a:gd name="connsiteY74" fmla="*/ 587 h 9735"/>
                <a:gd name="connsiteX75" fmla="*/ 2446 w 10000"/>
                <a:gd name="connsiteY75" fmla="*/ 348 h 9735"/>
                <a:gd name="connsiteX76" fmla="*/ 2239 w 10000"/>
                <a:gd name="connsiteY76" fmla="*/ 505 h 9735"/>
                <a:gd name="connsiteX77" fmla="*/ 1734 w 10000"/>
                <a:gd name="connsiteY77" fmla="*/ 29 h 9735"/>
                <a:gd name="connsiteX78" fmla="*/ 1321 w 10000"/>
                <a:gd name="connsiteY78" fmla="*/ 692 h 9735"/>
                <a:gd name="connsiteX79" fmla="*/ 1321 w 10000"/>
                <a:gd name="connsiteY79" fmla="*/ 1089 h 9735"/>
                <a:gd name="connsiteX80" fmla="*/ 1022 w 10000"/>
                <a:gd name="connsiteY80" fmla="*/ 772 h 9735"/>
                <a:gd name="connsiteX81" fmla="*/ 679 w 10000"/>
                <a:gd name="connsiteY81" fmla="*/ 1302 h 9735"/>
                <a:gd name="connsiteX82" fmla="*/ 933 w 10000"/>
                <a:gd name="connsiteY82" fmla="*/ 1726 h 9735"/>
                <a:gd name="connsiteX83" fmla="*/ 471 w 10000"/>
                <a:gd name="connsiteY83" fmla="*/ 2229 h 9735"/>
                <a:gd name="connsiteX84" fmla="*/ 427 w 10000"/>
                <a:gd name="connsiteY84" fmla="*/ 2229 h 9735"/>
                <a:gd name="connsiteX85" fmla="*/ 609 w 10000"/>
                <a:gd name="connsiteY85" fmla="*/ 2523 h 9735"/>
                <a:gd name="connsiteX86" fmla="*/ 379 w 10000"/>
                <a:gd name="connsiteY86" fmla="*/ 2814 h 9735"/>
                <a:gd name="connsiteX87" fmla="*/ 539 w 10000"/>
                <a:gd name="connsiteY87" fmla="*/ 2998 h 9735"/>
                <a:gd name="connsiteX88" fmla="*/ 471 w 10000"/>
                <a:gd name="connsiteY88" fmla="*/ 3291 h 9735"/>
                <a:gd name="connsiteX89" fmla="*/ 379 w 10000"/>
                <a:gd name="connsiteY89" fmla="*/ 3452 h 9735"/>
                <a:gd name="connsiteX90" fmla="*/ 539 w 10000"/>
                <a:gd name="connsiteY90" fmla="*/ 3769 h 9735"/>
                <a:gd name="connsiteX91" fmla="*/ 266 w 10000"/>
                <a:gd name="connsiteY91" fmla="*/ 4271 h 9735"/>
                <a:gd name="connsiteX92" fmla="*/ 471 w 10000"/>
                <a:gd name="connsiteY92" fmla="*/ 4566 h 9735"/>
                <a:gd name="connsiteX93" fmla="*/ 105 w 10000"/>
                <a:gd name="connsiteY93" fmla="*/ 5068 h 9735"/>
                <a:gd name="connsiteX94" fmla="*/ 288 w 10000"/>
                <a:gd name="connsiteY94" fmla="*/ 5333 h 9735"/>
                <a:gd name="connsiteX95" fmla="*/ 12 w 10000"/>
                <a:gd name="connsiteY95" fmla="*/ 5759 h 9735"/>
                <a:gd name="connsiteX96" fmla="*/ 379 w 10000"/>
                <a:gd name="connsiteY96" fmla="*/ 5916 h 9735"/>
                <a:gd name="connsiteX97" fmla="*/ 266 w 10000"/>
                <a:gd name="connsiteY97" fmla="*/ 6263 h 9735"/>
                <a:gd name="connsiteX98" fmla="*/ 357 w 10000"/>
                <a:gd name="connsiteY98" fmla="*/ 6660 h 9735"/>
                <a:gd name="connsiteX99" fmla="*/ 982 w 10000"/>
                <a:gd name="connsiteY99" fmla="*/ 6296 h 9735"/>
                <a:gd name="connsiteX100" fmla="*/ 1342 w 10000"/>
                <a:gd name="connsiteY100" fmla="*/ 5975 h 9735"/>
                <a:gd name="connsiteX101" fmla="*/ 1775 w 10000"/>
                <a:gd name="connsiteY101" fmla="*/ 5981 h 9735"/>
                <a:gd name="connsiteX102" fmla="*/ 2239 w 10000"/>
                <a:gd name="connsiteY102" fmla="*/ 5790 h 9735"/>
                <a:gd name="connsiteX103" fmla="*/ 2810 w 10000"/>
                <a:gd name="connsiteY103" fmla="*/ 5490 h 9735"/>
                <a:gd name="connsiteX104" fmla="*/ 2997 w 10000"/>
                <a:gd name="connsiteY104" fmla="*/ 5260 h 9735"/>
                <a:gd name="connsiteX105" fmla="*/ 3386 w 10000"/>
                <a:gd name="connsiteY105" fmla="*/ 4815 h 9735"/>
                <a:gd name="connsiteX106" fmla="*/ 4023 w 10000"/>
                <a:gd name="connsiteY106" fmla="*/ 5124 h 9735"/>
                <a:gd name="connsiteX107" fmla="*/ 4296 w 10000"/>
                <a:gd name="connsiteY107" fmla="*/ 5103 h 9735"/>
                <a:gd name="connsiteX108" fmla="*/ 4241 w 10000"/>
                <a:gd name="connsiteY108" fmla="*/ 4722 h 9735"/>
                <a:gd name="connsiteX109" fmla="*/ 4282 w 10000"/>
                <a:gd name="connsiteY109" fmla="*/ 4234 h 9735"/>
                <a:gd name="connsiteX110" fmla="*/ 4895 w 10000"/>
                <a:gd name="connsiteY110" fmla="*/ 4123 h 9735"/>
                <a:gd name="connsiteX111" fmla="*/ 4809 w 10000"/>
                <a:gd name="connsiteY111" fmla="*/ 4705 h 9735"/>
                <a:gd name="connsiteX0" fmla="*/ 3755 w 10000"/>
                <a:gd name="connsiteY0" fmla="*/ 9729 h 9729"/>
                <a:gd name="connsiteX1" fmla="*/ 3823 w 10000"/>
                <a:gd name="connsiteY1" fmla="*/ 9239 h 9729"/>
                <a:gd name="connsiteX2" fmla="*/ 3570 w 10000"/>
                <a:gd name="connsiteY2" fmla="*/ 8749 h 9729"/>
                <a:gd name="connsiteX3" fmla="*/ 3663 w 10000"/>
                <a:gd name="connsiteY3" fmla="*/ 8175 h 9729"/>
                <a:gd name="connsiteX4" fmla="*/ 3755 w 10000"/>
                <a:gd name="connsiteY4" fmla="*/ 7901 h 9729"/>
                <a:gd name="connsiteX5" fmla="*/ 3800 w 10000"/>
                <a:gd name="connsiteY5" fmla="*/ 7660 h 9729"/>
                <a:gd name="connsiteX6" fmla="*/ 4076 w 10000"/>
                <a:gd name="connsiteY6" fmla="*/ 7195 h 9729"/>
                <a:gd name="connsiteX7" fmla="*/ 4626 w 10000"/>
                <a:gd name="connsiteY7" fmla="*/ 6949 h 9729"/>
                <a:gd name="connsiteX8" fmla="*/ 4720 w 10000"/>
                <a:gd name="connsiteY8" fmla="*/ 7058 h 9729"/>
                <a:gd name="connsiteX9" fmla="*/ 4650 w 10000"/>
                <a:gd name="connsiteY9" fmla="*/ 7141 h 9729"/>
                <a:gd name="connsiteX10" fmla="*/ 4811 w 10000"/>
                <a:gd name="connsiteY10" fmla="*/ 7305 h 9729"/>
                <a:gd name="connsiteX11" fmla="*/ 4994 w 10000"/>
                <a:gd name="connsiteY11" fmla="*/ 7086 h 9729"/>
                <a:gd name="connsiteX12" fmla="*/ 5202 w 10000"/>
                <a:gd name="connsiteY12" fmla="*/ 6895 h 9729"/>
                <a:gd name="connsiteX13" fmla="*/ 5636 w 10000"/>
                <a:gd name="connsiteY13" fmla="*/ 6106 h 9729"/>
                <a:gd name="connsiteX14" fmla="*/ 5984 w 10000"/>
                <a:gd name="connsiteY14" fmla="*/ 6351 h 9729"/>
                <a:gd name="connsiteX15" fmla="*/ 5958 w 10000"/>
                <a:gd name="connsiteY15" fmla="*/ 6161 h 9729"/>
                <a:gd name="connsiteX16" fmla="*/ 6188 w 10000"/>
                <a:gd name="connsiteY16" fmla="*/ 5969 h 9729"/>
                <a:gd name="connsiteX17" fmla="*/ 6417 w 10000"/>
                <a:gd name="connsiteY17" fmla="*/ 6106 h 9729"/>
                <a:gd name="connsiteX18" fmla="*/ 6188 w 10000"/>
                <a:gd name="connsiteY18" fmla="*/ 5561 h 9729"/>
                <a:gd name="connsiteX19" fmla="*/ 6327 w 10000"/>
                <a:gd name="connsiteY19" fmla="*/ 5342 h 9729"/>
                <a:gd name="connsiteX20" fmla="*/ 6810 w 10000"/>
                <a:gd name="connsiteY20" fmla="*/ 5179 h 9729"/>
                <a:gd name="connsiteX21" fmla="*/ 6763 w 10000"/>
                <a:gd name="connsiteY21" fmla="*/ 5125 h 9729"/>
                <a:gd name="connsiteX22" fmla="*/ 7132 w 10000"/>
                <a:gd name="connsiteY22" fmla="*/ 4716 h 9729"/>
                <a:gd name="connsiteX23" fmla="*/ 7406 w 10000"/>
                <a:gd name="connsiteY23" fmla="*/ 4497 h 9729"/>
                <a:gd name="connsiteX24" fmla="*/ 8095 w 10000"/>
                <a:gd name="connsiteY24" fmla="*/ 4062 h 9729"/>
                <a:gd name="connsiteX25" fmla="*/ 8302 w 10000"/>
                <a:gd name="connsiteY25" fmla="*/ 3790 h 9729"/>
                <a:gd name="connsiteX26" fmla="*/ 8714 w 10000"/>
                <a:gd name="connsiteY26" fmla="*/ 3271 h 9729"/>
                <a:gd name="connsiteX27" fmla="*/ 9449 w 10000"/>
                <a:gd name="connsiteY27" fmla="*/ 2809 h 9729"/>
                <a:gd name="connsiteX28" fmla="*/ 9494 w 10000"/>
                <a:gd name="connsiteY28" fmla="*/ 2617 h 9729"/>
                <a:gd name="connsiteX29" fmla="*/ 9793 w 10000"/>
                <a:gd name="connsiteY29" fmla="*/ 2319 h 9729"/>
                <a:gd name="connsiteX30" fmla="*/ 10000 w 10000"/>
                <a:gd name="connsiteY30" fmla="*/ 1963 h 9729"/>
                <a:gd name="connsiteX31" fmla="*/ 9678 w 10000"/>
                <a:gd name="connsiteY31" fmla="*/ 1635 h 9729"/>
                <a:gd name="connsiteX32" fmla="*/ 9265 w 10000"/>
                <a:gd name="connsiteY32" fmla="*/ 1963 h 9729"/>
                <a:gd name="connsiteX33" fmla="*/ 9059 w 10000"/>
                <a:gd name="connsiteY33" fmla="*/ 1827 h 9729"/>
                <a:gd name="connsiteX34" fmla="*/ 8875 w 10000"/>
                <a:gd name="connsiteY34" fmla="*/ 1556 h 9729"/>
                <a:gd name="connsiteX35" fmla="*/ 9012 w 10000"/>
                <a:gd name="connsiteY35" fmla="*/ 1337 h 9729"/>
                <a:gd name="connsiteX36" fmla="*/ 8691 w 10000"/>
                <a:gd name="connsiteY36" fmla="*/ 1037 h 9729"/>
                <a:gd name="connsiteX37" fmla="*/ 8553 w 10000"/>
                <a:gd name="connsiteY37" fmla="*/ 1147 h 9729"/>
                <a:gd name="connsiteX38" fmla="*/ 8253 w 10000"/>
                <a:gd name="connsiteY38" fmla="*/ 1203 h 9729"/>
                <a:gd name="connsiteX39" fmla="*/ 8279 w 10000"/>
                <a:gd name="connsiteY39" fmla="*/ 1502 h 9729"/>
                <a:gd name="connsiteX40" fmla="*/ 8369 w 10000"/>
                <a:gd name="connsiteY40" fmla="*/ 1582 h 9729"/>
                <a:gd name="connsiteX41" fmla="*/ 8302 w 10000"/>
                <a:gd name="connsiteY41" fmla="*/ 1801 h 9729"/>
                <a:gd name="connsiteX42" fmla="*/ 8117 w 10000"/>
                <a:gd name="connsiteY42" fmla="*/ 1856 h 9729"/>
                <a:gd name="connsiteX43" fmla="*/ 7933 w 10000"/>
                <a:gd name="connsiteY43" fmla="*/ 2021 h 9729"/>
                <a:gd name="connsiteX44" fmla="*/ 8095 w 10000"/>
                <a:gd name="connsiteY44" fmla="*/ 2236 h 9729"/>
                <a:gd name="connsiteX45" fmla="*/ 8072 w 10000"/>
                <a:gd name="connsiteY45" fmla="*/ 2400 h 9729"/>
                <a:gd name="connsiteX46" fmla="*/ 7727 w 10000"/>
                <a:gd name="connsiteY46" fmla="*/ 2592 h 9729"/>
                <a:gd name="connsiteX47" fmla="*/ 7566 w 10000"/>
                <a:gd name="connsiteY47" fmla="*/ 2917 h 9729"/>
                <a:gd name="connsiteX48" fmla="*/ 7153 w 10000"/>
                <a:gd name="connsiteY48" fmla="*/ 2265 h 9729"/>
                <a:gd name="connsiteX49" fmla="*/ 6992 w 10000"/>
                <a:gd name="connsiteY49" fmla="*/ 2484 h 9729"/>
                <a:gd name="connsiteX50" fmla="*/ 7221 w 10000"/>
                <a:gd name="connsiteY50" fmla="*/ 2754 h 9729"/>
                <a:gd name="connsiteX51" fmla="*/ 7038 w 10000"/>
                <a:gd name="connsiteY51" fmla="*/ 2945 h 9729"/>
                <a:gd name="connsiteX52" fmla="*/ 7083 w 10000"/>
                <a:gd name="connsiteY52" fmla="*/ 3080 h 9729"/>
                <a:gd name="connsiteX53" fmla="*/ 6717 w 10000"/>
                <a:gd name="connsiteY53" fmla="*/ 3407 h 9729"/>
                <a:gd name="connsiteX54" fmla="*/ 6327 w 10000"/>
                <a:gd name="connsiteY54" fmla="*/ 3137 h 9729"/>
                <a:gd name="connsiteX55" fmla="*/ 5272 w 10000"/>
                <a:gd name="connsiteY55" fmla="*/ 3817 h 9729"/>
                <a:gd name="connsiteX56" fmla="*/ 5179 w 10000"/>
                <a:gd name="connsiteY56" fmla="*/ 3518 h 9729"/>
                <a:gd name="connsiteX57" fmla="*/ 5041 w 10000"/>
                <a:gd name="connsiteY57" fmla="*/ 3326 h 9729"/>
                <a:gd name="connsiteX58" fmla="*/ 5087 w 10000"/>
                <a:gd name="connsiteY58" fmla="*/ 3106 h 9729"/>
                <a:gd name="connsiteX59" fmla="*/ 4948 w 10000"/>
                <a:gd name="connsiteY59" fmla="*/ 2891 h 9729"/>
                <a:gd name="connsiteX60" fmla="*/ 4742 w 10000"/>
                <a:gd name="connsiteY60" fmla="*/ 2864 h 9729"/>
                <a:gd name="connsiteX61" fmla="*/ 4788 w 10000"/>
                <a:gd name="connsiteY61" fmla="*/ 2564 h 9729"/>
                <a:gd name="connsiteX62" fmla="*/ 4626 w 10000"/>
                <a:gd name="connsiteY62" fmla="*/ 2455 h 9729"/>
                <a:gd name="connsiteX63" fmla="*/ 4466 w 10000"/>
                <a:gd name="connsiteY63" fmla="*/ 2074 h 9729"/>
                <a:gd name="connsiteX64" fmla="*/ 4259 w 10000"/>
                <a:gd name="connsiteY64" fmla="*/ 2074 h 9729"/>
                <a:gd name="connsiteX65" fmla="*/ 4054 w 10000"/>
                <a:gd name="connsiteY65" fmla="*/ 1882 h 9729"/>
                <a:gd name="connsiteX66" fmla="*/ 4054 w 10000"/>
                <a:gd name="connsiteY66" fmla="*/ 1801 h 9729"/>
                <a:gd name="connsiteX67" fmla="*/ 3869 w 10000"/>
                <a:gd name="connsiteY67" fmla="*/ 1910 h 9729"/>
                <a:gd name="connsiteX68" fmla="*/ 3640 w 10000"/>
                <a:gd name="connsiteY68" fmla="*/ 1721 h 9729"/>
                <a:gd name="connsiteX69" fmla="*/ 3755 w 10000"/>
                <a:gd name="connsiteY69" fmla="*/ 1446 h 9729"/>
                <a:gd name="connsiteX70" fmla="*/ 3570 w 10000"/>
                <a:gd name="connsiteY70" fmla="*/ 1229 h 9729"/>
                <a:gd name="connsiteX71" fmla="*/ 3711 w 10000"/>
                <a:gd name="connsiteY71" fmla="*/ 904 h 9729"/>
                <a:gd name="connsiteX72" fmla="*/ 3250 w 10000"/>
                <a:gd name="connsiteY72" fmla="*/ 466 h 9729"/>
                <a:gd name="connsiteX73" fmla="*/ 2975 w 10000"/>
                <a:gd name="connsiteY73" fmla="*/ 603 h 9729"/>
                <a:gd name="connsiteX74" fmla="*/ 2446 w 10000"/>
                <a:gd name="connsiteY74" fmla="*/ 357 h 9729"/>
                <a:gd name="connsiteX75" fmla="*/ 2239 w 10000"/>
                <a:gd name="connsiteY75" fmla="*/ 519 h 9729"/>
                <a:gd name="connsiteX76" fmla="*/ 1734 w 10000"/>
                <a:gd name="connsiteY76" fmla="*/ 30 h 9729"/>
                <a:gd name="connsiteX77" fmla="*/ 1321 w 10000"/>
                <a:gd name="connsiteY77" fmla="*/ 711 h 9729"/>
                <a:gd name="connsiteX78" fmla="*/ 1321 w 10000"/>
                <a:gd name="connsiteY78" fmla="*/ 1119 h 9729"/>
                <a:gd name="connsiteX79" fmla="*/ 1022 w 10000"/>
                <a:gd name="connsiteY79" fmla="*/ 793 h 9729"/>
                <a:gd name="connsiteX80" fmla="*/ 679 w 10000"/>
                <a:gd name="connsiteY80" fmla="*/ 1337 h 9729"/>
                <a:gd name="connsiteX81" fmla="*/ 933 w 10000"/>
                <a:gd name="connsiteY81" fmla="*/ 1773 h 9729"/>
                <a:gd name="connsiteX82" fmla="*/ 471 w 10000"/>
                <a:gd name="connsiteY82" fmla="*/ 2290 h 9729"/>
                <a:gd name="connsiteX83" fmla="*/ 427 w 10000"/>
                <a:gd name="connsiteY83" fmla="*/ 2290 h 9729"/>
                <a:gd name="connsiteX84" fmla="*/ 609 w 10000"/>
                <a:gd name="connsiteY84" fmla="*/ 2592 h 9729"/>
                <a:gd name="connsiteX85" fmla="*/ 379 w 10000"/>
                <a:gd name="connsiteY85" fmla="*/ 2891 h 9729"/>
                <a:gd name="connsiteX86" fmla="*/ 539 w 10000"/>
                <a:gd name="connsiteY86" fmla="*/ 3080 h 9729"/>
                <a:gd name="connsiteX87" fmla="*/ 471 w 10000"/>
                <a:gd name="connsiteY87" fmla="*/ 3381 h 9729"/>
                <a:gd name="connsiteX88" fmla="*/ 379 w 10000"/>
                <a:gd name="connsiteY88" fmla="*/ 3546 h 9729"/>
                <a:gd name="connsiteX89" fmla="*/ 539 w 10000"/>
                <a:gd name="connsiteY89" fmla="*/ 3872 h 9729"/>
                <a:gd name="connsiteX90" fmla="*/ 266 w 10000"/>
                <a:gd name="connsiteY90" fmla="*/ 4387 h 9729"/>
                <a:gd name="connsiteX91" fmla="*/ 471 w 10000"/>
                <a:gd name="connsiteY91" fmla="*/ 4690 h 9729"/>
                <a:gd name="connsiteX92" fmla="*/ 105 w 10000"/>
                <a:gd name="connsiteY92" fmla="*/ 5206 h 9729"/>
                <a:gd name="connsiteX93" fmla="*/ 288 w 10000"/>
                <a:gd name="connsiteY93" fmla="*/ 5478 h 9729"/>
                <a:gd name="connsiteX94" fmla="*/ 12 w 10000"/>
                <a:gd name="connsiteY94" fmla="*/ 5916 h 9729"/>
                <a:gd name="connsiteX95" fmla="*/ 379 w 10000"/>
                <a:gd name="connsiteY95" fmla="*/ 6077 h 9729"/>
                <a:gd name="connsiteX96" fmla="*/ 266 w 10000"/>
                <a:gd name="connsiteY96" fmla="*/ 6433 h 9729"/>
                <a:gd name="connsiteX97" fmla="*/ 357 w 10000"/>
                <a:gd name="connsiteY97" fmla="*/ 6841 h 9729"/>
                <a:gd name="connsiteX98" fmla="*/ 982 w 10000"/>
                <a:gd name="connsiteY98" fmla="*/ 6467 h 9729"/>
                <a:gd name="connsiteX99" fmla="*/ 1342 w 10000"/>
                <a:gd name="connsiteY99" fmla="*/ 6138 h 9729"/>
                <a:gd name="connsiteX100" fmla="*/ 1775 w 10000"/>
                <a:gd name="connsiteY100" fmla="*/ 6144 h 9729"/>
                <a:gd name="connsiteX101" fmla="*/ 2239 w 10000"/>
                <a:gd name="connsiteY101" fmla="*/ 5948 h 9729"/>
                <a:gd name="connsiteX102" fmla="*/ 2810 w 10000"/>
                <a:gd name="connsiteY102" fmla="*/ 5639 h 9729"/>
                <a:gd name="connsiteX103" fmla="*/ 2997 w 10000"/>
                <a:gd name="connsiteY103" fmla="*/ 5403 h 9729"/>
                <a:gd name="connsiteX104" fmla="*/ 3386 w 10000"/>
                <a:gd name="connsiteY104" fmla="*/ 4946 h 9729"/>
                <a:gd name="connsiteX105" fmla="*/ 4023 w 10000"/>
                <a:gd name="connsiteY105" fmla="*/ 5263 h 9729"/>
                <a:gd name="connsiteX106" fmla="*/ 4296 w 10000"/>
                <a:gd name="connsiteY106" fmla="*/ 5242 h 9729"/>
                <a:gd name="connsiteX107" fmla="*/ 4241 w 10000"/>
                <a:gd name="connsiteY107" fmla="*/ 4851 h 9729"/>
                <a:gd name="connsiteX108" fmla="*/ 4282 w 10000"/>
                <a:gd name="connsiteY108" fmla="*/ 4349 h 9729"/>
                <a:gd name="connsiteX109" fmla="*/ 4895 w 10000"/>
                <a:gd name="connsiteY109" fmla="*/ 4235 h 9729"/>
                <a:gd name="connsiteX110" fmla="*/ 4809 w 10000"/>
                <a:gd name="connsiteY110" fmla="*/ 4833 h 9729"/>
                <a:gd name="connsiteX0" fmla="*/ 3823 w 10000"/>
                <a:gd name="connsiteY0" fmla="*/ 9495 h 9495"/>
                <a:gd name="connsiteX1" fmla="*/ 3570 w 10000"/>
                <a:gd name="connsiteY1" fmla="*/ 8992 h 9495"/>
                <a:gd name="connsiteX2" fmla="*/ 3663 w 10000"/>
                <a:gd name="connsiteY2" fmla="*/ 8402 h 9495"/>
                <a:gd name="connsiteX3" fmla="*/ 3755 w 10000"/>
                <a:gd name="connsiteY3" fmla="*/ 8120 h 9495"/>
                <a:gd name="connsiteX4" fmla="*/ 3800 w 10000"/>
                <a:gd name="connsiteY4" fmla="*/ 7872 h 9495"/>
                <a:gd name="connsiteX5" fmla="*/ 4076 w 10000"/>
                <a:gd name="connsiteY5" fmla="*/ 7394 h 9495"/>
                <a:gd name="connsiteX6" fmla="*/ 4626 w 10000"/>
                <a:gd name="connsiteY6" fmla="*/ 7142 h 9495"/>
                <a:gd name="connsiteX7" fmla="*/ 4720 w 10000"/>
                <a:gd name="connsiteY7" fmla="*/ 7254 h 9495"/>
                <a:gd name="connsiteX8" fmla="*/ 4650 w 10000"/>
                <a:gd name="connsiteY8" fmla="*/ 7339 h 9495"/>
                <a:gd name="connsiteX9" fmla="*/ 4811 w 10000"/>
                <a:gd name="connsiteY9" fmla="*/ 7507 h 9495"/>
                <a:gd name="connsiteX10" fmla="*/ 4994 w 10000"/>
                <a:gd name="connsiteY10" fmla="*/ 7282 h 9495"/>
                <a:gd name="connsiteX11" fmla="*/ 5202 w 10000"/>
                <a:gd name="connsiteY11" fmla="*/ 7086 h 9495"/>
                <a:gd name="connsiteX12" fmla="*/ 5636 w 10000"/>
                <a:gd name="connsiteY12" fmla="*/ 6275 h 9495"/>
                <a:gd name="connsiteX13" fmla="*/ 5984 w 10000"/>
                <a:gd name="connsiteY13" fmla="*/ 6527 h 9495"/>
                <a:gd name="connsiteX14" fmla="*/ 5958 w 10000"/>
                <a:gd name="connsiteY14" fmla="*/ 6332 h 9495"/>
                <a:gd name="connsiteX15" fmla="*/ 6188 w 10000"/>
                <a:gd name="connsiteY15" fmla="*/ 6134 h 9495"/>
                <a:gd name="connsiteX16" fmla="*/ 6417 w 10000"/>
                <a:gd name="connsiteY16" fmla="*/ 6275 h 9495"/>
                <a:gd name="connsiteX17" fmla="*/ 6188 w 10000"/>
                <a:gd name="connsiteY17" fmla="*/ 5715 h 9495"/>
                <a:gd name="connsiteX18" fmla="*/ 6327 w 10000"/>
                <a:gd name="connsiteY18" fmla="*/ 5490 h 9495"/>
                <a:gd name="connsiteX19" fmla="*/ 6810 w 10000"/>
                <a:gd name="connsiteY19" fmla="*/ 5322 h 9495"/>
                <a:gd name="connsiteX20" fmla="*/ 6763 w 10000"/>
                <a:gd name="connsiteY20" fmla="*/ 5267 h 9495"/>
                <a:gd name="connsiteX21" fmla="*/ 7132 w 10000"/>
                <a:gd name="connsiteY21" fmla="*/ 4846 h 9495"/>
                <a:gd name="connsiteX22" fmla="*/ 7406 w 10000"/>
                <a:gd name="connsiteY22" fmla="*/ 4621 h 9495"/>
                <a:gd name="connsiteX23" fmla="*/ 8095 w 10000"/>
                <a:gd name="connsiteY23" fmla="*/ 4174 h 9495"/>
                <a:gd name="connsiteX24" fmla="*/ 8302 w 10000"/>
                <a:gd name="connsiteY24" fmla="*/ 3895 h 9495"/>
                <a:gd name="connsiteX25" fmla="*/ 8714 w 10000"/>
                <a:gd name="connsiteY25" fmla="*/ 3361 h 9495"/>
                <a:gd name="connsiteX26" fmla="*/ 9449 w 10000"/>
                <a:gd name="connsiteY26" fmla="*/ 2886 h 9495"/>
                <a:gd name="connsiteX27" fmla="*/ 9494 w 10000"/>
                <a:gd name="connsiteY27" fmla="*/ 2689 h 9495"/>
                <a:gd name="connsiteX28" fmla="*/ 9793 w 10000"/>
                <a:gd name="connsiteY28" fmla="*/ 2383 h 9495"/>
                <a:gd name="connsiteX29" fmla="*/ 10000 w 10000"/>
                <a:gd name="connsiteY29" fmla="*/ 2017 h 9495"/>
                <a:gd name="connsiteX30" fmla="*/ 9678 w 10000"/>
                <a:gd name="connsiteY30" fmla="*/ 1680 h 9495"/>
                <a:gd name="connsiteX31" fmla="*/ 9265 w 10000"/>
                <a:gd name="connsiteY31" fmla="*/ 2017 h 9495"/>
                <a:gd name="connsiteX32" fmla="*/ 9059 w 10000"/>
                <a:gd name="connsiteY32" fmla="*/ 1877 h 9495"/>
                <a:gd name="connsiteX33" fmla="*/ 8875 w 10000"/>
                <a:gd name="connsiteY33" fmla="*/ 1598 h 9495"/>
                <a:gd name="connsiteX34" fmla="*/ 9012 w 10000"/>
                <a:gd name="connsiteY34" fmla="*/ 1373 h 9495"/>
                <a:gd name="connsiteX35" fmla="*/ 8691 w 10000"/>
                <a:gd name="connsiteY35" fmla="*/ 1065 h 9495"/>
                <a:gd name="connsiteX36" fmla="*/ 8553 w 10000"/>
                <a:gd name="connsiteY36" fmla="*/ 1178 h 9495"/>
                <a:gd name="connsiteX37" fmla="*/ 8253 w 10000"/>
                <a:gd name="connsiteY37" fmla="*/ 1236 h 9495"/>
                <a:gd name="connsiteX38" fmla="*/ 8279 w 10000"/>
                <a:gd name="connsiteY38" fmla="*/ 1543 h 9495"/>
                <a:gd name="connsiteX39" fmla="*/ 8369 w 10000"/>
                <a:gd name="connsiteY39" fmla="*/ 1625 h 9495"/>
                <a:gd name="connsiteX40" fmla="*/ 8302 w 10000"/>
                <a:gd name="connsiteY40" fmla="*/ 1850 h 9495"/>
                <a:gd name="connsiteX41" fmla="*/ 8117 w 10000"/>
                <a:gd name="connsiteY41" fmla="*/ 1907 h 9495"/>
                <a:gd name="connsiteX42" fmla="*/ 7933 w 10000"/>
                <a:gd name="connsiteY42" fmla="*/ 2076 h 9495"/>
                <a:gd name="connsiteX43" fmla="*/ 8095 w 10000"/>
                <a:gd name="connsiteY43" fmla="*/ 2297 h 9495"/>
                <a:gd name="connsiteX44" fmla="*/ 8072 w 10000"/>
                <a:gd name="connsiteY44" fmla="*/ 2466 h 9495"/>
                <a:gd name="connsiteX45" fmla="*/ 7727 w 10000"/>
                <a:gd name="connsiteY45" fmla="*/ 2663 h 9495"/>
                <a:gd name="connsiteX46" fmla="*/ 7566 w 10000"/>
                <a:gd name="connsiteY46" fmla="*/ 2997 h 9495"/>
                <a:gd name="connsiteX47" fmla="*/ 7153 w 10000"/>
                <a:gd name="connsiteY47" fmla="*/ 2327 h 9495"/>
                <a:gd name="connsiteX48" fmla="*/ 6992 w 10000"/>
                <a:gd name="connsiteY48" fmla="*/ 2552 h 9495"/>
                <a:gd name="connsiteX49" fmla="*/ 7221 w 10000"/>
                <a:gd name="connsiteY49" fmla="*/ 2830 h 9495"/>
                <a:gd name="connsiteX50" fmla="*/ 7038 w 10000"/>
                <a:gd name="connsiteY50" fmla="*/ 3026 h 9495"/>
                <a:gd name="connsiteX51" fmla="*/ 7083 w 10000"/>
                <a:gd name="connsiteY51" fmla="*/ 3165 h 9495"/>
                <a:gd name="connsiteX52" fmla="*/ 6717 w 10000"/>
                <a:gd name="connsiteY52" fmla="*/ 3501 h 9495"/>
                <a:gd name="connsiteX53" fmla="*/ 6327 w 10000"/>
                <a:gd name="connsiteY53" fmla="*/ 3223 h 9495"/>
                <a:gd name="connsiteX54" fmla="*/ 5272 w 10000"/>
                <a:gd name="connsiteY54" fmla="*/ 3922 h 9495"/>
                <a:gd name="connsiteX55" fmla="*/ 5179 w 10000"/>
                <a:gd name="connsiteY55" fmla="*/ 3615 h 9495"/>
                <a:gd name="connsiteX56" fmla="*/ 5041 w 10000"/>
                <a:gd name="connsiteY56" fmla="*/ 3418 h 9495"/>
                <a:gd name="connsiteX57" fmla="*/ 5087 w 10000"/>
                <a:gd name="connsiteY57" fmla="*/ 3192 h 9495"/>
                <a:gd name="connsiteX58" fmla="*/ 4948 w 10000"/>
                <a:gd name="connsiteY58" fmla="*/ 2971 h 9495"/>
                <a:gd name="connsiteX59" fmla="*/ 4742 w 10000"/>
                <a:gd name="connsiteY59" fmla="*/ 2943 h 9495"/>
                <a:gd name="connsiteX60" fmla="*/ 4788 w 10000"/>
                <a:gd name="connsiteY60" fmla="*/ 2634 h 9495"/>
                <a:gd name="connsiteX61" fmla="*/ 4626 w 10000"/>
                <a:gd name="connsiteY61" fmla="*/ 2522 h 9495"/>
                <a:gd name="connsiteX62" fmla="*/ 4466 w 10000"/>
                <a:gd name="connsiteY62" fmla="*/ 2131 h 9495"/>
                <a:gd name="connsiteX63" fmla="*/ 4259 w 10000"/>
                <a:gd name="connsiteY63" fmla="*/ 2131 h 9495"/>
                <a:gd name="connsiteX64" fmla="*/ 4054 w 10000"/>
                <a:gd name="connsiteY64" fmla="*/ 1933 h 9495"/>
                <a:gd name="connsiteX65" fmla="*/ 4054 w 10000"/>
                <a:gd name="connsiteY65" fmla="*/ 1850 h 9495"/>
                <a:gd name="connsiteX66" fmla="*/ 3869 w 10000"/>
                <a:gd name="connsiteY66" fmla="*/ 1962 h 9495"/>
                <a:gd name="connsiteX67" fmla="*/ 3640 w 10000"/>
                <a:gd name="connsiteY67" fmla="*/ 1768 h 9495"/>
                <a:gd name="connsiteX68" fmla="*/ 3755 w 10000"/>
                <a:gd name="connsiteY68" fmla="*/ 1485 h 9495"/>
                <a:gd name="connsiteX69" fmla="*/ 3570 w 10000"/>
                <a:gd name="connsiteY69" fmla="*/ 1262 h 9495"/>
                <a:gd name="connsiteX70" fmla="*/ 3711 w 10000"/>
                <a:gd name="connsiteY70" fmla="*/ 928 h 9495"/>
                <a:gd name="connsiteX71" fmla="*/ 3250 w 10000"/>
                <a:gd name="connsiteY71" fmla="*/ 478 h 9495"/>
                <a:gd name="connsiteX72" fmla="*/ 2975 w 10000"/>
                <a:gd name="connsiteY72" fmla="*/ 619 h 9495"/>
                <a:gd name="connsiteX73" fmla="*/ 2446 w 10000"/>
                <a:gd name="connsiteY73" fmla="*/ 366 h 9495"/>
                <a:gd name="connsiteX74" fmla="*/ 2239 w 10000"/>
                <a:gd name="connsiteY74" fmla="*/ 532 h 9495"/>
                <a:gd name="connsiteX75" fmla="*/ 1734 w 10000"/>
                <a:gd name="connsiteY75" fmla="*/ 30 h 9495"/>
                <a:gd name="connsiteX76" fmla="*/ 1321 w 10000"/>
                <a:gd name="connsiteY76" fmla="*/ 730 h 9495"/>
                <a:gd name="connsiteX77" fmla="*/ 1321 w 10000"/>
                <a:gd name="connsiteY77" fmla="*/ 1149 h 9495"/>
                <a:gd name="connsiteX78" fmla="*/ 1022 w 10000"/>
                <a:gd name="connsiteY78" fmla="*/ 814 h 9495"/>
                <a:gd name="connsiteX79" fmla="*/ 679 w 10000"/>
                <a:gd name="connsiteY79" fmla="*/ 1373 h 9495"/>
                <a:gd name="connsiteX80" fmla="*/ 933 w 10000"/>
                <a:gd name="connsiteY80" fmla="*/ 1821 h 9495"/>
                <a:gd name="connsiteX81" fmla="*/ 471 w 10000"/>
                <a:gd name="connsiteY81" fmla="*/ 2353 h 9495"/>
                <a:gd name="connsiteX82" fmla="*/ 427 w 10000"/>
                <a:gd name="connsiteY82" fmla="*/ 2353 h 9495"/>
                <a:gd name="connsiteX83" fmla="*/ 609 w 10000"/>
                <a:gd name="connsiteY83" fmla="*/ 2663 h 9495"/>
                <a:gd name="connsiteX84" fmla="*/ 379 w 10000"/>
                <a:gd name="connsiteY84" fmla="*/ 2971 h 9495"/>
                <a:gd name="connsiteX85" fmla="*/ 539 w 10000"/>
                <a:gd name="connsiteY85" fmla="*/ 3165 h 9495"/>
                <a:gd name="connsiteX86" fmla="*/ 471 w 10000"/>
                <a:gd name="connsiteY86" fmla="*/ 3474 h 9495"/>
                <a:gd name="connsiteX87" fmla="*/ 379 w 10000"/>
                <a:gd name="connsiteY87" fmla="*/ 3644 h 9495"/>
                <a:gd name="connsiteX88" fmla="*/ 539 w 10000"/>
                <a:gd name="connsiteY88" fmla="*/ 3979 h 9495"/>
                <a:gd name="connsiteX89" fmla="*/ 266 w 10000"/>
                <a:gd name="connsiteY89" fmla="*/ 4508 h 9495"/>
                <a:gd name="connsiteX90" fmla="*/ 471 w 10000"/>
                <a:gd name="connsiteY90" fmla="*/ 4820 h 9495"/>
                <a:gd name="connsiteX91" fmla="*/ 105 w 10000"/>
                <a:gd name="connsiteY91" fmla="*/ 5350 h 9495"/>
                <a:gd name="connsiteX92" fmla="*/ 288 w 10000"/>
                <a:gd name="connsiteY92" fmla="*/ 5630 h 9495"/>
                <a:gd name="connsiteX93" fmla="*/ 12 w 10000"/>
                <a:gd name="connsiteY93" fmla="*/ 6080 h 9495"/>
                <a:gd name="connsiteX94" fmla="*/ 379 w 10000"/>
                <a:gd name="connsiteY94" fmla="*/ 6245 h 9495"/>
                <a:gd name="connsiteX95" fmla="*/ 266 w 10000"/>
                <a:gd name="connsiteY95" fmla="*/ 6611 h 9495"/>
                <a:gd name="connsiteX96" fmla="*/ 357 w 10000"/>
                <a:gd name="connsiteY96" fmla="*/ 7031 h 9495"/>
                <a:gd name="connsiteX97" fmla="*/ 982 w 10000"/>
                <a:gd name="connsiteY97" fmla="*/ 6646 h 9495"/>
                <a:gd name="connsiteX98" fmla="*/ 1342 w 10000"/>
                <a:gd name="connsiteY98" fmla="*/ 6308 h 9495"/>
                <a:gd name="connsiteX99" fmla="*/ 1775 w 10000"/>
                <a:gd name="connsiteY99" fmla="*/ 6314 h 9495"/>
                <a:gd name="connsiteX100" fmla="*/ 2239 w 10000"/>
                <a:gd name="connsiteY100" fmla="*/ 6113 h 9495"/>
                <a:gd name="connsiteX101" fmla="*/ 2810 w 10000"/>
                <a:gd name="connsiteY101" fmla="*/ 5795 h 9495"/>
                <a:gd name="connsiteX102" fmla="*/ 2997 w 10000"/>
                <a:gd name="connsiteY102" fmla="*/ 5552 h 9495"/>
                <a:gd name="connsiteX103" fmla="*/ 3386 w 10000"/>
                <a:gd name="connsiteY103" fmla="*/ 5083 h 9495"/>
                <a:gd name="connsiteX104" fmla="*/ 4023 w 10000"/>
                <a:gd name="connsiteY104" fmla="*/ 5409 h 9495"/>
                <a:gd name="connsiteX105" fmla="*/ 4296 w 10000"/>
                <a:gd name="connsiteY105" fmla="*/ 5387 h 9495"/>
                <a:gd name="connsiteX106" fmla="*/ 4241 w 10000"/>
                <a:gd name="connsiteY106" fmla="*/ 4985 h 9495"/>
                <a:gd name="connsiteX107" fmla="*/ 4282 w 10000"/>
                <a:gd name="connsiteY107" fmla="*/ 4469 h 9495"/>
                <a:gd name="connsiteX108" fmla="*/ 4895 w 10000"/>
                <a:gd name="connsiteY108" fmla="*/ 4352 h 9495"/>
                <a:gd name="connsiteX109" fmla="*/ 4809 w 10000"/>
                <a:gd name="connsiteY109" fmla="*/ 4967 h 9495"/>
                <a:gd name="connsiteX0" fmla="*/ 3570 w 10000"/>
                <a:gd name="connsiteY0" fmla="*/ 9470 h 9470"/>
                <a:gd name="connsiteX1" fmla="*/ 3663 w 10000"/>
                <a:gd name="connsiteY1" fmla="*/ 8849 h 9470"/>
                <a:gd name="connsiteX2" fmla="*/ 3755 w 10000"/>
                <a:gd name="connsiteY2" fmla="*/ 8552 h 9470"/>
                <a:gd name="connsiteX3" fmla="*/ 3800 w 10000"/>
                <a:gd name="connsiteY3" fmla="*/ 8291 h 9470"/>
                <a:gd name="connsiteX4" fmla="*/ 4076 w 10000"/>
                <a:gd name="connsiteY4" fmla="*/ 7787 h 9470"/>
                <a:gd name="connsiteX5" fmla="*/ 4626 w 10000"/>
                <a:gd name="connsiteY5" fmla="*/ 7522 h 9470"/>
                <a:gd name="connsiteX6" fmla="*/ 4720 w 10000"/>
                <a:gd name="connsiteY6" fmla="*/ 7640 h 9470"/>
                <a:gd name="connsiteX7" fmla="*/ 4650 w 10000"/>
                <a:gd name="connsiteY7" fmla="*/ 7729 h 9470"/>
                <a:gd name="connsiteX8" fmla="*/ 4811 w 10000"/>
                <a:gd name="connsiteY8" fmla="*/ 7906 h 9470"/>
                <a:gd name="connsiteX9" fmla="*/ 4994 w 10000"/>
                <a:gd name="connsiteY9" fmla="*/ 7669 h 9470"/>
                <a:gd name="connsiteX10" fmla="*/ 5202 w 10000"/>
                <a:gd name="connsiteY10" fmla="*/ 7463 h 9470"/>
                <a:gd name="connsiteX11" fmla="*/ 5636 w 10000"/>
                <a:gd name="connsiteY11" fmla="*/ 6609 h 9470"/>
                <a:gd name="connsiteX12" fmla="*/ 5984 w 10000"/>
                <a:gd name="connsiteY12" fmla="*/ 6874 h 9470"/>
                <a:gd name="connsiteX13" fmla="*/ 5958 w 10000"/>
                <a:gd name="connsiteY13" fmla="*/ 6669 h 9470"/>
                <a:gd name="connsiteX14" fmla="*/ 6188 w 10000"/>
                <a:gd name="connsiteY14" fmla="*/ 6460 h 9470"/>
                <a:gd name="connsiteX15" fmla="*/ 6417 w 10000"/>
                <a:gd name="connsiteY15" fmla="*/ 6609 h 9470"/>
                <a:gd name="connsiteX16" fmla="*/ 6188 w 10000"/>
                <a:gd name="connsiteY16" fmla="*/ 6019 h 9470"/>
                <a:gd name="connsiteX17" fmla="*/ 6327 w 10000"/>
                <a:gd name="connsiteY17" fmla="*/ 5782 h 9470"/>
                <a:gd name="connsiteX18" fmla="*/ 6810 w 10000"/>
                <a:gd name="connsiteY18" fmla="*/ 5605 h 9470"/>
                <a:gd name="connsiteX19" fmla="*/ 6763 w 10000"/>
                <a:gd name="connsiteY19" fmla="*/ 5547 h 9470"/>
                <a:gd name="connsiteX20" fmla="*/ 7132 w 10000"/>
                <a:gd name="connsiteY20" fmla="*/ 5104 h 9470"/>
                <a:gd name="connsiteX21" fmla="*/ 7406 w 10000"/>
                <a:gd name="connsiteY21" fmla="*/ 4867 h 9470"/>
                <a:gd name="connsiteX22" fmla="*/ 8095 w 10000"/>
                <a:gd name="connsiteY22" fmla="*/ 4396 h 9470"/>
                <a:gd name="connsiteX23" fmla="*/ 8302 w 10000"/>
                <a:gd name="connsiteY23" fmla="*/ 4102 h 9470"/>
                <a:gd name="connsiteX24" fmla="*/ 8714 w 10000"/>
                <a:gd name="connsiteY24" fmla="*/ 3540 h 9470"/>
                <a:gd name="connsiteX25" fmla="*/ 9449 w 10000"/>
                <a:gd name="connsiteY25" fmla="*/ 3039 h 9470"/>
                <a:gd name="connsiteX26" fmla="*/ 9494 w 10000"/>
                <a:gd name="connsiteY26" fmla="*/ 2832 h 9470"/>
                <a:gd name="connsiteX27" fmla="*/ 9793 w 10000"/>
                <a:gd name="connsiteY27" fmla="*/ 2510 h 9470"/>
                <a:gd name="connsiteX28" fmla="*/ 10000 w 10000"/>
                <a:gd name="connsiteY28" fmla="*/ 2124 h 9470"/>
                <a:gd name="connsiteX29" fmla="*/ 9678 w 10000"/>
                <a:gd name="connsiteY29" fmla="*/ 1769 h 9470"/>
                <a:gd name="connsiteX30" fmla="*/ 9265 w 10000"/>
                <a:gd name="connsiteY30" fmla="*/ 2124 h 9470"/>
                <a:gd name="connsiteX31" fmla="*/ 9059 w 10000"/>
                <a:gd name="connsiteY31" fmla="*/ 1977 h 9470"/>
                <a:gd name="connsiteX32" fmla="*/ 8875 w 10000"/>
                <a:gd name="connsiteY32" fmla="*/ 1683 h 9470"/>
                <a:gd name="connsiteX33" fmla="*/ 9012 w 10000"/>
                <a:gd name="connsiteY33" fmla="*/ 1446 h 9470"/>
                <a:gd name="connsiteX34" fmla="*/ 8691 w 10000"/>
                <a:gd name="connsiteY34" fmla="*/ 1122 h 9470"/>
                <a:gd name="connsiteX35" fmla="*/ 8553 w 10000"/>
                <a:gd name="connsiteY35" fmla="*/ 1241 h 9470"/>
                <a:gd name="connsiteX36" fmla="*/ 8253 w 10000"/>
                <a:gd name="connsiteY36" fmla="*/ 1302 h 9470"/>
                <a:gd name="connsiteX37" fmla="*/ 8279 w 10000"/>
                <a:gd name="connsiteY37" fmla="*/ 1625 h 9470"/>
                <a:gd name="connsiteX38" fmla="*/ 8369 w 10000"/>
                <a:gd name="connsiteY38" fmla="*/ 1711 h 9470"/>
                <a:gd name="connsiteX39" fmla="*/ 8302 w 10000"/>
                <a:gd name="connsiteY39" fmla="*/ 1948 h 9470"/>
                <a:gd name="connsiteX40" fmla="*/ 8117 w 10000"/>
                <a:gd name="connsiteY40" fmla="*/ 2008 h 9470"/>
                <a:gd name="connsiteX41" fmla="*/ 7933 w 10000"/>
                <a:gd name="connsiteY41" fmla="*/ 2186 h 9470"/>
                <a:gd name="connsiteX42" fmla="*/ 8095 w 10000"/>
                <a:gd name="connsiteY42" fmla="*/ 2419 h 9470"/>
                <a:gd name="connsiteX43" fmla="*/ 8072 w 10000"/>
                <a:gd name="connsiteY43" fmla="*/ 2597 h 9470"/>
                <a:gd name="connsiteX44" fmla="*/ 7727 w 10000"/>
                <a:gd name="connsiteY44" fmla="*/ 2805 h 9470"/>
                <a:gd name="connsiteX45" fmla="*/ 7566 w 10000"/>
                <a:gd name="connsiteY45" fmla="*/ 3156 h 9470"/>
                <a:gd name="connsiteX46" fmla="*/ 7153 w 10000"/>
                <a:gd name="connsiteY46" fmla="*/ 2451 h 9470"/>
                <a:gd name="connsiteX47" fmla="*/ 6992 w 10000"/>
                <a:gd name="connsiteY47" fmla="*/ 2688 h 9470"/>
                <a:gd name="connsiteX48" fmla="*/ 7221 w 10000"/>
                <a:gd name="connsiteY48" fmla="*/ 2981 h 9470"/>
                <a:gd name="connsiteX49" fmla="*/ 7038 w 10000"/>
                <a:gd name="connsiteY49" fmla="*/ 3187 h 9470"/>
                <a:gd name="connsiteX50" fmla="*/ 7083 w 10000"/>
                <a:gd name="connsiteY50" fmla="*/ 3333 h 9470"/>
                <a:gd name="connsiteX51" fmla="*/ 6717 w 10000"/>
                <a:gd name="connsiteY51" fmla="*/ 3687 h 9470"/>
                <a:gd name="connsiteX52" fmla="*/ 6327 w 10000"/>
                <a:gd name="connsiteY52" fmla="*/ 3394 h 9470"/>
                <a:gd name="connsiteX53" fmla="*/ 5272 w 10000"/>
                <a:gd name="connsiteY53" fmla="*/ 4131 h 9470"/>
                <a:gd name="connsiteX54" fmla="*/ 5179 w 10000"/>
                <a:gd name="connsiteY54" fmla="*/ 3807 h 9470"/>
                <a:gd name="connsiteX55" fmla="*/ 5041 w 10000"/>
                <a:gd name="connsiteY55" fmla="*/ 3600 h 9470"/>
                <a:gd name="connsiteX56" fmla="*/ 5087 w 10000"/>
                <a:gd name="connsiteY56" fmla="*/ 3362 h 9470"/>
                <a:gd name="connsiteX57" fmla="*/ 4948 w 10000"/>
                <a:gd name="connsiteY57" fmla="*/ 3129 h 9470"/>
                <a:gd name="connsiteX58" fmla="*/ 4742 w 10000"/>
                <a:gd name="connsiteY58" fmla="*/ 3100 h 9470"/>
                <a:gd name="connsiteX59" fmla="*/ 4788 w 10000"/>
                <a:gd name="connsiteY59" fmla="*/ 2774 h 9470"/>
                <a:gd name="connsiteX60" fmla="*/ 4626 w 10000"/>
                <a:gd name="connsiteY60" fmla="*/ 2656 h 9470"/>
                <a:gd name="connsiteX61" fmla="*/ 4466 w 10000"/>
                <a:gd name="connsiteY61" fmla="*/ 2244 h 9470"/>
                <a:gd name="connsiteX62" fmla="*/ 4259 w 10000"/>
                <a:gd name="connsiteY62" fmla="*/ 2244 h 9470"/>
                <a:gd name="connsiteX63" fmla="*/ 4054 w 10000"/>
                <a:gd name="connsiteY63" fmla="*/ 2036 h 9470"/>
                <a:gd name="connsiteX64" fmla="*/ 4054 w 10000"/>
                <a:gd name="connsiteY64" fmla="*/ 1948 h 9470"/>
                <a:gd name="connsiteX65" fmla="*/ 3869 w 10000"/>
                <a:gd name="connsiteY65" fmla="*/ 2066 h 9470"/>
                <a:gd name="connsiteX66" fmla="*/ 3640 w 10000"/>
                <a:gd name="connsiteY66" fmla="*/ 1862 h 9470"/>
                <a:gd name="connsiteX67" fmla="*/ 3755 w 10000"/>
                <a:gd name="connsiteY67" fmla="*/ 1564 h 9470"/>
                <a:gd name="connsiteX68" fmla="*/ 3570 w 10000"/>
                <a:gd name="connsiteY68" fmla="*/ 1329 h 9470"/>
                <a:gd name="connsiteX69" fmla="*/ 3711 w 10000"/>
                <a:gd name="connsiteY69" fmla="*/ 977 h 9470"/>
                <a:gd name="connsiteX70" fmla="*/ 3250 w 10000"/>
                <a:gd name="connsiteY70" fmla="*/ 503 h 9470"/>
                <a:gd name="connsiteX71" fmla="*/ 2975 w 10000"/>
                <a:gd name="connsiteY71" fmla="*/ 652 h 9470"/>
                <a:gd name="connsiteX72" fmla="*/ 2446 w 10000"/>
                <a:gd name="connsiteY72" fmla="*/ 385 h 9470"/>
                <a:gd name="connsiteX73" fmla="*/ 2239 w 10000"/>
                <a:gd name="connsiteY73" fmla="*/ 560 h 9470"/>
                <a:gd name="connsiteX74" fmla="*/ 1734 w 10000"/>
                <a:gd name="connsiteY74" fmla="*/ 32 h 9470"/>
                <a:gd name="connsiteX75" fmla="*/ 1321 w 10000"/>
                <a:gd name="connsiteY75" fmla="*/ 769 h 9470"/>
                <a:gd name="connsiteX76" fmla="*/ 1321 w 10000"/>
                <a:gd name="connsiteY76" fmla="*/ 1210 h 9470"/>
                <a:gd name="connsiteX77" fmla="*/ 1022 w 10000"/>
                <a:gd name="connsiteY77" fmla="*/ 857 h 9470"/>
                <a:gd name="connsiteX78" fmla="*/ 679 w 10000"/>
                <a:gd name="connsiteY78" fmla="*/ 1446 h 9470"/>
                <a:gd name="connsiteX79" fmla="*/ 933 w 10000"/>
                <a:gd name="connsiteY79" fmla="*/ 1918 h 9470"/>
                <a:gd name="connsiteX80" fmla="*/ 471 w 10000"/>
                <a:gd name="connsiteY80" fmla="*/ 2478 h 9470"/>
                <a:gd name="connsiteX81" fmla="*/ 427 w 10000"/>
                <a:gd name="connsiteY81" fmla="*/ 2478 h 9470"/>
                <a:gd name="connsiteX82" fmla="*/ 609 w 10000"/>
                <a:gd name="connsiteY82" fmla="*/ 2805 h 9470"/>
                <a:gd name="connsiteX83" fmla="*/ 379 w 10000"/>
                <a:gd name="connsiteY83" fmla="*/ 3129 h 9470"/>
                <a:gd name="connsiteX84" fmla="*/ 539 w 10000"/>
                <a:gd name="connsiteY84" fmla="*/ 3333 h 9470"/>
                <a:gd name="connsiteX85" fmla="*/ 471 w 10000"/>
                <a:gd name="connsiteY85" fmla="*/ 3659 h 9470"/>
                <a:gd name="connsiteX86" fmla="*/ 379 w 10000"/>
                <a:gd name="connsiteY86" fmla="*/ 3838 h 9470"/>
                <a:gd name="connsiteX87" fmla="*/ 539 w 10000"/>
                <a:gd name="connsiteY87" fmla="*/ 4191 h 9470"/>
                <a:gd name="connsiteX88" fmla="*/ 266 w 10000"/>
                <a:gd name="connsiteY88" fmla="*/ 4748 h 9470"/>
                <a:gd name="connsiteX89" fmla="*/ 471 w 10000"/>
                <a:gd name="connsiteY89" fmla="*/ 5076 h 9470"/>
                <a:gd name="connsiteX90" fmla="*/ 105 w 10000"/>
                <a:gd name="connsiteY90" fmla="*/ 5635 h 9470"/>
                <a:gd name="connsiteX91" fmla="*/ 288 w 10000"/>
                <a:gd name="connsiteY91" fmla="*/ 5929 h 9470"/>
                <a:gd name="connsiteX92" fmla="*/ 12 w 10000"/>
                <a:gd name="connsiteY92" fmla="*/ 6403 h 9470"/>
                <a:gd name="connsiteX93" fmla="*/ 379 w 10000"/>
                <a:gd name="connsiteY93" fmla="*/ 6577 h 9470"/>
                <a:gd name="connsiteX94" fmla="*/ 266 w 10000"/>
                <a:gd name="connsiteY94" fmla="*/ 6963 h 9470"/>
                <a:gd name="connsiteX95" fmla="*/ 357 w 10000"/>
                <a:gd name="connsiteY95" fmla="*/ 7405 h 9470"/>
                <a:gd name="connsiteX96" fmla="*/ 982 w 10000"/>
                <a:gd name="connsiteY96" fmla="*/ 6999 h 9470"/>
                <a:gd name="connsiteX97" fmla="*/ 1342 w 10000"/>
                <a:gd name="connsiteY97" fmla="*/ 6643 h 9470"/>
                <a:gd name="connsiteX98" fmla="*/ 1775 w 10000"/>
                <a:gd name="connsiteY98" fmla="*/ 6650 h 9470"/>
                <a:gd name="connsiteX99" fmla="*/ 2239 w 10000"/>
                <a:gd name="connsiteY99" fmla="*/ 6438 h 9470"/>
                <a:gd name="connsiteX100" fmla="*/ 2810 w 10000"/>
                <a:gd name="connsiteY100" fmla="*/ 6103 h 9470"/>
                <a:gd name="connsiteX101" fmla="*/ 2997 w 10000"/>
                <a:gd name="connsiteY101" fmla="*/ 5847 h 9470"/>
                <a:gd name="connsiteX102" fmla="*/ 3386 w 10000"/>
                <a:gd name="connsiteY102" fmla="*/ 5353 h 9470"/>
                <a:gd name="connsiteX103" fmla="*/ 4023 w 10000"/>
                <a:gd name="connsiteY103" fmla="*/ 5697 h 9470"/>
                <a:gd name="connsiteX104" fmla="*/ 4296 w 10000"/>
                <a:gd name="connsiteY104" fmla="*/ 5674 h 9470"/>
                <a:gd name="connsiteX105" fmla="*/ 4241 w 10000"/>
                <a:gd name="connsiteY105" fmla="*/ 5250 h 9470"/>
                <a:gd name="connsiteX106" fmla="*/ 4282 w 10000"/>
                <a:gd name="connsiteY106" fmla="*/ 4707 h 9470"/>
                <a:gd name="connsiteX107" fmla="*/ 4895 w 10000"/>
                <a:gd name="connsiteY107" fmla="*/ 4583 h 9470"/>
                <a:gd name="connsiteX108" fmla="*/ 4809 w 10000"/>
                <a:gd name="connsiteY108" fmla="*/ 5231 h 9470"/>
                <a:gd name="connsiteX0" fmla="*/ 3663 w 10000"/>
                <a:gd name="connsiteY0" fmla="*/ 9344 h 9344"/>
                <a:gd name="connsiteX1" fmla="*/ 3755 w 10000"/>
                <a:gd name="connsiteY1" fmla="*/ 9031 h 9344"/>
                <a:gd name="connsiteX2" fmla="*/ 3800 w 10000"/>
                <a:gd name="connsiteY2" fmla="*/ 8755 h 9344"/>
                <a:gd name="connsiteX3" fmla="*/ 4076 w 10000"/>
                <a:gd name="connsiteY3" fmla="*/ 8223 h 9344"/>
                <a:gd name="connsiteX4" fmla="*/ 4626 w 10000"/>
                <a:gd name="connsiteY4" fmla="*/ 7943 h 9344"/>
                <a:gd name="connsiteX5" fmla="*/ 4720 w 10000"/>
                <a:gd name="connsiteY5" fmla="*/ 8068 h 9344"/>
                <a:gd name="connsiteX6" fmla="*/ 4650 w 10000"/>
                <a:gd name="connsiteY6" fmla="*/ 8162 h 9344"/>
                <a:gd name="connsiteX7" fmla="*/ 4811 w 10000"/>
                <a:gd name="connsiteY7" fmla="*/ 8348 h 9344"/>
                <a:gd name="connsiteX8" fmla="*/ 4994 w 10000"/>
                <a:gd name="connsiteY8" fmla="*/ 8098 h 9344"/>
                <a:gd name="connsiteX9" fmla="*/ 5202 w 10000"/>
                <a:gd name="connsiteY9" fmla="*/ 7881 h 9344"/>
                <a:gd name="connsiteX10" fmla="*/ 5636 w 10000"/>
                <a:gd name="connsiteY10" fmla="*/ 6979 h 9344"/>
                <a:gd name="connsiteX11" fmla="*/ 5984 w 10000"/>
                <a:gd name="connsiteY11" fmla="*/ 7259 h 9344"/>
                <a:gd name="connsiteX12" fmla="*/ 5958 w 10000"/>
                <a:gd name="connsiteY12" fmla="*/ 7042 h 9344"/>
                <a:gd name="connsiteX13" fmla="*/ 6188 w 10000"/>
                <a:gd name="connsiteY13" fmla="*/ 6822 h 9344"/>
                <a:gd name="connsiteX14" fmla="*/ 6417 w 10000"/>
                <a:gd name="connsiteY14" fmla="*/ 6979 h 9344"/>
                <a:gd name="connsiteX15" fmla="*/ 6188 w 10000"/>
                <a:gd name="connsiteY15" fmla="*/ 6356 h 9344"/>
                <a:gd name="connsiteX16" fmla="*/ 6327 w 10000"/>
                <a:gd name="connsiteY16" fmla="*/ 6106 h 9344"/>
                <a:gd name="connsiteX17" fmla="*/ 6810 w 10000"/>
                <a:gd name="connsiteY17" fmla="*/ 5919 h 9344"/>
                <a:gd name="connsiteX18" fmla="*/ 6763 w 10000"/>
                <a:gd name="connsiteY18" fmla="*/ 5857 h 9344"/>
                <a:gd name="connsiteX19" fmla="*/ 7132 w 10000"/>
                <a:gd name="connsiteY19" fmla="*/ 5390 h 9344"/>
                <a:gd name="connsiteX20" fmla="*/ 7406 w 10000"/>
                <a:gd name="connsiteY20" fmla="*/ 5139 h 9344"/>
                <a:gd name="connsiteX21" fmla="*/ 8095 w 10000"/>
                <a:gd name="connsiteY21" fmla="*/ 4642 h 9344"/>
                <a:gd name="connsiteX22" fmla="*/ 8302 w 10000"/>
                <a:gd name="connsiteY22" fmla="*/ 4332 h 9344"/>
                <a:gd name="connsiteX23" fmla="*/ 8714 w 10000"/>
                <a:gd name="connsiteY23" fmla="*/ 3738 h 9344"/>
                <a:gd name="connsiteX24" fmla="*/ 9449 w 10000"/>
                <a:gd name="connsiteY24" fmla="*/ 3209 h 9344"/>
                <a:gd name="connsiteX25" fmla="*/ 9494 w 10000"/>
                <a:gd name="connsiteY25" fmla="*/ 2990 h 9344"/>
                <a:gd name="connsiteX26" fmla="*/ 9793 w 10000"/>
                <a:gd name="connsiteY26" fmla="*/ 2650 h 9344"/>
                <a:gd name="connsiteX27" fmla="*/ 10000 w 10000"/>
                <a:gd name="connsiteY27" fmla="*/ 2243 h 9344"/>
                <a:gd name="connsiteX28" fmla="*/ 9678 w 10000"/>
                <a:gd name="connsiteY28" fmla="*/ 1868 h 9344"/>
                <a:gd name="connsiteX29" fmla="*/ 9265 w 10000"/>
                <a:gd name="connsiteY29" fmla="*/ 2243 h 9344"/>
                <a:gd name="connsiteX30" fmla="*/ 9059 w 10000"/>
                <a:gd name="connsiteY30" fmla="*/ 2088 h 9344"/>
                <a:gd name="connsiteX31" fmla="*/ 8875 w 10000"/>
                <a:gd name="connsiteY31" fmla="*/ 1777 h 9344"/>
                <a:gd name="connsiteX32" fmla="*/ 9012 w 10000"/>
                <a:gd name="connsiteY32" fmla="*/ 1527 h 9344"/>
                <a:gd name="connsiteX33" fmla="*/ 8691 w 10000"/>
                <a:gd name="connsiteY33" fmla="*/ 1185 h 9344"/>
                <a:gd name="connsiteX34" fmla="*/ 8553 w 10000"/>
                <a:gd name="connsiteY34" fmla="*/ 1310 h 9344"/>
                <a:gd name="connsiteX35" fmla="*/ 8253 w 10000"/>
                <a:gd name="connsiteY35" fmla="*/ 1375 h 9344"/>
                <a:gd name="connsiteX36" fmla="*/ 8279 w 10000"/>
                <a:gd name="connsiteY36" fmla="*/ 1716 h 9344"/>
                <a:gd name="connsiteX37" fmla="*/ 8369 w 10000"/>
                <a:gd name="connsiteY37" fmla="*/ 1807 h 9344"/>
                <a:gd name="connsiteX38" fmla="*/ 8302 w 10000"/>
                <a:gd name="connsiteY38" fmla="*/ 2057 h 9344"/>
                <a:gd name="connsiteX39" fmla="*/ 8117 w 10000"/>
                <a:gd name="connsiteY39" fmla="*/ 2120 h 9344"/>
                <a:gd name="connsiteX40" fmla="*/ 7933 w 10000"/>
                <a:gd name="connsiteY40" fmla="*/ 2308 h 9344"/>
                <a:gd name="connsiteX41" fmla="*/ 8095 w 10000"/>
                <a:gd name="connsiteY41" fmla="*/ 2554 h 9344"/>
                <a:gd name="connsiteX42" fmla="*/ 8072 w 10000"/>
                <a:gd name="connsiteY42" fmla="*/ 2742 h 9344"/>
                <a:gd name="connsiteX43" fmla="*/ 7727 w 10000"/>
                <a:gd name="connsiteY43" fmla="*/ 2962 h 9344"/>
                <a:gd name="connsiteX44" fmla="*/ 7566 w 10000"/>
                <a:gd name="connsiteY44" fmla="*/ 3333 h 9344"/>
                <a:gd name="connsiteX45" fmla="*/ 7153 w 10000"/>
                <a:gd name="connsiteY45" fmla="*/ 2588 h 9344"/>
                <a:gd name="connsiteX46" fmla="*/ 6992 w 10000"/>
                <a:gd name="connsiteY46" fmla="*/ 2838 h 9344"/>
                <a:gd name="connsiteX47" fmla="*/ 7221 w 10000"/>
                <a:gd name="connsiteY47" fmla="*/ 3148 h 9344"/>
                <a:gd name="connsiteX48" fmla="*/ 7038 w 10000"/>
                <a:gd name="connsiteY48" fmla="*/ 3365 h 9344"/>
                <a:gd name="connsiteX49" fmla="*/ 7083 w 10000"/>
                <a:gd name="connsiteY49" fmla="*/ 3520 h 9344"/>
                <a:gd name="connsiteX50" fmla="*/ 6717 w 10000"/>
                <a:gd name="connsiteY50" fmla="*/ 3893 h 9344"/>
                <a:gd name="connsiteX51" fmla="*/ 6327 w 10000"/>
                <a:gd name="connsiteY51" fmla="*/ 3584 h 9344"/>
                <a:gd name="connsiteX52" fmla="*/ 5272 w 10000"/>
                <a:gd name="connsiteY52" fmla="*/ 4362 h 9344"/>
                <a:gd name="connsiteX53" fmla="*/ 5179 w 10000"/>
                <a:gd name="connsiteY53" fmla="*/ 4020 h 9344"/>
                <a:gd name="connsiteX54" fmla="*/ 5041 w 10000"/>
                <a:gd name="connsiteY54" fmla="*/ 3801 h 9344"/>
                <a:gd name="connsiteX55" fmla="*/ 5087 w 10000"/>
                <a:gd name="connsiteY55" fmla="*/ 3550 h 9344"/>
                <a:gd name="connsiteX56" fmla="*/ 4948 w 10000"/>
                <a:gd name="connsiteY56" fmla="*/ 3304 h 9344"/>
                <a:gd name="connsiteX57" fmla="*/ 4742 w 10000"/>
                <a:gd name="connsiteY57" fmla="*/ 3273 h 9344"/>
                <a:gd name="connsiteX58" fmla="*/ 4788 w 10000"/>
                <a:gd name="connsiteY58" fmla="*/ 2929 h 9344"/>
                <a:gd name="connsiteX59" fmla="*/ 4626 w 10000"/>
                <a:gd name="connsiteY59" fmla="*/ 2805 h 9344"/>
                <a:gd name="connsiteX60" fmla="*/ 4466 w 10000"/>
                <a:gd name="connsiteY60" fmla="*/ 2370 h 9344"/>
                <a:gd name="connsiteX61" fmla="*/ 4259 w 10000"/>
                <a:gd name="connsiteY61" fmla="*/ 2370 h 9344"/>
                <a:gd name="connsiteX62" fmla="*/ 4054 w 10000"/>
                <a:gd name="connsiteY62" fmla="*/ 2150 h 9344"/>
                <a:gd name="connsiteX63" fmla="*/ 4054 w 10000"/>
                <a:gd name="connsiteY63" fmla="*/ 2057 h 9344"/>
                <a:gd name="connsiteX64" fmla="*/ 3869 w 10000"/>
                <a:gd name="connsiteY64" fmla="*/ 2182 h 9344"/>
                <a:gd name="connsiteX65" fmla="*/ 3640 w 10000"/>
                <a:gd name="connsiteY65" fmla="*/ 1966 h 9344"/>
                <a:gd name="connsiteX66" fmla="*/ 3755 w 10000"/>
                <a:gd name="connsiteY66" fmla="*/ 1652 h 9344"/>
                <a:gd name="connsiteX67" fmla="*/ 3570 w 10000"/>
                <a:gd name="connsiteY67" fmla="*/ 1403 h 9344"/>
                <a:gd name="connsiteX68" fmla="*/ 3711 w 10000"/>
                <a:gd name="connsiteY68" fmla="*/ 1032 h 9344"/>
                <a:gd name="connsiteX69" fmla="*/ 3250 w 10000"/>
                <a:gd name="connsiteY69" fmla="*/ 531 h 9344"/>
                <a:gd name="connsiteX70" fmla="*/ 2975 w 10000"/>
                <a:gd name="connsiteY70" fmla="*/ 688 h 9344"/>
                <a:gd name="connsiteX71" fmla="*/ 2446 w 10000"/>
                <a:gd name="connsiteY71" fmla="*/ 407 h 9344"/>
                <a:gd name="connsiteX72" fmla="*/ 2239 w 10000"/>
                <a:gd name="connsiteY72" fmla="*/ 591 h 9344"/>
                <a:gd name="connsiteX73" fmla="*/ 1734 w 10000"/>
                <a:gd name="connsiteY73" fmla="*/ 34 h 9344"/>
                <a:gd name="connsiteX74" fmla="*/ 1321 w 10000"/>
                <a:gd name="connsiteY74" fmla="*/ 812 h 9344"/>
                <a:gd name="connsiteX75" fmla="*/ 1321 w 10000"/>
                <a:gd name="connsiteY75" fmla="*/ 1278 h 9344"/>
                <a:gd name="connsiteX76" fmla="*/ 1022 w 10000"/>
                <a:gd name="connsiteY76" fmla="*/ 905 h 9344"/>
                <a:gd name="connsiteX77" fmla="*/ 679 w 10000"/>
                <a:gd name="connsiteY77" fmla="*/ 1527 h 9344"/>
                <a:gd name="connsiteX78" fmla="*/ 933 w 10000"/>
                <a:gd name="connsiteY78" fmla="*/ 2025 h 9344"/>
                <a:gd name="connsiteX79" fmla="*/ 471 w 10000"/>
                <a:gd name="connsiteY79" fmla="*/ 2617 h 9344"/>
                <a:gd name="connsiteX80" fmla="*/ 427 w 10000"/>
                <a:gd name="connsiteY80" fmla="*/ 2617 h 9344"/>
                <a:gd name="connsiteX81" fmla="*/ 609 w 10000"/>
                <a:gd name="connsiteY81" fmla="*/ 2962 h 9344"/>
                <a:gd name="connsiteX82" fmla="*/ 379 w 10000"/>
                <a:gd name="connsiteY82" fmla="*/ 3304 h 9344"/>
                <a:gd name="connsiteX83" fmla="*/ 539 w 10000"/>
                <a:gd name="connsiteY83" fmla="*/ 3520 h 9344"/>
                <a:gd name="connsiteX84" fmla="*/ 471 w 10000"/>
                <a:gd name="connsiteY84" fmla="*/ 3864 h 9344"/>
                <a:gd name="connsiteX85" fmla="*/ 379 w 10000"/>
                <a:gd name="connsiteY85" fmla="*/ 4053 h 9344"/>
                <a:gd name="connsiteX86" fmla="*/ 539 w 10000"/>
                <a:gd name="connsiteY86" fmla="*/ 4426 h 9344"/>
                <a:gd name="connsiteX87" fmla="*/ 266 w 10000"/>
                <a:gd name="connsiteY87" fmla="*/ 5014 h 9344"/>
                <a:gd name="connsiteX88" fmla="*/ 471 w 10000"/>
                <a:gd name="connsiteY88" fmla="*/ 5360 h 9344"/>
                <a:gd name="connsiteX89" fmla="*/ 105 w 10000"/>
                <a:gd name="connsiteY89" fmla="*/ 5950 h 9344"/>
                <a:gd name="connsiteX90" fmla="*/ 288 w 10000"/>
                <a:gd name="connsiteY90" fmla="*/ 6261 h 9344"/>
                <a:gd name="connsiteX91" fmla="*/ 12 w 10000"/>
                <a:gd name="connsiteY91" fmla="*/ 6761 h 9344"/>
                <a:gd name="connsiteX92" fmla="*/ 379 w 10000"/>
                <a:gd name="connsiteY92" fmla="*/ 6945 h 9344"/>
                <a:gd name="connsiteX93" fmla="*/ 266 w 10000"/>
                <a:gd name="connsiteY93" fmla="*/ 7353 h 9344"/>
                <a:gd name="connsiteX94" fmla="*/ 357 w 10000"/>
                <a:gd name="connsiteY94" fmla="*/ 7819 h 9344"/>
                <a:gd name="connsiteX95" fmla="*/ 982 w 10000"/>
                <a:gd name="connsiteY95" fmla="*/ 7391 h 9344"/>
                <a:gd name="connsiteX96" fmla="*/ 1342 w 10000"/>
                <a:gd name="connsiteY96" fmla="*/ 7015 h 9344"/>
                <a:gd name="connsiteX97" fmla="*/ 1775 w 10000"/>
                <a:gd name="connsiteY97" fmla="*/ 7022 h 9344"/>
                <a:gd name="connsiteX98" fmla="*/ 2239 w 10000"/>
                <a:gd name="connsiteY98" fmla="*/ 6798 h 9344"/>
                <a:gd name="connsiteX99" fmla="*/ 2810 w 10000"/>
                <a:gd name="connsiteY99" fmla="*/ 6445 h 9344"/>
                <a:gd name="connsiteX100" fmla="*/ 2997 w 10000"/>
                <a:gd name="connsiteY100" fmla="*/ 6174 h 9344"/>
                <a:gd name="connsiteX101" fmla="*/ 3386 w 10000"/>
                <a:gd name="connsiteY101" fmla="*/ 5653 h 9344"/>
                <a:gd name="connsiteX102" fmla="*/ 4023 w 10000"/>
                <a:gd name="connsiteY102" fmla="*/ 6016 h 9344"/>
                <a:gd name="connsiteX103" fmla="*/ 4296 w 10000"/>
                <a:gd name="connsiteY103" fmla="*/ 5992 h 9344"/>
                <a:gd name="connsiteX104" fmla="*/ 4241 w 10000"/>
                <a:gd name="connsiteY104" fmla="*/ 5544 h 9344"/>
                <a:gd name="connsiteX105" fmla="*/ 4282 w 10000"/>
                <a:gd name="connsiteY105" fmla="*/ 4970 h 9344"/>
                <a:gd name="connsiteX106" fmla="*/ 4895 w 10000"/>
                <a:gd name="connsiteY106" fmla="*/ 4839 h 9344"/>
                <a:gd name="connsiteX107" fmla="*/ 4809 w 10000"/>
                <a:gd name="connsiteY107" fmla="*/ 5524 h 9344"/>
                <a:gd name="connsiteX0" fmla="*/ 3663 w 10000"/>
                <a:gd name="connsiteY0" fmla="*/ 10000 h 10000"/>
                <a:gd name="connsiteX1" fmla="*/ 3755 w 10000"/>
                <a:gd name="connsiteY1" fmla="*/ 9665 h 10000"/>
                <a:gd name="connsiteX2" fmla="*/ 3800 w 10000"/>
                <a:gd name="connsiteY2" fmla="*/ 9370 h 10000"/>
                <a:gd name="connsiteX3" fmla="*/ 4076 w 10000"/>
                <a:gd name="connsiteY3" fmla="*/ 8800 h 10000"/>
                <a:gd name="connsiteX4" fmla="*/ 4626 w 10000"/>
                <a:gd name="connsiteY4" fmla="*/ 8501 h 10000"/>
                <a:gd name="connsiteX5" fmla="*/ 4720 w 10000"/>
                <a:gd name="connsiteY5" fmla="*/ 8634 h 10000"/>
                <a:gd name="connsiteX6" fmla="*/ 4650 w 10000"/>
                <a:gd name="connsiteY6" fmla="*/ 8735 h 10000"/>
                <a:gd name="connsiteX7" fmla="*/ 4811 w 10000"/>
                <a:gd name="connsiteY7" fmla="*/ 8934 h 10000"/>
                <a:gd name="connsiteX8" fmla="*/ 4994 w 10000"/>
                <a:gd name="connsiteY8" fmla="*/ 8667 h 10000"/>
                <a:gd name="connsiteX9" fmla="*/ 5202 w 10000"/>
                <a:gd name="connsiteY9" fmla="*/ 8434 h 10000"/>
                <a:gd name="connsiteX10" fmla="*/ 5636 w 10000"/>
                <a:gd name="connsiteY10" fmla="*/ 7469 h 10000"/>
                <a:gd name="connsiteX11" fmla="*/ 5984 w 10000"/>
                <a:gd name="connsiteY11" fmla="*/ 7769 h 10000"/>
                <a:gd name="connsiteX12" fmla="*/ 5958 w 10000"/>
                <a:gd name="connsiteY12" fmla="*/ 7536 h 10000"/>
                <a:gd name="connsiteX13" fmla="*/ 6188 w 10000"/>
                <a:gd name="connsiteY13" fmla="*/ 7301 h 10000"/>
                <a:gd name="connsiteX14" fmla="*/ 6417 w 10000"/>
                <a:gd name="connsiteY14" fmla="*/ 7469 h 10000"/>
                <a:gd name="connsiteX15" fmla="*/ 6188 w 10000"/>
                <a:gd name="connsiteY15" fmla="*/ 6802 h 10000"/>
                <a:gd name="connsiteX16" fmla="*/ 6327 w 10000"/>
                <a:gd name="connsiteY16" fmla="*/ 6535 h 10000"/>
                <a:gd name="connsiteX17" fmla="*/ 6810 w 10000"/>
                <a:gd name="connsiteY17" fmla="*/ 6335 h 10000"/>
                <a:gd name="connsiteX18" fmla="*/ 6763 w 10000"/>
                <a:gd name="connsiteY18" fmla="*/ 6268 h 10000"/>
                <a:gd name="connsiteX19" fmla="*/ 7132 w 10000"/>
                <a:gd name="connsiteY19" fmla="*/ 5768 h 10000"/>
                <a:gd name="connsiteX20" fmla="*/ 7406 w 10000"/>
                <a:gd name="connsiteY20" fmla="*/ 5500 h 10000"/>
                <a:gd name="connsiteX21" fmla="*/ 8095 w 10000"/>
                <a:gd name="connsiteY21" fmla="*/ 4968 h 10000"/>
                <a:gd name="connsiteX22" fmla="*/ 8302 w 10000"/>
                <a:gd name="connsiteY22" fmla="*/ 4636 h 10000"/>
                <a:gd name="connsiteX23" fmla="*/ 8714 w 10000"/>
                <a:gd name="connsiteY23" fmla="*/ 4000 h 10000"/>
                <a:gd name="connsiteX24" fmla="*/ 9449 w 10000"/>
                <a:gd name="connsiteY24" fmla="*/ 3434 h 10000"/>
                <a:gd name="connsiteX25" fmla="*/ 9494 w 10000"/>
                <a:gd name="connsiteY25" fmla="*/ 3200 h 10000"/>
                <a:gd name="connsiteX26" fmla="*/ 9793 w 10000"/>
                <a:gd name="connsiteY26" fmla="*/ 2836 h 10000"/>
                <a:gd name="connsiteX27" fmla="*/ 10000 w 10000"/>
                <a:gd name="connsiteY27" fmla="*/ 2400 h 10000"/>
                <a:gd name="connsiteX28" fmla="*/ 9678 w 10000"/>
                <a:gd name="connsiteY28" fmla="*/ 1999 h 10000"/>
                <a:gd name="connsiteX29" fmla="*/ 9265 w 10000"/>
                <a:gd name="connsiteY29" fmla="*/ 2400 h 10000"/>
                <a:gd name="connsiteX30" fmla="*/ 9059 w 10000"/>
                <a:gd name="connsiteY30" fmla="*/ 2235 h 10000"/>
                <a:gd name="connsiteX31" fmla="*/ 8875 w 10000"/>
                <a:gd name="connsiteY31" fmla="*/ 1902 h 10000"/>
                <a:gd name="connsiteX32" fmla="*/ 9012 w 10000"/>
                <a:gd name="connsiteY32" fmla="*/ 1634 h 10000"/>
                <a:gd name="connsiteX33" fmla="*/ 8691 w 10000"/>
                <a:gd name="connsiteY33" fmla="*/ 1268 h 10000"/>
                <a:gd name="connsiteX34" fmla="*/ 8553 w 10000"/>
                <a:gd name="connsiteY34" fmla="*/ 1402 h 10000"/>
                <a:gd name="connsiteX35" fmla="*/ 8253 w 10000"/>
                <a:gd name="connsiteY35" fmla="*/ 1472 h 10000"/>
                <a:gd name="connsiteX36" fmla="*/ 8279 w 10000"/>
                <a:gd name="connsiteY36" fmla="*/ 1836 h 10000"/>
                <a:gd name="connsiteX37" fmla="*/ 8369 w 10000"/>
                <a:gd name="connsiteY37" fmla="*/ 1934 h 10000"/>
                <a:gd name="connsiteX38" fmla="*/ 8302 w 10000"/>
                <a:gd name="connsiteY38" fmla="*/ 2201 h 10000"/>
                <a:gd name="connsiteX39" fmla="*/ 8117 w 10000"/>
                <a:gd name="connsiteY39" fmla="*/ 2269 h 10000"/>
                <a:gd name="connsiteX40" fmla="*/ 7933 w 10000"/>
                <a:gd name="connsiteY40" fmla="*/ 2470 h 10000"/>
                <a:gd name="connsiteX41" fmla="*/ 8095 w 10000"/>
                <a:gd name="connsiteY41" fmla="*/ 2733 h 10000"/>
                <a:gd name="connsiteX42" fmla="*/ 8072 w 10000"/>
                <a:gd name="connsiteY42" fmla="*/ 2935 h 10000"/>
                <a:gd name="connsiteX43" fmla="*/ 7727 w 10000"/>
                <a:gd name="connsiteY43" fmla="*/ 3170 h 10000"/>
                <a:gd name="connsiteX44" fmla="*/ 7566 w 10000"/>
                <a:gd name="connsiteY44" fmla="*/ 3567 h 10000"/>
                <a:gd name="connsiteX45" fmla="*/ 7153 w 10000"/>
                <a:gd name="connsiteY45" fmla="*/ 2770 h 10000"/>
                <a:gd name="connsiteX46" fmla="*/ 6992 w 10000"/>
                <a:gd name="connsiteY46" fmla="*/ 3037 h 10000"/>
                <a:gd name="connsiteX47" fmla="*/ 7221 w 10000"/>
                <a:gd name="connsiteY47" fmla="*/ 3369 h 10000"/>
                <a:gd name="connsiteX48" fmla="*/ 7038 w 10000"/>
                <a:gd name="connsiteY48" fmla="*/ 3601 h 10000"/>
                <a:gd name="connsiteX49" fmla="*/ 7083 w 10000"/>
                <a:gd name="connsiteY49" fmla="*/ 3767 h 10000"/>
                <a:gd name="connsiteX50" fmla="*/ 6717 w 10000"/>
                <a:gd name="connsiteY50" fmla="*/ 4166 h 10000"/>
                <a:gd name="connsiteX51" fmla="*/ 6327 w 10000"/>
                <a:gd name="connsiteY51" fmla="*/ 3836 h 10000"/>
                <a:gd name="connsiteX52" fmla="*/ 5272 w 10000"/>
                <a:gd name="connsiteY52" fmla="*/ 4668 h 10000"/>
                <a:gd name="connsiteX53" fmla="*/ 5179 w 10000"/>
                <a:gd name="connsiteY53" fmla="*/ 4302 h 10000"/>
                <a:gd name="connsiteX54" fmla="*/ 5041 w 10000"/>
                <a:gd name="connsiteY54" fmla="*/ 4068 h 10000"/>
                <a:gd name="connsiteX55" fmla="*/ 5087 w 10000"/>
                <a:gd name="connsiteY55" fmla="*/ 3799 h 10000"/>
                <a:gd name="connsiteX56" fmla="*/ 4948 w 10000"/>
                <a:gd name="connsiteY56" fmla="*/ 3536 h 10000"/>
                <a:gd name="connsiteX57" fmla="*/ 4742 w 10000"/>
                <a:gd name="connsiteY57" fmla="*/ 3503 h 10000"/>
                <a:gd name="connsiteX58" fmla="*/ 4788 w 10000"/>
                <a:gd name="connsiteY58" fmla="*/ 3135 h 10000"/>
                <a:gd name="connsiteX59" fmla="*/ 4626 w 10000"/>
                <a:gd name="connsiteY59" fmla="*/ 3002 h 10000"/>
                <a:gd name="connsiteX60" fmla="*/ 4466 w 10000"/>
                <a:gd name="connsiteY60" fmla="*/ 2536 h 10000"/>
                <a:gd name="connsiteX61" fmla="*/ 4259 w 10000"/>
                <a:gd name="connsiteY61" fmla="*/ 2536 h 10000"/>
                <a:gd name="connsiteX62" fmla="*/ 4054 w 10000"/>
                <a:gd name="connsiteY62" fmla="*/ 2301 h 10000"/>
                <a:gd name="connsiteX63" fmla="*/ 4054 w 10000"/>
                <a:gd name="connsiteY63" fmla="*/ 2201 h 10000"/>
                <a:gd name="connsiteX64" fmla="*/ 3869 w 10000"/>
                <a:gd name="connsiteY64" fmla="*/ 2335 h 10000"/>
                <a:gd name="connsiteX65" fmla="*/ 3640 w 10000"/>
                <a:gd name="connsiteY65" fmla="*/ 2104 h 10000"/>
                <a:gd name="connsiteX66" fmla="*/ 3755 w 10000"/>
                <a:gd name="connsiteY66" fmla="*/ 1768 h 10000"/>
                <a:gd name="connsiteX67" fmla="*/ 3570 w 10000"/>
                <a:gd name="connsiteY67" fmla="*/ 1501 h 10000"/>
                <a:gd name="connsiteX68" fmla="*/ 3711 w 10000"/>
                <a:gd name="connsiteY68" fmla="*/ 1104 h 10000"/>
                <a:gd name="connsiteX69" fmla="*/ 3250 w 10000"/>
                <a:gd name="connsiteY69" fmla="*/ 568 h 10000"/>
                <a:gd name="connsiteX70" fmla="*/ 2975 w 10000"/>
                <a:gd name="connsiteY70" fmla="*/ 736 h 10000"/>
                <a:gd name="connsiteX71" fmla="*/ 2446 w 10000"/>
                <a:gd name="connsiteY71" fmla="*/ 436 h 10000"/>
                <a:gd name="connsiteX72" fmla="*/ 2239 w 10000"/>
                <a:gd name="connsiteY72" fmla="*/ 632 h 10000"/>
                <a:gd name="connsiteX73" fmla="*/ 1734 w 10000"/>
                <a:gd name="connsiteY73" fmla="*/ 36 h 10000"/>
                <a:gd name="connsiteX74" fmla="*/ 1321 w 10000"/>
                <a:gd name="connsiteY74" fmla="*/ 869 h 10000"/>
                <a:gd name="connsiteX75" fmla="*/ 1321 w 10000"/>
                <a:gd name="connsiteY75" fmla="*/ 1368 h 10000"/>
                <a:gd name="connsiteX76" fmla="*/ 1022 w 10000"/>
                <a:gd name="connsiteY76" fmla="*/ 969 h 10000"/>
                <a:gd name="connsiteX77" fmla="*/ 679 w 10000"/>
                <a:gd name="connsiteY77" fmla="*/ 1634 h 10000"/>
                <a:gd name="connsiteX78" fmla="*/ 933 w 10000"/>
                <a:gd name="connsiteY78" fmla="*/ 2167 h 10000"/>
                <a:gd name="connsiteX79" fmla="*/ 471 w 10000"/>
                <a:gd name="connsiteY79" fmla="*/ 2801 h 10000"/>
                <a:gd name="connsiteX80" fmla="*/ 427 w 10000"/>
                <a:gd name="connsiteY80" fmla="*/ 2801 h 10000"/>
                <a:gd name="connsiteX81" fmla="*/ 609 w 10000"/>
                <a:gd name="connsiteY81" fmla="*/ 3170 h 10000"/>
                <a:gd name="connsiteX82" fmla="*/ 379 w 10000"/>
                <a:gd name="connsiteY82" fmla="*/ 3536 h 10000"/>
                <a:gd name="connsiteX83" fmla="*/ 539 w 10000"/>
                <a:gd name="connsiteY83" fmla="*/ 3767 h 10000"/>
                <a:gd name="connsiteX84" fmla="*/ 471 w 10000"/>
                <a:gd name="connsiteY84" fmla="*/ 4135 h 10000"/>
                <a:gd name="connsiteX85" fmla="*/ 379 w 10000"/>
                <a:gd name="connsiteY85" fmla="*/ 4338 h 10000"/>
                <a:gd name="connsiteX86" fmla="*/ 539 w 10000"/>
                <a:gd name="connsiteY86" fmla="*/ 4737 h 10000"/>
                <a:gd name="connsiteX87" fmla="*/ 266 w 10000"/>
                <a:gd name="connsiteY87" fmla="*/ 5366 h 10000"/>
                <a:gd name="connsiteX88" fmla="*/ 471 w 10000"/>
                <a:gd name="connsiteY88" fmla="*/ 5736 h 10000"/>
                <a:gd name="connsiteX89" fmla="*/ 105 w 10000"/>
                <a:gd name="connsiteY89" fmla="*/ 6368 h 10000"/>
                <a:gd name="connsiteX90" fmla="*/ 288 w 10000"/>
                <a:gd name="connsiteY90" fmla="*/ 6701 h 10000"/>
                <a:gd name="connsiteX91" fmla="*/ 12 w 10000"/>
                <a:gd name="connsiteY91" fmla="*/ 7236 h 10000"/>
                <a:gd name="connsiteX92" fmla="*/ 379 w 10000"/>
                <a:gd name="connsiteY92" fmla="*/ 7433 h 10000"/>
                <a:gd name="connsiteX93" fmla="*/ 266 w 10000"/>
                <a:gd name="connsiteY93" fmla="*/ 7869 h 10000"/>
                <a:gd name="connsiteX94" fmla="*/ 357 w 10000"/>
                <a:gd name="connsiteY94" fmla="*/ 8368 h 10000"/>
                <a:gd name="connsiteX95" fmla="*/ 982 w 10000"/>
                <a:gd name="connsiteY95" fmla="*/ 7910 h 10000"/>
                <a:gd name="connsiteX96" fmla="*/ 1342 w 10000"/>
                <a:gd name="connsiteY96" fmla="*/ 7507 h 10000"/>
                <a:gd name="connsiteX97" fmla="*/ 1775 w 10000"/>
                <a:gd name="connsiteY97" fmla="*/ 7515 h 10000"/>
                <a:gd name="connsiteX98" fmla="*/ 2239 w 10000"/>
                <a:gd name="connsiteY98" fmla="*/ 7275 h 10000"/>
                <a:gd name="connsiteX99" fmla="*/ 2810 w 10000"/>
                <a:gd name="connsiteY99" fmla="*/ 6897 h 10000"/>
                <a:gd name="connsiteX100" fmla="*/ 2997 w 10000"/>
                <a:gd name="connsiteY100" fmla="*/ 6607 h 10000"/>
                <a:gd name="connsiteX101" fmla="*/ 3386 w 10000"/>
                <a:gd name="connsiteY101" fmla="*/ 6050 h 10000"/>
                <a:gd name="connsiteX102" fmla="*/ 4023 w 10000"/>
                <a:gd name="connsiteY102" fmla="*/ 6438 h 10000"/>
                <a:gd name="connsiteX103" fmla="*/ 4296 w 10000"/>
                <a:gd name="connsiteY103" fmla="*/ 6413 h 10000"/>
                <a:gd name="connsiteX104" fmla="*/ 4241 w 10000"/>
                <a:gd name="connsiteY104" fmla="*/ 5933 h 10000"/>
                <a:gd name="connsiteX105" fmla="*/ 4282 w 10000"/>
                <a:gd name="connsiteY105" fmla="*/ 5319 h 10000"/>
                <a:gd name="connsiteX106" fmla="*/ 4895 w 10000"/>
                <a:gd name="connsiteY106" fmla="*/ 5179 h 10000"/>
                <a:gd name="connsiteX107" fmla="*/ 4809 w 10000"/>
                <a:gd name="connsiteY107" fmla="*/ 5912 h 10000"/>
                <a:gd name="connsiteX0" fmla="*/ 3755 w 10000"/>
                <a:gd name="connsiteY0" fmla="*/ 9665 h 9665"/>
                <a:gd name="connsiteX1" fmla="*/ 3800 w 10000"/>
                <a:gd name="connsiteY1" fmla="*/ 9370 h 9665"/>
                <a:gd name="connsiteX2" fmla="*/ 4076 w 10000"/>
                <a:gd name="connsiteY2" fmla="*/ 8800 h 9665"/>
                <a:gd name="connsiteX3" fmla="*/ 4626 w 10000"/>
                <a:gd name="connsiteY3" fmla="*/ 8501 h 9665"/>
                <a:gd name="connsiteX4" fmla="*/ 4720 w 10000"/>
                <a:gd name="connsiteY4" fmla="*/ 8634 h 9665"/>
                <a:gd name="connsiteX5" fmla="*/ 4650 w 10000"/>
                <a:gd name="connsiteY5" fmla="*/ 8735 h 9665"/>
                <a:gd name="connsiteX6" fmla="*/ 4811 w 10000"/>
                <a:gd name="connsiteY6" fmla="*/ 8934 h 9665"/>
                <a:gd name="connsiteX7" fmla="*/ 4994 w 10000"/>
                <a:gd name="connsiteY7" fmla="*/ 8667 h 9665"/>
                <a:gd name="connsiteX8" fmla="*/ 5202 w 10000"/>
                <a:gd name="connsiteY8" fmla="*/ 8434 h 9665"/>
                <a:gd name="connsiteX9" fmla="*/ 5636 w 10000"/>
                <a:gd name="connsiteY9" fmla="*/ 7469 h 9665"/>
                <a:gd name="connsiteX10" fmla="*/ 5984 w 10000"/>
                <a:gd name="connsiteY10" fmla="*/ 7769 h 9665"/>
                <a:gd name="connsiteX11" fmla="*/ 5958 w 10000"/>
                <a:gd name="connsiteY11" fmla="*/ 7536 h 9665"/>
                <a:gd name="connsiteX12" fmla="*/ 6188 w 10000"/>
                <a:gd name="connsiteY12" fmla="*/ 7301 h 9665"/>
                <a:gd name="connsiteX13" fmla="*/ 6417 w 10000"/>
                <a:gd name="connsiteY13" fmla="*/ 7469 h 9665"/>
                <a:gd name="connsiteX14" fmla="*/ 6188 w 10000"/>
                <a:gd name="connsiteY14" fmla="*/ 6802 h 9665"/>
                <a:gd name="connsiteX15" fmla="*/ 6327 w 10000"/>
                <a:gd name="connsiteY15" fmla="*/ 6535 h 9665"/>
                <a:gd name="connsiteX16" fmla="*/ 6810 w 10000"/>
                <a:gd name="connsiteY16" fmla="*/ 6335 h 9665"/>
                <a:gd name="connsiteX17" fmla="*/ 6763 w 10000"/>
                <a:gd name="connsiteY17" fmla="*/ 6268 h 9665"/>
                <a:gd name="connsiteX18" fmla="*/ 7132 w 10000"/>
                <a:gd name="connsiteY18" fmla="*/ 5768 h 9665"/>
                <a:gd name="connsiteX19" fmla="*/ 7406 w 10000"/>
                <a:gd name="connsiteY19" fmla="*/ 5500 h 9665"/>
                <a:gd name="connsiteX20" fmla="*/ 8095 w 10000"/>
                <a:gd name="connsiteY20" fmla="*/ 4968 h 9665"/>
                <a:gd name="connsiteX21" fmla="*/ 8302 w 10000"/>
                <a:gd name="connsiteY21" fmla="*/ 4636 h 9665"/>
                <a:gd name="connsiteX22" fmla="*/ 8714 w 10000"/>
                <a:gd name="connsiteY22" fmla="*/ 4000 h 9665"/>
                <a:gd name="connsiteX23" fmla="*/ 9449 w 10000"/>
                <a:gd name="connsiteY23" fmla="*/ 3434 h 9665"/>
                <a:gd name="connsiteX24" fmla="*/ 9494 w 10000"/>
                <a:gd name="connsiteY24" fmla="*/ 3200 h 9665"/>
                <a:gd name="connsiteX25" fmla="*/ 9793 w 10000"/>
                <a:gd name="connsiteY25" fmla="*/ 2836 h 9665"/>
                <a:gd name="connsiteX26" fmla="*/ 10000 w 10000"/>
                <a:gd name="connsiteY26" fmla="*/ 2400 h 9665"/>
                <a:gd name="connsiteX27" fmla="*/ 9678 w 10000"/>
                <a:gd name="connsiteY27" fmla="*/ 1999 h 9665"/>
                <a:gd name="connsiteX28" fmla="*/ 9265 w 10000"/>
                <a:gd name="connsiteY28" fmla="*/ 2400 h 9665"/>
                <a:gd name="connsiteX29" fmla="*/ 9059 w 10000"/>
                <a:gd name="connsiteY29" fmla="*/ 2235 h 9665"/>
                <a:gd name="connsiteX30" fmla="*/ 8875 w 10000"/>
                <a:gd name="connsiteY30" fmla="*/ 1902 h 9665"/>
                <a:gd name="connsiteX31" fmla="*/ 9012 w 10000"/>
                <a:gd name="connsiteY31" fmla="*/ 1634 h 9665"/>
                <a:gd name="connsiteX32" fmla="*/ 8691 w 10000"/>
                <a:gd name="connsiteY32" fmla="*/ 1268 h 9665"/>
                <a:gd name="connsiteX33" fmla="*/ 8553 w 10000"/>
                <a:gd name="connsiteY33" fmla="*/ 1402 h 9665"/>
                <a:gd name="connsiteX34" fmla="*/ 8253 w 10000"/>
                <a:gd name="connsiteY34" fmla="*/ 1472 h 9665"/>
                <a:gd name="connsiteX35" fmla="*/ 8279 w 10000"/>
                <a:gd name="connsiteY35" fmla="*/ 1836 h 9665"/>
                <a:gd name="connsiteX36" fmla="*/ 8369 w 10000"/>
                <a:gd name="connsiteY36" fmla="*/ 1934 h 9665"/>
                <a:gd name="connsiteX37" fmla="*/ 8302 w 10000"/>
                <a:gd name="connsiteY37" fmla="*/ 2201 h 9665"/>
                <a:gd name="connsiteX38" fmla="*/ 8117 w 10000"/>
                <a:gd name="connsiteY38" fmla="*/ 2269 h 9665"/>
                <a:gd name="connsiteX39" fmla="*/ 7933 w 10000"/>
                <a:gd name="connsiteY39" fmla="*/ 2470 h 9665"/>
                <a:gd name="connsiteX40" fmla="*/ 8095 w 10000"/>
                <a:gd name="connsiteY40" fmla="*/ 2733 h 9665"/>
                <a:gd name="connsiteX41" fmla="*/ 8072 w 10000"/>
                <a:gd name="connsiteY41" fmla="*/ 2935 h 9665"/>
                <a:gd name="connsiteX42" fmla="*/ 7727 w 10000"/>
                <a:gd name="connsiteY42" fmla="*/ 3170 h 9665"/>
                <a:gd name="connsiteX43" fmla="*/ 7566 w 10000"/>
                <a:gd name="connsiteY43" fmla="*/ 3567 h 9665"/>
                <a:gd name="connsiteX44" fmla="*/ 7153 w 10000"/>
                <a:gd name="connsiteY44" fmla="*/ 2770 h 9665"/>
                <a:gd name="connsiteX45" fmla="*/ 6992 w 10000"/>
                <a:gd name="connsiteY45" fmla="*/ 3037 h 9665"/>
                <a:gd name="connsiteX46" fmla="*/ 7221 w 10000"/>
                <a:gd name="connsiteY46" fmla="*/ 3369 h 9665"/>
                <a:gd name="connsiteX47" fmla="*/ 7038 w 10000"/>
                <a:gd name="connsiteY47" fmla="*/ 3601 h 9665"/>
                <a:gd name="connsiteX48" fmla="*/ 7083 w 10000"/>
                <a:gd name="connsiteY48" fmla="*/ 3767 h 9665"/>
                <a:gd name="connsiteX49" fmla="*/ 6717 w 10000"/>
                <a:gd name="connsiteY49" fmla="*/ 4166 h 9665"/>
                <a:gd name="connsiteX50" fmla="*/ 6327 w 10000"/>
                <a:gd name="connsiteY50" fmla="*/ 3836 h 9665"/>
                <a:gd name="connsiteX51" fmla="*/ 5272 w 10000"/>
                <a:gd name="connsiteY51" fmla="*/ 4668 h 9665"/>
                <a:gd name="connsiteX52" fmla="*/ 5179 w 10000"/>
                <a:gd name="connsiteY52" fmla="*/ 4302 h 9665"/>
                <a:gd name="connsiteX53" fmla="*/ 5041 w 10000"/>
                <a:gd name="connsiteY53" fmla="*/ 4068 h 9665"/>
                <a:gd name="connsiteX54" fmla="*/ 5087 w 10000"/>
                <a:gd name="connsiteY54" fmla="*/ 3799 h 9665"/>
                <a:gd name="connsiteX55" fmla="*/ 4948 w 10000"/>
                <a:gd name="connsiteY55" fmla="*/ 3536 h 9665"/>
                <a:gd name="connsiteX56" fmla="*/ 4742 w 10000"/>
                <a:gd name="connsiteY56" fmla="*/ 3503 h 9665"/>
                <a:gd name="connsiteX57" fmla="*/ 4788 w 10000"/>
                <a:gd name="connsiteY57" fmla="*/ 3135 h 9665"/>
                <a:gd name="connsiteX58" fmla="*/ 4626 w 10000"/>
                <a:gd name="connsiteY58" fmla="*/ 3002 h 9665"/>
                <a:gd name="connsiteX59" fmla="*/ 4466 w 10000"/>
                <a:gd name="connsiteY59" fmla="*/ 2536 h 9665"/>
                <a:gd name="connsiteX60" fmla="*/ 4259 w 10000"/>
                <a:gd name="connsiteY60" fmla="*/ 2536 h 9665"/>
                <a:gd name="connsiteX61" fmla="*/ 4054 w 10000"/>
                <a:gd name="connsiteY61" fmla="*/ 2301 h 9665"/>
                <a:gd name="connsiteX62" fmla="*/ 4054 w 10000"/>
                <a:gd name="connsiteY62" fmla="*/ 2201 h 9665"/>
                <a:gd name="connsiteX63" fmla="*/ 3869 w 10000"/>
                <a:gd name="connsiteY63" fmla="*/ 2335 h 9665"/>
                <a:gd name="connsiteX64" fmla="*/ 3640 w 10000"/>
                <a:gd name="connsiteY64" fmla="*/ 2104 h 9665"/>
                <a:gd name="connsiteX65" fmla="*/ 3755 w 10000"/>
                <a:gd name="connsiteY65" fmla="*/ 1768 h 9665"/>
                <a:gd name="connsiteX66" fmla="*/ 3570 w 10000"/>
                <a:gd name="connsiteY66" fmla="*/ 1501 h 9665"/>
                <a:gd name="connsiteX67" fmla="*/ 3711 w 10000"/>
                <a:gd name="connsiteY67" fmla="*/ 1104 h 9665"/>
                <a:gd name="connsiteX68" fmla="*/ 3250 w 10000"/>
                <a:gd name="connsiteY68" fmla="*/ 568 h 9665"/>
                <a:gd name="connsiteX69" fmla="*/ 2975 w 10000"/>
                <a:gd name="connsiteY69" fmla="*/ 736 h 9665"/>
                <a:gd name="connsiteX70" fmla="*/ 2446 w 10000"/>
                <a:gd name="connsiteY70" fmla="*/ 436 h 9665"/>
                <a:gd name="connsiteX71" fmla="*/ 2239 w 10000"/>
                <a:gd name="connsiteY71" fmla="*/ 632 h 9665"/>
                <a:gd name="connsiteX72" fmla="*/ 1734 w 10000"/>
                <a:gd name="connsiteY72" fmla="*/ 36 h 9665"/>
                <a:gd name="connsiteX73" fmla="*/ 1321 w 10000"/>
                <a:gd name="connsiteY73" fmla="*/ 869 h 9665"/>
                <a:gd name="connsiteX74" fmla="*/ 1321 w 10000"/>
                <a:gd name="connsiteY74" fmla="*/ 1368 h 9665"/>
                <a:gd name="connsiteX75" fmla="*/ 1022 w 10000"/>
                <a:gd name="connsiteY75" fmla="*/ 969 h 9665"/>
                <a:gd name="connsiteX76" fmla="*/ 679 w 10000"/>
                <a:gd name="connsiteY76" fmla="*/ 1634 h 9665"/>
                <a:gd name="connsiteX77" fmla="*/ 933 w 10000"/>
                <a:gd name="connsiteY77" fmla="*/ 2167 h 9665"/>
                <a:gd name="connsiteX78" fmla="*/ 471 w 10000"/>
                <a:gd name="connsiteY78" fmla="*/ 2801 h 9665"/>
                <a:gd name="connsiteX79" fmla="*/ 427 w 10000"/>
                <a:gd name="connsiteY79" fmla="*/ 2801 h 9665"/>
                <a:gd name="connsiteX80" fmla="*/ 609 w 10000"/>
                <a:gd name="connsiteY80" fmla="*/ 3170 h 9665"/>
                <a:gd name="connsiteX81" fmla="*/ 379 w 10000"/>
                <a:gd name="connsiteY81" fmla="*/ 3536 h 9665"/>
                <a:gd name="connsiteX82" fmla="*/ 539 w 10000"/>
                <a:gd name="connsiteY82" fmla="*/ 3767 h 9665"/>
                <a:gd name="connsiteX83" fmla="*/ 471 w 10000"/>
                <a:gd name="connsiteY83" fmla="*/ 4135 h 9665"/>
                <a:gd name="connsiteX84" fmla="*/ 379 w 10000"/>
                <a:gd name="connsiteY84" fmla="*/ 4338 h 9665"/>
                <a:gd name="connsiteX85" fmla="*/ 539 w 10000"/>
                <a:gd name="connsiteY85" fmla="*/ 4737 h 9665"/>
                <a:gd name="connsiteX86" fmla="*/ 266 w 10000"/>
                <a:gd name="connsiteY86" fmla="*/ 5366 h 9665"/>
                <a:gd name="connsiteX87" fmla="*/ 471 w 10000"/>
                <a:gd name="connsiteY87" fmla="*/ 5736 h 9665"/>
                <a:gd name="connsiteX88" fmla="*/ 105 w 10000"/>
                <a:gd name="connsiteY88" fmla="*/ 6368 h 9665"/>
                <a:gd name="connsiteX89" fmla="*/ 288 w 10000"/>
                <a:gd name="connsiteY89" fmla="*/ 6701 h 9665"/>
                <a:gd name="connsiteX90" fmla="*/ 12 w 10000"/>
                <a:gd name="connsiteY90" fmla="*/ 7236 h 9665"/>
                <a:gd name="connsiteX91" fmla="*/ 379 w 10000"/>
                <a:gd name="connsiteY91" fmla="*/ 7433 h 9665"/>
                <a:gd name="connsiteX92" fmla="*/ 266 w 10000"/>
                <a:gd name="connsiteY92" fmla="*/ 7869 h 9665"/>
                <a:gd name="connsiteX93" fmla="*/ 357 w 10000"/>
                <a:gd name="connsiteY93" fmla="*/ 8368 h 9665"/>
                <a:gd name="connsiteX94" fmla="*/ 982 w 10000"/>
                <a:gd name="connsiteY94" fmla="*/ 7910 h 9665"/>
                <a:gd name="connsiteX95" fmla="*/ 1342 w 10000"/>
                <a:gd name="connsiteY95" fmla="*/ 7507 h 9665"/>
                <a:gd name="connsiteX96" fmla="*/ 1775 w 10000"/>
                <a:gd name="connsiteY96" fmla="*/ 7515 h 9665"/>
                <a:gd name="connsiteX97" fmla="*/ 2239 w 10000"/>
                <a:gd name="connsiteY97" fmla="*/ 7275 h 9665"/>
                <a:gd name="connsiteX98" fmla="*/ 2810 w 10000"/>
                <a:gd name="connsiteY98" fmla="*/ 6897 h 9665"/>
                <a:gd name="connsiteX99" fmla="*/ 2997 w 10000"/>
                <a:gd name="connsiteY99" fmla="*/ 6607 h 9665"/>
                <a:gd name="connsiteX100" fmla="*/ 3386 w 10000"/>
                <a:gd name="connsiteY100" fmla="*/ 6050 h 9665"/>
                <a:gd name="connsiteX101" fmla="*/ 4023 w 10000"/>
                <a:gd name="connsiteY101" fmla="*/ 6438 h 9665"/>
                <a:gd name="connsiteX102" fmla="*/ 4296 w 10000"/>
                <a:gd name="connsiteY102" fmla="*/ 6413 h 9665"/>
                <a:gd name="connsiteX103" fmla="*/ 4241 w 10000"/>
                <a:gd name="connsiteY103" fmla="*/ 5933 h 9665"/>
                <a:gd name="connsiteX104" fmla="*/ 4282 w 10000"/>
                <a:gd name="connsiteY104" fmla="*/ 5319 h 9665"/>
                <a:gd name="connsiteX105" fmla="*/ 4895 w 10000"/>
                <a:gd name="connsiteY105" fmla="*/ 5179 h 9665"/>
                <a:gd name="connsiteX106" fmla="*/ 4809 w 10000"/>
                <a:gd name="connsiteY106" fmla="*/ 5912 h 9665"/>
                <a:gd name="connsiteX0" fmla="*/ 3800 w 10000"/>
                <a:gd name="connsiteY0" fmla="*/ 9695 h 9695"/>
                <a:gd name="connsiteX1" fmla="*/ 4076 w 10000"/>
                <a:gd name="connsiteY1" fmla="*/ 9105 h 9695"/>
                <a:gd name="connsiteX2" fmla="*/ 4626 w 10000"/>
                <a:gd name="connsiteY2" fmla="*/ 8796 h 9695"/>
                <a:gd name="connsiteX3" fmla="*/ 4720 w 10000"/>
                <a:gd name="connsiteY3" fmla="*/ 8933 h 9695"/>
                <a:gd name="connsiteX4" fmla="*/ 4650 w 10000"/>
                <a:gd name="connsiteY4" fmla="*/ 9038 h 9695"/>
                <a:gd name="connsiteX5" fmla="*/ 4811 w 10000"/>
                <a:gd name="connsiteY5" fmla="*/ 9244 h 9695"/>
                <a:gd name="connsiteX6" fmla="*/ 4994 w 10000"/>
                <a:gd name="connsiteY6" fmla="*/ 8967 h 9695"/>
                <a:gd name="connsiteX7" fmla="*/ 5202 w 10000"/>
                <a:gd name="connsiteY7" fmla="*/ 8726 h 9695"/>
                <a:gd name="connsiteX8" fmla="*/ 5636 w 10000"/>
                <a:gd name="connsiteY8" fmla="*/ 7728 h 9695"/>
                <a:gd name="connsiteX9" fmla="*/ 5984 w 10000"/>
                <a:gd name="connsiteY9" fmla="*/ 8038 h 9695"/>
                <a:gd name="connsiteX10" fmla="*/ 5958 w 10000"/>
                <a:gd name="connsiteY10" fmla="*/ 7797 h 9695"/>
                <a:gd name="connsiteX11" fmla="*/ 6188 w 10000"/>
                <a:gd name="connsiteY11" fmla="*/ 7554 h 9695"/>
                <a:gd name="connsiteX12" fmla="*/ 6417 w 10000"/>
                <a:gd name="connsiteY12" fmla="*/ 7728 h 9695"/>
                <a:gd name="connsiteX13" fmla="*/ 6188 w 10000"/>
                <a:gd name="connsiteY13" fmla="*/ 7038 h 9695"/>
                <a:gd name="connsiteX14" fmla="*/ 6327 w 10000"/>
                <a:gd name="connsiteY14" fmla="*/ 6762 h 9695"/>
                <a:gd name="connsiteX15" fmla="*/ 6810 w 10000"/>
                <a:gd name="connsiteY15" fmla="*/ 6555 h 9695"/>
                <a:gd name="connsiteX16" fmla="*/ 6763 w 10000"/>
                <a:gd name="connsiteY16" fmla="*/ 6485 h 9695"/>
                <a:gd name="connsiteX17" fmla="*/ 7132 w 10000"/>
                <a:gd name="connsiteY17" fmla="*/ 5968 h 9695"/>
                <a:gd name="connsiteX18" fmla="*/ 7406 w 10000"/>
                <a:gd name="connsiteY18" fmla="*/ 5691 h 9695"/>
                <a:gd name="connsiteX19" fmla="*/ 8095 w 10000"/>
                <a:gd name="connsiteY19" fmla="*/ 5140 h 9695"/>
                <a:gd name="connsiteX20" fmla="*/ 8302 w 10000"/>
                <a:gd name="connsiteY20" fmla="*/ 4797 h 9695"/>
                <a:gd name="connsiteX21" fmla="*/ 8714 w 10000"/>
                <a:gd name="connsiteY21" fmla="*/ 4139 h 9695"/>
                <a:gd name="connsiteX22" fmla="*/ 9449 w 10000"/>
                <a:gd name="connsiteY22" fmla="*/ 3553 h 9695"/>
                <a:gd name="connsiteX23" fmla="*/ 9494 w 10000"/>
                <a:gd name="connsiteY23" fmla="*/ 3311 h 9695"/>
                <a:gd name="connsiteX24" fmla="*/ 9793 w 10000"/>
                <a:gd name="connsiteY24" fmla="*/ 2934 h 9695"/>
                <a:gd name="connsiteX25" fmla="*/ 10000 w 10000"/>
                <a:gd name="connsiteY25" fmla="*/ 2483 h 9695"/>
                <a:gd name="connsiteX26" fmla="*/ 9678 w 10000"/>
                <a:gd name="connsiteY26" fmla="*/ 2068 h 9695"/>
                <a:gd name="connsiteX27" fmla="*/ 9265 w 10000"/>
                <a:gd name="connsiteY27" fmla="*/ 2483 h 9695"/>
                <a:gd name="connsiteX28" fmla="*/ 9059 w 10000"/>
                <a:gd name="connsiteY28" fmla="*/ 2312 h 9695"/>
                <a:gd name="connsiteX29" fmla="*/ 8875 w 10000"/>
                <a:gd name="connsiteY29" fmla="*/ 1968 h 9695"/>
                <a:gd name="connsiteX30" fmla="*/ 9012 w 10000"/>
                <a:gd name="connsiteY30" fmla="*/ 1691 h 9695"/>
                <a:gd name="connsiteX31" fmla="*/ 8691 w 10000"/>
                <a:gd name="connsiteY31" fmla="*/ 1312 h 9695"/>
                <a:gd name="connsiteX32" fmla="*/ 8553 w 10000"/>
                <a:gd name="connsiteY32" fmla="*/ 1451 h 9695"/>
                <a:gd name="connsiteX33" fmla="*/ 8253 w 10000"/>
                <a:gd name="connsiteY33" fmla="*/ 1523 h 9695"/>
                <a:gd name="connsiteX34" fmla="*/ 8279 w 10000"/>
                <a:gd name="connsiteY34" fmla="*/ 1900 h 9695"/>
                <a:gd name="connsiteX35" fmla="*/ 8369 w 10000"/>
                <a:gd name="connsiteY35" fmla="*/ 2001 h 9695"/>
                <a:gd name="connsiteX36" fmla="*/ 8302 w 10000"/>
                <a:gd name="connsiteY36" fmla="*/ 2277 h 9695"/>
                <a:gd name="connsiteX37" fmla="*/ 8117 w 10000"/>
                <a:gd name="connsiteY37" fmla="*/ 2348 h 9695"/>
                <a:gd name="connsiteX38" fmla="*/ 7933 w 10000"/>
                <a:gd name="connsiteY38" fmla="*/ 2556 h 9695"/>
                <a:gd name="connsiteX39" fmla="*/ 8095 w 10000"/>
                <a:gd name="connsiteY39" fmla="*/ 2828 h 9695"/>
                <a:gd name="connsiteX40" fmla="*/ 8072 w 10000"/>
                <a:gd name="connsiteY40" fmla="*/ 3037 h 9695"/>
                <a:gd name="connsiteX41" fmla="*/ 7727 w 10000"/>
                <a:gd name="connsiteY41" fmla="*/ 3280 h 9695"/>
                <a:gd name="connsiteX42" fmla="*/ 7566 w 10000"/>
                <a:gd name="connsiteY42" fmla="*/ 3691 h 9695"/>
                <a:gd name="connsiteX43" fmla="*/ 7153 w 10000"/>
                <a:gd name="connsiteY43" fmla="*/ 2866 h 9695"/>
                <a:gd name="connsiteX44" fmla="*/ 6992 w 10000"/>
                <a:gd name="connsiteY44" fmla="*/ 3142 h 9695"/>
                <a:gd name="connsiteX45" fmla="*/ 7221 w 10000"/>
                <a:gd name="connsiteY45" fmla="*/ 3486 h 9695"/>
                <a:gd name="connsiteX46" fmla="*/ 7038 w 10000"/>
                <a:gd name="connsiteY46" fmla="*/ 3726 h 9695"/>
                <a:gd name="connsiteX47" fmla="*/ 7083 w 10000"/>
                <a:gd name="connsiteY47" fmla="*/ 3898 h 9695"/>
                <a:gd name="connsiteX48" fmla="*/ 6717 w 10000"/>
                <a:gd name="connsiteY48" fmla="*/ 4310 h 9695"/>
                <a:gd name="connsiteX49" fmla="*/ 6327 w 10000"/>
                <a:gd name="connsiteY49" fmla="*/ 3969 h 9695"/>
                <a:gd name="connsiteX50" fmla="*/ 5272 w 10000"/>
                <a:gd name="connsiteY50" fmla="*/ 4830 h 9695"/>
                <a:gd name="connsiteX51" fmla="*/ 5179 w 10000"/>
                <a:gd name="connsiteY51" fmla="*/ 4451 h 9695"/>
                <a:gd name="connsiteX52" fmla="*/ 5041 w 10000"/>
                <a:gd name="connsiteY52" fmla="*/ 4209 h 9695"/>
                <a:gd name="connsiteX53" fmla="*/ 5087 w 10000"/>
                <a:gd name="connsiteY53" fmla="*/ 3931 h 9695"/>
                <a:gd name="connsiteX54" fmla="*/ 4948 w 10000"/>
                <a:gd name="connsiteY54" fmla="*/ 3659 h 9695"/>
                <a:gd name="connsiteX55" fmla="*/ 4742 w 10000"/>
                <a:gd name="connsiteY55" fmla="*/ 3624 h 9695"/>
                <a:gd name="connsiteX56" fmla="*/ 4788 w 10000"/>
                <a:gd name="connsiteY56" fmla="*/ 3244 h 9695"/>
                <a:gd name="connsiteX57" fmla="*/ 4626 w 10000"/>
                <a:gd name="connsiteY57" fmla="*/ 3106 h 9695"/>
                <a:gd name="connsiteX58" fmla="*/ 4466 w 10000"/>
                <a:gd name="connsiteY58" fmla="*/ 2624 h 9695"/>
                <a:gd name="connsiteX59" fmla="*/ 4259 w 10000"/>
                <a:gd name="connsiteY59" fmla="*/ 2624 h 9695"/>
                <a:gd name="connsiteX60" fmla="*/ 4054 w 10000"/>
                <a:gd name="connsiteY60" fmla="*/ 2381 h 9695"/>
                <a:gd name="connsiteX61" fmla="*/ 4054 w 10000"/>
                <a:gd name="connsiteY61" fmla="*/ 2277 h 9695"/>
                <a:gd name="connsiteX62" fmla="*/ 3869 w 10000"/>
                <a:gd name="connsiteY62" fmla="*/ 2416 h 9695"/>
                <a:gd name="connsiteX63" fmla="*/ 3640 w 10000"/>
                <a:gd name="connsiteY63" fmla="*/ 2177 h 9695"/>
                <a:gd name="connsiteX64" fmla="*/ 3755 w 10000"/>
                <a:gd name="connsiteY64" fmla="*/ 1829 h 9695"/>
                <a:gd name="connsiteX65" fmla="*/ 3570 w 10000"/>
                <a:gd name="connsiteY65" fmla="*/ 1553 h 9695"/>
                <a:gd name="connsiteX66" fmla="*/ 3711 w 10000"/>
                <a:gd name="connsiteY66" fmla="*/ 1142 h 9695"/>
                <a:gd name="connsiteX67" fmla="*/ 3250 w 10000"/>
                <a:gd name="connsiteY67" fmla="*/ 588 h 9695"/>
                <a:gd name="connsiteX68" fmla="*/ 2975 w 10000"/>
                <a:gd name="connsiteY68" fmla="*/ 762 h 9695"/>
                <a:gd name="connsiteX69" fmla="*/ 2446 w 10000"/>
                <a:gd name="connsiteY69" fmla="*/ 451 h 9695"/>
                <a:gd name="connsiteX70" fmla="*/ 2239 w 10000"/>
                <a:gd name="connsiteY70" fmla="*/ 654 h 9695"/>
                <a:gd name="connsiteX71" fmla="*/ 1734 w 10000"/>
                <a:gd name="connsiteY71" fmla="*/ 37 h 9695"/>
                <a:gd name="connsiteX72" fmla="*/ 1321 w 10000"/>
                <a:gd name="connsiteY72" fmla="*/ 899 h 9695"/>
                <a:gd name="connsiteX73" fmla="*/ 1321 w 10000"/>
                <a:gd name="connsiteY73" fmla="*/ 1415 h 9695"/>
                <a:gd name="connsiteX74" fmla="*/ 1022 w 10000"/>
                <a:gd name="connsiteY74" fmla="*/ 1003 h 9695"/>
                <a:gd name="connsiteX75" fmla="*/ 679 w 10000"/>
                <a:gd name="connsiteY75" fmla="*/ 1691 h 9695"/>
                <a:gd name="connsiteX76" fmla="*/ 933 w 10000"/>
                <a:gd name="connsiteY76" fmla="*/ 2242 h 9695"/>
                <a:gd name="connsiteX77" fmla="*/ 471 w 10000"/>
                <a:gd name="connsiteY77" fmla="*/ 2898 h 9695"/>
                <a:gd name="connsiteX78" fmla="*/ 427 w 10000"/>
                <a:gd name="connsiteY78" fmla="*/ 2898 h 9695"/>
                <a:gd name="connsiteX79" fmla="*/ 609 w 10000"/>
                <a:gd name="connsiteY79" fmla="*/ 3280 h 9695"/>
                <a:gd name="connsiteX80" fmla="*/ 379 w 10000"/>
                <a:gd name="connsiteY80" fmla="*/ 3659 h 9695"/>
                <a:gd name="connsiteX81" fmla="*/ 539 w 10000"/>
                <a:gd name="connsiteY81" fmla="*/ 3898 h 9695"/>
                <a:gd name="connsiteX82" fmla="*/ 471 w 10000"/>
                <a:gd name="connsiteY82" fmla="*/ 4278 h 9695"/>
                <a:gd name="connsiteX83" fmla="*/ 379 w 10000"/>
                <a:gd name="connsiteY83" fmla="*/ 4488 h 9695"/>
                <a:gd name="connsiteX84" fmla="*/ 539 w 10000"/>
                <a:gd name="connsiteY84" fmla="*/ 4901 h 9695"/>
                <a:gd name="connsiteX85" fmla="*/ 266 w 10000"/>
                <a:gd name="connsiteY85" fmla="*/ 5552 h 9695"/>
                <a:gd name="connsiteX86" fmla="*/ 471 w 10000"/>
                <a:gd name="connsiteY86" fmla="*/ 5935 h 9695"/>
                <a:gd name="connsiteX87" fmla="*/ 105 w 10000"/>
                <a:gd name="connsiteY87" fmla="*/ 6589 h 9695"/>
                <a:gd name="connsiteX88" fmla="*/ 288 w 10000"/>
                <a:gd name="connsiteY88" fmla="*/ 6933 h 9695"/>
                <a:gd name="connsiteX89" fmla="*/ 12 w 10000"/>
                <a:gd name="connsiteY89" fmla="*/ 7487 h 9695"/>
                <a:gd name="connsiteX90" fmla="*/ 379 w 10000"/>
                <a:gd name="connsiteY90" fmla="*/ 7691 h 9695"/>
                <a:gd name="connsiteX91" fmla="*/ 266 w 10000"/>
                <a:gd name="connsiteY91" fmla="*/ 8142 h 9695"/>
                <a:gd name="connsiteX92" fmla="*/ 357 w 10000"/>
                <a:gd name="connsiteY92" fmla="*/ 8658 h 9695"/>
                <a:gd name="connsiteX93" fmla="*/ 982 w 10000"/>
                <a:gd name="connsiteY93" fmla="*/ 8184 h 9695"/>
                <a:gd name="connsiteX94" fmla="*/ 1342 w 10000"/>
                <a:gd name="connsiteY94" fmla="*/ 7767 h 9695"/>
                <a:gd name="connsiteX95" fmla="*/ 1775 w 10000"/>
                <a:gd name="connsiteY95" fmla="*/ 7775 h 9695"/>
                <a:gd name="connsiteX96" fmla="*/ 2239 w 10000"/>
                <a:gd name="connsiteY96" fmla="*/ 7527 h 9695"/>
                <a:gd name="connsiteX97" fmla="*/ 2810 w 10000"/>
                <a:gd name="connsiteY97" fmla="*/ 7136 h 9695"/>
                <a:gd name="connsiteX98" fmla="*/ 2997 w 10000"/>
                <a:gd name="connsiteY98" fmla="*/ 6836 h 9695"/>
                <a:gd name="connsiteX99" fmla="*/ 3386 w 10000"/>
                <a:gd name="connsiteY99" fmla="*/ 6260 h 9695"/>
                <a:gd name="connsiteX100" fmla="*/ 4023 w 10000"/>
                <a:gd name="connsiteY100" fmla="*/ 6661 h 9695"/>
                <a:gd name="connsiteX101" fmla="*/ 4296 w 10000"/>
                <a:gd name="connsiteY101" fmla="*/ 6635 h 9695"/>
                <a:gd name="connsiteX102" fmla="*/ 4241 w 10000"/>
                <a:gd name="connsiteY102" fmla="*/ 6139 h 9695"/>
                <a:gd name="connsiteX103" fmla="*/ 4282 w 10000"/>
                <a:gd name="connsiteY103" fmla="*/ 5503 h 9695"/>
                <a:gd name="connsiteX104" fmla="*/ 4895 w 10000"/>
                <a:gd name="connsiteY104" fmla="*/ 5359 h 9695"/>
                <a:gd name="connsiteX105" fmla="*/ 4809 w 10000"/>
                <a:gd name="connsiteY105" fmla="*/ 6117 h 9695"/>
                <a:gd name="connsiteX0" fmla="*/ 4076 w 10000"/>
                <a:gd name="connsiteY0" fmla="*/ 9391 h 9535"/>
                <a:gd name="connsiteX1" fmla="*/ 4626 w 10000"/>
                <a:gd name="connsiteY1" fmla="*/ 9073 h 9535"/>
                <a:gd name="connsiteX2" fmla="*/ 4720 w 10000"/>
                <a:gd name="connsiteY2" fmla="*/ 9214 h 9535"/>
                <a:gd name="connsiteX3" fmla="*/ 4650 w 10000"/>
                <a:gd name="connsiteY3" fmla="*/ 9322 h 9535"/>
                <a:gd name="connsiteX4" fmla="*/ 4811 w 10000"/>
                <a:gd name="connsiteY4" fmla="*/ 9535 h 9535"/>
                <a:gd name="connsiteX5" fmla="*/ 4994 w 10000"/>
                <a:gd name="connsiteY5" fmla="*/ 9249 h 9535"/>
                <a:gd name="connsiteX6" fmla="*/ 5202 w 10000"/>
                <a:gd name="connsiteY6" fmla="*/ 9001 h 9535"/>
                <a:gd name="connsiteX7" fmla="*/ 5636 w 10000"/>
                <a:gd name="connsiteY7" fmla="*/ 7971 h 9535"/>
                <a:gd name="connsiteX8" fmla="*/ 5984 w 10000"/>
                <a:gd name="connsiteY8" fmla="*/ 8291 h 9535"/>
                <a:gd name="connsiteX9" fmla="*/ 5958 w 10000"/>
                <a:gd name="connsiteY9" fmla="*/ 8042 h 9535"/>
                <a:gd name="connsiteX10" fmla="*/ 6188 w 10000"/>
                <a:gd name="connsiteY10" fmla="*/ 7792 h 9535"/>
                <a:gd name="connsiteX11" fmla="*/ 6417 w 10000"/>
                <a:gd name="connsiteY11" fmla="*/ 7971 h 9535"/>
                <a:gd name="connsiteX12" fmla="*/ 6188 w 10000"/>
                <a:gd name="connsiteY12" fmla="*/ 7259 h 9535"/>
                <a:gd name="connsiteX13" fmla="*/ 6327 w 10000"/>
                <a:gd name="connsiteY13" fmla="*/ 6975 h 9535"/>
                <a:gd name="connsiteX14" fmla="*/ 6810 w 10000"/>
                <a:gd name="connsiteY14" fmla="*/ 6761 h 9535"/>
                <a:gd name="connsiteX15" fmla="*/ 6763 w 10000"/>
                <a:gd name="connsiteY15" fmla="*/ 6689 h 9535"/>
                <a:gd name="connsiteX16" fmla="*/ 7132 w 10000"/>
                <a:gd name="connsiteY16" fmla="*/ 6156 h 9535"/>
                <a:gd name="connsiteX17" fmla="*/ 7406 w 10000"/>
                <a:gd name="connsiteY17" fmla="*/ 5870 h 9535"/>
                <a:gd name="connsiteX18" fmla="*/ 8095 w 10000"/>
                <a:gd name="connsiteY18" fmla="*/ 5302 h 9535"/>
                <a:gd name="connsiteX19" fmla="*/ 8302 w 10000"/>
                <a:gd name="connsiteY19" fmla="*/ 4948 h 9535"/>
                <a:gd name="connsiteX20" fmla="*/ 8714 w 10000"/>
                <a:gd name="connsiteY20" fmla="*/ 4269 h 9535"/>
                <a:gd name="connsiteX21" fmla="*/ 9449 w 10000"/>
                <a:gd name="connsiteY21" fmla="*/ 3665 h 9535"/>
                <a:gd name="connsiteX22" fmla="*/ 9494 w 10000"/>
                <a:gd name="connsiteY22" fmla="*/ 3415 h 9535"/>
                <a:gd name="connsiteX23" fmla="*/ 9793 w 10000"/>
                <a:gd name="connsiteY23" fmla="*/ 3026 h 9535"/>
                <a:gd name="connsiteX24" fmla="*/ 10000 w 10000"/>
                <a:gd name="connsiteY24" fmla="*/ 2561 h 9535"/>
                <a:gd name="connsiteX25" fmla="*/ 9678 w 10000"/>
                <a:gd name="connsiteY25" fmla="*/ 2133 h 9535"/>
                <a:gd name="connsiteX26" fmla="*/ 9265 w 10000"/>
                <a:gd name="connsiteY26" fmla="*/ 2561 h 9535"/>
                <a:gd name="connsiteX27" fmla="*/ 9059 w 10000"/>
                <a:gd name="connsiteY27" fmla="*/ 2385 h 9535"/>
                <a:gd name="connsiteX28" fmla="*/ 8875 w 10000"/>
                <a:gd name="connsiteY28" fmla="*/ 2030 h 9535"/>
                <a:gd name="connsiteX29" fmla="*/ 9012 w 10000"/>
                <a:gd name="connsiteY29" fmla="*/ 1744 h 9535"/>
                <a:gd name="connsiteX30" fmla="*/ 8691 w 10000"/>
                <a:gd name="connsiteY30" fmla="*/ 1353 h 9535"/>
                <a:gd name="connsiteX31" fmla="*/ 8553 w 10000"/>
                <a:gd name="connsiteY31" fmla="*/ 1497 h 9535"/>
                <a:gd name="connsiteX32" fmla="*/ 8253 w 10000"/>
                <a:gd name="connsiteY32" fmla="*/ 1571 h 9535"/>
                <a:gd name="connsiteX33" fmla="*/ 8279 w 10000"/>
                <a:gd name="connsiteY33" fmla="*/ 1960 h 9535"/>
                <a:gd name="connsiteX34" fmla="*/ 8369 w 10000"/>
                <a:gd name="connsiteY34" fmla="*/ 2064 h 9535"/>
                <a:gd name="connsiteX35" fmla="*/ 8302 w 10000"/>
                <a:gd name="connsiteY35" fmla="*/ 2349 h 9535"/>
                <a:gd name="connsiteX36" fmla="*/ 8117 w 10000"/>
                <a:gd name="connsiteY36" fmla="*/ 2422 h 9535"/>
                <a:gd name="connsiteX37" fmla="*/ 7933 w 10000"/>
                <a:gd name="connsiteY37" fmla="*/ 2636 h 9535"/>
                <a:gd name="connsiteX38" fmla="*/ 8095 w 10000"/>
                <a:gd name="connsiteY38" fmla="*/ 2917 h 9535"/>
                <a:gd name="connsiteX39" fmla="*/ 8072 w 10000"/>
                <a:gd name="connsiteY39" fmla="*/ 3133 h 9535"/>
                <a:gd name="connsiteX40" fmla="*/ 7727 w 10000"/>
                <a:gd name="connsiteY40" fmla="*/ 3383 h 9535"/>
                <a:gd name="connsiteX41" fmla="*/ 7566 w 10000"/>
                <a:gd name="connsiteY41" fmla="*/ 3807 h 9535"/>
                <a:gd name="connsiteX42" fmla="*/ 7153 w 10000"/>
                <a:gd name="connsiteY42" fmla="*/ 2956 h 9535"/>
                <a:gd name="connsiteX43" fmla="*/ 6992 w 10000"/>
                <a:gd name="connsiteY43" fmla="*/ 3241 h 9535"/>
                <a:gd name="connsiteX44" fmla="*/ 7221 w 10000"/>
                <a:gd name="connsiteY44" fmla="*/ 3596 h 9535"/>
                <a:gd name="connsiteX45" fmla="*/ 7038 w 10000"/>
                <a:gd name="connsiteY45" fmla="*/ 3843 h 9535"/>
                <a:gd name="connsiteX46" fmla="*/ 7083 w 10000"/>
                <a:gd name="connsiteY46" fmla="*/ 4021 h 9535"/>
                <a:gd name="connsiteX47" fmla="*/ 6717 w 10000"/>
                <a:gd name="connsiteY47" fmla="*/ 4446 h 9535"/>
                <a:gd name="connsiteX48" fmla="*/ 6327 w 10000"/>
                <a:gd name="connsiteY48" fmla="*/ 4094 h 9535"/>
                <a:gd name="connsiteX49" fmla="*/ 5272 w 10000"/>
                <a:gd name="connsiteY49" fmla="*/ 4982 h 9535"/>
                <a:gd name="connsiteX50" fmla="*/ 5179 w 10000"/>
                <a:gd name="connsiteY50" fmla="*/ 4591 h 9535"/>
                <a:gd name="connsiteX51" fmla="*/ 5041 w 10000"/>
                <a:gd name="connsiteY51" fmla="*/ 4341 h 9535"/>
                <a:gd name="connsiteX52" fmla="*/ 5087 w 10000"/>
                <a:gd name="connsiteY52" fmla="*/ 4055 h 9535"/>
                <a:gd name="connsiteX53" fmla="*/ 4948 w 10000"/>
                <a:gd name="connsiteY53" fmla="*/ 3774 h 9535"/>
                <a:gd name="connsiteX54" fmla="*/ 4742 w 10000"/>
                <a:gd name="connsiteY54" fmla="*/ 3738 h 9535"/>
                <a:gd name="connsiteX55" fmla="*/ 4788 w 10000"/>
                <a:gd name="connsiteY55" fmla="*/ 3346 h 9535"/>
                <a:gd name="connsiteX56" fmla="*/ 4626 w 10000"/>
                <a:gd name="connsiteY56" fmla="*/ 3204 h 9535"/>
                <a:gd name="connsiteX57" fmla="*/ 4466 w 10000"/>
                <a:gd name="connsiteY57" fmla="*/ 2707 h 9535"/>
                <a:gd name="connsiteX58" fmla="*/ 4259 w 10000"/>
                <a:gd name="connsiteY58" fmla="*/ 2707 h 9535"/>
                <a:gd name="connsiteX59" fmla="*/ 4054 w 10000"/>
                <a:gd name="connsiteY59" fmla="*/ 2456 h 9535"/>
                <a:gd name="connsiteX60" fmla="*/ 4054 w 10000"/>
                <a:gd name="connsiteY60" fmla="*/ 2349 h 9535"/>
                <a:gd name="connsiteX61" fmla="*/ 3869 w 10000"/>
                <a:gd name="connsiteY61" fmla="*/ 2492 h 9535"/>
                <a:gd name="connsiteX62" fmla="*/ 3640 w 10000"/>
                <a:gd name="connsiteY62" fmla="*/ 2245 h 9535"/>
                <a:gd name="connsiteX63" fmla="*/ 3755 w 10000"/>
                <a:gd name="connsiteY63" fmla="*/ 1887 h 9535"/>
                <a:gd name="connsiteX64" fmla="*/ 3570 w 10000"/>
                <a:gd name="connsiteY64" fmla="*/ 1602 h 9535"/>
                <a:gd name="connsiteX65" fmla="*/ 3711 w 10000"/>
                <a:gd name="connsiteY65" fmla="*/ 1178 h 9535"/>
                <a:gd name="connsiteX66" fmla="*/ 3250 w 10000"/>
                <a:gd name="connsiteY66" fmla="*/ 606 h 9535"/>
                <a:gd name="connsiteX67" fmla="*/ 2975 w 10000"/>
                <a:gd name="connsiteY67" fmla="*/ 786 h 9535"/>
                <a:gd name="connsiteX68" fmla="*/ 2446 w 10000"/>
                <a:gd name="connsiteY68" fmla="*/ 465 h 9535"/>
                <a:gd name="connsiteX69" fmla="*/ 2239 w 10000"/>
                <a:gd name="connsiteY69" fmla="*/ 675 h 9535"/>
                <a:gd name="connsiteX70" fmla="*/ 1734 w 10000"/>
                <a:gd name="connsiteY70" fmla="*/ 38 h 9535"/>
                <a:gd name="connsiteX71" fmla="*/ 1321 w 10000"/>
                <a:gd name="connsiteY71" fmla="*/ 927 h 9535"/>
                <a:gd name="connsiteX72" fmla="*/ 1321 w 10000"/>
                <a:gd name="connsiteY72" fmla="*/ 1460 h 9535"/>
                <a:gd name="connsiteX73" fmla="*/ 1022 w 10000"/>
                <a:gd name="connsiteY73" fmla="*/ 1035 h 9535"/>
                <a:gd name="connsiteX74" fmla="*/ 679 w 10000"/>
                <a:gd name="connsiteY74" fmla="*/ 1744 h 9535"/>
                <a:gd name="connsiteX75" fmla="*/ 933 w 10000"/>
                <a:gd name="connsiteY75" fmla="*/ 2313 h 9535"/>
                <a:gd name="connsiteX76" fmla="*/ 471 w 10000"/>
                <a:gd name="connsiteY76" fmla="*/ 2989 h 9535"/>
                <a:gd name="connsiteX77" fmla="*/ 427 w 10000"/>
                <a:gd name="connsiteY77" fmla="*/ 2989 h 9535"/>
                <a:gd name="connsiteX78" fmla="*/ 609 w 10000"/>
                <a:gd name="connsiteY78" fmla="*/ 3383 h 9535"/>
                <a:gd name="connsiteX79" fmla="*/ 379 w 10000"/>
                <a:gd name="connsiteY79" fmla="*/ 3774 h 9535"/>
                <a:gd name="connsiteX80" fmla="*/ 539 w 10000"/>
                <a:gd name="connsiteY80" fmla="*/ 4021 h 9535"/>
                <a:gd name="connsiteX81" fmla="*/ 471 w 10000"/>
                <a:gd name="connsiteY81" fmla="*/ 4413 h 9535"/>
                <a:gd name="connsiteX82" fmla="*/ 379 w 10000"/>
                <a:gd name="connsiteY82" fmla="*/ 4629 h 9535"/>
                <a:gd name="connsiteX83" fmla="*/ 539 w 10000"/>
                <a:gd name="connsiteY83" fmla="*/ 5055 h 9535"/>
                <a:gd name="connsiteX84" fmla="*/ 266 w 10000"/>
                <a:gd name="connsiteY84" fmla="*/ 5727 h 9535"/>
                <a:gd name="connsiteX85" fmla="*/ 471 w 10000"/>
                <a:gd name="connsiteY85" fmla="*/ 6122 h 9535"/>
                <a:gd name="connsiteX86" fmla="*/ 105 w 10000"/>
                <a:gd name="connsiteY86" fmla="*/ 6796 h 9535"/>
                <a:gd name="connsiteX87" fmla="*/ 288 w 10000"/>
                <a:gd name="connsiteY87" fmla="*/ 7151 h 9535"/>
                <a:gd name="connsiteX88" fmla="*/ 12 w 10000"/>
                <a:gd name="connsiteY88" fmla="*/ 7723 h 9535"/>
                <a:gd name="connsiteX89" fmla="*/ 379 w 10000"/>
                <a:gd name="connsiteY89" fmla="*/ 7933 h 9535"/>
                <a:gd name="connsiteX90" fmla="*/ 266 w 10000"/>
                <a:gd name="connsiteY90" fmla="*/ 8398 h 9535"/>
                <a:gd name="connsiteX91" fmla="*/ 357 w 10000"/>
                <a:gd name="connsiteY91" fmla="*/ 8930 h 9535"/>
                <a:gd name="connsiteX92" fmla="*/ 982 w 10000"/>
                <a:gd name="connsiteY92" fmla="*/ 8441 h 9535"/>
                <a:gd name="connsiteX93" fmla="*/ 1342 w 10000"/>
                <a:gd name="connsiteY93" fmla="*/ 8011 h 9535"/>
                <a:gd name="connsiteX94" fmla="*/ 1775 w 10000"/>
                <a:gd name="connsiteY94" fmla="*/ 8020 h 9535"/>
                <a:gd name="connsiteX95" fmla="*/ 2239 w 10000"/>
                <a:gd name="connsiteY95" fmla="*/ 7764 h 9535"/>
                <a:gd name="connsiteX96" fmla="*/ 2810 w 10000"/>
                <a:gd name="connsiteY96" fmla="*/ 7360 h 9535"/>
                <a:gd name="connsiteX97" fmla="*/ 2997 w 10000"/>
                <a:gd name="connsiteY97" fmla="*/ 7051 h 9535"/>
                <a:gd name="connsiteX98" fmla="*/ 3386 w 10000"/>
                <a:gd name="connsiteY98" fmla="*/ 6457 h 9535"/>
                <a:gd name="connsiteX99" fmla="*/ 4023 w 10000"/>
                <a:gd name="connsiteY99" fmla="*/ 6871 h 9535"/>
                <a:gd name="connsiteX100" fmla="*/ 4296 w 10000"/>
                <a:gd name="connsiteY100" fmla="*/ 6844 h 9535"/>
                <a:gd name="connsiteX101" fmla="*/ 4241 w 10000"/>
                <a:gd name="connsiteY101" fmla="*/ 6332 h 9535"/>
                <a:gd name="connsiteX102" fmla="*/ 4282 w 10000"/>
                <a:gd name="connsiteY102" fmla="*/ 5676 h 9535"/>
                <a:gd name="connsiteX103" fmla="*/ 4895 w 10000"/>
                <a:gd name="connsiteY103" fmla="*/ 5528 h 9535"/>
                <a:gd name="connsiteX104" fmla="*/ 4809 w 10000"/>
                <a:gd name="connsiteY104" fmla="*/ 6309 h 9535"/>
                <a:gd name="connsiteX0" fmla="*/ 4626 w 10000"/>
                <a:gd name="connsiteY0" fmla="*/ 9515 h 10000"/>
                <a:gd name="connsiteX1" fmla="*/ 4720 w 10000"/>
                <a:gd name="connsiteY1" fmla="*/ 9663 h 10000"/>
                <a:gd name="connsiteX2" fmla="*/ 4650 w 10000"/>
                <a:gd name="connsiteY2" fmla="*/ 9777 h 10000"/>
                <a:gd name="connsiteX3" fmla="*/ 4811 w 10000"/>
                <a:gd name="connsiteY3" fmla="*/ 10000 h 10000"/>
                <a:gd name="connsiteX4" fmla="*/ 4994 w 10000"/>
                <a:gd name="connsiteY4" fmla="*/ 9700 h 10000"/>
                <a:gd name="connsiteX5" fmla="*/ 5202 w 10000"/>
                <a:gd name="connsiteY5" fmla="*/ 9440 h 10000"/>
                <a:gd name="connsiteX6" fmla="*/ 5636 w 10000"/>
                <a:gd name="connsiteY6" fmla="*/ 8360 h 10000"/>
                <a:gd name="connsiteX7" fmla="*/ 5984 w 10000"/>
                <a:gd name="connsiteY7" fmla="*/ 8695 h 10000"/>
                <a:gd name="connsiteX8" fmla="*/ 5958 w 10000"/>
                <a:gd name="connsiteY8" fmla="*/ 8434 h 10000"/>
                <a:gd name="connsiteX9" fmla="*/ 6188 w 10000"/>
                <a:gd name="connsiteY9" fmla="*/ 8172 h 10000"/>
                <a:gd name="connsiteX10" fmla="*/ 6417 w 10000"/>
                <a:gd name="connsiteY10" fmla="*/ 8360 h 10000"/>
                <a:gd name="connsiteX11" fmla="*/ 6188 w 10000"/>
                <a:gd name="connsiteY11" fmla="*/ 7613 h 10000"/>
                <a:gd name="connsiteX12" fmla="*/ 6327 w 10000"/>
                <a:gd name="connsiteY12" fmla="*/ 7315 h 10000"/>
                <a:gd name="connsiteX13" fmla="*/ 6810 w 10000"/>
                <a:gd name="connsiteY13" fmla="*/ 7091 h 10000"/>
                <a:gd name="connsiteX14" fmla="*/ 6763 w 10000"/>
                <a:gd name="connsiteY14" fmla="*/ 7015 h 10000"/>
                <a:gd name="connsiteX15" fmla="*/ 7132 w 10000"/>
                <a:gd name="connsiteY15" fmla="*/ 6456 h 10000"/>
                <a:gd name="connsiteX16" fmla="*/ 7406 w 10000"/>
                <a:gd name="connsiteY16" fmla="*/ 6156 h 10000"/>
                <a:gd name="connsiteX17" fmla="*/ 8095 w 10000"/>
                <a:gd name="connsiteY17" fmla="*/ 5561 h 10000"/>
                <a:gd name="connsiteX18" fmla="*/ 8302 w 10000"/>
                <a:gd name="connsiteY18" fmla="*/ 5189 h 10000"/>
                <a:gd name="connsiteX19" fmla="*/ 8714 w 10000"/>
                <a:gd name="connsiteY19" fmla="*/ 4477 h 10000"/>
                <a:gd name="connsiteX20" fmla="*/ 9449 w 10000"/>
                <a:gd name="connsiteY20" fmla="*/ 3844 h 10000"/>
                <a:gd name="connsiteX21" fmla="*/ 9494 w 10000"/>
                <a:gd name="connsiteY21" fmla="*/ 3582 h 10000"/>
                <a:gd name="connsiteX22" fmla="*/ 9793 w 10000"/>
                <a:gd name="connsiteY22" fmla="*/ 3174 h 10000"/>
                <a:gd name="connsiteX23" fmla="*/ 10000 w 10000"/>
                <a:gd name="connsiteY23" fmla="*/ 2686 h 10000"/>
                <a:gd name="connsiteX24" fmla="*/ 9678 w 10000"/>
                <a:gd name="connsiteY24" fmla="*/ 2237 h 10000"/>
                <a:gd name="connsiteX25" fmla="*/ 9265 w 10000"/>
                <a:gd name="connsiteY25" fmla="*/ 2686 h 10000"/>
                <a:gd name="connsiteX26" fmla="*/ 9059 w 10000"/>
                <a:gd name="connsiteY26" fmla="*/ 2501 h 10000"/>
                <a:gd name="connsiteX27" fmla="*/ 8875 w 10000"/>
                <a:gd name="connsiteY27" fmla="*/ 2129 h 10000"/>
                <a:gd name="connsiteX28" fmla="*/ 9012 w 10000"/>
                <a:gd name="connsiteY28" fmla="*/ 1829 h 10000"/>
                <a:gd name="connsiteX29" fmla="*/ 8691 w 10000"/>
                <a:gd name="connsiteY29" fmla="*/ 1419 h 10000"/>
                <a:gd name="connsiteX30" fmla="*/ 8553 w 10000"/>
                <a:gd name="connsiteY30" fmla="*/ 1570 h 10000"/>
                <a:gd name="connsiteX31" fmla="*/ 8253 w 10000"/>
                <a:gd name="connsiteY31" fmla="*/ 1648 h 10000"/>
                <a:gd name="connsiteX32" fmla="*/ 8279 w 10000"/>
                <a:gd name="connsiteY32" fmla="*/ 2056 h 10000"/>
                <a:gd name="connsiteX33" fmla="*/ 8369 w 10000"/>
                <a:gd name="connsiteY33" fmla="*/ 2165 h 10000"/>
                <a:gd name="connsiteX34" fmla="*/ 8302 w 10000"/>
                <a:gd name="connsiteY34" fmla="*/ 2464 h 10000"/>
                <a:gd name="connsiteX35" fmla="*/ 8117 w 10000"/>
                <a:gd name="connsiteY35" fmla="*/ 2540 h 10000"/>
                <a:gd name="connsiteX36" fmla="*/ 7933 w 10000"/>
                <a:gd name="connsiteY36" fmla="*/ 2765 h 10000"/>
                <a:gd name="connsiteX37" fmla="*/ 8095 w 10000"/>
                <a:gd name="connsiteY37" fmla="*/ 3059 h 10000"/>
                <a:gd name="connsiteX38" fmla="*/ 8072 w 10000"/>
                <a:gd name="connsiteY38" fmla="*/ 3286 h 10000"/>
                <a:gd name="connsiteX39" fmla="*/ 7727 w 10000"/>
                <a:gd name="connsiteY39" fmla="*/ 3548 h 10000"/>
                <a:gd name="connsiteX40" fmla="*/ 7566 w 10000"/>
                <a:gd name="connsiteY40" fmla="*/ 3993 h 10000"/>
                <a:gd name="connsiteX41" fmla="*/ 7153 w 10000"/>
                <a:gd name="connsiteY41" fmla="*/ 3100 h 10000"/>
                <a:gd name="connsiteX42" fmla="*/ 6992 w 10000"/>
                <a:gd name="connsiteY42" fmla="*/ 3399 h 10000"/>
                <a:gd name="connsiteX43" fmla="*/ 7221 w 10000"/>
                <a:gd name="connsiteY43" fmla="*/ 3771 h 10000"/>
                <a:gd name="connsiteX44" fmla="*/ 7038 w 10000"/>
                <a:gd name="connsiteY44" fmla="*/ 4030 h 10000"/>
                <a:gd name="connsiteX45" fmla="*/ 7083 w 10000"/>
                <a:gd name="connsiteY45" fmla="*/ 4217 h 10000"/>
                <a:gd name="connsiteX46" fmla="*/ 6717 w 10000"/>
                <a:gd name="connsiteY46" fmla="*/ 4663 h 10000"/>
                <a:gd name="connsiteX47" fmla="*/ 6327 w 10000"/>
                <a:gd name="connsiteY47" fmla="*/ 4294 h 10000"/>
                <a:gd name="connsiteX48" fmla="*/ 5272 w 10000"/>
                <a:gd name="connsiteY48" fmla="*/ 5225 h 10000"/>
                <a:gd name="connsiteX49" fmla="*/ 5179 w 10000"/>
                <a:gd name="connsiteY49" fmla="*/ 4815 h 10000"/>
                <a:gd name="connsiteX50" fmla="*/ 5041 w 10000"/>
                <a:gd name="connsiteY50" fmla="*/ 4553 h 10000"/>
                <a:gd name="connsiteX51" fmla="*/ 5087 w 10000"/>
                <a:gd name="connsiteY51" fmla="*/ 4253 h 10000"/>
                <a:gd name="connsiteX52" fmla="*/ 4948 w 10000"/>
                <a:gd name="connsiteY52" fmla="*/ 3958 h 10000"/>
                <a:gd name="connsiteX53" fmla="*/ 4742 w 10000"/>
                <a:gd name="connsiteY53" fmla="*/ 3920 h 10000"/>
                <a:gd name="connsiteX54" fmla="*/ 4788 w 10000"/>
                <a:gd name="connsiteY54" fmla="*/ 3509 h 10000"/>
                <a:gd name="connsiteX55" fmla="*/ 4626 w 10000"/>
                <a:gd name="connsiteY55" fmla="*/ 3360 h 10000"/>
                <a:gd name="connsiteX56" fmla="*/ 4466 w 10000"/>
                <a:gd name="connsiteY56" fmla="*/ 2839 h 10000"/>
                <a:gd name="connsiteX57" fmla="*/ 4259 w 10000"/>
                <a:gd name="connsiteY57" fmla="*/ 2839 h 10000"/>
                <a:gd name="connsiteX58" fmla="*/ 4054 w 10000"/>
                <a:gd name="connsiteY58" fmla="*/ 2576 h 10000"/>
                <a:gd name="connsiteX59" fmla="*/ 4054 w 10000"/>
                <a:gd name="connsiteY59" fmla="*/ 2464 h 10000"/>
                <a:gd name="connsiteX60" fmla="*/ 3869 w 10000"/>
                <a:gd name="connsiteY60" fmla="*/ 2614 h 10000"/>
                <a:gd name="connsiteX61" fmla="*/ 3640 w 10000"/>
                <a:gd name="connsiteY61" fmla="*/ 2354 h 10000"/>
                <a:gd name="connsiteX62" fmla="*/ 3755 w 10000"/>
                <a:gd name="connsiteY62" fmla="*/ 1979 h 10000"/>
                <a:gd name="connsiteX63" fmla="*/ 3570 w 10000"/>
                <a:gd name="connsiteY63" fmla="*/ 1680 h 10000"/>
                <a:gd name="connsiteX64" fmla="*/ 3711 w 10000"/>
                <a:gd name="connsiteY64" fmla="*/ 1235 h 10000"/>
                <a:gd name="connsiteX65" fmla="*/ 3250 w 10000"/>
                <a:gd name="connsiteY65" fmla="*/ 636 h 10000"/>
                <a:gd name="connsiteX66" fmla="*/ 2975 w 10000"/>
                <a:gd name="connsiteY66" fmla="*/ 824 h 10000"/>
                <a:gd name="connsiteX67" fmla="*/ 2446 w 10000"/>
                <a:gd name="connsiteY67" fmla="*/ 488 h 10000"/>
                <a:gd name="connsiteX68" fmla="*/ 2239 w 10000"/>
                <a:gd name="connsiteY68" fmla="*/ 708 h 10000"/>
                <a:gd name="connsiteX69" fmla="*/ 1734 w 10000"/>
                <a:gd name="connsiteY69" fmla="*/ 40 h 10000"/>
                <a:gd name="connsiteX70" fmla="*/ 1321 w 10000"/>
                <a:gd name="connsiteY70" fmla="*/ 972 h 10000"/>
                <a:gd name="connsiteX71" fmla="*/ 1321 w 10000"/>
                <a:gd name="connsiteY71" fmla="*/ 1531 h 10000"/>
                <a:gd name="connsiteX72" fmla="*/ 1022 w 10000"/>
                <a:gd name="connsiteY72" fmla="*/ 1085 h 10000"/>
                <a:gd name="connsiteX73" fmla="*/ 679 w 10000"/>
                <a:gd name="connsiteY73" fmla="*/ 1829 h 10000"/>
                <a:gd name="connsiteX74" fmla="*/ 933 w 10000"/>
                <a:gd name="connsiteY74" fmla="*/ 2426 h 10000"/>
                <a:gd name="connsiteX75" fmla="*/ 471 w 10000"/>
                <a:gd name="connsiteY75" fmla="*/ 3135 h 10000"/>
                <a:gd name="connsiteX76" fmla="*/ 427 w 10000"/>
                <a:gd name="connsiteY76" fmla="*/ 3135 h 10000"/>
                <a:gd name="connsiteX77" fmla="*/ 609 w 10000"/>
                <a:gd name="connsiteY77" fmla="*/ 3548 h 10000"/>
                <a:gd name="connsiteX78" fmla="*/ 379 w 10000"/>
                <a:gd name="connsiteY78" fmla="*/ 3958 h 10000"/>
                <a:gd name="connsiteX79" fmla="*/ 539 w 10000"/>
                <a:gd name="connsiteY79" fmla="*/ 4217 h 10000"/>
                <a:gd name="connsiteX80" fmla="*/ 471 w 10000"/>
                <a:gd name="connsiteY80" fmla="*/ 4628 h 10000"/>
                <a:gd name="connsiteX81" fmla="*/ 379 w 10000"/>
                <a:gd name="connsiteY81" fmla="*/ 4855 h 10000"/>
                <a:gd name="connsiteX82" fmla="*/ 539 w 10000"/>
                <a:gd name="connsiteY82" fmla="*/ 5302 h 10000"/>
                <a:gd name="connsiteX83" fmla="*/ 266 w 10000"/>
                <a:gd name="connsiteY83" fmla="*/ 6006 h 10000"/>
                <a:gd name="connsiteX84" fmla="*/ 471 w 10000"/>
                <a:gd name="connsiteY84" fmla="*/ 6421 h 10000"/>
                <a:gd name="connsiteX85" fmla="*/ 105 w 10000"/>
                <a:gd name="connsiteY85" fmla="*/ 7127 h 10000"/>
                <a:gd name="connsiteX86" fmla="*/ 288 w 10000"/>
                <a:gd name="connsiteY86" fmla="*/ 7500 h 10000"/>
                <a:gd name="connsiteX87" fmla="*/ 12 w 10000"/>
                <a:gd name="connsiteY87" fmla="*/ 8100 h 10000"/>
                <a:gd name="connsiteX88" fmla="*/ 379 w 10000"/>
                <a:gd name="connsiteY88" fmla="*/ 8320 h 10000"/>
                <a:gd name="connsiteX89" fmla="*/ 266 w 10000"/>
                <a:gd name="connsiteY89" fmla="*/ 8808 h 10000"/>
                <a:gd name="connsiteX90" fmla="*/ 357 w 10000"/>
                <a:gd name="connsiteY90" fmla="*/ 9365 h 10000"/>
                <a:gd name="connsiteX91" fmla="*/ 982 w 10000"/>
                <a:gd name="connsiteY91" fmla="*/ 8853 h 10000"/>
                <a:gd name="connsiteX92" fmla="*/ 1342 w 10000"/>
                <a:gd name="connsiteY92" fmla="*/ 8402 h 10000"/>
                <a:gd name="connsiteX93" fmla="*/ 1775 w 10000"/>
                <a:gd name="connsiteY93" fmla="*/ 8411 h 10000"/>
                <a:gd name="connsiteX94" fmla="*/ 2239 w 10000"/>
                <a:gd name="connsiteY94" fmla="*/ 8143 h 10000"/>
                <a:gd name="connsiteX95" fmla="*/ 2810 w 10000"/>
                <a:gd name="connsiteY95" fmla="*/ 7719 h 10000"/>
                <a:gd name="connsiteX96" fmla="*/ 2997 w 10000"/>
                <a:gd name="connsiteY96" fmla="*/ 7395 h 10000"/>
                <a:gd name="connsiteX97" fmla="*/ 3386 w 10000"/>
                <a:gd name="connsiteY97" fmla="*/ 6772 h 10000"/>
                <a:gd name="connsiteX98" fmla="*/ 4023 w 10000"/>
                <a:gd name="connsiteY98" fmla="*/ 7206 h 10000"/>
                <a:gd name="connsiteX99" fmla="*/ 4296 w 10000"/>
                <a:gd name="connsiteY99" fmla="*/ 7178 h 10000"/>
                <a:gd name="connsiteX100" fmla="*/ 4241 w 10000"/>
                <a:gd name="connsiteY100" fmla="*/ 6641 h 10000"/>
                <a:gd name="connsiteX101" fmla="*/ 4282 w 10000"/>
                <a:gd name="connsiteY101" fmla="*/ 5953 h 10000"/>
                <a:gd name="connsiteX102" fmla="*/ 4895 w 10000"/>
                <a:gd name="connsiteY102" fmla="*/ 5798 h 10000"/>
                <a:gd name="connsiteX103" fmla="*/ 4809 w 10000"/>
                <a:gd name="connsiteY103" fmla="*/ 6617 h 10000"/>
                <a:gd name="connsiteX0" fmla="*/ 4626 w 10000"/>
                <a:gd name="connsiteY0" fmla="*/ 9515 h 10000"/>
                <a:gd name="connsiteX1" fmla="*/ 4650 w 10000"/>
                <a:gd name="connsiteY1" fmla="*/ 9777 h 10000"/>
                <a:gd name="connsiteX2" fmla="*/ 4811 w 10000"/>
                <a:gd name="connsiteY2" fmla="*/ 10000 h 10000"/>
                <a:gd name="connsiteX3" fmla="*/ 4994 w 10000"/>
                <a:gd name="connsiteY3" fmla="*/ 9700 h 10000"/>
                <a:gd name="connsiteX4" fmla="*/ 5202 w 10000"/>
                <a:gd name="connsiteY4" fmla="*/ 9440 h 10000"/>
                <a:gd name="connsiteX5" fmla="*/ 5636 w 10000"/>
                <a:gd name="connsiteY5" fmla="*/ 8360 h 10000"/>
                <a:gd name="connsiteX6" fmla="*/ 5984 w 10000"/>
                <a:gd name="connsiteY6" fmla="*/ 8695 h 10000"/>
                <a:gd name="connsiteX7" fmla="*/ 5958 w 10000"/>
                <a:gd name="connsiteY7" fmla="*/ 8434 h 10000"/>
                <a:gd name="connsiteX8" fmla="*/ 6188 w 10000"/>
                <a:gd name="connsiteY8" fmla="*/ 8172 h 10000"/>
                <a:gd name="connsiteX9" fmla="*/ 6417 w 10000"/>
                <a:gd name="connsiteY9" fmla="*/ 8360 h 10000"/>
                <a:gd name="connsiteX10" fmla="*/ 6188 w 10000"/>
                <a:gd name="connsiteY10" fmla="*/ 7613 h 10000"/>
                <a:gd name="connsiteX11" fmla="*/ 6327 w 10000"/>
                <a:gd name="connsiteY11" fmla="*/ 7315 h 10000"/>
                <a:gd name="connsiteX12" fmla="*/ 6810 w 10000"/>
                <a:gd name="connsiteY12" fmla="*/ 7091 h 10000"/>
                <a:gd name="connsiteX13" fmla="*/ 6763 w 10000"/>
                <a:gd name="connsiteY13" fmla="*/ 7015 h 10000"/>
                <a:gd name="connsiteX14" fmla="*/ 7132 w 10000"/>
                <a:gd name="connsiteY14" fmla="*/ 6456 h 10000"/>
                <a:gd name="connsiteX15" fmla="*/ 7406 w 10000"/>
                <a:gd name="connsiteY15" fmla="*/ 6156 h 10000"/>
                <a:gd name="connsiteX16" fmla="*/ 8095 w 10000"/>
                <a:gd name="connsiteY16" fmla="*/ 5561 h 10000"/>
                <a:gd name="connsiteX17" fmla="*/ 8302 w 10000"/>
                <a:gd name="connsiteY17" fmla="*/ 5189 h 10000"/>
                <a:gd name="connsiteX18" fmla="*/ 8714 w 10000"/>
                <a:gd name="connsiteY18" fmla="*/ 4477 h 10000"/>
                <a:gd name="connsiteX19" fmla="*/ 9449 w 10000"/>
                <a:gd name="connsiteY19" fmla="*/ 3844 h 10000"/>
                <a:gd name="connsiteX20" fmla="*/ 9494 w 10000"/>
                <a:gd name="connsiteY20" fmla="*/ 3582 h 10000"/>
                <a:gd name="connsiteX21" fmla="*/ 9793 w 10000"/>
                <a:gd name="connsiteY21" fmla="*/ 3174 h 10000"/>
                <a:gd name="connsiteX22" fmla="*/ 10000 w 10000"/>
                <a:gd name="connsiteY22" fmla="*/ 2686 h 10000"/>
                <a:gd name="connsiteX23" fmla="*/ 9678 w 10000"/>
                <a:gd name="connsiteY23" fmla="*/ 2237 h 10000"/>
                <a:gd name="connsiteX24" fmla="*/ 9265 w 10000"/>
                <a:gd name="connsiteY24" fmla="*/ 2686 h 10000"/>
                <a:gd name="connsiteX25" fmla="*/ 9059 w 10000"/>
                <a:gd name="connsiteY25" fmla="*/ 2501 h 10000"/>
                <a:gd name="connsiteX26" fmla="*/ 8875 w 10000"/>
                <a:gd name="connsiteY26" fmla="*/ 2129 h 10000"/>
                <a:gd name="connsiteX27" fmla="*/ 9012 w 10000"/>
                <a:gd name="connsiteY27" fmla="*/ 1829 h 10000"/>
                <a:gd name="connsiteX28" fmla="*/ 8691 w 10000"/>
                <a:gd name="connsiteY28" fmla="*/ 1419 h 10000"/>
                <a:gd name="connsiteX29" fmla="*/ 8553 w 10000"/>
                <a:gd name="connsiteY29" fmla="*/ 1570 h 10000"/>
                <a:gd name="connsiteX30" fmla="*/ 8253 w 10000"/>
                <a:gd name="connsiteY30" fmla="*/ 1648 h 10000"/>
                <a:gd name="connsiteX31" fmla="*/ 8279 w 10000"/>
                <a:gd name="connsiteY31" fmla="*/ 2056 h 10000"/>
                <a:gd name="connsiteX32" fmla="*/ 8369 w 10000"/>
                <a:gd name="connsiteY32" fmla="*/ 2165 h 10000"/>
                <a:gd name="connsiteX33" fmla="*/ 8302 w 10000"/>
                <a:gd name="connsiteY33" fmla="*/ 2464 h 10000"/>
                <a:gd name="connsiteX34" fmla="*/ 8117 w 10000"/>
                <a:gd name="connsiteY34" fmla="*/ 2540 h 10000"/>
                <a:gd name="connsiteX35" fmla="*/ 7933 w 10000"/>
                <a:gd name="connsiteY35" fmla="*/ 2765 h 10000"/>
                <a:gd name="connsiteX36" fmla="*/ 8095 w 10000"/>
                <a:gd name="connsiteY36" fmla="*/ 3059 h 10000"/>
                <a:gd name="connsiteX37" fmla="*/ 8072 w 10000"/>
                <a:gd name="connsiteY37" fmla="*/ 3286 h 10000"/>
                <a:gd name="connsiteX38" fmla="*/ 7727 w 10000"/>
                <a:gd name="connsiteY38" fmla="*/ 3548 h 10000"/>
                <a:gd name="connsiteX39" fmla="*/ 7566 w 10000"/>
                <a:gd name="connsiteY39" fmla="*/ 3993 h 10000"/>
                <a:gd name="connsiteX40" fmla="*/ 7153 w 10000"/>
                <a:gd name="connsiteY40" fmla="*/ 3100 h 10000"/>
                <a:gd name="connsiteX41" fmla="*/ 6992 w 10000"/>
                <a:gd name="connsiteY41" fmla="*/ 3399 h 10000"/>
                <a:gd name="connsiteX42" fmla="*/ 7221 w 10000"/>
                <a:gd name="connsiteY42" fmla="*/ 3771 h 10000"/>
                <a:gd name="connsiteX43" fmla="*/ 7038 w 10000"/>
                <a:gd name="connsiteY43" fmla="*/ 4030 h 10000"/>
                <a:gd name="connsiteX44" fmla="*/ 7083 w 10000"/>
                <a:gd name="connsiteY44" fmla="*/ 4217 h 10000"/>
                <a:gd name="connsiteX45" fmla="*/ 6717 w 10000"/>
                <a:gd name="connsiteY45" fmla="*/ 4663 h 10000"/>
                <a:gd name="connsiteX46" fmla="*/ 6327 w 10000"/>
                <a:gd name="connsiteY46" fmla="*/ 4294 h 10000"/>
                <a:gd name="connsiteX47" fmla="*/ 5272 w 10000"/>
                <a:gd name="connsiteY47" fmla="*/ 5225 h 10000"/>
                <a:gd name="connsiteX48" fmla="*/ 5179 w 10000"/>
                <a:gd name="connsiteY48" fmla="*/ 4815 h 10000"/>
                <a:gd name="connsiteX49" fmla="*/ 5041 w 10000"/>
                <a:gd name="connsiteY49" fmla="*/ 4553 h 10000"/>
                <a:gd name="connsiteX50" fmla="*/ 5087 w 10000"/>
                <a:gd name="connsiteY50" fmla="*/ 4253 h 10000"/>
                <a:gd name="connsiteX51" fmla="*/ 4948 w 10000"/>
                <a:gd name="connsiteY51" fmla="*/ 3958 h 10000"/>
                <a:gd name="connsiteX52" fmla="*/ 4742 w 10000"/>
                <a:gd name="connsiteY52" fmla="*/ 3920 h 10000"/>
                <a:gd name="connsiteX53" fmla="*/ 4788 w 10000"/>
                <a:gd name="connsiteY53" fmla="*/ 3509 h 10000"/>
                <a:gd name="connsiteX54" fmla="*/ 4626 w 10000"/>
                <a:gd name="connsiteY54" fmla="*/ 3360 h 10000"/>
                <a:gd name="connsiteX55" fmla="*/ 4466 w 10000"/>
                <a:gd name="connsiteY55" fmla="*/ 2839 h 10000"/>
                <a:gd name="connsiteX56" fmla="*/ 4259 w 10000"/>
                <a:gd name="connsiteY56" fmla="*/ 2839 h 10000"/>
                <a:gd name="connsiteX57" fmla="*/ 4054 w 10000"/>
                <a:gd name="connsiteY57" fmla="*/ 2576 h 10000"/>
                <a:gd name="connsiteX58" fmla="*/ 4054 w 10000"/>
                <a:gd name="connsiteY58" fmla="*/ 2464 h 10000"/>
                <a:gd name="connsiteX59" fmla="*/ 3869 w 10000"/>
                <a:gd name="connsiteY59" fmla="*/ 2614 h 10000"/>
                <a:gd name="connsiteX60" fmla="*/ 3640 w 10000"/>
                <a:gd name="connsiteY60" fmla="*/ 2354 h 10000"/>
                <a:gd name="connsiteX61" fmla="*/ 3755 w 10000"/>
                <a:gd name="connsiteY61" fmla="*/ 1979 h 10000"/>
                <a:gd name="connsiteX62" fmla="*/ 3570 w 10000"/>
                <a:gd name="connsiteY62" fmla="*/ 1680 h 10000"/>
                <a:gd name="connsiteX63" fmla="*/ 3711 w 10000"/>
                <a:gd name="connsiteY63" fmla="*/ 1235 h 10000"/>
                <a:gd name="connsiteX64" fmla="*/ 3250 w 10000"/>
                <a:gd name="connsiteY64" fmla="*/ 636 h 10000"/>
                <a:gd name="connsiteX65" fmla="*/ 2975 w 10000"/>
                <a:gd name="connsiteY65" fmla="*/ 824 h 10000"/>
                <a:gd name="connsiteX66" fmla="*/ 2446 w 10000"/>
                <a:gd name="connsiteY66" fmla="*/ 488 h 10000"/>
                <a:gd name="connsiteX67" fmla="*/ 2239 w 10000"/>
                <a:gd name="connsiteY67" fmla="*/ 708 h 10000"/>
                <a:gd name="connsiteX68" fmla="*/ 1734 w 10000"/>
                <a:gd name="connsiteY68" fmla="*/ 40 h 10000"/>
                <a:gd name="connsiteX69" fmla="*/ 1321 w 10000"/>
                <a:gd name="connsiteY69" fmla="*/ 972 h 10000"/>
                <a:gd name="connsiteX70" fmla="*/ 1321 w 10000"/>
                <a:gd name="connsiteY70" fmla="*/ 1531 h 10000"/>
                <a:gd name="connsiteX71" fmla="*/ 1022 w 10000"/>
                <a:gd name="connsiteY71" fmla="*/ 1085 h 10000"/>
                <a:gd name="connsiteX72" fmla="*/ 679 w 10000"/>
                <a:gd name="connsiteY72" fmla="*/ 1829 h 10000"/>
                <a:gd name="connsiteX73" fmla="*/ 933 w 10000"/>
                <a:gd name="connsiteY73" fmla="*/ 2426 h 10000"/>
                <a:gd name="connsiteX74" fmla="*/ 471 w 10000"/>
                <a:gd name="connsiteY74" fmla="*/ 3135 h 10000"/>
                <a:gd name="connsiteX75" fmla="*/ 427 w 10000"/>
                <a:gd name="connsiteY75" fmla="*/ 3135 h 10000"/>
                <a:gd name="connsiteX76" fmla="*/ 609 w 10000"/>
                <a:gd name="connsiteY76" fmla="*/ 3548 h 10000"/>
                <a:gd name="connsiteX77" fmla="*/ 379 w 10000"/>
                <a:gd name="connsiteY77" fmla="*/ 3958 h 10000"/>
                <a:gd name="connsiteX78" fmla="*/ 539 w 10000"/>
                <a:gd name="connsiteY78" fmla="*/ 4217 h 10000"/>
                <a:gd name="connsiteX79" fmla="*/ 471 w 10000"/>
                <a:gd name="connsiteY79" fmla="*/ 4628 h 10000"/>
                <a:gd name="connsiteX80" fmla="*/ 379 w 10000"/>
                <a:gd name="connsiteY80" fmla="*/ 4855 h 10000"/>
                <a:gd name="connsiteX81" fmla="*/ 539 w 10000"/>
                <a:gd name="connsiteY81" fmla="*/ 5302 h 10000"/>
                <a:gd name="connsiteX82" fmla="*/ 266 w 10000"/>
                <a:gd name="connsiteY82" fmla="*/ 6006 h 10000"/>
                <a:gd name="connsiteX83" fmla="*/ 471 w 10000"/>
                <a:gd name="connsiteY83" fmla="*/ 6421 h 10000"/>
                <a:gd name="connsiteX84" fmla="*/ 105 w 10000"/>
                <a:gd name="connsiteY84" fmla="*/ 7127 h 10000"/>
                <a:gd name="connsiteX85" fmla="*/ 288 w 10000"/>
                <a:gd name="connsiteY85" fmla="*/ 7500 h 10000"/>
                <a:gd name="connsiteX86" fmla="*/ 12 w 10000"/>
                <a:gd name="connsiteY86" fmla="*/ 8100 h 10000"/>
                <a:gd name="connsiteX87" fmla="*/ 379 w 10000"/>
                <a:gd name="connsiteY87" fmla="*/ 8320 h 10000"/>
                <a:gd name="connsiteX88" fmla="*/ 266 w 10000"/>
                <a:gd name="connsiteY88" fmla="*/ 8808 h 10000"/>
                <a:gd name="connsiteX89" fmla="*/ 357 w 10000"/>
                <a:gd name="connsiteY89" fmla="*/ 9365 h 10000"/>
                <a:gd name="connsiteX90" fmla="*/ 982 w 10000"/>
                <a:gd name="connsiteY90" fmla="*/ 8853 h 10000"/>
                <a:gd name="connsiteX91" fmla="*/ 1342 w 10000"/>
                <a:gd name="connsiteY91" fmla="*/ 8402 h 10000"/>
                <a:gd name="connsiteX92" fmla="*/ 1775 w 10000"/>
                <a:gd name="connsiteY92" fmla="*/ 8411 h 10000"/>
                <a:gd name="connsiteX93" fmla="*/ 2239 w 10000"/>
                <a:gd name="connsiteY93" fmla="*/ 8143 h 10000"/>
                <a:gd name="connsiteX94" fmla="*/ 2810 w 10000"/>
                <a:gd name="connsiteY94" fmla="*/ 7719 h 10000"/>
                <a:gd name="connsiteX95" fmla="*/ 2997 w 10000"/>
                <a:gd name="connsiteY95" fmla="*/ 7395 h 10000"/>
                <a:gd name="connsiteX96" fmla="*/ 3386 w 10000"/>
                <a:gd name="connsiteY96" fmla="*/ 6772 h 10000"/>
                <a:gd name="connsiteX97" fmla="*/ 4023 w 10000"/>
                <a:gd name="connsiteY97" fmla="*/ 7206 h 10000"/>
                <a:gd name="connsiteX98" fmla="*/ 4296 w 10000"/>
                <a:gd name="connsiteY98" fmla="*/ 7178 h 10000"/>
                <a:gd name="connsiteX99" fmla="*/ 4241 w 10000"/>
                <a:gd name="connsiteY99" fmla="*/ 6641 h 10000"/>
                <a:gd name="connsiteX100" fmla="*/ 4282 w 10000"/>
                <a:gd name="connsiteY100" fmla="*/ 5953 h 10000"/>
                <a:gd name="connsiteX101" fmla="*/ 4895 w 10000"/>
                <a:gd name="connsiteY101" fmla="*/ 5798 h 10000"/>
                <a:gd name="connsiteX102" fmla="*/ 4809 w 10000"/>
                <a:gd name="connsiteY102" fmla="*/ 6617 h 10000"/>
                <a:gd name="connsiteX0" fmla="*/ 4650 w 10000"/>
                <a:gd name="connsiteY0" fmla="*/ 9777 h 10000"/>
                <a:gd name="connsiteX1" fmla="*/ 4811 w 10000"/>
                <a:gd name="connsiteY1" fmla="*/ 10000 h 10000"/>
                <a:gd name="connsiteX2" fmla="*/ 4994 w 10000"/>
                <a:gd name="connsiteY2" fmla="*/ 9700 h 10000"/>
                <a:gd name="connsiteX3" fmla="*/ 5202 w 10000"/>
                <a:gd name="connsiteY3" fmla="*/ 9440 h 10000"/>
                <a:gd name="connsiteX4" fmla="*/ 5636 w 10000"/>
                <a:gd name="connsiteY4" fmla="*/ 8360 h 10000"/>
                <a:gd name="connsiteX5" fmla="*/ 5984 w 10000"/>
                <a:gd name="connsiteY5" fmla="*/ 8695 h 10000"/>
                <a:gd name="connsiteX6" fmla="*/ 5958 w 10000"/>
                <a:gd name="connsiteY6" fmla="*/ 8434 h 10000"/>
                <a:gd name="connsiteX7" fmla="*/ 6188 w 10000"/>
                <a:gd name="connsiteY7" fmla="*/ 8172 h 10000"/>
                <a:gd name="connsiteX8" fmla="*/ 6417 w 10000"/>
                <a:gd name="connsiteY8" fmla="*/ 8360 h 10000"/>
                <a:gd name="connsiteX9" fmla="*/ 6188 w 10000"/>
                <a:gd name="connsiteY9" fmla="*/ 7613 h 10000"/>
                <a:gd name="connsiteX10" fmla="*/ 6327 w 10000"/>
                <a:gd name="connsiteY10" fmla="*/ 7315 h 10000"/>
                <a:gd name="connsiteX11" fmla="*/ 6810 w 10000"/>
                <a:gd name="connsiteY11" fmla="*/ 7091 h 10000"/>
                <a:gd name="connsiteX12" fmla="*/ 6763 w 10000"/>
                <a:gd name="connsiteY12" fmla="*/ 7015 h 10000"/>
                <a:gd name="connsiteX13" fmla="*/ 7132 w 10000"/>
                <a:gd name="connsiteY13" fmla="*/ 6456 h 10000"/>
                <a:gd name="connsiteX14" fmla="*/ 7406 w 10000"/>
                <a:gd name="connsiteY14" fmla="*/ 6156 h 10000"/>
                <a:gd name="connsiteX15" fmla="*/ 8095 w 10000"/>
                <a:gd name="connsiteY15" fmla="*/ 5561 h 10000"/>
                <a:gd name="connsiteX16" fmla="*/ 8302 w 10000"/>
                <a:gd name="connsiteY16" fmla="*/ 5189 h 10000"/>
                <a:gd name="connsiteX17" fmla="*/ 8714 w 10000"/>
                <a:gd name="connsiteY17" fmla="*/ 4477 h 10000"/>
                <a:gd name="connsiteX18" fmla="*/ 9449 w 10000"/>
                <a:gd name="connsiteY18" fmla="*/ 3844 h 10000"/>
                <a:gd name="connsiteX19" fmla="*/ 9494 w 10000"/>
                <a:gd name="connsiteY19" fmla="*/ 3582 h 10000"/>
                <a:gd name="connsiteX20" fmla="*/ 9793 w 10000"/>
                <a:gd name="connsiteY20" fmla="*/ 3174 h 10000"/>
                <a:gd name="connsiteX21" fmla="*/ 10000 w 10000"/>
                <a:gd name="connsiteY21" fmla="*/ 2686 h 10000"/>
                <a:gd name="connsiteX22" fmla="*/ 9678 w 10000"/>
                <a:gd name="connsiteY22" fmla="*/ 2237 h 10000"/>
                <a:gd name="connsiteX23" fmla="*/ 9265 w 10000"/>
                <a:gd name="connsiteY23" fmla="*/ 2686 h 10000"/>
                <a:gd name="connsiteX24" fmla="*/ 9059 w 10000"/>
                <a:gd name="connsiteY24" fmla="*/ 2501 h 10000"/>
                <a:gd name="connsiteX25" fmla="*/ 8875 w 10000"/>
                <a:gd name="connsiteY25" fmla="*/ 2129 h 10000"/>
                <a:gd name="connsiteX26" fmla="*/ 9012 w 10000"/>
                <a:gd name="connsiteY26" fmla="*/ 1829 h 10000"/>
                <a:gd name="connsiteX27" fmla="*/ 8691 w 10000"/>
                <a:gd name="connsiteY27" fmla="*/ 1419 h 10000"/>
                <a:gd name="connsiteX28" fmla="*/ 8553 w 10000"/>
                <a:gd name="connsiteY28" fmla="*/ 1570 h 10000"/>
                <a:gd name="connsiteX29" fmla="*/ 8253 w 10000"/>
                <a:gd name="connsiteY29" fmla="*/ 1648 h 10000"/>
                <a:gd name="connsiteX30" fmla="*/ 8279 w 10000"/>
                <a:gd name="connsiteY30" fmla="*/ 2056 h 10000"/>
                <a:gd name="connsiteX31" fmla="*/ 8369 w 10000"/>
                <a:gd name="connsiteY31" fmla="*/ 2165 h 10000"/>
                <a:gd name="connsiteX32" fmla="*/ 8302 w 10000"/>
                <a:gd name="connsiteY32" fmla="*/ 2464 h 10000"/>
                <a:gd name="connsiteX33" fmla="*/ 8117 w 10000"/>
                <a:gd name="connsiteY33" fmla="*/ 2540 h 10000"/>
                <a:gd name="connsiteX34" fmla="*/ 7933 w 10000"/>
                <a:gd name="connsiteY34" fmla="*/ 2765 h 10000"/>
                <a:gd name="connsiteX35" fmla="*/ 8095 w 10000"/>
                <a:gd name="connsiteY35" fmla="*/ 3059 h 10000"/>
                <a:gd name="connsiteX36" fmla="*/ 8072 w 10000"/>
                <a:gd name="connsiteY36" fmla="*/ 3286 h 10000"/>
                <a:gd name="connsiteX37" fmla="*/ 7727 w 10000"/>
                <a:gd name="connsiteY37" fmla="*/ 3548 h 10000"/>
                <a:gd name="connsiteX38" fmla="*/ 7566 w 10000"/>
                <a:gd name="connsiteY38" fmla="*/ 3993 h 10000"/>
                <a:gd name="connsiteX39" fmla="*/ 7153 w 10000"/>
                <a:gd name="connsiteY39" fmla="*/ 3100 h 10000"/>
                <a:gd name="connsiteX40" fmla="*/ 6992 w 10000"/>
                <a:gd name="connsiteY40" fmla="*/ 3399 h 10000"/>
                <a:gd name="connsiteX41" fmla="*/ 7221 w 10000"/>
                <a:gd name="connsiteY41" fmla="*/ 3771 h 10000"/>
                <a:gd name="connsiteX42" fmla="*/ 7038 w 10000"/>
                <a:gd name="connsiteY42" fmla="*/ 4030 h 10000"/>
                <a:gd name="connsiteX43" fmla="*/ 7083 w 10000"/>
                <a:gd name="connsiteY43" fmla="*/ 4217 h 10000"/>
                <a:gd name="connsiteX44" fmla="*/ 6717 w 10000"/>
                <a:gd name="connsiteY44" fmla="*/ 4663 h 10000"/>
                <a:gd name="connsiteX45" fmla="*/ 6327 w 10000"/>
                <a:gd name="connsiteY45" fmla="*/ 4294 h 10000"/>
                <a:gd name="connsiteX46" fmla="*/ 5272 w 10000"/>
                <a:gd name="connsiteY46" fmla="*/ 5225 h 10000"/>
                <a:gd name="connsiteX47" fmla="*/ 5179 w 10000"/>
                <a:gd name="connsiteY47" fmla="*/ 4815 h 10000"/>
                <a:gd name="connsiteX48" fmla="*/ 5041 w 10000"/>
                <a:gd name="connsiteY48" fmla="*/ 4553 h 10000"/>
                <a:gd name="connsiteX49" fmla="*/ 5087 w 10000"/>
                <a:gd name="connsiteY49" fmla="*/ 4253 h 10000"/>
                <a:gd name="connsiteX50" fmla="*/ 4948 w 10000"/>
                <a:gd name="connsiteY50" fmla="*/ 3958 h 10000"/>
                <a:gd name="connsiteX51" fmla="*/ 4742 w 10000"/>
                <a:gd name="connsiteY51" fmla="*/ 3920 h 10000"/>
                <a:gd name="connsiteX52" fmla="*/ 4788 w 10000"/>
                <a:gd name="connsiteY52" fmla="*/ 3509 h 10000"/>
                <a:gd name="connsiteX53" fmla="*/ 4626 w 10000"/>
                <a:gd name="connsiteY53" fmla="*/ 3360 h 10000"/>
                <a:gd name="connsiteX54" fmla="*/ 4466 w 10000"/>
                <a:gd name="connsiteY54" fmla="*/ 2839 h 10000"/>
                <a:gd name="connsiteX55" fmla="*/ 4259 w 10000"/>
                <a:gd name="connsiteY55" fmla="*/ 2839 h 10000"/>
                <a:gd name="connsiteX56" fmla="*/ 4054 w 10000"/>
                <a:gd name="connsiteY56" fmla="*/ 2576 h 10000"/>
                <a:gd name="connsiteX57" fmla="*/ 4054 w 10000"/>
                <a:gd name="connsiteY57" fmla="*/ 2464 h 10000"/>
                <a:gd name="connsiteX58" fmla="*/ 3869 w 10000"/>
                <a:gd name="connsiteY58" fmla="*/ 2614 h 10000"/>
                <a:gd name="connsiteX59" fmla="*/ 3640 w 10000"/>
                <a:gd name="connsiteY59" fmla="*/ 2354 h 10000"/>
                <a:gd name="connsiteX60" fmla="*/ 3755 w 10000"/>
                <a:gd name="connsiteY60" fmla="*/ 1979 h 10000"/>
                <a:gd name="connsiteX61" fmla="*/ 3570 w 10000"/>
                <a:gd name="connsiteY61" fmla="*/ 1680 h 10000"/>
                <a:gd name="connsiteX62" fmla="*/ 3711 w 10000"/>
                <a:gd name="connsiteY62" fmla="*/ 1235 h 10000"/>
                <a:gd name="connsiteX63" fmla="*/ 3250 w 10000"/>
                <a:gd name="connsiteY63" fmla="*/ 636 h 10000"/>
                <a:gd name="connsiteX64" fmla="*/ 2975 w 10000"/>
                <a:gd name="connsiteY64" fmla="*/ 824 h 10000"/>
                <a:gd name="connsiteX65" fmla="*/ 2446 w 10000"/>
                <a:gd name="connsiteY65" fmla="*/ 488 h 10000"/>
                <a:gd name="connsiteX66" fmla="*/ 2239 w 10000"/>
                <a:gd name="connsiteY66" fmla="*/ 708 h 10000"/>
                <a:gd name="connsiteX67" fmla="*/ 1734 w 10000"/>
                <a:gd name="connsiteY67" fmla="*/ 40 h 10000"/>
                <a:gd name="connsiteX68" fmla="*/ 1321 w 10000"/>
                <a:gd name="connsiteY68" fmla="*/ 972 h 10000"/>
                <a:gd name="connsiteX69" fmla="*/ 1321 w 10000"/>
                <a:gd name="connsiteY69" fmla="*/ 1531 h 10000"/>
                <a:gd name="connsiteX70" fmla="*/ 1022 w 10000"/>
                <a:gd name="connsiteY70" fmla="*/ 1085 h 10000"/>
                <a:gd name="connsiteX71" fmla="*/ 679 w 10000"/>
                <a:gd name="connsiteY71" fmla="*/ 1829 h 10000"/>
                <a:gd name="connsiteX72" fmla="*/ 933 w 10000"/>
                <a:gd name="connsiteY72" fmla="*/ 2426 h 10000"/>
                <a:gd name="connsiteX73" fmla="*/ 471 w 10000"/>
                <a:gd name="connsiteY73" fmla="*/ 3135 h 10000"/>
                <a:gd name="connsiteX74" fmla="*/ 427 w 10000"/>
                <a:gd name="connsiteY74" fmla="*/ 3135 h 10000"/>
                <a:gd name="connsiteX75" fmla="*/ 609 w 10000"/>
                <a:gd name="connsiteY75" fmla="*/ 3548 h 10000"/>
                <a:gd name="connsiteX76" fmla="*/ 379 w 10000"/>
                <a:gd name="connsiteY76" fmla="*/ 3958 h 10000"/>
                <a:gd name="connsiteX77" fmla="*/ 539 w 10000"/>
                <a:gd name="connsiteY77" fmla="*/ 4217 h 10000"/>
                <a:gd name="connsiteX78" fmla="*/ 471 w 10000"/>
                <a:gd name="connsiteY78" fmla="*/ 4628 h 10000"/>
                <a:gd name="connsiteX79" fmla="*/ 379 w 10000"/>
                <a:gd name="connsiteY79" fmla="*/ 4855 h 10000"/>
                <a:gd name="connsiteX80" fmla="*/ 539 w 10000"/>
                <a:gd name="connsiteY80" fmla="*/ 5302 h 10000"/>
                <a:gd name="connsiteX81" fmla="*/ 266 w 10000"/>
                <a:gd name="connsiteY81" fmla="*/ 6006 h 10000"/>
                <a:gd name="connsiteX82" fmla="*/ 471 w 10000"/>
                <a:gd name="connsiteY82" fmla="*/ 6421 h 10000"/>
                <a:gd name="connsiteX83" fmla="*/ 105 w 10000"/>
                <a:gd name="connsiteY83" fmla="*/ 7127 h 10000"/>
                <a:gd name="connsiteX84" fmla="*/ 288 w 10000"/>
                <a:gd name="connsiteY84" fmla="*/ 7500 h 10000"/>
                <a:gd name="connsiteX85" fmla="*/ 12 w 10000"/>
                <a:gd name="connsiteY85" fmla="*/ 8100 h 10000"/>
                <a:gd name="connsiteX86" fmla="*/ 379 w 10000"/>
                <a:gd name="connsiteY86" fmla="*/ 8320 h 10000"/>
                <a:gd name="connsiteX87" fmla="*/ 266 w 10000"/>
                <a:gd name="connsiteY87" fmla="*/ 8808 h 10000"/>
                <a:gd name="connsiteX88" fmla="*/ 357 w 10000"/>
                <a:gd name="connsiteY88" fmla="*/ 9365 h 10000"/>
                <a:gd name="connsiteX89" fmla="*/ 982 w 10000"/>
                <a:gd name="connsiteY89" fmla="*/ 8853 h 10000"/>
                <a:gd name="connsiteX90" fmla="*/ 1342 w 10000"/>
                <a:gd name="connsiteY90" fmla="*/ 8402 h 10000"/>
                <a:gd name="connsiteX91" fmla="*/ 1775 w 10000"/>
                <a:gd name="connsiteY91" fmla="*/ 8411 h 10000"/>
                <a:gd name="connsiteX92" fmla="*/ 2239 w 10000"/>
                <a:gd name="connsiteY92" fmla="*/ 8143 h 10000"/>
                <a:gd name="connsiteX93" fmla="*/ 2810 w 10000"/>
                <a:gd name="connsiteY93" fmla="*/ 7719 h 10000"/>
                <a:gd name="connsiteX94" fmla="*/ 2997 w 10000"/>
                <a:gd name="connsiteY94" fmla="*/ 7395 h 10000"/>
                <a:gd name="connsiteX95" fmla="*/ 3386 w 10000"/>
                <a:gd name="connsiteY95" fmla="*/ 6772 h 10000"/>
                <a:gd name="connsiteX96" fmla="*/ 4023 w 10000"/>
                <a:gd name="connsiteY96" fmla="*/ 7206 h 10000"/>
                <a:gd name="connsiteX97" fmla="*/ 4296 w 10000"/>
                <a:gd name="connsiteY97" fmla="*/ 7178 h 10000"/>
                <a:gd name="connsiteX98" fmla="*/ 4241 w 10000"/>
                <a:gd name="connsiteY98" fmla="*/ 6641 h 10000"/>
                <a:gd name="connsiteX99" fmla="*/ 4282 w 10000"/>
                <a:gd name="connsiteY99" fmla="*/ 5953 h 10000"/>
                <a:gd name="connsiteX100" fmla="*/ 4895 w 10000"/>
                <a:gd name="connsiteY100" fmla="*/ 5798 h 10000"/>
                <a:gd name="connsiteX101" fmla="*/ 4809 w 10000"/>
                <a:gd name="connsiteY101" fmla="*/ 6617 h 10000"/>
                <a:gd name="connsiteX0" fmla="*/ 4811 w 10000"/>
                <a:gd name="connsiteY0" fmla="*/ 10000 h 10000"/>
                <a:gd name="connsiteX1" fmla="*/ 4994 w 10000"/>
                <a:gd name="connsiteY1" fmla="*/ 9700 h 10000"/>
                <a:gd name="connsiteX2" fmla="*/ 5202 w 10000"/>
                <a:gd name="connsiteY2" fmla="*/ 9440 h 10000"/>
                <a:gd name="connsiteX3" fmla="*/ 5636 w 10000"/>
                <a:gd name="connsiteY3" fmla="*/ 8360 h 10000"/>
                <a:gd name="connsiteX4" fmla="*/ 5984 w 10000"/>
                <a:gd name="connsiteY4" fmla="*/ 8695 h 10000"/>
                <a:gd name="connsiteX5" fmla="*/ 5958 w 10000"/>
                <a:gd name="connsiteY5" fmla="*/ 8434 h 10000"/>
                <a:gd name="connsiteX6" fmla="*/ 6188 w 10000"/>
                <a:gd name="connsiteY6" fmla="*/ 8172 h 10000"/>
                <a:gd name="connsiteX7" fmla="*/ 6417 w 10000"/>
                <a:gd name="connsiteY7" fmla="*/ 8360 h 10000"/>
                <a:gd name="connsiteX8" fmla="*/ 6188 w 10000"/>
                <a:gd name="connsiteY8" fmla="*/ 7613 h 10000"/>
                <a:gd name="connsiteX9" fmla="*/ 6327 w 10000"/>
                <a:gd name="connsiteY9" fmla="*/ 7315 h 10000"/>
                <a:gd name="connsiteX10" fmla="*/ 6810 w 10000"/>
                <a:gd name="connsiteY10" fmla="*/ 7091 h 10000"/>
                <a:gd name="connsiteX11" fmla="*/ 6763 w 10000"/>
                <a:gd name="connsiteY11" fmla="*/ 7015 h 10000"/>
                <a:gd name="connsiteX12" fmla="*/ 7132 w 10000"/>
                <a:gd name="connsiteY12" fmla="*/ 6456 h 10000"/>
                <a:gd name="connsiteX13" fmla="*/ 7406 w 10000"/>
                <a:gd name="connsiteY13" fmla="*/ 6156 h 10000"/>
                <a:gd name="connsiteX14" fmla="*/ 8095 w 10000"/>
                <a:gd name="connsiteY14" fmla="*/ 5561 h 10000"/>
                <a:gd name="connsiteX15" fmla="*/ 8302 w 10000"/>
                <a:gd name="connsiteY15" fmla="*/ 5189 h 10000"/>
                <a:gd name="connsiteX16" fmla="*/ 8714 w 10000"/>
                <a:gd name="connsiteY16" fmla="*/ 4477 h 10000"/>
                <a:gd name="connsiteX17" fmla="*/ 9449 w 10000"/>
                <a:gd name="connsiteY17" fmla="*/ 3844 h 10000"/>
                <a:gd name="connsiteX18" fmla="*/ 9494 w 10000"/>
                <a:gd name="connsiteY18" fmla="*/ 3582 h 10000"/>
                <a:gd name="connsiteX19" fmla="*/ 9793 w 10000"/>
                <a:gd name="connsiteY19" fmla="*/ 3174 h 10000"/>
                <a:gd name="connsiteX20" fmla="*/ 10000 w 10000"/>
                <a:gd name="connsiteY20" fmla="*/ 2686 h 10000"/>
                <a:gd name="connsiteX21" fmla="*/ 9678 w 10000"/>
                <a:gd name="connsiteY21" fmla="*/ 2237 h 10000"/>
                <a:gd name="connsiteX22" fmla="*/ 9265 w 10000"/>
                <a:gd name="connsiteY22" fmla="*/ 2686 h 10000"/>
                <a:gd name="connsiteX23" fmla="*/ 9059 w 10000"/>
                <a:gd name="connsiteY23" fmla="*/ 2501 h 10000"/>
                <a:gd name="connsiteX24" fmla="*/ 8875 w 10000"/>
                <a:gd name="connsiteY24" fmla="*/ 2129 h 10000"/>
                <a:gd name="connsiteX25" fmla="*/ 9012 w 10000"/>
                <a:gd name="connsiteY25" fmla="*/ 1829 h 10000"/>
                <a:gd name="connsiteX26" fmla="*/ 8691 w 10000"/>
                <a:gd name="connsiteY26" fmla="*/ 1419 h 10000"/>
                <a:gd name="connsiteX27" fmla="*/ 8553 w 10000"/>
                <a:gd name="connsiteY27" fmla="*/ 1570 h 10000"/>
                <a:gd name="connsiteX28" fmla="*/ 8253 w 10000"/>
                <a:gd name="connsiteY28" fmla="*/ 1648 h 10000"/>
                <a:gd name="connsiteX29" fmla="*/ 8279 w 10000"/>
                <a:gd name="connsiteY29" fmla="*/ 2056 h 10000"/>
                <a:gd name="connsiteX30" fmla="*/ 8369 w 10000"/>
                <a:gd name="connsiteY30" fmla="*/ 2165 h 10000"/>
                <a:gd name="connsiteX31" fmla="*/ 8302 w 10000"/>
                <a:gd name="connsiteY31" fmla="*/ 2464 h 10000"/>
                <a:gd name="connsiteX32" fmla="*/ 8117 w 10000"/>
                <a:gd name="connsiteY32" fmla="*/ 2540 h 10000"/>
                <a:gd name="connsiteX33" fmla="*/ 7933 w 10000"/>
                <a:gd name="connsiteY33" fmla="*/ 2765 h 10000"/>
                <a:gd name="connsiteX34" fmla="*/ 8095 w 10000"/>
                <a:gd name="connsiteY34" fmla="*/ 3059 h 10000"/>
                <a:gd name="connsiteX35" fmla="*/ 8072 w 10000"/>
                <a:gd name="connsiteY35" fmla="*/ 3286 h 10000"/>
                <a:gd name="connsiteX36" fmla="*/ 7727 w 10000"/>
                <a:gd name="connsiteY36" fmla="*/ 3548 h 10000"/>
                <a:gd name="connsiteX37" fmla="*/ 7566 w 10000"/>
                <a:gd name="connsiteY37" fmla="*/ 3993 h 10000"/>
                <a:gd name="connsiteX38" fmla="*/ 7153 w 10000"/>
                <a:gd name="connsiteY38" fmla="*/ 3100 h 10000"/>
                <a:gd name="connsiteX39" fmla="*/ 6992 w 10000"/>
                <a:gd name="connsiteY39" fmla="*/ 3399 h 10000"/>
                <a:gd name="connsiteX40" fmla="*/ 7221 w 10000"/>
                <a:gd name="connsiteY40" fmla="*/ 3771 h 10000"/>
                <a:gd name="connsiteX41" fmla="*/ 7038 w 10000"/>
                <a:gd name="connsiteY41" fmla="*/ 4030 h 10000"/>
                <a:gd name="connsiteX42" fmla="*/ 7083 w 10000"/>
                <a:gd name="connsiteY42" fmla="*/ 4217 h 10000"/>
                <a:gd name="connsiteX43" fmla="*/ 6717 w 10000"/>
                <a:gd name="connsiteY43" fmla="*/ 4663 h 10000"/>
                <a:gd name="connsiteX44" fmla="*/ 6327 w 10000"/>
                <a:gd name="connsiteY44" fmla="*/ 4294 h 10000"/>
                <a:gd name="connsiteX45" fmla="*/ 5272 w 10000"/>
                <a:gd name="connsiteY45" fmla="*/ 5225 h 10000"/>
                <a:gd name="connsiteX46" fmla="*/ 5179 w 10000"/>
                <a:gd name="connsiteY46" fmla="*/ 4815 h 10000"/>
                <a:gd name="connsiteX47" fmla="*/ 5041 w 10000"/>
                <a:gd name="connsiteY47" fmla="*/ 4553 h 10000"/>
                <a:gd name="connsiteX48" fmla="*/ 5087 w 10000"/>
                <a:gd name="connsiteY48" fmla="*/ 4253 h 10000"/>
                <a:gd name="connsiteX49" fmla="*/ 4948 w 10000"/>
                <a:gd name="connsiteY49" fmla="*/ 3958 h 10000"/>
                <a:gd name="connsiteX50" fmla="*/ 4742 w 10000"/>
                <a:gd name="connsiteY50" fmla="*/ 3920 h 10000"/>
                <a:gd name="connsiteX51" fmla="*/ 4788 w 10000"/>
                <a:gd name="connsiteY51" fmla="*/ 3509 h 10000"/>
                <a:gd name="connsiteX52" fmla="*/ 4626 w 10000"/>
                <a:gd name="connsiteY52" fmla="*/ 3360 h 10000"/>
                <a:gd name="connsiteX53" fmla="*/ 4466 w 10000"/>
                <a:gd name="connsiteY53" fmla="*/ 2839 h 10000"/>
                <a:gd name="connsiteX54" fmla="*/ 4259 w 10000"/>
                <a:gd name="connsiteY54" fmla="*/ 2839 h 10000"/>
                <a:gd name="connsiteX55" fmla="*/ 4054 w 10000"/>
                <a:gd name="connsiteY55" fmla="*/ 2576 h 10000"/>
                <a:gd name="connsiteX56" fmla="*/ 4054 w 10000"/>
                <a:gd name="connsiteY56" fmla="*/ 2464 h 10000"/>
                <a:gd name="connsiteX57" fmla="*/ 3869 w 10000"/>
                <a:gd name="connsiteY57" fmla="*/ 2614 h 10000"/>
                <a:gd name="connsiteX58" fmla="*/ 3640 w 10000"/>
                <a:gd name="connsiteY58" fmla="*/ 2354 h 10000"/>
                <a:gd name="connsiteX59" fmla="*/ 3755 w 10000"/>
                <a:gd name="connsiteY59" fmla="*/ 1979 h 10000"/>
                <a:gd name="connsiteX60" fmla="*/ 3570 w 10000"/>
                <a:gd name="connsiteY60" fmla="*/ 1680 h 10000"/>
                <a:gd name="connsiteX61" fmla="*/ 3711 w 10000"/>
                <a:gd name="connsiteY61" fmla="*/ 1235 h 10000"/>
                <a:gd name="connsiteX62" fmla="*/ 3250 w 10000"/>
                <a:gd name="connsiteY62" fmla="*/ 636 h 10000"/>
                <a:gd name="connsiteX63" fmla="*/ 2975 w 10000"/>
                <a:gd name="connsiteY63" fmla="*/ 824 h 10000"/>
                <a:gd name="connsiteX64" fmla="*/ 2446 w 10000"/>
                <a:gd name="connsiteY64" fmla="*/ 488 h 10000"/>
                <a:gd name="connsiteX65" fmla="*/ 2239 w 10000"/>
                <a:gd name="connsiteY65" fmla="*/ 708 h 10000"/>
                <a:gd name="connsiteX66" fmla="*/ 1734 w 10000"/>
                <a:gd name="connsiteY66" fmla="*/ 40 h 10000"/>
                <a:gd name="connsiteX67" fmla="*/ 1321 w 10000"/>
                <a:gd name="connsiteY67" fmla="*/ 972 h 10000"/>
                <a:gd name="connsiteX68" fmla="*/ 1321 w 10000"/>
                <a:gd name="connsiteY68" fmla="*/ 1531 h 10000"/>
                <a:gd name="connsiteX69" fmla="*/ 1022 w 10000"/>
                <a:gd name="connsiteY69" fmla="*/ 1085 h 10000"/>
                <a:gd name="connsiteX70" fmla="*/ 679 w 10000"/>
                <a:gd name="connsiteY70" fmla="*/ 1829 h 10000"/>
                <a:gd name="connsiteX71" fmla="*/ 933 w 10000"/>
                <a:gd name="connsiteY71" fmla="*/ 2426 h 10000"/>
                <a:gd name="connsiteX72" fmla="*/ 471 w 10000"/>
                <a:gd name="connsiteY72" fmla="*/ 3135 h 10000"/>
                <a:gd name="connsiteX73" fmla="*/ 427 w 10000"/>
                <a:gd name="connsiteY73" fmla="*/ 3135 h 10000"/>
                <a:gd name="connsiteX74" fmla="*/ 609 w 10000"/>
                <a:gd name="connsiteY74" fmla="*/ 3548 h 10000"/>
                <a:gd name="connsiteX75" fmla="*/ 379 w 10000"/>
                <a:gd name="connsiteY75" fmla="*/ 3958 h 10000"/>
                <a:gd name="connsiteX76" fmla="*/ 539 w 10000"/>
                <a:gd name="connsiteY76" fmla="*/ 4217 h 10000"/>
                <a:gd name="connsiteX77" fmla="*/ 471 w 10000"/>
                <a:gd name="connsiteY77" fmla="*/ 4628 h 10000"/>
                <a:gd name="connsiteX78" fmla="*/ 379 w 10000"/>
                <a:gd name="connsiteY78" fmla="*/ 4855 h 10000"/>
                <a:gd name="connsiteX79" fmla="*/ 539 w 10000"/>
                <a:gd name="connsiteY79" fmla="*/ 5302 h 10000"/>
                <a:gd name="connsiteX80" fmla="*/ 266 w 10000"/>
                <a:gd name="connsiteY80" fmla="*/ 6006 h 10000"/>
                <a:gd name="connsiteX81" fmla="*/ 471 w 10000"/>
                <a:gd name="connsiteY81" fmla="*/ 6421 h 10000"/>
                <a:gd name="connsiteX82" fmla="*/ 105 w 10000"/>
                <a:gd name="connsiteY82" fmla="*/ 7127 h 10000"/>
                <a:gd name="connsiteX83" fmla="*/ 288 w 10000"/>
                <a:gd name="connsiteY83" fmla="*/ 7500 h 10000"/>
                <a:gd name="connsiteX84" fmla="*/ 12 w 10000"/>
                <a:gd name="connsiteY84" fmla="*/ 8100 h 10000"/>
                <a:gd name="connsiteX85" fmla="*/ 379 w 10000"/>
                <a:gd name="connsiteY85" fmla="*/ 8320 h 10000"/>
                <a:gd name="connsiteX86" fmla="*/ 266 w 10000"/>
                <a:gd name="connsiteY86" fmla="*/ 8808 h 10000"/>
                <a:gd name="connsiteX87" fmla="*/ 357 w 10000"/>
                <a:gd name="connsiteY87" fmla="*/ 9365 h 10000"/>
                <a:gd name="connsiteX88" fmla="*/ 982 w 10000"/>
                <a:gd name="connsiteY88" fmla="*/ 8853 h 10000"/>
                <a:gd name="connsiteX89" fmla="*/ 1342 w 10000"/>
                <a:gd name="connsiteY89" fmla="*/ 8402 h 10000"/>
                <a:gd name="connsiteX90" fmla="*/ 1775 w 10000"/>
                <a:gd name="connsiteY90" fmla="*/ 8411 h 10000"/>
                <a:gd name="connsiteX91" fmla="*/ 2239 w 10000"/>
                <a:gd name="connsiteY91" fmla="*/ 8143 h 10000"/>
                <a:gd name="connsiteX92" fmla="*/ 2810 w 10000"/>
                <a:gd name="connsiteY92" fmla="*/ 7719 h 10000"/>
                <a:gd name="connsiteX93" fmla="*/ 2997 w 10000"/>
                <a:gd name="connsiteY93" fmla="*/ 7395 h 10000"/>
                <a:gd name="connsiteX94" fmla="*/ 3386 w 10000"/>
                <a:gd name="connsiteY94" fmla="*/ 6772 h 10000"/>
                <a:gd name="connsiteX95" fmla="*/ 4023 w 10000"/>
                <a:gd name="connsiteY95" fmla="*/ 7206 h 10000"/>
                <a:gd name="connsiteX96" fmla="*/ 4296 w 10000"/>
                <a:gd name="connsiteY96" fmla="*/ 7178 h 10000"/>
                <a:gd name="connsiteX97" fmla="*/ 4241 w 10000"/>
                <a:gd name="connsiteY97" fmla="*/ 6641 h 10000"/>
                <a:gd name="connsiteX98" fmla="*/ 4282 w 10000"/>
                <a:gd name="connsiteY98" fmla="*/ 5953 h 10000"/>
                <a:gd name="connsiteX99" fmla="*/ 4895 w 10000"/>
                <a:gd name="connsiteY99" fmla="*/ 5798 h 10000"/>
                <a:gd name="connsiteX100" fmla="*/ 4809 w 10000"/>
                <a:gd name="connsiteY100" fmla="*/ 6617 h 10000"/>
                <a:gd name="connsiteX0" fmla="*/ 4994 w 10000"/>
                <a:gd name="connsiteY0" fmla="*/ 9700 h 9700"/>
                <a:gd name="connsiteX1" fmla="*/ 5202 w 10000"/>
                <a:gd name="connsiteY1" fmla="*/ 9440 h 9700"/>
                <a:gd name="connsiteX2" fmla="*/ 5636 w 10000"/>
                <a:gd name="connsiteY2" fmla="*/ 8360 h 9700"/>
                <a:gd name="connsiteX3" fmla="*/ 5984 w 10000"/>
                <a:gd name="connsiteY3" fmla="*/ 8695 h 9700"/>
                <a:gd name="connsiteX4" fmla="*/ 5958 w 10000"/>
                <a:gd name="connsiteY4" fmla="*/ 8434 h 9700"/>
                <a:gd name="connsiteX5" fmla="*/ 6188 w 10000"/>
                <a:gd name="connsiteY5" fmla="*/ 8172 h 9700"/>
                <a:gd name="connsiteX6" fmla="*/ 6417 w 10000"/>
                <a:gd name="connsiteY6" fmla="*/ 8360 h 9700"/>
                <a:gd name="connsiteX7" fmla="*/ 6188 w 10000"/>
                <a:gd name="connsiteY7" fmla="*/ 7613 h 9700"/>
                <a:gd name="connsiteX8" fmla="*/ 6327 w 10000"/>
                <a:gd name="connsiteY8" fmla="*/ 7315 h 9700"/>
                <a:gd name="connsiteX9" fmla="*/ 6810 w 10000"/>
                <a:gd name="connsiteY9" fmla="*/ 7091 h 9700"/>
                <a:gd name="connsiteX10" fmla="*/ 6763 w 10000"/>
                <a:gd name="connsiteY10" fmla="*/ 7015 h 9700"/>
                <a:gd name="connsiteX11" fmla="*/ 7132 w 10000"/>
                <a:gd name="connsiteY11" fmla="*/ 6456 h 9700"/>
                <a:gd name="connsiteX12" fmla="*/ 7406 w 10000"/>
                <a:gd name="connsiteY12" fmla="*/ 6156 h 9700"/>
                <a:gd name="connsiteX13" fmla="*/ 8095 w 10000"/>
                <a:gd name="connsiteY13" fmla="*/ 5561 h 9700"/>
                <a:gd name="connsiteX14" fmla="*/ 8302 w 10000"/>
                <a:gd name="connsiteY14" fmla="*/ 5189 h 9700"/>
                <a:gd name="connsiteX15" fmla="*/ 8714 w 10000"/>
                <a:gd name="connsiteY15" fmla="*/ 4477 h 9700"/>
                <a:gd name="connsiteX16" fmla="*/ 9449 w 10000"/>
                <a:gd name="connsiteY16" fmla="*/ 3844 h 9700"/>
                <a:gd name="connsiteX17" fmla="*/ 9494 w 10000"/>
                <a:gd name="connsiteY17" fmla="*/ 3582 h 9700"/>
                <a:gd name="connsiteX18" fmla="*/ 9793 w 10000"/>
                <a:gd name="connsiteY18" fmla="*/ 3174 h 9700"/>
                <a:gd name="connsiteX19" fmla="*/ 10000 w 10000"/>
                <a:gd name="connsiteY19" fmla="*/ 2686 h 9700"/>
                <a:gd name="connsiteX20" fmla="*/ 9678 w 10000"/>
                <a:gd name="connsiteY20" fmla="*/ 2237 h 9700"/>
                <a:gd name="connsiteX21" fmla="*/ 9265 w 10000"/>
                <a:gd name="connsiteY21" fmla="*/ 2686 h 9700"/>
                <a:gd name="connsiteX22" fmla="*/ 9059 w 10000"/>
                <a:gd name="connsiteY22" fmla="*/ 2501 h 9700"/>
                <a:gd name="connsiteX23" fmla="*/ 8875 w 10000"/>
                <a:gd name="connsiteY23" fmla="*/ 2129 h 9700"/>
                <a:gd name="connsiteX24" fmla="*/ 9012 w 10000"/>
                <a:gd name="connsiteY24" fmla="*/ 1829 h 9700"/>
                <a:gd name="connsiteX25" fmla="*/ 8691 w 10000"/>
                <a:gd name="connsiteY25" fmla="*/ 1419 h 9700"/>
                <a:gd name="connsiteX26" fmla="*/ 8553 w 10000"/>
                <a:gd name="connsiteY26" fmla="*/ 1570 h 9700"/>
                <a:gd name="connsiteX27" fmla="*/ 8253 w 10000"/>
                <a:gd name="connsiteY27" fmla="*/ 1648 h 9700"/>
                <a:gd name="connsiteX28" fmla="*/ 8279 w 10000"/>
                <a:gd name="connsiteY28" fmla="*/ 2056 h 9700"/>
                <a:gd name="connsiteX29" fmla="*/ 8369 w 10000"/>
                <a:gd name="connsiteY29" fmla="*/ 2165 h 9700"/>
                <a:gd name="connsiteX30" fmla="*/ 8302 w 10000"/>
                <a:gd name="connsiteY30" fmla="*/ 2464 h 9700"/>
                <a:gd name="connsiteX31" fmla="*/ 8117 w 10000"/>
                <a:gd name="connsiteY31" fmla="*/ 2540 h 9700"/>
                <a:gd name="connsiteX32" fmla="*/ 7933 w 10000"/>
                <a:gd name="connsiteY32" fmla="*/ 2765 h 9700"/>
                <a:gd name="connsiteX33" fmla="*/ 8095 w 10000"/>
                <a:gd name="connsiteY33" fmla="*/ 3059 h 9700"/>
                <a:gd name="connsiteX34" fmla="*/ 8072 w 10000"/>
                <a:gd name="connsiteY34" fmla="*/ 3286 h 9700"/>
                <a:gd name="connsiteX35" fmla="*/ 7727 w 10000"/>
                <a:gd name="connsiteY35" fmla="*/ 3548 h 9700"/>
                <a:gd name="connsiteX36" fmla="*/ 7566 w 10000"/>
                <a:gd name="connsiteY36" fmla="*/ 3993 h 9700"/>
                <a:gd name="connsiteX37" fmla="*/ 7153 w 10000"/>
                <a:gd name="connsiteY37" fmla="*/ 3100 h 9700"/>
                <a:gd name="connsiteX38" fmla="*/ 6992 w 10000"/>
                <a:gd name="connsiteY38" fmla="*/ 3399 h 9700"/>
                <a:gd name="connsiteX39" fmla="*/ 7221 w 10000"/>
                <a:gd name="connsiteY39" fmla="*/ 3771 h 9700"/>
                <a:gd name="connsiteX40" fmla="*/ 7038 w 10000"/>
                <a:gd name="connsiteY40" fmla="*/ 4030 h 9700"/>
                <a:gd name="connsiteX41" fmla="*/ 7083 w 10000"/>
                <a:gd name="connsiteY41" fmla="*/ 4217 h 9700"/>
                <a:gd name="connsiteX42" fmla="*/ 6717 w 10000"/>
                <a:gd name="connsiteY42" fmla="*/ 4663 h 9700"/>
                <a:gd name="connsiteX43" fmla="*/ 6327 w 10000"/>
                <a:gd name="connsiteY43" fmla="*/ 4294 h 9700"/>
                <a:gd name="connsiteX44" fmla="*/ 5272 w 10000"/>
                <a:gd name="connsiteY44" fmla="*/ 5225 h 9700"/>
                <a:gd name="connsiteX45" fmla="*/ 5179 w 10000"/>
                <a:gd name="connsiteY45" fmla="*/ 4815 h 9700"/>
                <a:gd name="connsiteX46" fmla="*/ 5041 w 10000"/>
                <a:gd name="connsiteY46" fmla="*/ 4553 h 9700"/>
                <a:gd name="connsiteX47" fmla="*/ 5087 w 10000"/>
                <a:gd name="connsiteY47" fmla="*/ 4253 h 9700"/>
                <a:gd name="connsiteX48" fmla="*/ 4948 w 10000"/>
                <a:gd name="connsiteY48" fmla="*/ 3958 h 9700"/>
                <a:gd name="connsiteX49" fmla="*/ 4742 w 10000"/>
                <a:gd name="connsiteY49" fmla="*/ 3920 h 9700"/>
                <a:gd name="connsiteX50" fmla="*/ 4788 w 10000"/>
                <a:gd name="connsiteY50" fmla="*/ 3509 h 9700"/>
                <a:gd name="connsiteX51" fmla="*/ 4626 w 10000"/>
                <a:gd name="connsiteY51" fmla="*/ 3360 h 9700"/>
                <a:gd name="connsiteX52" fmla="*/ 4466 w 10000"/>
                <a:gd name="connsiteY52" fmla="*/ 2839 h 9700"/>
                <a:gd name="connsiteX53" fmla="*/ 4259 w 10000"/>
                <a:gd name="connsiteY53" fmla="*/ 2839 h 9700"/>
                <a:gd name="connsiteX54" fmla="*/ 4054 w 10000"/>
                <a:gd name="connsiteY54" fmla="*/ 2576 h 9700"/>
                <a:gd name="connsiteX55" fmla="*/ 4054 w 10000"/>
                <a:gd name="connsiteY55" fmla="*/ 2464 h 9700"/>
                <a:gd name="connsiteX56" fmla="*/ 3869 w 10000"/>
                <a:gd name="connsiteY56" fmla="*/ 2614 h 9700"/>
                <a:gd name="connsiteX57" fmla="*/ 3640 w 10000"/>
                <a:gd name="connsiteY57" fmla="*/ 2354 h 9700"/>
                <a:gd name="connsiteX58" fmla="*/ 3755 w 10000"/>
                <a:gd name="connsiteY58" fmla="*/ 1979 h 9700"/>
                <a:gd name="connsiteX59" fmla="*/ 3570 w 10000"/>
                <a:gd name="connsiteY59" fmla="*/ 1680 h 9700"/>
                <a:gd name="connsiteX60" fmla="*/ 3711 w 10000"/>
                <a:gd name="connsiteY60" fmla="*/ 1235 h 9700"/>
                <a:gd name="connsiteX61" fmla="*/ 3250 w 10000"/>
                <a:gd name="connsiteY61" fmla="*/ 636 h 9700"/>
                <a:gd name="connsiteX62" fmla="*/ 2975 w 10000"/>
                <a:gd name="connsiteY62" fmla="*/ 824 h 9700"/>
                <a:gd name="connsiteX63" fmla="*/ 2446 w 10000"/>
                <a:gd name="connsiteY63" fmla="*/ 488 h 9700"/>
                <a:gd name="connsiteX64" fmla="*/ 2239 w 10000"/>
                <a:gd name="connsiteY64" fmla="*/ 708 h 9700"/>
                <a:gd name="connsiteX65" fmla="*/ 1734 w 10000"/>
                <a:gd name="connsiteY65" fmla="*/ 40 h 9700"/>
                <a:gd name="connsiteX66" fmla="*/ 1321 w 10000"/>
                <a:gd name="connsiteY66" fmla="*/ 972 h 9700"/>
                <a:gd name="connsiteX67" fmla="*/ 1321 w 10000"/>
                <a:gd name="connsiteY67" fmla="*/ 1531 h 9700"/>
                <a:gd name="connsiteX68" fmla="*/ 1022 w 10000"/>
                <a:gd name="connsiteY68" fmla="*/ 1085 h 9700"/>
                <a:gd name="connsiteX69" fmla="*/ 679 w 10000"/>
                <a:gd name="connsiteY69" fmla="*/ 1829 h 9700"/>
                <a:gd name="connsiteX70" fmla="*/ 933 w 10000"/>
                <a:gd name="connsiteY70" fmla="*/ 2426 h 9700"/>
                <a:gd name="connsiteX71" fmla="*/ 471 w 10000"/>
                <a:gd name="connsiteY71" fmla="*/ 3135 h 9700"/>
                <a:gd name="connsiteX72" fmla="*/ 427 w 10000"/>
                <a:gd name="connsiteY72" fmla="*/ 3135 h 9700"/>
                <a:gd name="connsiteX73" fmla="*/ 609 w 10000"/>
                <a:gd name="connsiteY73" fmla="*/ 3548 h 9700"/>
                <a:gd name="connsiteX74" fmla="*/ 379 w 10000"/>
                <a:gd name="connsiteY74" fmla="*/ 3958 h 9700"/>
                <a:gd name="connsiteX75" fmla="*/ 539 w 10000"/>
                <a:gd name="connsiteY75" fmla="*/ 4217 h 9700"/>
                <a:gd name="connsiteX76" fmla="*/ 471 w 10000"/>
                <a:gd name="connsiteY76" fmla="*/ 4628 h 9700"/>
                <a:gd name="connsiteX77" fmla="*/ 379 w 10000"/>
                <a:gd name="connsiteY77" fmla="*/ 4855 h 9700"/>
                <a:gd name="connsiteX78" fmla="*/ 539 w 10000"/>
                <a:gd name="connsiteY78" fmla="*/ 5302 h 9700"/>
                <a:gd name="connsiteX79" fmla="*/ 266 w 10000"/>
                <a:gd name="connsiteY79" fmla="*/ 6006 h 9700"/>
                <a:gd name="connsiteX80" fmla="*/ 471 w 10000"/>
                <a:gd name="connsiteY80" fmla="*/ 6421 h 9700"/>
                <a:gd name="connsiteX81" fmla="*/ 105 w 10000"/>
                <a:gd name="connsiteY81" fmla="*/ 7127 h 9700"/>
                <a:gd name="connsiteX82" fmla="*/ 288 w 10000"/>
                <a:gd name="connsiteY82" fmla="*/ 7500 h 9700"/>
                <a:gd name="connsiteX83" fmla="*/ 12 w 10000"/>
                <a:gd name="connsiteY83" fmla="*/ 8100 h 9700"/>
                <a:gd name="connsiteX84" fmla="*/ 379 w 10000"/>
                <a:gd name="connsiteY84" fmla="*/ 8320 h 9700"/>
                <a:gd name="connsiteX85" fmla="*/ 266 w 10000"/>
                <a:gd name="connsiteY85" fmla="*/ 8808 h 9700"/>
                <a:gd name="connsiteX86" fmla="*/ 357 w 10000"/>
                <a:gd name="connsiteY86" fmla="*/ 9365 h 9700"/>
                <a:gd name="connsiteX87" fmla="*/ 982 w 10000"/>
                <a:gd name="connsiteY87" fmla="*/ 8853 h 9700"/>
                <a:gd name="connsiteX88" fmla="*/ 1342 w 10000"/>
                <a:gd name="connsiteY88" fmla="*/ 8402 h 9700"/>
                <a:gd name="connsiteX89" fmla="*/ 1775 w 10000"/>
                <a:gd name="connsiteY89" fmla="*/ 8411 h 9700"/>
                <a:gd name="connsiteX90" fmla="*/ 2239 w 10000"/>
                <a:gd name="connsiteY90" fmla="*/ 8143 h 9700"/>
                <a:gd name="connsiteX91" fmla="*/ 2810 w 10000"/>
                <a:gd name="connsiteY91" fmla="*/ 7719 h 9700"/>
                <a:gd name="connsiteX92" fmla="*/ 2997 w 10000"/>
                <a:gd name="connsiteY92" fmla="*/ 7395 h 9700"/>
                <a:gd name="connsiteX93" fmla="*/ 3386 w 10000"/>
                <a:gd name="connsiteY93" fmla="*/ 6772 h 9700"/>
                <a:gd name="connsiteX94" fmla="*/ 4023 w 10000"/>
                <a:gd name="connsiteY94" fmla="*/ 7206 h 9700"/>
                <a:gd name="connsiteX95" fmla="*/ 4296 w 10000"/>
                <a:gd name="connsiteY95" fmla="*/ 7178 h 9700"/>
                <a:gd name="connsiteX96" fmla="*/ 4241 w 10000"/>
                <a:gd name="connsiteY96" fmla="*/ 6641 h 9700"/>
                <a:gd name="connsiteX97" fmla="*/ 4282 w 10000"/>
                <a:gd name="connsiteY97" fmla="*/ 5953 h 9700"/>
                <a:gd name="connsiteX98" fmla="*/ 4895 w 10000"/>
                <a:gd name="connsiteY98" fmla="*/ 5798 h 9700"/>
                <a:gd name="connsiteX99" fmla="*/ 4809 w 10000"/>
                <a:gd name="connsiteY99" fmla="*/ 6617 h 9700"/>
                <a:gd name="connsiteX0" fmla="*/ 5202 w 10000"/>
                <a:gd name="connsiteY0" fmla="*/ 9732 h 9732"/>
                <a:gd name="connsiteX1" fmla="*/ 5636 w 10000"/>
                <a:gd name="connsiteY1" fmla="*/ 8619 h 9732"/>
                <a:gd name="connsiteX2" fmla="*/ 5984 w 10000"/>
                <a:gd name="connsiteY2" fmla="*/ 8964 h 9732"/>
                <a:gd name="connsiteX3" fmla="*/ 5958 w 10000"/>
                <a:gd name="connsiteY3" fmla="*/ 8695 h 9732"/>
                <a:gd name="connsiteX4" fmla="*/ 6188 w 10000"/>
                <a:gd name="connsiteY4" fmla="*/ 8425 h 9732"/>
                <a:gd name="connsiteX5" fmla="*/ 6417 w 10000"/>
                <a:gd name="connsiteY5" fmla="*/ 8619 h 9732"/>
                <a:gd name="connsiteX6" fmla="*/ 6188 w 10000"/>
                <a:gd name="connsiteY6" fmla="*/ 7848 h 9732"/>
                <a:gd name="connsiteX7" fmla="*/ 6327 w 10000"/>
                <a:gd name="connsiteY7" fmla="*/ 7541 h 9732"/>
                <a:gd name="connsiteX8" fmla="*/ 6810 w 10000"/>
                <a:gd name="connsiteY8" fmla="*/ 7310 h 9732"/>
                <a:gd name="connsiteX9" fmla="*/ 6763 w 10000"/>
                <a:gd name="connsiteY9" fmla="*/ 7232 h 9732"/>
                <a:gd name="connsiteX10" fmla="*/ 7132 w 10000"/>
                <a:gd name="connsiteY10" fmla="*/ 6656 h 9732"/>
                <a:gd name="connsiteX11" fmla="*/ 7406 w 10000"/>
                <a:gd name="connsiteY11" fmla="*/ 6346 h 9732"/>
                <a:gd name="connsiteX12" fmla="*/ 8095 w 10000"/>
                <a:gd name="connsiteY12" fmla="*/ 5733 h 9732"/>
                <a:gd name="connsiteX13" fmla="*/ 8302 w 10000"/>
                <a:gd name="connsiteY13" fmla="*/ 5349 h 9732"/>
                <a:gd name="connsiteX14" fmla="*/ 8714 w 10000"/>
                <a:gd name="connsiteY14" fmla="*/ 4615 h 9732"/>
                <a:gd name="connsiteX15" fmla="*/ 9449 w 10000"/>
                <a:gd name="connsiteY15" fmla="*/ 3963 h 9732"/>
                <a:gd name="connsiteX16" fmla="*/ 9494 w 10000"/>
                <a:gd name="connsiteY16" fmla="*/ 3693 h 9732"/>
                <a:gd name="connsiteX17" fmla="*/ 9793 w 10000"/>
                <a:gd name="connsiteY17" fmla="*/ 3272 h 9732"/>
                <a:gd name="connsiteX18" fmla="*/ 10000 w 10000"/>
                <a:gd name="connsiteY18" fmla="*/ 2769 h 9732"/>
                <a:gd name="connsiteX19" fmla="*/ 9678 w 10000"/>
                <a:gd name="connsiteY19" fmla="*/ 2306 h 9732"/>
                <a:gd name="connsiteX20" fmla="*/ 9265 w 10000"/>
                <a:gd name="connsiteY20" fmla="*/ 2769 h 9732"/>
                <a:gd name="connsiteX21" fmla="*/ 9059 w 10000"/>
                <a:gd name="connsiteY21" fmla="*/ 2578 h 9732"/>
                <a:gd name="connsiteX22" fmla="*/ 8875 w 10000"/>
                <a:gd name="connsiteY22" fmla="*/ 2195 h 9732"/>
                <a:gd name="connsiteX23" fmla="*/ 9012 w 10000"/>
                <a:gd name="connsiteY23" fmla="*/ 1886 h 9732"/>
                <a:gd name="connsiteX24" fmla="*/ 8691 w 10000"/>
                <a:gd name="connsiteY24" fmla="*/ 1463 h 9732"/>
                <a:gd name="connsiteX25" fmla="*/ 8553 w 10000"/>
                <a:gd name="connsiteY25" fmla="*/ 1619 h 9732"/>
                <a:gd name="connsiteX26" fmla="*/ 8253 w 10000"/>
                <a:gd name="connsiteY26" fmla="*/ 1699 h 9732"/>
                <a:gd name="connsiteX27" fmla="*/ 8279 w 10000"/>
                <a:gd name="connsiteY27" fmla="*/ 2120 h 9732"/>
                <a:gd name="connsiteX28" fmla="*/ 8369 w 10000"/>
                <a:gd name="connsiteY28" fmla="*/ 2232 h 9732"/>
                <a:gd name="connsiteX29" fmla="*/ 8302 w 10000"/>
                <a:gd name="connsiteY29" fmla="*/ 2540 h 9732"/>
                <a:gd name="connsiteX30" fmla="*/ 8117 w 10000"/>
                <a:gd name="connsiteY30" fmla="*/ 2619 h 9732"/>
                <a:gd name="connsiteX31" fmla="*/ 7933 w 10000"/>
                <a:gd name="connsiteY31" fmla="*/ 2851 h 9732"/>
                <a:gd name="connsiteX32" fmla="*/ 8095 w 10000"/>
                <a:gd name="connsiteY32" fmla="*/ 3154 h 9732"/>
                <a:gd name="connsiteX33" fmla="*/ 8072 w 10000"/>
                <a:gd name="connsiteY33" fmla="*/ 3388 h 9732"/>
                <a:gd name="connsiteX34" fmla="*/ 7727 w 10000"/>
                <a:gd name="connsiteY34" fmla="*/ 3658 h 9732"/>
                <a:gd name="connsiteX35" fmla="*/ 7566 w 10000"/>
                <a:gd name="connsiteY35" fmla="*/ 4116 h 9732"/>
                <a:gd name="connsiteX36" fmla="*/ 7153 w 10000"/>
                <a:gd name="connsiteY36" fmla="*/ 3196 h 9732"/>
                <a:gd name="connsiteX37" fmla="*/ 6992 w 10000"/>
                <a:gd name="connsiteY37" fmla="*/ 3504 h 9732"/>
                <a:gd name="connsiteX38" fmla="*/ 7221 w 10000"/>
                <a:gd name="connsiteY38" fmla="*/ 3888 h 9732"/>
                <a:gd name="connsiteX39" fmla="*/ 7038 w 10000"/>
                <a:gd name="connsiteY39" fmla="*/ 4155 h 9732"/>
                <a:gd name="connsiteX40" fmla="*/ 7083 w 10000"/>
                <a:gd name="connsiteY40" fmla="*/ 4347 h 9732"/>
                <a:gd name="connsiteX41" fmla="*/ 6717 w 10000"/>
                <a:gd name="connsiteY41" fmla="*/ 4807 h 9732"/>
                <a:gd name="connsiteX42" fmla="*/ 6327 w 10000"/>
                <a:gd name="connsiteY42" fmla="*/ 4427 h 9732"/>
                <a:gd name="connsiteX43" fmla="*/ 5272 w 10000"/>
                <a:gd name="connsiteY43" fmla="*/ 5387 h 9732"/>
                <a:gd name="connsiteX44" fmla="*/ 5179 w 10000"/>
                <a:gd name="connsiteY44" fmla="*/ 4964 h 9732"/>
                <a:gd name="connsiteX45" fmla="*/ 5041 w 10000"/>
                <a:gd name="connsiteY45" fmla="*/ 4694 h 9732"/>
                <a:gd name="connsiteX46" fmla="*/ 5087 w 10000"/>
                <a:gd name="connsiteY46" fmla="*/ 4385 h 9732"/>
                <a:gd name="connsiteX47" fmla="*/ 4948 w 10000"/>
                <a:gd name="connsiteY47" fmla="*/ 4080 h 9732"/>
                <a:gd name="connsiteX48" fmla="*/ 4742 w 10000"/>
                <a:gd name="connsiteY48" fmla="*/ 4041 h 9732"/>
                <a:gd name="connsiteX49" fmla="*/ 4788 w 10000"/>
                <a:gd name="connsiteY49" fmla="*/ 3618 h 9732"/>
                <a:gd name="connsiteX50" fmla="*/ 4626 w 10000"/>
                <a:gd name="connsiteY50" fmla="*/ 3464 h 9732"/>
                <a:gd name="connsiteX51" fmla="*/ 4466 w 10000"/>
                <a:gd name="connsiteY51" fmla="*/ 2927 h 9732"/>
                <a:gd name="connsiteX52" fmla="*/ 4259 w 10000"/>
                <a:gd name="connsiteY52" fmla="*/ 2927 h 9732"/>
                <a:gd name="connsiteX53" fmla="*/ 4054 w 10000"/>
                <a:gd name="connsiteY53" fmla="*/ 2656 h 9732"/>
                <a:gd name="connsiteX54" fmla="*/ 4054 w 10000"/>
                <a:gd name="connsiteY54" fmla="*/ 2540 h 9732"/>
                <a:gd name="connsiteX55" fmla="*/ 3869 w 10000"/>
                <a:gd name="connsiteY55" fmla="*/ 2695 h 9732"/>
                <a:gd name="connsiteX56" fmla="*/ 3640 w 10000"/>
                <a:gd name="connsiteY56" fmla="*/ 2427 h 9732"/>
                <a:gd name="connsiteX57" fmla="*/ 3755 w 10000"/>
                <a:gd name="connsiteY57" fmla="*/ 2040 h 9732"/>
                <a:gd name="connsiteX58" fmla="*/ 3570 w 10000"/>
                <a:gd name="connsiteY58" fmla="*/ 1732 h 9732"/>
                <a:gd name="connsiteX59" fmla="*/ 3711 w 10000"/>
                <a:gd name="connsiteY59" fmla="*/ 1273 h 9732"/>
                <a:gd name="connsiteX60" fmla="*/ 3250 w 10000"/>
                <a:gd name="connsiteY60" fmla="*/ 656 h 9732"/>
                <a:gd name="connsiteX61" fmla="*/ 2975 w 10000"/>
                <a:gd name="connsiteY61" fmla="*/ 849 h 9732"/>
                <a:gd name="connsiteX62" fmla="*/ 2446 w 10000"/>
                <a:gd name="connsiteY62" fmla="*/ 503 h 9732"/>
                <a:gd name="connsiteX63" fmla="*/ 2239 w 10000"/>
                <a:gd name="connsiteY63" fmla="*/ 730 h 9732"/>
                <a:gd name="connsiteX64" fmla="*/ 1734 w 10000"/>
                <a:gd name="connsiteY64" fmla="*/ 41 h 9732"/>
                <a:gd name="connsiteX65" fmla="*/ 1321 w 10000"/>
                <a:gd name="connsiteY65" fmla="*/ 1002 h 9732"/>
                <a:gd name="connsiteX66" fmla="*/ 1321 w 10000"/>
                <a:gd name="connsiteY66" fmla="*/ 1578 h 9732"/>
                <a:gd name="connsiteX67" fmla="*/ 1022 w 10000"/>
                <a:gd name="connsiteY67" fmla="*/ 1119 h 9732"/>
                <a:gd name="connsiteX68" fmla="*/ 679 w 10000"/>
                <a:gd name="connsiteY68" fmla="*/ 1886 h 9732"/>
                <a:gd name="connsiteX69" fmla="*/ 933 w 10000"/>
                <a:gd name="connsiteY69" fmla="*/ 2501 h 9732"/>
                <a:gd name="connsiteX70" fmla="*/ 471 w 10000"/>
                <a:gd name="connsiteY70" fmla="*/ 3232 h 9732"/>
                <a:gd name="connsiteX71" fmla="*/ 427 w 10000"/>
                <a:gd name="connsiteY71" fmla="*/ 3232 h 9732"/>
                <a:gd name="connsiteX72" fmla="*/ 609 w 10000"/>
                <a:gd name="connsiteY72" fmla="*/ 3658 h 9732"/>
                <a:gd name="connsiteX73" fmla="*/ 379 w 10000"/>
                <a:gd name="connsiteY73" fmla="*/ 4080 h 9732"/>
                <a:gd name="connsiteX74" fmla="*/ 539 w 10000"/>
                <a:gd name="connsiteY74" fmla="*/ 4347 h 9732"/>
                <a:gd name="connsiteX75" fmla="*/ 471 w 10000"/>
                <a:gd name="connsiteY75" fmla="*/ 4771 h 9732"/>
                <a:gd name="connsiteX76" fmla="*/ 379 w 10000"/>
                <a:gd name="connsiteY76" fmla="*/ 5005 h 9732"/>
                <a:gd name="connsiteX77" fmla="*/ 539 w 10000"/>
                <a:gd name="connsiteY77" fmla="*/ 5466 h 9732"/>
                <a:gd name="connsiteX78" fmla="*/ 266 w 10000"/>
                <a:gd name="connsiteY78" fmla="*/ 6192 h 9732"/>
                <a:gd name="connsiteX79" fmla="*/ 471 w 10000"/>
                <a:gd name="connsiteY79" fmla="*/ 6620 h 9732"/>
                <a:gd name="connsiteX80" fmla="*/ 105 w 10000"/>
                <a:gd name="connsiteY80" fmla="*/ 7347 h 9732"/>
                <a:gd name="connsiteX81" fmla="*/ 288 w 10000"/>
                <a:gd name="connsiteY81" fmla="*/ 7732 h 9732"/>
                <a:gd name="connsiteX82" fmla="*/ 12 w 10000"/>
                <a:gd name="connsiteY82" fmla="*/ 8351 h 9732"/>
                <a:gd name="connsiteX83" fmla="*/ 379 w 10000"/>
                <a:gd name="connsiteY83" fmla="*/ 8577 h 9732"/>
                <a:gd name="connsiteX84" fmla="*/ 266 w 10000"/>
                <a:gd name="connsiteY84" fmla="*/ 9080 h 9732"/>
                <a:gd name="connsiteX85" fmla="*/ 357 w 10000"/>
                <a:gd name="connsiteY85" fmla="*/ 9655 h 9732"/>
                <a:gd name="connsiteX86" fmla="*/ 982 w 10000"/>
                <a:gd name="connsiteY86" fmla="*/ 9127 h 9732"/>
                <a:gd name="connsiteX87" fmla="*/ 1342 w 10000"/>
                <a:gd name="connsiteY87" fmla="*/ 8662 h 9732"/>
                <a:gd name="connsiteX88" fmla="*/ 1775 w 10000"/>
                <a:gd name="connsiteY88" fmla="*/ 8671 h 9732"/>
                <a:gd name="connsiteX89" fmla="*/ 2239 w 10000"/>
                <a:gd name="connsiteY89" fmla="*/ 8395 h 9732"/>
                <a:gd name="connsiteX90" fmla="*/ 2810 w 10000"/>
                <a:gd name="connsiteY90" fmla="*/ 7958 h 9732"/>
                <a:gd name="connsiteX91" fmla="*/ 2997 w 10000"/>
                <a:gd name="connsiteY91" fmla="*/ 7624 h 9732"/>
                <a:gd name="connsiteX92" fmla="*/ 3386 w 10000"/>
                <a:gd name="connsiteY92" fmla="*/ 6981 h 9732"/>
                <a:gd name="connsiteX93" fmla="*/ 4023 w 10000"/>
                <a:gd name="connsiteY93" fmla="*/ 7429 h 9732"/>
                <a:gd name="connsiteX94" fmla="*/ 4296 w 10000"/>
                <a:gd name="connsiteY94" fmla="*/ 7400 h 9732"/>
                <a:gd name="connsiteX95" fmla="*/ 4241 w 10000"/>
                <a:gd name="connsiteY95" fmla="*/ 6846 h 9732"/>
                <a:gd name="connsiteX96" fmla="*/ 4282 w 10000"/>
                <a:gd name="connsiteY96" fmla="*/ 6137 h 9732"/>
                <a:gd name="connsiteX97" fmla="*/ 4895 w 10000"/>
                <a:gd name="connsiteY97" fmla="*/ 5977 h 9732"/>
                <a:gd name="connsiteX98" fmla="*/ 4809 w 10000"/>
                <a:gd name="connsiteY98" fmla="*/ 6822 h 9732"/>
                <a:gd name="connsiteX0" fmla="*/ 5636 w 10000"/>
                <a:gd name="connsiteY0" fmla="*/ 8856 h 9921"/>
                <a:gd name="connsiteX1" fmla="*/ 5984 w 10000"/>
                <a:gd name="connsiteY1" fmla="*/ 9211 h 9921"/>
                <a:gd name="connsiteX2" fmla="*/ 5958 w 10000"/>
                <a:gd name="connsiteY2" fmla="*/ 8934 h 9921"/>
                <a:gd name="connsiteX3" fmla="*/ 6188 w 10000"/>
                <a:gd name="connsiteY3" fmla="*/ 8657 h 9921"/>
                <a:gd name="connsiteX4" fmla="*/ 6417 w 10000"/>
                <a:gd name="connsiteY4" fmla="*/ 8856 h 9921"/>
                <a:gd name="connsiteX5" fmla="*/ 6188 w 10000"/>
                <a:gd name="connsiteY5" fmla="*/ 8064 h 9921"/>
                <a:gd name="connsiteX6" fmla="*/ 6327 w 10000"/>
                <a:gd name="connsiteY6" fmla="*/ 7749 h 9921"/>
                <a:gd name="connsiteX7" fmla="*/ 6810 w 10000"/>
                <a:gd name="connsiteY7" fmla="*/ 7511 h 9921"/>
                <a:gd name="connsiteX8" fmla="*/ 6763 w 10000"/>
                <a:gd name="connsiteY8" fmla="*/ 7431 h 9921"/>
                <a:gd name="connsiteX9" fmla="*/ 7132 w 10000"/>
                <a:gd name="connsiteY9" fmla="*/ 6839 h 9921"/>
                <a:gd name="connsiteX10" fmla="*/ 7406 w 10000"/>
                <a:gd name="connsiteY10" fmla="*/ 6521 h 9921"/>
                <a:gd name="connsiteX11" fmla="*/ 8095 w 10000"/>
                <a:gd name="connsiteY11" fmla="*/ 5891 h 9921"/>
                <a:gd name="connsiteX12" fmla="*/ 8302 w 10000"/>
                <a:gd name="connsiteY12" fmla="*/ 5496 h 9921"/>
                <a:gd name="connsiteX13" fmla="*/ 8714 w 10000"/>
                <a:gd name="connsiteY13" fmla="*/ 4742 h 9921"/>
                <a:gd name="connsiteX14" fmla="*/ 9449 w 10000"/>
                <a:gd name="connsiteY14" fmla="*/ 4072 h 9921"/>
                <a:gd name="connsiteX15" fmla="*/ 9494 w 10000"/>
                <a:gd name="connsiteY15" fmla="*/ 3795 h 9921"/>
                <a:gd name="connsiteX16" fmla="*/ 9793 w 10000"/>
                <a:gd name="connsiteY16" fmla="*/ 3362 h 9921"/>
                <a:gd name="connsiteX17" fmla="*/ 10000 w 10000"/>
                <a:gd name="connsiteY17" fmla="*/ 2845 h 9921"/>
                <a:gd name="connsiteX18" fmla="*/ 9678 w 10000"/>
                <a:gd name="connsiteY18" fmla="*/ 2370 h 9921"/>
                <a:gd name="connsiteX19" fmla="*/ 9265 w 10000"/>
                <a:gd name="connsiteY19" fmla="*/ 2845 h 9921"/>
                <a:gd name="connsiteX20" fmla="*/ 9059 w 10000"/>
                <a:gd name="connsiteY20" fmla="*/ 2649 h 9921"/>
                <a:gd name="connsiteX21" fmla="*/ 8875 w 10000"/>
                <a:gd name="connsiteY21" fmla="*/ 2255 h 9921"/>
                <a:gd name="connsiteX22" fmla="*/ 9012 w 10000"/>
                <a:gd name="connsiteY22" fmla="*/ 1938 h 9921"/>
                <a:gd name="connsiteX23" fmla="*/ 8691 w 10000"/>
                <a:gd name="connsiteY23" fmla="*/ 1503 h 9921"/>
                <a:gd name="connsiteX24" fmla="*/ 8553 w 10000"/>
                <a:gd name="connsiteY24" fmla="*/ 1664 h 9921"/>
                <a:gd name="connsiteX25" fmla="*/ 8253 w 10000"/>
                <a:gd name="connsiteY25" fmla="*/ 1746 h 9921"/>
                <a:gd name="connsiteX26" fmla="*/ 8279 w 10000"/>
                <a:gd name="connsiteY26" fmla="*/ 2178 h 9921"/>
                <a:gd name="connsiteX27" fmla="*/ 8369 w 10000"/>
                <a:gd name="connsiteY27" fmla="*/ 2293 h 9921"/>
                <a:gd name="connsiteX28" fmla="*/ 8302 w 10000"/>
                <a:gd name="connsiteY28" fmla="*/ 2610 h 9921"/>
                <a:gd name="connsiteX29" fmla="*/ 8117 w 10000"/>
                <a:gd name="connsiteY29" fmla="*/ 2691 h 9921"/>
                <a:gd name="connsiteX30" fmla="*/ 7933 w 10000"/>
                <a:gd name="connsiteY30" fmla="*/ 2930 h 9921"/>
                <a:gd name="connsiteX31" fmla="*/ 8095 w 10000"/>
                <a:gd name="connsiteY31" fmla="*/ 3241 h 9921"/>
                <a:gd name="connsiteX32" fmla="*/ 8072 w 10000"/>
                <a:gd name="connsiteY32" fmla="*/ 3481 h 9921"/>
                <a:gd name="connsiteX33" fmla="*/ 7727 w 10000"/>
                <a:gd name="connsiteY33" fmla="*/ 3759 h 9921"/>
                <a:gd name="connsiteX34" fmla="*/ 7566 w 10000"/>
                <a:gd name="connsiteY34" fmla="*/ 4229 h 9921"/>
                <a:gd name="connsiteX35" fmla="*/ 7153 w 10000"/>
                <a:gd name="connsiteY35" fmla="*/ 3284 h 9921"/>
                <a:gd name="connsiteX36" fmla="*/ 6992 w 10000"/>
                <a:gd name="connsiteY36" fmla="*/ 3600 h 9921"/>
                <a:gd name="connsiteX37" fmla="*/ 7221 w 10000"/>
                <a:gd name="connsiteY37" fmla="*/ 3995 h 9921"/>
                <a:gd name="connsiteX38" fmla="*/ 7038 w 10000"/>
                <a:gd name="connsiteY38" fmla="*/ 4269 h 9921"/>
                <a:gd name="connsiteX39" fmla="*/ 7083 w 10000"/>
                <a:gd name="connsiteY39" fmla="*/ 4467 h 9921"/>
                <a:gd name="connsiteX40" fmla="*/ 6717 w 10000"/>
                <a:gd name="connsiteY40" fmla="*/ 4939 h 9921"/>
                <a:gd name="connsiteX41" fmla="*/ 6327 w 10000"/>
                <a:gd name="connsiteY41" fmla="*/ 4549 h 9921"/>
                <a:gd name="connsiteX42" fmla="*/ 5272 w 10000"/>
                <a:gd name="connsiteY42" fmla="*/ 5535 h 9921"/>
                <a:gd name="connsiteX43" fmla="*/ 5179 w 10000"/>
                <a:gd name="connsiteY43" fmla="*/ 5101 h 9921"/>
                <a:gd name="connsiteX44" fmla="*/ 5041 w 10000"/>
                <a:gd name="connsiteY44" fmla="*/ 4823 h 9921"/>
                <a:gd name="connsiteX45" fmla="*/ 5087 w 10000"/>
                <a:gd name="connsiteY45" fmla="*/ 4506 h 9921"/>
                <a:gd name="connsiteX46" fmla="*/ 4948 w 10000"/>
                <a:gd name="connsiteY46" fmla="*/ 4192 h 9921"/>
                <a:gd name="connsiteX47" fmla="*/ 4742 w 10000"/>
                <a:gd name="connsiteY47" fmla="*/ 4152 h 9921"/>
                <a:gd name="connsiteX48" fmla="*/ 4788 w 10000"/>
                <a:gd name="connsiteY48" fmla="*/ 3718 h 9921"/>
                <a:gd name="connsiteX49" fmla="*/ 4626 w 10000"/>
                <a:gd name="connsiteY49" fmla="*/ 3559 h 9921"/>
                <a:gd name="connsiteX50" fmla="*/ 4466 w 10000"/>
                <a:gd name="connsiteY50" fmla="*/ 3008 h 9921"/>
                <a:gd name="connsiteX51" fmla="*/ 4259 w 10000"/>
                <a:gd name="connsiteY51" fmla="*/ 3008 h 9921"/>
                <a:gd name="connsiteX52" fmla="*/ 4054 w 10000"/>
                <a:gd name="connsiteY52" fmla="*/ 2729 h 9921"/>
                <a:gd name="connsiteX53" fmla="*/ 4054 w 10000"/>
                <a:gd name="connsiteY53" fmla="*/ 2610 h 9921"/>
                <a:gd name="connsiteX54" fmla="*/ 3869 w 10000"/>
                <a:gd name="connsiteY54" fmla="*/ 2769 h 9921"/>
                <a:gd name="connsiteX55" fmla="*/ 3640 w 10000"/>
                <a:gd name="connsiteY55" fmla="*/ 2494 h 9921"/>
                <a:gd name="connsiteX56" fmla="*/ 3755 w 10000"/>
                <a:gd name="connsiteY56" fmla="*/ 2096 h 9921"/>
                <a:gd name="connsiteX57" fmla="*/ 3570 w 10000"/>
                <a:gd name="connsiteY57" fmla="*/ 1780 h 9921"/>
                <a:gd name="connsiteX58" fmla="*/ 3711 w 10000"/>
                <a:gd name="connsiteY58" fmla="*/ 1308 h 9921"/>
                <a:gd name="connsiteX59" fmla="*/ 3250 w 10000"/>
                <a:gd name="connsiteY59" fmla="*/ 674 h 9921"/>
                <a:gd name="connsiteX60" fmla="*/ 2975 w 10000"/>
                <a:gd name="connsiteY60" fmla="*/ 872 h 9921"/>
                <a:gd name="connsiteX61" fmla="*/ 2446 w 10000"/>
                <a:gd name="connsiteY61" fmla="*/ 517 h 9921"/>
                <a:gd name="connsiteX62" fmla="*/ 2239 w 10000"/>
                <a:gd name="connsiteY62" fmla="*/ 750 h 9921"/>
                <a:gd name="connsiteX63" fmla="*/ 1734 w 10000"/>
                <a:gd name="connsiteY63" fmla="*/ 42 h 9921"/>
                <a:gd name="connsiteX64" fmla="*/ 1321 w 10000"/>
                <a:gd name="connsiteY64" fmla="*/ 1030 h 9921"/>
                <a:gd name="connsiteX65" fmla="*/ 1321 w 10000"/>
                <a:gd name="connsiteY65" fmla="*/ 1621 h 9921"/>
                <a:gd name="connsiteX66" fmla="*/ 1022 w 10000"/>
                <a:gd name="connsiteY66" fmla="*/ 1150 h 9921"/>
                <a:gd name="connsiteX67" fmla="*/ 679 w 10000"/>
                <a:gd name="connsiteY67" fmla="*/ 1938 h 9921"/>
                <a:gd name="connsiteX68" fmla="*/ 933 w 10000"/>
                <a:gd name="connsiteY68" fmla="*/ 2570 h 9921"/>
                <a:gd name="connsiteX69" fmla="*/ 471 w 10000"/>
                <a:gd name="connsiteY69" fmla="*/ 3321 h 9921"/>
                <a:gd name="connsiteX70" fmla="*/ 427 w 10000"/>
                <a:gd name="connsiteY70" fmla="*/ 3321 h 9921"/>
                <a:gd name="connsiteX71" fmla="*/ 609 w 10000"/>
                <a:gd name="connsiteY71" fmla="*/ 3759 h 9921"/>
                <a:gd name="connsiteX72" fmla="*/ 379 w 10000"/>
                <a:gd name="connsiteY72" fmla="*/ 4192 h 9921"/>
                <a:gd name="connsiteX73" fmla="*/ 539 w 10000"/>
                <a:gd name="connsiteY73" fmla="*/ 4467 h 9921"/>
                <a:gd name="connsiteX74" fmla="*/ 471 w 10000"/>
                <a:gd name="connsiteY74" fmla="*/ 4902 h 9921"/>
                <a:gd name="connsiteX75" fmla="*/ 379 w 10000"/>
                <a:gd name="connsiteY75" fmla="*/ 5143 h 9921"/>
                <a:gd name="connsiteX76" fmla="*/ 539 w 10000"/>
                <a:gd name="connsiteY76" fmla="*/ 5617 h 9921"/>
                <a:gd name="connsiteX77" fmla="*/ 266 w 10000"/>
                <a:gd name="connsiteY77" fmla="*/ 6363 h 9921"/>
                <a:gd name="connsiteX78" fmla="*/ 471 w 10000"/>
                <a:gd name="connsiteY78" fmla="*/ 6802 h 9921"/>
                <a:gd name="connsiteX79" fmla="*/ 105 w 10000"/>
                <a:gd name="connsiteY79" fmla="*/ 7549 h 9921"/>
                <a:gd name="connsiteX80" fmla="*/ 288 w 10000"/>
                <a:gd name="connsiteY80" fmla="*/ 7945 h 9921"/>
                <a:gd name="connsiteX81" fmla="*/ 12 w 10000"/>
                <a:gd name="connsiteY81" fmla="*/ 8581 h 9921"/>
                <a:gd name="connsiteX82" fmla="*/ 379 w 10000"/>
                <a:gd name="connsiteY82" fmla="*/ 8813 h 9921"/>
                <a:gd name="connsiteX83" fmla="*/ 266 w 10000"/>
                <a:gd name="connsiteY83" fmla="*/ 9330 h 9921"/>
                <a:gd name="connsiteX84" fmla="*/ 357 w 10000"/>
                <a:gd name="connsiteY84" fmla="*/ 9921 h 9921"/>
                <a:gd name="connsiteX85" fmla="*/ 982 w 10000"/>
                <a:gd name="connsiteY85" fmla="*/ 9378 h 9921"/>
                <a:gd name="connsiteX86" fmla="*/ 1342 w 10000"/>
                <a:gd name="connsiteY86" fmla="*/ 8901 h 9921"/>
                <a:gd name="connsiteX87" fmla="*/ 1775 w 10000"/>
                <a:gd name="connsiteY87" fmla="*/ 8910 h 9921"/>
                <a:gd name="connsiteX88" fmla="*/ 2239 w 10000"/>
                <a:gd name="connsiteY88" fmla="*/ 8626 h 9921"/>
                <a:gd name="connsiteX89" fmla="*/ 2810 w 10000"/>
                <a:gd name="connsiteY89" fmla="*/ 8177 h 9921"/>
                <a:gd name="connsiteX90" fmla="*/ 2997 w 10000"/>
                <a:gd name="connsiteY90" fmla="*/ 7834 h 9921"/>
                <a:gd name="connsiteX91" fmla="*/ 3386 w 10000"/>
                <a:gd name="connsiteY91" fmla="*/ 7173 h 9921"/>
                <a:gd name="connsiteX92" fmla="*/ 4023 w 10000"/>
                <a:gd name="connsiteY92" fmla="*/ 7634 h 9921"/>
                <a:gd name="connsiteX93" fmla="*/ 4296 w 10000"/>
                <a:gd name="connsiteY93" fmla="*/ 7604 h 9921"/>
                <a:gd name="connsiteX94" fmla="*/ 4241 w 10000"/>
                <a:gd name="connsiteY94" fmla="*/ 7035 h 9921"/>
                <a:gd name="connsiteX95" fmla="*/ 4282 w 10000"/>
                <a:gd name="connsiteY95" fmla="*/ 6306 h 9921"/>
                <a:gd name="connsiteX96" fmla="*/ 4895 w 10000"/>
                <a:gd name="connsiteY96" fmla="*/ 6142 h 9921"/>
                <a:gd name="connsiteX97" fmla="*/ 4809 w 10000"/>
                <a:gd name="connsiteY97" fmla="*/ 7010 h 9921"/>
                <a:gd name="connsiteX0" fmla="*/ 5984 w 10000"/>
                <a:gd name="connsiteY0" fmla="*/ 9284 h 10000"/>
                <a:gd name="connsiteX1" fmla="*/ 5958 w 10000"/>
                <a:gd name="connsiteY1" fmla="*/ 9005 h 10000"/>
                <a:gd name="connsiteX2" fmla="*/ 6188 w 10000"/>
                <a:gd name="connsiteY2" fmla="*/ 8726 h 10000"/>
                <a:gd name="connsiteX3" fmla="*/ 6417 w 10000"/>
                <a:gd name="connsiteY3" fmla="*/ 8927 h 10000"/>
                <a:gd name="connsiteX4" fmla="*/ 6188 w 10000"/>
                <a:gd name="connsiteY4" fmla="*/ 8128 h 10000"/>
                <a:gd name="connsiteX5" fmla="*/ 6327 w 10000"/>
                <a:gd name="connsiteY5" fmla="*/ 7811 h 10000"/>
                <a:gd name="connsiteX6" fmla="*/ 6810 w 10000"/>
                <a:gd name="connsiteY6" fmla="*/ 7571 h 10000"/>
                <a:gd name="connsiteX7" fmla="*/ 6763 w 10000"/>
                <a:gd name="connsiteY7" fmla="*/ 7490 h 10000"/>
                <a:gd name="connsiteX8" fmla="*/ 7132 w 10000"/>
                <a:gd name="connsiteY8" fmla="*/ 6893 h 10000"/>
                <a:gd name="connsiteX9" fmla="*/ 7406 w 10000"/>
                <a:gd name="connsiteY9" fmla="*/ 6573 h 10000"/>
                <a:gd name="connsiteX10" fmla="*/ 8095 w 10000"/>
                <a:gd name="connsiteY10" fmla="*/ 5938 h 10000"/>
                <a:gd name="connsiteX11" fmla="*/ 8302 w 10000"/>
                <a:gd name="connsiteY11" fmla="*/ 5540 h 10000"/>
                <a:gd name="connsiteX12" fmla="*/ 8714 w 10000"/>
                <a:gd name="connsiteY12" fmla="*/ 4780 h 10000"/>
                <a:gd name="connsiteX13" fmla="*/ 9449 w 10000"/>
                <a:gd name="connsiteY13" fmla="*/ 4104 h 10000"/>
                <a:gd name="connsiteX14" fmla="*/ 9494 w 10000"/>
                <a:gd name="connsiteY14" fmla="*/ 3825 h 10000"/>
                <a:gd name="connsiteX15" fmla="*/ 9793 w 10000"/>
                <a:gd name="connsiteY15" fmla="*/ 3389 h 10000"/>
                <a:gd name="connsiteX16" fmla="*/ 10000 w 10000"/>
                <a:gd name="connsiteY16" fmla="*/ 2868 h 10000"/>
                <a:gd name="connsiteX17" fmla="*/ 9678 w 10000"/>
                <a:gd name="connsiteY17" fmla="*/ 2389 h 10000"/>
                <a:gd name="connsiteX18" fmla="*/ 9265 w 10000"/>
                <a:gd name="connsiteY18" fmla="*/ 2868 h 10000"/>
                <a:gd name="connsiteX19" fmla="*/ 9059 w 10000"/>
                <a:gd name="connsiteY19" fmla="*/ 2670 h 10000"/>
                <a:gd name="connsiteX20" fmla="*/ 8875 w 10000"/>
                <a:gd name="connsiteY20" fmla="*/ 2273 h 10000"/>
                <a:gd name="connsiteX21" fmla="*/ 9012 w 10000"/>
                <a:gd name="connsiteY21" fmla="*/ 1953 h 10000"/>
                <a:gd name="connsiteX22" fmla="*/ 8691 w 10000"/>
                <a:gd name="connsiteY22" fmla="*/ 1515 h 10000"/>
                <a:gd name="connsiteX23" fmla="*/ 8553 w 10000"/>
                <a:gd name="connsiteY23" fmla="*/ 1677 h 10000"/>
                <a:gd name="connsiteX24" fmla="*/ 8253 w 10000"/>
                <a:gd name="connsiteY24" fmla="*/ 1760 h 10000"/>
                <a:gd name="connsiteX25" fmla="*/ 8279 w 10000"/>
                <a:gd name="connsiteY25" fmla="*/ 2195 h 10000"/>
                <a:gd name="connsiteX26" fmla="*/ 8369 w 10000"/>
                <a:gd name="connsiteY26" fmla="*/ 2311 h 10000"/>
                <a:gd name="connsiteX27" fmla="*/ 8302 w 10000"/>
                <a:gd name="connsiteY27" fmla="*/ 2631 h 10000"/>
                <a:gd name="connsiteX28" fmla="*/ 8117 w 10000"/>
                <a:gd name="connsiteY28" fmla="*/ 2712 h 10000"/>
                <a:gd name="connsiteX29" fmla="*/ 7933 w 10000"/>
                <a:gd name="connsiteY29" fmla="*/ 2953 h 10000"/>
                <a:gd name="connsiteX30" fmla="*/ 8095 w 10000"/>
                <a:gd name="connsiteY30" fmla="*/ 3267 h 10000"/>
                <a:gd name="connsiteX31" fmla="*/ 8072 w 10000"/>
                <a:gd name="connsiteY31" fmla="*/ 3509 h 10000"/>
                <a:gd name="connsiteX32" fmla="*/ 7727 w 10000"/>
                <a:gd name="connsiteY32" fmla="*/ 3789 h 10000"/>
                <a:gd name="connsiteX33" fmla="*/ 7566 w 10000"/>
                <a:gd name="connsiteY33" fmla="*/ 4263 h 10000"/>
                <a:gd name="connsiteX34" fmla="*/ 7153 w 10000"/>
                <a:gd name="connsiteY34" fmla="*/ 3310 h 10000"/>
                <a:gd name="connsiteX35" fmla="*/ 6992 w 10000"/>
                <a:gd name="connsiteY35" fmla="*/ 3629 h 10000"/>
                <a:gd name="connsiteX36" fmla="*/ 7221 w 10000"/>
                <a:gd name="connsiteY36" fmla="*/ 4027 h 10000"/>
                <a:gd name="connsiteX37" fmla="*/ 7038 w 10000"/>
                <a:gd name="connsiteY37" fmla="*/ 4303 h 10000"/>
                <a:gd name="connsiteX38" fmla="*/ 7083 w 10000"/>
                <a:gd name="connsiteY38" fmla="*/ 4503 h 10000"/>
                <a:gd name="connsiteX39" fmla="*/ 6717 w 10000"/>
                <a:gd name="connsiteY39" fmla="*/ 4978 h 10000"/>
                <a:gd name="connsiteX40" fmla="*/ 6327 w 10000"/>
                <a:gd name="connsiteY40" fmla="*/ 4585 h 10000"/>
                <a:gd name="connsiteX41" fmla="*/ 5272 w 10000"/>
                <a:gd name="connsiteY41" fmla="*/ 5579 h 10000"/>
                <a:gd name="connsiteX42" fmla="*/ 5179 w 10000"/>
                <a:gd name="connsiteY42" fmla="*/ 5142 h 10000"/>
                <a:gd name="connsiteX43" fmla="*/ 5041 w 10000"/>
                <a:gd name="connsiteY43" fmla="*/ 4861 h 10000"/>
                <a:gd name="connsiteX44" fmla="*/ 5087 w 10000"/>
                <a:gd name="connsiteY44" fmla="*/ 4542 h 10000"/>
                <a:gd name="connsiteX45" fmla="*/ 4948 w 10000"/>
                <a:gd name="connsiteY45" fmla="*/ 4225 h 10000"/>
                <a:gd name="connsiteX46" fmla="*/ 4742 w 10000"/>
                <a:gd name="connsiteY46" fmla="*/ 4185 h 10000"/>
                <a:gd name="connsiteX47" fmla="*/ 4788 w 10000"/>
                <a:gd name="connsiteY47" fmla="*/ 3748 h 10000"/>
                <a:gd name="connsiteX48" fmla="*/ 4626 w 10000"/>
                <a:gd name="connsiteY48" fmla="*/ 3587 h 10000"/>
                <a:gd name="connsiteX49" fmla="*/ 4466 w 10000"/>
                <a:gd name="connsiteY49" fmla="*/ 3032 h 10000"/>
                <a:gd name="connsiteX50" fmla="*/ 4259 w 10000"/>
                <a:gd name="connsiteY50" fmla="*/ 3032 h 10000"/>
                <a:gd name="connsiteX51" fmla="*/ 4054 w 10000"/>
                <a:gd name="connsiteY51" fmla="*/ 2751 h 10000"/>
                <a:gd name="connsiteX52" fmla="*/ 4054 w 10000"/>
                <a:gd name="connsiteY52" fmla="*/ 2631 h 10000"/>
                <a:gd name="connsiteX53" fmla="*/ 3869 w 10000"/>
                <a:gd name="connsiteY53" fmla="*/ 2791 h 10000"/>
                <a:gd name="connsiteX54" fmla="*/ 3640 w 10000"/>
                <a:gd name="connsiteY54" fmla="*/ 2514 h 10000"/>
                <a:gd name="connsiteX55" fmla="*/ 3755 w 10000"/>
                <a:gd name="connsiteY55" fmla="*/ 2113 h 10000"/>
                <a:gd name="connsiteX56" fmla="*/ 3570 w 10000"/>
                <a:gd name="connsiteY56" fmla="*/ 1794 h 10000"/>
                <a:gd name="connsiteX57" fmla="*/ 3711 w 10000"/>
                <a:gd name="connsiteY57" fmla="*/ 1318 h 10000"/>
                <a:gd name="connsiteX58" fmla="*/ 3250 w 10000"/>
                <a:gd name="connsiteY58" fmla="*/ 679 h 10000"/>
                <a:gd name="connsiteX59" fmla="*/ 2975 w 10000"/>
                <a:gd name="connsiteY59" fmla="*/ 879 h 10000"/>
                <a:gd name="connsiteX60" fmla="*/ 2446 w 10000"/>
                <a:gd name="connsiteY60" fmla="*/ 521 h 10000"/>
                <a:gd name="connsiteX61" fmla="*/ 2239 w 10000"/>
                <a:gd name="connsiteY61" fmla="*/ 756 h 10000"/>
                <a:gd name="connsiteX62" fmla="*/ 1734 w 10000"/>
                <a:gd name="connsiteY62" fmla="*/ 42 h 10000"/>
                <a:gd name="connsiteX63" fmla="*/ 1321 w 10000"/>
                <a:gd name="connsiteY63" fmla="*/ 1038 h 10000"/>
                <a:gd name="connsiteX64" fmla="*/ 1321 w 10000"/>
                <a:gd name="connsiteY64" fmla="*/ 1634 h 10000"/>
                <a:gd name="connsiteX65" fmla="*/ 1022 w 10000"/>
                <a:gd name="connsiteY65" fmla="*/ 1159 h 10000"/>
                <a:gd name="connsiteX66" fmla="*/ 679 w 10000"/>
                <a:gd name="connsiteY66" fmla="*/ 1953 h 10000"/>
                <a:gd name="connsiteX67" fmla="*/ 933 w 10000"/>
                <a:gd name="connsiteY67" fmla="*/ 2590 h 10000"/>
                <a:gd name="connsiteX68" fmla="*/ 471 w 10000"/>
                <a:gd name="connsiteY68" fmla="*/ 3347 h 10000"/>
                <a:gd name="connsiteX69" fmla="*/ 427 w 10000"/>
                <a:gd name="connsiteY69" fmla="*/ 3347 h 10000"/>
                <a:gd name="connsiteX70" fmla="*/ 609 w 10000"/>
                <a:gd name="connsiteY70" fmla="*/ 3789 h 10000"/>
                <a:gd name="connsiteX71" fmla="*/ 379 w 10000"/>
                <a:gd name="connsiteY71" fmla="*/ 4225 h 10000"/>
                <a:gd name="connsiteX72" fmla="*/ 539 w 10000"/>
                <a:gd name="connsiteY72" fmla="*/ 4503 h 10000"/>
                <a:gd name="connsiteX73" fmla="*/ 471 w 10000"/>
                <a:gd name="connsiteY73" fmla="*/ 4941 h 10000"/>
                <a:gd name="connsiteX74" fmla="*/ 379 w 10000"/>
                <a:gd name="connsiteY74" fmla="*/ 5184 h 10000"/>
                <a:gd name="connsiteX75" fmla="*/ 539 w 10000"/>
                <a:gd name="connsiteY75" fmla="*/ 5662 h 10000"/>
                <a:gd name="connsiteX76" fmla="*/ 266 w 10000"/>
                <a:gd name="connsiteY76" fmla="*/ 6414 h 10000"/>
                <a:gd name="connsiteX77" fmla="*/ 471 w 10000"/>
                <a:gd name="connsiteY77" fmla="*/ 6856 h 10000"/>
                <a:gd name="connsiteX78" fmla="*/ 105 w 10000"/>
                <a:gd name="connsiteY78" fmla="*/ 7609 h 10000"/>
                <a:gd name="connsiteX79" fmla="*/ 288 w 10000"/>
                <a:gd name="connsiteY79" fmla="*/ 8008 h 10000"/>
                <a:gd name="connsiteX80" fmla="*/ 12 w 10000"/>
                <a:gd name="connsiteY80" fmla="*/ 8649 h 10000"/>
                <a:gd name="connsiteX81" fmla="*/ 379 w 10000"/>
                <a:gd name="connsiteY81" fmla="*/ 8883 h 10000"/>
                <a:gd name="connsiteX82" fmla="*/ 266 w 10000"/>
                <a:gd name="connsiteY82" fmla="*/ 9404 h 10000"/>
                <a:gd name="connsiteX83" fmla="*/ 357 w 10000"/>
                <a:gd name="connsiteY83" fmla="*/ 10000 h 10000"/>
                <a:gd name="connsiteX84" fmla="*/ 982 w 10000"/>
                <a:gd name="connsiteY84" fmla="*/ 9453 h 10000"/>
                <a:gd name="connsiteX85" fmla="*/ 1342 w 10000"/>
                <a:gd name="connsiteY85" fmla="*/ 8972 h 10000"/>
                <a:gd name="connsiteX86" fmla="*/ 1775 w 10000"/>
                <a:gd name="connsiteY86" fmla="*/ 8981 h 10000"/>
                <a:gd name="connsiteX87" fmla="*/ 2239 w 10000"/>
                <a:gd name="connsiteY87" fmla="*/ 8695 h 10000"/>
                <a:gd name="connsiteX88" fmla="*/ 2810 w 10000"/>
                <a:gd name="connsiteY88" fmla="*/ 8242 h 10000"/>
                <a:gd name="connsiteX89" fmla="*/ 2997 w 10000"/>
                <a:gd name="connsiteY89" fmla="*/ 7896 h 10000"/>
                <a:gd name="connsiteX90" fmla="*/ 3386 w 10000"/>
                <a:gd name="connsiteY90" fmla="*/ 7230 h 10000"/>
                <a:gd name="connsiteX91" fmla="*/ 4023 w 10000"/>
                <a:gd name="connsiteY91" fmla="*/ 7695 h 10000"/>
                <a:gd name="connsiteX92" fmla="*/ 4296 w 10000"/>
                <a:gd name="connsiteY92" fmla="*/ 7665 h 10000"/>
                <a:gd name="connsiteX93" fmla="*/ 4241 w 10000"/>
                <a:gd name="connsiteY93" fmla="*/ 7091 h 10000"/>
                <a:gd name="connsiteX94" fmla="*/ 4282 w 10000"/>
                <a:gd name="connsiteY94" fmla="*/ 6356 h 10000"/>
                <a:gd name="connsiteX95" fmla="*/ 4895 w 10000"/>
                <a:gd name="connsiteY95" fmla="*/ 6191 h 10000"/>
                <a:gd name="connsiteX96" fmla="*/ 4809 w 10000"/>
                <a:gd name="connsiteY96" fmla="*/ 7066 h 10000"/>
                <a:gd name="connsiteX0" fmla="*/ 5958 w 10000"/>
                <a:gd name="connsiteY0" fmla="*/ 9005 h 10000"/>
                <a:gd name="connsiteX1" fmla="*/ 6188 w 10000"/>
                <a:gd name="connsiteY1" fmla="*/ 8726 h 10000"/>
                <a:gd name="connsiteX2" fmla="*/ 6417 w 10000"/>
                <a:gd name="connsiteY2" fmla="*/ 8927 h 10000"/>
                <a:gd name="connsiteX3" fmla="*/ 6188 w 10000"/>
                <a:gd name="connsiteY3" fmla="*/ 8128 h 10000"/>
                <a:gd name="connsiteX4" fmla="*/ 6327 w 10000"/>
                <a:gd name="connsiteY4" fmla="*/ 7811 h 10000"/>
                <a:gd name="connsiteX5" fmla="*/ 6810 w 10000"/>
                <a:gd name="connsiteY5" fmla="*/ 7571 h 10000"/>
                <a:gd name="connsiteX6" fmla="*/ 6763 w 10000"/>
                <a:gd name="connsiteY6" fmla="*/ 7490 h 10000"/>
                <a:gd name="connsiteX7" fmla="*/ 7132 w 10000"/>
                <a:gd name="connsiteY7" fmla="*/ 6893 h 10000"/>
                <a:gd name="connsiteX8" fmla="*/ 7406 w 10000"/>
                <a:gd name="connsiteY8" fmla="*/ 6573 h 10000"/>
                <a:gd name="connsiteX9" fmla="*/ 8095 w 10000"/>
                <a:gd name="connsiteY9" fmla="*/ 5938 h 10000"/>
                <a:gd name="connsiteX10" fmla="*/ 8302 w 10000"/>
                <a:gd name="connsiteY10" fmla="*/ 5540 h 10000"/>
                <a:gd name="connsiteX11" fmla="*/ 8714 w 10000"/>
                <a:gd name="connsiteY11" fmla="*/ 4780 h 10000"/>
                <a:gd name="connsiteX12" fmla="*/ 9449 w 10000"/>
                <a:gd name="connsiteY12" fmla="*/ 4104 h 10000"/>
                <a:gd name="connsiteX13" fmla="*/ 9494 w 10000"/>
                <a:gd name="connsiteY13" fmla="*/ 3825 h 10000"/>
                <a:gd name="connsiteX14" fmla="*/ 9793 w 10000"/>
                <a:gd name="connsiteY14" fmla="*/ 3389 h 10000"/>
                <a:gd name="connsiteX15" fmla="*/ 10000 w 10000"/>
                <a:gd name="connsiteY15" fmla="*/ 2868 h 10000"/>
                <a:gd name="connsiteX16" fmla="*/ 9678 w 10000"/>
                <a:gd name="connsiteY16" fmla="*/ 2389 h 10000"/>
                <a:gd name="connsiteX17" fmla="*/ 9265 w 10000"/>
                <a:gd name="connsiteY17" fmla="*/ 2868 h 10000"/>
                <a:gd name="connsiteX18" fmla="*/ 9059 w 10000"/>
                <a:gd name="connsiteY18" fmla="*/ 2670 h 10000"/>
                <a:gd name="connsiteX19" fmla="*/ 8875 w 10000"/>
                <a:gd name="connsiteY19" fmla="*/ 2273 h 10000"/>
                <a:gd name="connsiteX20" fmla="*/ 9012 w 10000"/>
                <a:gd name="connsiteY20" fmla="*/ 1953 h 10000"/>
                <a:gd name="connsiteX21" fmla="*/ 8691 w 10000"/>
                <a:gd name="connsiteY21" fmla="*/ 1515 h 10000"/>
                <a:gd name="connsiteX22" fmla="*/ 8553 w 10000"/>
                <a:gd name="connsiteY22" fmla="*/ 1677 h 10000"/>
                <a:gd name="connsiteX23" fmla="*/ 8253 w 10000"/>
                <a:gd name="connsiteY23" fmla="*/ 1760 h 10000"/>
                <a:gd name="connsiteX24" fmla="*/ 8279 w 10000"/>
                <a:gd name="connsiteY24" fmla="*/ 2195 h 10000"/>
                <a:gd name="connsiteX25" fmla="*/ 8369 w 10000"/>
                <a:gd name="connsiteY25" fmla="*/ 2311 h 10000"/>
                <a:gd name="connsiteX26" fmla="*/ 8302 w 10000"/>
                <a:gd name="connsiteY26" fmla="*/ 2631 h 10000"/>
                <a:gd name="connsiteX27" fmla="*/ 8117 w 10000"/>
                <a:gd name="connsiteY27" fmla="*/ 2712 h 10000"/>
                <a:gd name="connsiteX28" fmla="*/ 7933 w 10000"/>
                <a:gd name="connsiteY28" fmla="*/ 2953 h 10000"/>
                <a:gd name="connsiteX29" fmla="*/ 8095 w 10000"/>
                <a:gd name="connsiteY29" fmla="*/ 3267 h 10000"/>
                <a:gd name="connsiteX30" fmla="*/ 8072 w 10000"/>
                <a:gd name="connsiteY30" fmla="*/ 3509 h 10000"/>
                <a:gd name="connsiteX31" fmla="*/ 7727 w 10000"/>
                <a:gd name="connsiteY31" fmla="*/ 3789 h 10000"/>
                <a:gd name="connsiteX32" fmla="*/ 7566 w 10000"/>
                <a:gd name="connsiteY32" fmla="*/ 4263 h 10000"/>
                <a:gd name="connsiteX33" fmla="*/ 7153 w 10000"/>
                <a:gd name="connsiteY33" fmla="*/ 3310 h 10000"/>
                <a:gd name="connsiteX34" fmla="*/ 6992 w 10000"/>
                <a:gd name="connsiteY34" fmla="*/ 3629 h 10000"/>
                <a:gd name="connsiteX35" fmla="*/ 7221 w 10000"/>
                <a:gd name="connsiteY35" fmla="*/ 4027 h 10000"/>
                <a:gd name="connsiteX36" fmla="*/ 7038 w 10000"/>
                <a:gd name="connsiteY36" fmla="*/ 4303 h 10000"/>
                <a:gd name="connsiteX37" fmla="*/ 7083 w 10000"/>
                <a:gd name="connsiteY37" fmla="*/ 4503 h 10000"/>
                <a:gd name="connsiteX38" fmla="*/ 6717 w 10000"/>
                <a:gd name="connsiteY38" fmla="*/ 4978 h 10000"/>
                <a:gd name="connsiteX39" fmla="*/ 6327 w 10000"/>
                <a:gd name="connsiteY39" fmla="*/ 4585 h 10000"/>
                <a:gd name="connsiteX40" fmla="*/ 5272 w 10000"/>
                <a:gd name="connsiteY40" fmla="*/ 5579 h 10000"/>
                <a:gd name="connsiteX41" fmla="*/ 5179 w 10000"/>
                <a:gd name="connsiteY41" fmla="*/ 5142 h 10000"/>
                <a:gd name="connsiteX42" fmla="*/ 5041 w 10000"/>
                <a:gd name="connsiteY42" fmla="*/ 4861 h 10000"/>
                <a:gd name="connsiteX43" fmla="*/ 5087 w 10000"/>
                <a:gd name="connsiteY43" fmla="*/ 4542 h 10000"/>
                <a:gd name="connsiteX44" fmla="*/ 4948 w 10000"/>
                <a:gd name="connsiteY44" fmla="*/ 4225 h 10000"/>
                <a:gd name="connsiteX45" fmla="*/ 4742 w 10000"/>
                <a:gd name="connsiteY45" fmla="*/ 4185 h 10000"/>
                <a:gd name="connsiteX46" fmla="*/ 4788 w 10000"/>
                <a:gd name="connsiteY46" fmla="*/ 3748 h 10000"/>
                <a:gd name="connsiteX47" fmla="*/ 4626 w 10000"/>
                <a:gd name="connsiteY47" fmla="*/ 3587 h 10000"/>
                <a:gd name="connsiteX48" fmla="*/ 4466 w 10000"/>
                <a:gd name="connsiteY48" fmla="*/ 3032 h 10000"/>
                <a:gd name="connsiteX49" fmla="*/ 4259 w 10000"/>
                <a:gd name="connsiteY49" fmla="*/ 3032 h 10000"/>
                <a:gd name="connsiteX50" fmla="*/ 4054 w 10000"/>
                <a:gd name="connsiteY50" fmla="*/ 2751 h 10000"/>
                <a:gd name="connsiteX51" fmla="*/ 4054 w 10000"/>
                <a:gd name="connsiteY51" fmla="*/ 2631 h 10000"/>
                <a:gd name="connsiteX52" fmla="*/ 3869 w 10000"/>
                <a:gd name="connsiteY52" fmla="*/ 2791 h 10000"/>
                <a:gd name="connsiteX53" fmla="*/ 3640 w 10000"/>
                <a:gd name="connsiteY53" fmla="*/ 2514 h 10000"/>
                <a:gd name="connsiteX54" fmla="*/ 3755 w 10000"/>
                <a:gd name="connsiteY54" fmla="*/ 2113 h 10000"/>
                <a:gd name="connsiteX55" fmla="*/ 3570 w 10000"/>
                <a:gd name="connsiteY55" fmla="*/ 1794 h 10000"/>
                <a:gd name="connsiteX56" fmla="*/ 3711 w 10000"/>
                <a:gd name="connsiteY56" fmla="*/ 1318 h 10000"/>
                <a:gd name="connsiteX57" fmla="*/ 3250 w 10000"/>
                <a:gd name="connsiteY57" fmla="*/ 679 h 10000"/>
                <a:gd name="connsiteX58" fmla="*/ 2975 w 10000"/>
                <a:gd name="connsiteY58" fmla="*/ 879 h 10000"/>
                <a:gd name="connsiteX59" fmla="*/ 2446 w 10000"/>
                <a:gd name="connsiteY59" fmla="*/ 521 h 10000"/>
                <a:gd name="connsiteX60" fmla="*/ 2239 w 10000"/>
                <a:gd name="connsiteY60" fmla="*/ 756 h 10000"/>
                <a:gd name="connsiteX61" fmla="*/ 1734 w 10000"/>
                <a:gd name="connsiteY61" fmla="*/ 42 h 10000"/>
                <a:gd name="connsiteX62" fmla="*/ 1321 w 10000"/>
                <a:gd name="connsiteY62" fmla="*/ 1038 h 10000"/>
                <a:gd name="connsiteX63" fmla="*/ 1321 w 10000"/>
                <a:gd name="connsiteY63" fmla="*/ 1634 h 10000"/>
                <a:gd name="connsiteX64" fmla="*/ 1022 w 10000"/>
                <a:gd name="connsiteY64" fmla="*/ 1159 h 10000"/>
                <a:gd name="connsiteX65" fmla="*/ 679 w 10000"/>
                <a:gd name="connsiteY65" fmla="*/ 1953 h 10000"/>
                <a:gd name="connsiteX66" fmla="*/ 933 w 10000"/>
                <a:gd name="connsiteY66" fmla="*/ 2590 h 10000"/>
                <a:gd name="connsiteX67" fmla="*/ 471 w 10000"/>
                <a:gd name="connsiteY67" fmla="*/ 3347 h 10000"/>
                <a:gd name="connsiteX68" fmla="*/ 427 w 10000"/>
                <a:gd name="connsiteY68" fmla="*/ 3347 h 10000"/>
                <a:gd name="connsiteX69" fmla="*/ 609 w 10000"/>
                <a:gd name="connsiteY69" fmla="*/ 3789 h 10000"/>
                <a:gd name="connsiteX70" fmla="*/ 379 w 10000"/>
                <a:gd name="connsiteY70" fmla="*/ 4225 h 10000"/>
                <a:gd name="connsiteX71" fmla="*/ 539 w 10000"/>
                <a:gd name="connsiteY71" fmla="*/ 4503 h 10000"/>
                <a:gd name="connsiteX72" fmla="*/ 471 w 10000"/>
                <a:gd name="connsiteY72" fmla="*/ 4941 h 10000"/>
                <a:gd name="connsiteX73" fmla="*/ 379 w 10000"/>
                <a:gd name="connsiteY73" fmla="*/ 5184 h 10000"/>
                <a:gd name="connsiteX74" fmla="*/ 539 w 10000"/>
                <a:gd name="connsiteY74" fmla="*/ 5662 h 10000"/>
                <a:gd name="connsiteX75" fmla="*/ 266 w 10000"/>
                <a:gd name="connsiteY75" fmla="*/ 6414 h 10000"/>
                <a:gd name="connsiteX76" fmla="*/ 471 w 10000"/>
                <a:gd name="connsiteY76" fmla="*/ 6856 h 10000"/>
                <a:gd name="connsiteX77" fmla="*/ 105 w 10000"/>
                <a:gd name="connsiteY77" fmla="*/ 7609 h 10000"/>
                <a:gd name="connsiteX78" fmla="*/ 288 w 10000"/>
                <a:gd name="connsiteY78" fmla="*/ 8008 h 10000"/>
                <a:gd name="connsiteX79" fmla="*/ 12 w 10000"/>
                <a:gd name="connsiteY79" fmla="*/ 8649 h 10000"/>
                <a:gd name="connsiteX80" fmla="*/ 379 w 10000"/>
                <a:gd name="connsiteY80" fmla="*/ 8883 h 10000"/>
                <a:gd name="connsiteX81" fmla="*/ 266 w 10000"/>
                <a:gd name="connsiteY81" fmla="*/ 9404 h 10000"/>
                <a:gd name="connsiteX82" fmla="*/ 357 w 10000"/>
                <a:gd name="connsiteY82" fmla="*/ 10000 h 10000"/>
                <a:gd name="connsiteX83" fmla="*/ 982 w 10000"/>
                <a:gd name="connsiteY83" fmla="*/ 9453 h 10000"/>
                <a:gd name="connsiteX84" fmla="*/ 1342 w 10000"/>
                <a:gd name="connsiteY84" fmla="*/ 8972 h 10000"/>
                <a:gd name="connsiteX85" fmla="*/ 1775 w 10000"/>
                <a:gd name="connsiteY85" fmla="*/ 8981 h 10000"/>
                <a:gd name="connsiteX86" fmla="*/ 2239 w 10000"/>
                <a:gd name="connsiteY86" fmla="*/ 8695 h 10000"/>
                <a:gd name="connsiteX87" fmla="*/ 2810 w 10000"/>
                <a:gd name="connsiteY87" fmla="*/ 8242 h 10000"/>
                <a:gd name="connsiteX88" fmla="*/ 2997 w 10000"/>
                <a:gd name="connsiteY88" fmla="*/ 7896 h 10000"/>
                <a:gd name="connsiteX89" fmla="*/ 3386 w 10000"/>
                <a:gd name="connsiteY89" fmla="*/ 7230 h 10000"/>
                <a:gd name="connsiteX90" fmla="*/ 4023 w 10000"/>
                <a:gd name="connsiteY90" fmla="*/ 7695 h 10000"/>
                <a:gd name="connsiteX91" fmla="*/ 4296 w 10000"/>
                <a:gd name="connsiteY91" fmla="*/ 7665 h 10000"/>
                <a:gd name="connsiteX92" fmla="*/ 4241 w 10000"/>
                <a:gd name="connsiteY92" fmla="*/ 7091 h 10000"/>
                <a:gd name="connsiteX93" fmla="*/ 4282 w 10000"/>
                <a:gd name="connsiteY93" fmla="*/ 6356 h 10000"/>
                <a:gd name="connsiteX94" fmla="*/ 4895 w 10000"/>
                <a:gd name="connsiteY94" fmla="*/ 6191 h 10000"/>
                <a:gd name="connsiteX95" fmla="*/ 4809 w 10000"/>
                <a:gd name="connsiteY95" fmla="*/ 7066 h 10000"/>
                <a:gd name="connsiteX0" fmla="*/ 6188 w 10000"/>
                <a:gd name="connsiteY0" fmla="*/ 8726 h 10000"/>
                <a:gd name="connsiteX1" fmla="*/ 6417 w 10000"/>
                <a:gd name="connsiteY1" fmla="*/ 8927 h 10000"/>
                <a:gd name="connsiteX2" fmla="*/ 6188 w 10000"/>
                <a:gd name="connsiteY2" fmla="*/ 8128 h 10000"/>
                <a:gd name="connsiteX3" fmla="*/ 6327 w 10000"/>
                <a:gd name="connsiteY3" fmla="*/ 7811 h 10000"/>
                <a:gd name="connsiteX4" fmla="*/ 6810 w 10000"/>
                <a:gd name="connsiteY4" fmla="*/ 7571 h 10000"/>
                <a:gd name="connsiteX5" fmla="*/ 6763 w 10000"/>
                <a:gd name="connsiteY5" fmla="*/ 7490 h 10000"/>
                <a:gd name="connsiteX6" fmla="*/ 7132 w 10000"/>
                <a:gd name="connsiteY6" fmla="*/ 6893 h 10000"/>
                <a:gd name="connsiteX7" fmla="*/ 7406 w 10000"/>
                <a:gd name="connsiteY7" fmla="*/ 6573 h 10000"/>
                <a:gd name="connsiteX8" fmla="*/ 8095 w 10000"/>
                <a:gd name="connsiteY8" fmla="*/ 5938 h 10000"/>
                <a:gd name="connsiteX9" fmla="*/ 8302 w 10000"/>
                <a:gd name="connsiteY9" fmla="*/ 5540 h 10000"/>
                <a:gd name="connsiteX10" fmla="*/ 8714 w 10000"/>
                <a:gd name="connsiteY10" fmla="*/ 4780 h 10000"/>
                <a:gd name="connsiteX11" fmla="*/ 9449 w 10000"/>
                <a:gd name="connsiteY11" fmla="*/ 4104 h 10000"/>
                <a:gd name="connsiteX12" fmla="*/ 9494 w 10000"/>
                <a:gd name="connsiteY12" fmla="*/ 3825 h 10000"/>
                <a:gd name="connsiteX13" fmla="*/ 9793 w 10000"/>
                <a:gd name="connsiteY13" fmla="*/ 3389 h 10000"/>
                <a:gd name="connsiteX14" fmla="*/ 10000 w 10000"/>
                <a:gd name="connsiteY14" fmla="*/ 2868 h 10000"/>
                <a:gd name="connsiteX15" fmla="*/ 9678 w 10000"/>
                <a:gd name="connsiteY15" fmla="*/ 2389 h 10000"/>
                <a:gd name="connsiteX16" fmla="*/ 9265 w 10000"/>
                <a:gd name="connsiteY16" fmla="*/ 2868 h 10000"/>
                <a:gd name="connsiteX17" fmla="*/ 9059 w 10000"/>
                <a:gd name="connsiteY17" fmla="*/ 2670 h 10000"/>
                <a:gd name="connsiteX18" fmla="*/ 8875 w 10000"/>
                <a:gd name="connsiteY18" fmla="*/ 2273 h 10000"/>
                <a:gd name="connsiteX19" fmla="*/ 9012 w 10000"/>
                <a:gd name="connsiteY19" fmla="*/ 1953 h 10000"/>
                <a:gd name="connsiteX20" fmla="*/ 8691 w 10000"/>
                <a:gd name="connsiteY20" fmla="*/ 1515 h 10000"/>
                <a:gd name="connsiteX21" fmla="*/ 8553 w 10000"/>
                <a:gd name="connsiteY21" fmla="*/ 1677 h 10000"/>
                <a:gd name="connsiteX22" fmla="*/ 8253 w 10000"/>
                <a:gd name="connsiteY22" fmla="*/ 1760 h 10000"/>
                <a:gd name="connsiteX23" fmla="*/ 8279 w 10000"/>
                <a:gd name="connsiteY23" fmla="*/ 2195 h 10000"/>
                <a:gd name="connsiteX24" fmla="*/ 8369 w 10000"/>
                <a:gd name="connsiteY24" fmla="*/ 2311 h 10000"/>
                <a:gd name="connsiteX25" fmla="*/ 8302 w 10000"/>
                <a:gd name="connsiteY25" fmla="*/ 2631 h 10000"/>
                <a:gd name="connsiteX26" fmla="*/ 8117 w 10000"/>
                <a:gd name="connsiteY26" fmla="*/ 2712 h 10000"/>
                <a:gd name="connsiteX27" fmla="*/ 7933 w 10000"/>
                <a:gd name="connsiteY27" fmla="*/ 2953 h 10000"/>
                <a:gd name="connsiteX28" fmla="*/ 8095 w 10000"/>
                <a:gd name="connsiteY28" fmla="*/ 3267 h 10000"/>
                <a:gd name="connsiteX29" fmla="*/ 8072 w 10000"/>
                <a:gd name="connsiteY29" fmla="*/ 3509 h 10000"/>
                <a:gd name="connsiteX30" fmla="*/ 7727 w 10000"/>
                <a:gd name="connsiteY30" fmla="*/ 3789 h 10000"/>
                <a:gd name="connsiteX31" fmla="*/ 7566 w 10000"/>
                <a:gd name="connsiteY31" fmla="*/ 4263 h 10000"/>
                <a:gd name="connsiteX32" fmla="*/ 7153 w 10000"/>
                <a:gd name="connsiteY32" fmla="*/ 3310 h 10000"/>
                <a:gd name="connsiteX33" fmla="*/ 6992 w 10000"/>
                <a:gd name="connsiteY33" fmla="*/ 3629 h 10000"/>
                <a:gd name="connsiteX34" fmla="*/ 7221 w 10000"/>
                <a:gd name="connsiteY34" fmla="*/ 4027 h 10000"/>
                <a:gd name="connsiteX35" fmla="*/ 7038 w 10000"/>
                <a:gd name="connsiteY35" fmla="*/ 4303 h 10000"/>
                <a:gd name="connsiteX36" fmla="*/ 7083 w 10000"/>
                <a:gd name="connsiteY36" fmla="*/ 4503 h 10000"/>
                <a:gd name="connsiteX37" fmla="*/ 6717 w 10000"/>
                <a:gd name="connsiteY37" fmla="*/ 4978 h 10000"/>
                <a:gd name="connsiteX38" fmla="*/ 6327 w 10000"/>
                <a:gd name="connsiteY38" fmla="*/ 4585 h 10000"/>
                <a:gd name="connsiteX39" fmla="*/ 5272 w 10000"/>
                <a:gd name="connsiteY39" fmla="*/ 5579 h 10000"/>
                <a:gd name="connsiteX40" fmla="*/ 5179 w 10000"/>
                <a:gd name="connsiteY40" fmla="*/ 5142 h 10000"/>
                <a:gd name="connsiteX41" fmla="*/ 5041 w 10000"/>
                <a:gd name="connsiteY41" fmla="*/ 4861 h 10000"/>
                <a:gd name="connsiteX42" fmla="*/ 5087 w 10000"/>
                <a:gd name="connsiteY42" fmla="*/ 4542 h 10000"/>
                <a:gd name="connsiteX43" fmla="*/ 4948 w 10000"/>
                <a:gd name="connsiteY43" fmla="*/ 4225 h 10000"/>
                <a:gd name="connsiteX44" fmla="*/ 4742 w 10000"/>
                <a:gd name="connsiteY44" fmla="*/ 4185 h 10000"/>
                <a:gd name="connsiteX45" fmla="*/ 4788 w 10000"/>
                <a:gd name="connsiteY45" fmla="*/ 3748 h 10000"/>
                <a:gd name="connsiteX46" fmla="*/ 4626 w 10000"/>
                <a:gd name="connsiteY46" fmla="*/ 3587 h 10000"/>
                <a:gd name="connsiteX47" fmla="*/ 4466 w 10000"/>
                <a:gd name="connsiteY47" fmla="*/ 3032 h 10000"/>
                <a:gd name="connsiteX48" fmla="*/ 4259 w 10000"/>
                <a:gd name="connsiteY48" fmla="*/ 3032 h 10000"/>
                <a:gd name="connsiteX49" fmla="*/ 4054 w 10000"/>
                <a:gd name="connsiteY49" fmla="*/ 2751 h 10000"/>
                <a:gd name="connsiteX50" fmla="*/ 4054 w 10000"/>
                <a:gd name="connsiteY50" fmla="*/ 2631 h 10000"/>
                <a:gd name="connsiteX51" fmla="*/ 3869 w 10000"/>
                <a:gd name="connsiteY51" fmla="*/ 2791 h 10000"/>
                <a:gd name="connsiteX52" fmla="*/ 3640 w 10000"/>
                <a:gd name="connsiteY52" fmla="*/ 2514 h 10000"/>
                <a:gd name="connsiteX53" fmla="*/ 3755 w 10000"/>
                <a:gd name="connsiteY53" fmla="*/ 2113 h 10000"/>
                <a:gd name="connsiteX54" fmla="*/ 3570 w 10000"/>
                <a:gd name="connsiteY54" fmla="*/ 1794 h 10000"/>
                <a:gd name="connsiteX55" fmla="*/ 3711 w 10000"/>
                <a:gd name="connsiteY55" fmla="*/ 1318 h 10000"/>
                <a:gd name="connsiteX56" fmla="*/ 3250 w 10000"/>
                <a:gd name="connsiteY56" fmla="*/ 679 h 10000"/>
                <a:gd name="connsiteX57" fmla="*/ 2975 w 10000"/>
                <a:gd name="connsiteY57" fmla="*/ 879 h 10000"/>
                <a:gd name="connsiteX58" fmla="*/ 2446 w 10000"/>
                <a:gd name="connsiteY58" fmla="*/ 521 h 10000"/>
                <a:gd name="connsiteX59" fmla="*/ 2239 w 10000"/>
                <a:gd name="connsiteY59" fmla="*/ 756 h 10000"/>
                <a:gd name="connsiteX60" fmla="*/ 1734 w 10000"/>
                <a:gd name="connsiteY60" fmla="*/ 42 h 10000"/>
                <a:gd name="connsiteX61" fmla="*/ 1321 w 10000"/>
                <a:gd name="connsiteY61" fmla="*/ 1038 h 10000"/>
                <a:gd name="connsiteX62" fmla="*/ 1321 w 10000"/>
                <a:gd name="connsiteY62" fmla="*/ 1634 h 10000"/>
                <a:gd name="connsiteX63" fmla="*/ 1022 w 10000"/>
                <a:gd name="connsiteY63" fmla="*/ 1159 h 10000"/>
                <a:gd name="connsiteX64" fmla="*/ 679 w 10000"/>
                <a:gd name="connsiteY64" fmla="*/ 1953 h 10000"/>
                <a:gd name="connsiteX65" fmla="*/ 933 w 10000"/>
                <a:gd name="connsiteY65" fmla="*/ 2590 h 10000"/>
                <a:gd name="connsiteX66" fmla="*/ 471 w 10000"/>
                <a:gd name="connsiteY66" fmla="*/ 3347 h 10000"/>
                <a:gd name="connsiteX67" fmla="*/ 427 w 10000"/>
                <a:gd name="connsiteY67" fmla="*/ 3347 h 10000"/>
                <a:gd name="connsiteX68" fmla="*/ 609 w 10000"/>
                <a:gd name="connsiteY68" fmla="*/ 3789 h 10000"/>
                <a:gd name="connsiteX69" fmla="*/ 379 w 10000"/>
                <a:gd name="connsiteY69" fmla="*/ 4225 h 10000"/>
                <a:gd name="connsiteX70" fmla="*/ 539 w 10000"/>
                <a:gd name="connsiteY70" fmla="*/ 4503 h 10000"/>
                <a:gd name="connsiteX71" fmla="*/ 471 w 10000"/>
                <a:gd name="connsiteY71" fmla="*/ 4941 h 10000"/>
                <a:gd name="connsiteX72" fmla="*/ 379 w 10000"/>
                <a:gd name="connsiteY72" fmla="*/ 5184 h 10000"/>
                <a:gd name="connsiteX73" fmla="*/ 539 w 10000"/>
                <a:gd name="connsiteY73" fmla="*/ 5662 h 10000"/>
                <a:gd name="connsiteX74" fmla="*/ 266 w 10000"/>
                <a:gd name="connsiteY74" fmla="*/ 6414 h 10000"/>
                <a:gd name="connsiteX75" fmla="*/ 471 w 10000"/>
                <a:gd name="connsiteY75" fmla="*/ 6856 h 10000"/>
                <a:gd name="connsiteX76" fmla="*/ 105 w 10000"/>
                <a:gd name="connsiteY76" fmla="*/ 7609 h 10000"/>
                <a:gd name="connsiteX77" fmla="*/ 288 w 10000"/>
                <a:gd name="connsiteY77" fmla="*/ 8008 h 10000"/>
                <a:gd name="connsiteX78" fmla="*/ 12 w 10000"/>
                <a:gd name="connsiteY78" fmla="*/ 8649 h 10000"/>
                <a:gd name="connsiteX79" fmla="*/ 379 w 10000"/>
                <a:gd name="connsiteY79" fmla="*/ 8883 h 10000"/>
                <a:gd name="connsiteX80" fmla="*/ 266 w 10000"/>
                <a:gd name="connsiteY80" fmla="*/ 9404 h 10000"/>
                <a:gd name="connsiteX81" fmla="*/ 357 w 10000"/>
                <a:gd name="connsiteY81" fmla="*/ 10000 h 10000"/>
                <a:gd name="connsiteX82" fmla="*/ 982 w 10000"/>
                <a:gd name="connsiteY82" fmla="*/ 9453 h 10000"/>
                <a:gd name="connsiteX83" fmla="*/ 1342 w 10000"/>
                <a:gd name="connsiteY83" fmla="*/ 8972 h 10000"/>
                <a:gd name="connsiteX84" fmla="*/ 1775 w 10000"/>
                <a:gd name="connsiteY84" fmla="*/ 8981 h 10000"/>
                <a:gd name="connsiteX85" fmla="*/ 2239 w 10000"/>
                <a:gd name="connsiteY85" fmla="*/ 8695 h 10000"/>
                <a:gd name="connsiteX86" fmla="*/ 2810 w 10000"/>
                <a:gd name="connsiteY86" fmla="*/ 8242 h 10000"/>
                <a:gd name="connsiteX87" fmla="*/ 2997 w 10000"/>
                <a:gd name="connsiteY87" fmla="*/ 7896 h 10000"/>
                <a:gd name="connsiteX88" fmla="*/ 3386 w 10000"/>
                <a:gd name="connsiteY88" fmla="*/ 7230 h 10000"/>
                <a:gd name="connsiteX89" fmla="*/ 4023 w 10000"/>
                <a:gd name="connsiteY89" fmla="*/ 7695 h 10000"/>
                <a:gd name="connsiteX90" fmla="*/ 4296 w 10000"/>
                <a:gd name="connsiteY90" fmla="*/ 7665 h 10000"/>
                <a:gd name="connsiteX91" fmla="*/ 4241 w 10000"/>
                <a:gd name="connsiteY91" fmla="*/ 7091 h 10000"/>
                <a:gd name="connsiteX92" fmla="*/ 4282 w 10000"/>
                <a:gd name="connsiteY92" fmla="*/ 6356 h 10000"/>
                <a:gd name="connsiteX93" fmla="*/ 4895 w 10000"/>
                <a:gd name="connsiteY93" fmla="*/ 6191 h 10000"/>
                <a:gd name="connsiteX94" fmla="*/ 4809 w 10000"/>
                <a:gd name="connsiteY94" fmla="*/ 7066 h 10000"/>
                <a:gd name="connsiteX0" fmla="*/ 6417 w 10000"/>
                <a:gd name="connsiteY0" fmla="*/ 8927 h 10000"/>
                <a:gd name="connsiteX1" fmla="*/ 6188 w 10000"/>
                <a:gd name="connsiteY1" fmla="*/ 8128 h 10000"/>
                <a:gd name="connsiteX2" fmla="*/ 6327 w 10000"/>
                <a:gd name="connsiteY2" fmla="*/ 7811 h 10000"/>
                <a:gd name="connsiteX3" fmla="*/ 6810 w 10000"/>
                <a:gd name="connsiteY3" fmla="*/ 7571 h 10000"/>
                <a:gd name="connsiteX4" fmla="*/ 6763 w 10000"/>
                <a:gd name="connsiteY4" fmla="*/ 7490 h 10000"/>
                <a:gd name="connsiteX5" fmla="*/ 7132 w 10000"/>
                <a:gd name="connsiteY5" fmla="*/ 6893 h 10000"/>
                <a:gd name="connsiteX6" fmla="*/ 7406 w 10000"/>
                <a:gd name="connsiteY6" fmla="*/ 6573 h 10000"/>
                <a:gd name="connsiteX7" fmla="*/ 8095 w 10000"/>
                <a:gd name="connsiteY7" fmla="*/ 5938 h 10000"/>
                <a:gd name="connsiteX8" fmla="*/ 8302 w 10000"/>
                <a:gd name="connsiteY8" fmla="*/ 5540 h 10000"/>
                <a:gd name="connsiteX9" fmla="*/ 8714 w 10000"/>
                <a:gd name="connsiteY9" fmla="*/ 4780 h 10000"/>
                <a:gd name="connsiteX10" fmla="*/ 9449 w 10000"/>
                <a:gd name="connsiteY10" fmla="*/ 4104 h 10000"/>
                <a:gd name="connsiteX11" fmla="*/ 9494 w 10000"/>
                <a:gd name="connsiteY11" fmla="*/ 3825 h 10000"/>
                <a:gd name="connsiteX12" fmla="*/ 9793 w 10000"/>
                <a:gd name="connsiteY12" fmla="*/ 3389 h 10000"/>
                <a:gd name="connsiteX13" fmla="*/ 10000 w 10000"/>
                <a:gd name="connsiteY13" fmla="*/ 2868 h 10000"/>
                <a:gd name="connsiteX14" fmla="*/ 9678 w 10000"/>
                <a:gd name="connsiteY14" fmla="*/ 2389 h 10000"/>
                <a:gd name="connsiteX15" fmla="*/ 9265 w 10000"/>
                <a:gd name="connsiteY15" fmla="*/ 2868 h 10000"/>
                <a:gd name="connsiteX16" fmla="*/ 9059 w 10000"/>
                <a:gd name="connsiteY16" fmla="*/ 2670 h 10000"/>
                <a:gd name="connsiteX17" fmla="*/ 8875 w 10000"/>
                <a:gd name="connsiteY17" fmla="*/ 2273 h 10000"/>
                <a:gd name="connsiteX18" fmla="*/ 9012 w 10000"/>
                <a:gd name="connsiteY18" fmla="*/ 1953 h 10000"/>
                <a:gd name="connsiteX19" fmla="*/ 8691 w 10000"/>
                <a:gd name="connsiteY19" fmla="*/ 1515 h 10000"/>
                <a:gd name="connsiteX20" fmla="*/ 8553 w 10000"/>
                <a:gd name="connsiteY20" fmla="*/ 1677 h 10000"/>
                <a:gd name="connsiteX21" fmla="*/ 8253 w 10000"/>
                <a:gd name="connsiteY21" fmla="*/ 1760 h 10000"/>
                <a:gd name="connsiteX22" fmla="*/ 8279 w 10000"/>
                <a:gd name="connsiteY22" fmla="*/ 2195 h 10000"/>
                <a:gd name="connsiteX23" fmla="*/ 8369 w 10000"/>
                <a:gd name="connsiteY23" fmla="*/ 2311 h 10000"/>
                <a:gd name="connsiteX24" fmla="*/ 8302 w 10000"/>
                <a:gd name="connsiteY24" fmla="*/ 2631 h 10000"/>
                <a:gd name="connsiteX25" fmla="*/ 8117 w 10000"/>
                <a:gd name="connsiteY25" fmla="*/ 2712 h 10000"/>
                <a:gd name="connsiteX26" fmla="*/ 7933 w 10000"/>
                <a:gd name="connsiteY26" fmla="*/ 2953 h 10000"/>
                <a:gd name="connsiteX27" fmla="*/ 8095 w 10000"/>
                <a:gd name="connsiteY27" fmla="*/ 3267 h 10000"/>
                <a:gd name="connsiteX28" fmla="*/ 8072 w 10000"/>
                <a:gd name="connsiteY28" fmla="*/ 3509 h 10000"/>
                <a:gd name="connsiteX29" fmla="*/ 7727 w 10000"/>
                <a:gd name="connsiteY29" fmla="*/ 3789 h 10000"/>
                <a:gd name="connsiteX30" fmla="*/ 7566 w 10000"/>
                <a:gd name="connsiteY30" fmla="*/ 4263 h 10000"/>
                <a:gd name="connsiteX31" fmla="*/ 7153 w 10000"/>
                <a:gd name="connsiteY31" fmla="*/ 3310 h 10000"/>
                <a:gd name="connsiteX32" fmla="*/ 6992 w 10000"/>
                <a:gd name="connsiteY32" fmla="*/ 3629 h 10000"/>
                <a:gd name="connsiteX33" fmla="*/ 7221 w 10000"/>
                <a:gd name="connsiteY33" fmla="*/ 4027 h 10000"/>
                <a:gd name="connsiteX34" fmla="*/ 7038 w 10000"/>
                <a:gd name="connsiteY34" fmla="*/ 4303 h 10000"/>
                <a:gd name="connsiteX35" fmla="*/ 7083 w 10000"/>
                <a:gd name="connsiteY35" fmla="*/ 4503 h 10000"/>
                <a:gd name="connsiteX36" fmla="*/ 6717 w 10000"/>
                <a:gd name="connsiteY36" fmla="*/ 4978 h 10000"/>
                <a:gd name="connsiteX37" fmla="*/ 6327 w 10000"/>
                <a:gd name="connsiteY37" fmla="*/ 4585 h 10000"/>
                <a:gd name="connsiteX38" fmla="*/ 5272 w 10000"/>
                <a:gd name="connsiteY38" fmla="*/ 5579 h 10000"/>
                <a:gd name="connsiteX39" fmla="*/ 5179 w 10000"/>
                <a:gd name="connsiteY39" fmla="*/ 5142 h 10000"/>
                <a:gd name="connsiteX40" fmla="*/ 5041 w 10000"/>
                <a:gd name="connsiteY40" fmla="*/ 4861 h 10000"/>
                <a:gd name="connsiteX41" fmla="*/ 5087 w 10000"/>
                <a:gd name="connsiteY41" fmla="*/ 4542 h 10000"/>
                <a:gd name="connsiteX42" fmla="*/ 4948 w 10000"/>
                <a:gd name="connsiteY42" fmla="*/ 4225 h 10000"/>
                <a:gd name="connsiteX43" fmla="*/ 4742 w 10000"/>
                <a:gd name="connsiteY43" fmla="*/ 4185 h 10000"/>
                <a:gd name="connsiteX44" fmla="*/ 4788 w 10000"/>
                <a:gd name="connsiteY44" fmla="*/ 3748 h 10000"/>
                <a:gd name="connsiteX45" fmla="*/ 4626 w 10000"/>
                <a:gd name="connsiteY45" fmla="*/ 3587 h 10000"/>
                <a:gd name="connsiteX46" fmla="*/ 4466 w 10000"/>
                <a:gd name="connsiteY46" fmla="*/ 3032 h 10000"/>
                <a:gd name="connsiteX47" fmla="*/ 4259 w 10000"/>
                <a:gd name="connsiteY47" fmla="*/ 3032 h 10000"/>
                <a:gd name="connsiteX48" fmla="*/ 4054 w 10000"/>
                <a:gd name="connsiteY48" fmla="*/ 2751 h 10000"/>
                <a:gd name="connsiteX49" fmla="*/ 4054 w 10000"/>
                <a:gd name="connsiteY49" fmla="*/ 2631 h 10000"/>
                <a:gd name="connsiteX50" fmla="*/ 3869 w 10000"/>
                <a:gd name="connsiteY50" fmla="*/ 2791 h 10000"/>
                <a:gd name="connsiteX51" fmla="*/ 3640 w 10000"/>
                <a:gd name="connsiteY51" fmla="*/ 2514 h 10000"/>
                <a:gd name="connsiteX52" fmla="*/ 3755 w 10000"/>
                <a:gd name="connsiteY52" fmla="*/ 2113 h 10000"/>
                <a:gd name="connsiteX53" fmla="*/ 3570 w 10000"/>
                <a:gd name="connsiteY53" fmla="*/ 1794 h 10000"/>
                <a:gd name="connsiteX54" fmla="*/ 3711 w 10000"/>
                <a:gd name="connsiteY54" fmla="*/ 1318 h 10000"/>
                <a:gd name="connsiteX55" fmla="*/ 3250 w 10000"/>
                <a:gd name="connsiteY55" fmla="*/ 679 h 10000"/>
                <a:gd name="connsiteX56" fmla="*/ 2975 w 10000"/>
                <a:gd name="connsiteY56" fmla="*/ 879 h 10000"/>
                <a:gd name="connsiteX57" fmla="*/ 2446 w 10000"/>
                <a:gd name="connsiteY57" fmla="*/ 521 h 10000"/>
                <a:gd name="connsiteX58" fmla="*/ 2239 w 10000"/>
                <a:gd name="connsiteY58" fmla="*/ 756 h 10000"/>
                <a:gd name="connsiteX59" fmla="*/ 1734 w 10000"/>
                <a:gd name="connsiteY59" fmla="*/ 42 h 10000"/>
                <a:gd name="connsiteX60" fmla="*/ 1321 w 10000"/>
                <a:gd name="connsiteY60" fmla="*/ 1038 h 10000"/>
                <a:gd name="connsiteX61" fmla="*/ 1321 w 10000"/>
                <a:gd name="connsiteY61" fmla="*/ 1634 h 10000"/>
                <a:gd name="connsiteX62" fmla="*/ 1022 w 10000"/>
                <a:gd name="connsiteY62" fmla="*/ 1159 h 10000"/>
                <a:gd name="connsiteX63" fmla="*/ 679 w 10000"/>
                <a:gd name="connsiteY63" fmla="*/ 1953 h 10000"/>
                <a:gd name="connsiteX64" fmla="*/ 933 w 10000"/>
                <a:gd name="connsiteY64" fmla="*/ 2590 h 10000"/>
                <a:gd name="connsiteX65" fmla="*/ 471 w 10000"/>
                <a:gd name="connsiteY65" fmla="*/ 3347 h 10000"/>
                <a:gd name="connsiteX66" fmla="*/ 427 w 10000"/>
                <a:gd name="connsiteY66" fmla="*/ 3347 h 10000"/>
                <a:gd name="connsiteX67" fmla="*/ 609 w 10000"/>
                <a:gd name="connsiteY67" fmla="*/ 3789 h 10000"/>
                <a:gd name="connsiteX68" fmla="*/ 379 w 10000"/>
                <a:gd name="connsiteY68" fmla="*/ 4225 h 10000"/>
                <a:gd name="connsiteX69" fmla="*/ 539 w 10000"/>
                <a:gd name="connsiteY69" fmla="*/ 4503 h 10000"/>
                <a:gd name="connsiteX70" fmla="*/ 471 w 10000"/>
                <a:gd name="connsiteY70" fmla="*/ 4941 h 10000"/>
                <a:gd name="connsiteX71" fmla="*/ 379 w 10000"/>
                <a:gd name="connsiteY71" fmla="*/ 5184 h 10000"/>
                <a:gd name="connsiteX72" fmla="*/ 539 w 10000"/>
                <a:gd name="connsiteY72" fmla="*/ 5662 h 10000"/>
                <a:gd name="connsiteX73" fmla="*/ 266 w 10000"/>
                <a:gd name="connsiteY73" fmla="*/ 6414 h 10000"/>
                <a:gd name="connsiteX74" fmla="*/ 471 w 10000"/>
                <a:gd name="connsiteY74" fmla="*/ 6856 h 10000"/>
                <a:gd name="connsiteX75" fmla="*/ 105 w 10000"/>
                <a:gd name="connsiteY75" fmla="*/ 7609 h 10000"/>
                <a:gd name="connsiteX76" fmla="*/ 288 w 10000"/>
                <a:gd name="connsiteY76" fmla="*/ 8008 h 10000"/>
                <a:gd name="connsiteX77" fmla="*/ 12 w 10000"/>
                <a:gd name="connsiteY77" fmla="*/ 8649 h 10000"/>
                <a:gd name="connsiteX78" fmla="*/ 379 w 10000"/>
                <a:gd name="connsiteY78" fmla="*/ 8883 h 10000"/>
                <a:gd name="connsiteX79" fmla="*/ 266 w 10000"/>
                <a:gd name="connsiteY79" fmla="*/ 9404 h 10000"/>
                <a:gd name="connsiteX80" fmla="*/ 357 w 10000"/>
                <a:gd name="connsiteY80" fmla="*/ 10000 h 10000"/>
                <a:gd name="connsiteX81" fmla="*/ 982 w 10000"/>
                <a:gd name="connsiteY81" fmla="*/ 9453 h 10000"/>
                <a:gd name="connsiteX82" fmla="*/ 1342 w 10000"/>
                <a:gd name="connsiteY82" fmla="*/ 8972 h 10000"/>
                <a:gd name="connsiteX83" fmla="*/ 1775 w 10000"/>
                <a:gd name="connsiteY83" fmla="*/ 8981 h 10000"/>
                <a:gd name="connsiteX84" fmla="*/ 2239 w 10000"/>
                <a:gd name="connsiteY84" fmla="*/ 8695 h 10000"/>
                <a:gd name="connsiteX85" fmla="*/ 2810 w 10000"/>
                <a:gd name="connsiteY85" fmla="*/ 8242 h 10000"/>
                <a:gd name="connsiteX86" fmla="*/ 2997 w 10000"/>
                <a:gd name="connsiteY86" fmla="*/ 7896 h 10000"/>
                <a:gd name="connsiteX87" fmla="*/ 3386 w 10000"/>
                <a:gd name="connsiteY87" fmla="*/ 7230 h 10000"/>
                <a:gd name="connsiteX88" fmla="*/ 4023 w 10000"/>
                <a:gd name="connsiteY88" fmla="*/ 7695 h 10000"/>
                <a:gd name="connsiteX89" fmla="*/ 4296 w 10000"/>
                <a:gd name="connsiteY89" fmla="*/ 7665 h 10000"/>
                <a:gd name="connsiteX90" fmla="*/ 4241 w 10000"/>
                <a:gd name="connsiteY90" fmla="*/ 7091 h 10000"/>
                <a:gd name="connsiteX91" fmla="*/ 4282 w 10000"/>
                <a:gd name="connsiteY91" fmla="*/ 6356 h 10000"/>
                <a:gd name="connsiteX92" fmla="*/ 4895 w 10000"/>
                <a:gd name="connsiteY92" fmla="*/ 6191 h 10000"/>
                <a:gd name="connsiteX93" fmla="*/ 4809 w 10000"/>
                <a:gd name="connsiteY93" fmla="*/ 7066 h 10000"/>
                <a:gd name="connsiteX0" fmla="*/ 6188 w 10000"/>
                <a:gd name="connsiteY0" fmla="*/ 8128 h 10000"/>
                <a:gd name="connsiteX1" fmla="*/ 6327 w 10000"/>
                <a:gd name="connsiteY1" fmla="*/ 7811 h 10000"/>
                <a:gd name="connsiteX2" fmla="*/ 6810 w 10000"/>
                <a:gd name="connsiteY2" fmla="*/ 7571 h 10000"/>
                <a:gd name="connsiteX3" fmla="*/ 6763 w 10000"/>
                <a:gd name="connsiteY3" fmla="*/ 7490 h 10000"/>
                <a:gd name="connsiteX4" fmla="*/ 7132 w 10000"/>
                <a:gd name="connsiteY4" fmla="*/ 6893 h 10000"/>
                <a:gd name="connsiteX5" fmla="*/ 7406 w 10000"/>
                <a:gd name="connsiteY5" fmla="*/ 6573 h 10000"/>
                <a:gd name="connsiteX6" fmla="*/ 8095 w 10000"/>
                <a:gd name="connsiteY6" fmla="*/ 5938 h 10000"/>
                <a:gd name="connsiteX7" fmla="*/ 8302 w 10000"/>
                <a:gd name="connsiteY7" fmla="*/ 5540 h 10000"/>
                <a:gd name="connsiteX8" fmla="*/ 8714 w 10000"/>
                <a:gd name="connsiteY8" fmla="*/ 4780 h 10000"/>
                <a:gd name="connsiteX9" fmla="*/ 9449 w 10000"/>
                <a:gd name="connsiteY9" fmla="*/ 4104 h 10000"/>
                <a:gd name="connsiteX10" fmla="*/ 9494 w 10000"/>
                <a:gd name="connsiteY10" fmla="*/ 3825 h 10000"/>
                <a:gd name="connsiteX11" fmla="*/ 9793 w 10000"/>
                <a:gd name="connsiteY11" fmla="*/ 3389 h 10000"/>
                <a:gd name="connsiteX12" fmla="*/ 10000 w 10000"/>
                <a:gd name="connsiteY12" fmla="*/ 2868 h 10000"/>
                <a:gd name="connsiteX13" fmla="*/ 9678 w 10000"/>
                <a:gd name="connsiteY13" fmla="*/ 2389 h 10000"/>
                <a:gd name="connsiteX14" fmla="*/ 9265 w 10000"/>
                <a:gd name="connsiteY14" fmla="*/ 2868 h 10000"/>
                <a:gd name="connsiteX15" fmla="*/ 9059 w 10000"/>
                <a:gd name="connsiteY15" fmla="*/ 2670 h 10000"/>
                <a:gd name="connsiteX16" fmla="*/ 8875 w 10000"/>
                <a:gd name="connsiteY16" fmla="*/ 2273 h 10000"/>
                <a:gd name="connsiteX17" fmla="*/ 9012 w 10000"/>
                <a:gd name="connsiteY17" fmla="*/ 1953 h 10000"/>
                <a:gd name="connsiteX18" fmla="*/ 8691 w 10000"/>
                <a:gd name="connsiteY18" fmla="*/ 1515 h 10000"/>
                <a:gd name="connsiteX19" fmla="*/ 8553 w 10000"/>
                <a:gd name="connsiteY19" fmla="*/ 1677 h 10000"/>
                <a:gd name="connsiteX20" fmla="*/ 8253 w 10000"/>
                <a:gd name="connsiteY20" fmla="*/ 1760 h 10000"/>
                <a:gd name="connsiteX21" fmla="*/ 8279 w 10000"/>
                <a:gd name="connsiteY21" fmla="*/ 2195 h 10000"/>
                <a:gd name="connsiteX22" fmla="*/ 8369 w 10000"/>
                <a:gd name="connsiteY22" fmla="*/ 2311 h 10000"/>
                <a:gd name="connsiteX23" fmla="*/ 8302 w 10000"/>
                <a:gd name="connsiteY23" fmla="*/ 2631 h 10000"/>
                <a:gd name="connsiteX24" fmla="*/ 8117 w 10000"/>
                <a:gd name="connsiteY24" fmla="*/ 2712 h 10000"/>
                <a:gd name="connsiteX25" fmla="*/ 7933 w 10000"/>
                <a:gd name="connsiteY25" fmla="*/ 2953 h 10000"/>
                <a:gd name="connsiteX26" fmla="*/ 8095 w 10000"/>
                <a:gd name="connsiteY26" fmla="*/ 3267 h 10000"/>
                <a:gd name="connsiteX27" fmla="*/ 8072 w 10000"/>
                <a:gd name="connsiteY27" fmla="*/ 3509 h 10000"/>
                <a:gd name="connsiteX28" fmla="*/ 7727 w 10000"/>
                <a:gd name="connsiteY28" fmla="*/ 3789 h 10000"/>
                <a:gd name="connsiteX29" fmla="*/ 7566 w 10000"/>
                <a:gd name="connsiteY29" fmla="*/ 4263 h 10000"/>
                <a:gd name="connsiteX30" fmla="*/ 7153 w 10000"/>
                <a:gd name="connsiteY30" fmla="*/ 3310 h 10000"/>
                <a:gd name="connsiteX31" fmla="*/ 6992 w 10000"/>
                <a:gd name="connsiteY31" fmla="*/ 3629 h 10000"/>
                <a:gd name="connsiteX32" fmla="*/ 7221 w 10000"/>
                <a:gd name="connsiteY32" fmla="*/ 4027 h 10000"/>
                <a:gd name="connsiteX33" fmla="*/ 7038 w 10000"/>
                <a:gd name="connsiteY33" fmla="*/ 4303 h 10000"/>
                <a:gd name="connsiteX34" fmla="*/ 7083 w 10000"/>
                <a:gd name="connsiteY34" fmla="*/ 4503 h 10000"/>
                <a:gd name="connsiteX35" fmla="*/ 6717 w 10000"/>
                <a:gd name="connsiteY35" fmla="*/ 4978 h 10000"/>
                <a:gd name="connsiteX36" fmla="*/ 6327 w 10000"/>
                <a:gd name="connsiteY36" fmla="*/ 4585 h 10000"/>
                <a:gd name="connsiteX37" fmla="*/ 5272 w 10000"/>
                <a:gd name="connsiteY37" fmla="*/ 5579 h 10000"/>
                <a:gd name="connsiteX38" fmla="*/ 5179 w 10000"/>
                <a:gd name="connsiteY38" fmla="*/ 5142 h 10000"/>
                <a:gd name="connsiteX39" fmla="*/ 5041 w 10000"/>
                <a:gd name="connsiteY39" fmla="*/ 4861 h 10000"/>
                <a:gd name="connsiteX40" fmla="*/ 5087 w 10000"/>
                <a:gd name="connsiteY40" fmla="*/ 4542 h 10000"/>
                <a:gd name="connsiteX41" fmla="*/ 4948 w 10000"/>
                <a:gd name="connsiteY41" fmla="*/ 4225 h 10000"/>
                <a:gd name="connsiteX42" fmla="*/ 4742 w 10000"/>
                <a:gd name="connsiteY42" fmla="*/ 4185 h 10000"/>
                <a:gd name="connsiteX43" fmla="*/ 4788 w 10000"/>
                <a:gd name="connsiteY43" fmla="*/ 3748 h 10000"/>
                <a:gd name="connsiteX44" fmla="*/ 4626 w 10000"/>
                <a:gd name="connsiteY44" fmla="*/ 3587 h 10000"/>
                <a:gd name="connsiteX45" fmla="*/ 4466 w 10000"/>
                <a:gd name="connsiteY45" fmla="*/ 3032 h 10000"/>
                <a:gd name="connsiteX46" fmla="*/ 4259 w 10000"/>
                <a:gd name="connsiteY46" fmla="*/ 3032 h 10000"/>
                <a:gd name="connsiteX47" fmla="*/ 4054 w 10000"/>
                <a:gd name="connsiteY47" fmla="*/ 2751 h 10000"/>
                <a:gd name="connsiteX48" fmla="*/ 4054 w 10000"/>
                <a:gd name="connsiteY48" fmla="*/ 2631 h 10000"/>
                <a:gd name="connsiteX49" fmla="*/ 3869 w 10000"/>
                <a:gd name="connsiteY49" fmla="*/ 2791 h 10000"/>
                <a:gd name="connsiteX50" fmla="*/ 3640 w 10000"/>
                <a:gd name="connsiteY50" fmla="*/ 2514 h 10000"/>
                <a:gd name="connsiteX51" fmla="*/ 3755 w 10000"/>
                <a:gd name="connsiteY51" fmla="*/ 2113 h 10000"/>
                <a:gd name="connsiteX52" fmla="*/ 3570 w 10000"/>
                <a:gd name="connsiteY52" fmla="*/ 1794 h 10000"/>
                <a:gd name="connsiteX53" fmla="*/ 3711 w 10000"/>
                <a:gd name="connsiteY53" fmla="*/ 1318 h 10000"/>
                <a:gd name="connsiteX54" fmla="*/ 3250 w 10000"/>
                <a:gd name="connsiteY54" fmla="*/ 679 h 10000"/>
                <a:gd name="connsiteX55" fmla="*/ 2975 w 10000"/>
                <a:gd name="connsiteY55" fmla="*/ 879 h 10000"/>
                <a:gd name="connsiteX56" fmla="*/ 2446 w 10000"/>
                <a:gd name="connsiteY56" fmla="*/ 521 h 10000"/>
                <a:gd name="connsiteX57" fmla="*/ 2239 w 10000"/>
                <a:gd name="connsiteY57" fmla="*/ 756 h 10000"/>
                <a:gd name="connsiteX58" fmla="*/ 1734 w 10000"/>
                <a:gd name="connsiteY58" fmla="*/ 42 h 10000"/>
                <a:gd name="connsiteX59" fmla="*/ 1321 w 10000"/>
                <a:gd name="connsiteY59" fmla="*/ 1038 h 10000"/>
                <a:gd name="connsiteX60" fmla="*/ 1321 w 10000"/>
                <a:gd name="connsiteY60" fmla="*/ 1634 h 10000"/>
                <a:gd name="connsiteX61" fmla="*/ 1022 w 10000"/>
                <a:gd name="connsiteY61" fmla="*/ 1159 h 10000"/>
                <a:gd name="connsiteX62" fmla="*/ 679 w 10000"/>
                <a:gd name="connsiteY62" fmla="*/ 1953 h 10000"/>
                <a:gd name="connsiteX63" fmla="*/ 933 w 10000"/>
                <a:gd name="connsiteY63" fmla="*/ 2590 h 10000"/>
                <a:gd name="connsiteX64" fmla="*/ 471 w 10000"/>
                <a:gd name="connsiteY64" fmla="*/ 3347 h 10000"/>
                <a:gd name="connsiteX65" fmla="*/ 427 w 10000"/>
                <a:gd name="connsiteY65" fmla="*/ 3347 h 10000"/>
                <a:gd name="connsiteX66" fmla="*/ 609 w 10000"/>
                <a:gd name="connsiteY66" fmla="*/ 3789 h 10000"/>
                <a:gd name="connsiteX67" fmla="*/ 379 w 10000"/>
                <a:gd name="connsiteY67" fmla="*/ 4225 h 10000"/>
                <a:gd name="connsiteX68" fmla="*/ 539 w 10000"/>
                <a:gd name="connsiteY68" fmla="*/ 4503 h 10000"/>
                <a:gd name="connsiteX69" fmla="*/ 471 w 10000"/>
                <a:gd name="connsiteY69" fmla="*/ 4941 h 10000"/>
                <a:gd name="connsiteX70" fmla="*/ 379 w 10000"/>
                <a:gd name="connsiteY70" fmla="*/ 5184 h 10000"/>
                <a:gd name="connsiteX71" fmla="*/ 539 w 10000"/>
                <a:gd name="connsiteY71" fmla="*/ 5662 h 10000"/>
                <a:gd name="connsiteX72" fmla="*/ 266 w 10000"/>
                <a:gd name="connsiteY72" fmla="*/ 6414 h 10000"/>
                <a:gd name="connsiteX73" fmla="*/ 471 w 10000"/>
                <a:gd name="connsiteY73" fmla="*/ 6856 h 10000"/>
                <a:gd name="connsiteX74" fmla="*/ 105 w 10000"/>
                <a:gd name="connsiteY74" fmla="*/ 7609 h 10000"/>
                <a:gd name="connsiteX75" fmla="*/ 288 w 10000"/>
                <a:gd name="connsiteY75" fmla="*/ 8008 h 10000"/>
                <a:gd name="connsiteX76" fmla="*/ 12 w 10000"/>
                <a:gd name="connsiteY76" fmla="*/ 8649 h 10000"/>
                <a:gd name="connsiteX77" fmla="*/ 379 w 10000"/>
                <a:gd name="connsiteY77" fmla="*/ 8883 h 10000"/>
                <a:gd name="connsiteX78" fmla="*/ 266 w 10000"/>
                <a:gd name="connsiteY78" fmla="*/ 9404 h 10000"/>
                <a:gd name="connsiteX79" fmla="*/ 357 w 10000"/>
                <a:gd name="connsiteY79" fmla="*/ 10000 h 10000"/>
                <a:gd name="connsiteX80" fmla="*/ 982 w 10000"/>
                <a:gd name="connsiteY80" fmla="*/ 9453 h 10000"/>
                <a:gd name="connsiteX81" fmla="*/ 1342 w 10000"/>
                <a:gd name="connsiteY81" fmla="*/ 8972 h 10000"/>
                <a:gd name="connsiteX82" fmla="*/ 1775 w 10000"/>
                <a:gd name="connsiteY82" fmla="*/ 8981 h 10000"/>
                <a:gd name="connsiteX83" fmla="*/ 2239 w 10000"/>
                <a:gd name="connsiteY83" fmla="*/ 8695 h 10000"/>
                <a:gd name="connsiteX84" fmla="*/ 2810 w 10000"/>
                <a:gd name="connsiteY84" fmla="*/ 8242 h 10000"/>
                <a:gd name="connsiteX85" fmla="*/ 2997 w 10000"/>
                <a:gd name="connsiteY85" fmla="*/ 7896 h 10000"/>
                <a:gd name="connsiteX86" fmla="*/ 3386 w 10000"/>
                <a:gd name="connsiteY86" fmla="*/ 7230 h 10000"/>
                <a:gd name="connsiteX87" fmla="*/ 4023 w 10000"/>
                <a:gd name="connsiteY87" fmla="*/ 7695 h 10000"/>
                <a:gd name="connsiteX88" fmla="*/ 4296 w 10000"/>
                <a:gd name="connsiteY88" fmla="*/ 7665 h 10000"/>
                <a:gd name="connsiteX89" fmla="*/ 4241 w 10000"/>
                <a:gd name="connsiteY89" fmla="*/ 7091 h 10000"/>
                <a:gd name="connsiteX90" fmla="*/ 4282 w 10000"/>
                <a:gd name="connsiteY90" fmla="*/ 6356 h 10000"/>
                <a:gd name="connsiteX91" fmla="*/ 4895 w 10000"/>
                <a:gd name="connsiteY91" fmla="*/ 6191 h 10000"/>
                <a:gd name="connsiteX92" fmla="*/ 4809 w 10000"/>
                <a:gd name="connsiteY92" fmla="*/ 7066 h 10000"/>
                <a:gd name="connsiteX0" fmla="*/ 6327 w 10000"/>
                <a:gd name="connsiteY0" fmla="*/ 7811 h 10000"/>
                <a:gd name="connsiteX1" fmla="*/ 6810 w 10000"/>
                <a:gd name="connsiteY1" fmla="*/ 7571 h 10000"/>
                <a:gd name="connsiteX2" fmla="*/ 6763 w 10000"/>
                <a:gd name="connsiteY2" fmla="*/ 7490 h 10000"/>
                <a:gd name="connsiteX3" fmla="*/ 7132 w 10000"/>
                <a:gd name="connsiteY3" fmla="*/ 6893 h 10000"/>
                <a:gd name="connsiteX4" fmla="*/ 7406 w 10000"/>
                <a:gd name="connsiteY4" fmla="*/ 6573 h 10000"/>
                <a:gd name="connsiteX5" fmla="*/ 8095 w 10000"/>
                <a:gd name="connsiteY5" fmla="*/ 5938 h 10000"/>
                <a:gd name="connsiteX6" fmla="*/ 8302 w 10000"/>
                <a:gd name="connsiteY6" fmla="*/ 5540 h 10000"/>
                <a:gd name="connsiteX7" fmla="*/ 8714 w 10000"/>
                <a:gd name="connsiteY7" fmla="*/ 4780 h 10000"/>
                <a:gd name="connsiteX8" fmla="*/ 9449 w 10000"/>
                <a:gd name="connsiteY8" fmla="*/ 4104 h 10000"/>
                <a:gd name="connsiteX9" fmla="*/ 9494 w 10000"/>
                <a:gd name="connsiteY9" fmla="*/ 3825 h 10000"/>
                <a:gd name="connsiteX10" fmla="*/ 9793 w 10000"/>
                <a:gd name="connsiteY10" fmla="*/ 3389 h 10000"/>
                <a:gd name="connsiteX11" fmla="*/ 10000 w 10000"/>
                <a:gd name="connsiteY11" fmla="*/ 2868 h 10000"/>
                <a:gd name="connsiteX12" fmla="*/ 9678 w 10000"/>
                <a:gd name="connsiteY12" fmla="*/ 2389 h 10000"/>
                <a:gd name="connsiteX13" fmla="*/ 9265 w 10000"/>
                <a:gd name="connsiteY13" fmla="*/ 2868 h 10000"/>
                <a:gd name="connsiteX14" fmla="*/ 9059 w 10000"/>
                <a:gd name="connsiteY14" fmla="*/ 2670 h 10000"/>
                <a:gd name="connsiteX15" fmla="*/ 8875 w 10000"/>
                <a:gd name="connsiteY15" fmla="*/ 2273 h 10000"/>
                <a:gd name="connsiteX16" fmla="*/ 9012 w 10000"/>
                <a:gd name="connsiteY16" fmla="*/ 1953 h 10000"/>
                <a:gd name="connsiteX17" fmla="*/ 8691 w 10000"/>
                <a:gd name="connsiteY17" fmla="*/ 1515 h 10000"/>
                <a:gd name="connsiteX18" fmla="*/ 8553 w 10000"/>
                <a:gd name="connsiteY18" fmla="*/ 1677 h 10000"/>
                <a:gd name="connsiteX19" fmla="*/ 8253 w 10000"/>
                <a:gd name="connsiteY19" fmla="*/ 1760 h 10000"/>
                <a:gd name="connsiteX20" fmla="*/ 8279 w 10000"/>
                <a:gd name="connsiteY20" fmla="*/ 2195 h 10000"/>
                <a:gd name="connsiteX21" fmla="*/ 8369 w 10000"/>
                <a:gd name="connsiteY21" fmla="*/ 2311 h 10000"/>
                <a:gd name="connsiteX22" fmla="*/ 8302 w 10000"/>
                <a:gd name="connsiteY22" fmla="*/ 2631 h 10000"/>
                <a:gd name="connsiteX23" fmla="*/ 8117 w 10000"/>
                <a:gd name="connsiteY23" fmla="*/ 2712 h 10000"/>
                <a:gd name="connsiteX24" fmla="*/ 7933 w 10000"/>
                <a:gd name="connsiteY24" fmla="*/ 2953 h 10000"/>
                <a:gd name="connsiteX25" fmla="*/ 8095 w 10000"/>
                <a:gd name="connsiteY25" fmla="*/ 3267 h 10000"/>
                <a:gd name="connsiteX26" fmla="*/ 8072 w 10000"/>
                <a:gd name="connsiteY26" fmla="*/ 3509 h 10000"/>
                <a:gd name="connsiteX27" fmla="*/ 7727 w 10000"/>
                <a:gd name="connsiteY27" fmla="*/ 3789 h 10000"/>
                <a:gd name="connsiteX28" fmla="*/ 7566 w 10000"/>
                <a:gd name="connsiteY28" fmla="*/ 4263 h 10000"/>
                <a:gd name="connsiteX29" fmla="*/ 7153 w 10000"/>
                <a:gd name="connsiteY29" fmla="*/ 3310 h 10000"/>
                <a:gd name="connsiteX30" fmla="*/ 6992 w 10000"/>
                <a:gd name="connsiteY30" fmla="*/ 3629 h 10000"/>
                <a:gd name="connsiteX31" fmla="*/ 7221 w 10000"/>
                <a:gd name="connsiteY31" fmla="*/ 4027 h 10000"/>
                <a:gd name="connsiteX32" fmla="*/ 7038 w 10000"/>
                <a:gd name="connsiteY32" fmla="*/ 4303 h 10000"/>
                <a:gd name="connsiteX33" fmla="*/ 7083 w 10000"/>
                <a:gd name="connsiteY33" fmla="*/ 4503 h 10000"/>
                <a:gd name="connsiteX34" fmla="*/ 6717 w 10000"/>
                <a:gd name="connsiteY34" fmla="*/ 4978 h 10000"/>
                <a:gd name="connsiteX35" fmla="*/ 6327 w 10000"/>
                <a:gd name="connsiteY35" fmla="*/ 4585 h 10000"/>
                <a:gd name="connsiteX36" fmla="*/ 5272 w 10000"/>
                <a:gd name="connsiteY36" fmla="*/ 5579 h 10000"/>
                <a:gd name="connsiteX37" fmla="*/ 5179 w 10000"/>
                <a:gd name="connsiteY37" fmla="*/ 5142 h 10000"/>
                <a:gd name="connsiteX38" fmla="*/ 5041 w 10000"/>
                <a:gd name="connsiteY38" fmla="*/ 4861 h 10000"/>
                <a:gd name="connsiteX39" fmla="*/ 5087 w 10000"/>
                <a:gd name="connsiteY39" fmla="*/ 4542 h 10000"/>
                <a:gd name="connsiteX40" fmla="*/ 4948 w 10000"/>
                <a:gd name="connsiteY40" fmla="*/ 4225 h 10000"/>
                <a:gd name="connsiteX41" fmla="*/ 4742 w 10000"/>
                <a:gd name="connsiteY41" fmla="*/ 4185 h 10000"/>
                <a:gd name="connsiteX42" fmla="*/ 4788 w 10000"/>
                <a:gd name="connsiteY42" fmla="*/ 3748 h 10000"/>
                <a:gd name="connsiteX43" fmla="*/ 4626 w 10000"/>
                <a:gd name="connsiteY43" fmla="*/ 3587 h 10000"/>
                <a:gd name="connsiteX44" fmla="*/ 4466 w 10000"/>
                <a:gd name="connsiteY44" fmla="*/ 3032 h 10000"/>
                <a:gd name="connsiteX45" fmla="*/ 4259 w 10000"/>
                <a:gd name="connsiteY45" fmla="*/ 3032 h 10000"/>
                <a:gd name="connsiteX46" fmla="*/ 4054 w 10000"/>
                <a:gd name="connsiteY46" fmla="*/ 2751 h 10000"/>
                <a:gd name="connsiteX47" fmla="*/ 4054 w 10000"/>
                <a:gd name="connsiteY47" fmla="*/ 2631 h 10000"/>
                <a:gd name="connsiteX48" fmla="*/ 3869 w 10000"/>
                <a:gd name="connsiteY48" fmla="*/ 2791 h 10000"/>
                <a:gd name="connsiteX49" fmla="*/ 3640 w 10000"/>
                <a:gd name="connsiteY49" fmla="*/ 2514 h 10000"/>
                <a:gd name="connsiteX50" fmla="*/ 3755 w 10000"/>
                <a:gd name="connsiteY50" fmla="*/ 2113 h 10000"/>
                <a:gd name="connsiteX51" fmla="*/ 3570 w 10000"/>
                <a:gd name="connsiteY51" fmla="*/ 1794 h 10000"/>
                <a:gd name="connsiteX52" fmla="*/ 3711 w 10000"/>
                <a:gd name="connsiteY52" fmla="*/ 1318 h 10000"/>
                <a:gd name="connsiteX53" fmla="*/ 3250 w 10000"/>
                <a:gd name="connsiteY53" fmla="*/ 679 h 10000"/>
                <a:gd name="connsiteX54" fmla="*/ 2975 w 10000"/>
                <a:gd name="connsiteY54" fmla="*/ 879 h 10000"/>
                <a:gd name="connsiteX55" fmla="*/ 2446 w 10000"/>
                <a:gd name="connsiteY55" fmla="*/ 521 h 10000"/>
                <a:gd name="connsiteX56" fmla="*/ 2239 w 10000"/>
                <a:gd name="connsiteY56" fmla="*/ 756 h 10000"/>
                <a:gd name="connsiteX57" fmla="*/ 1734 w 10000"/>
                <a:gd name="connsiteY57" fmla="*/ 42 h 10000"/>
                <a:gd name="connsiteX58" fmla="*/ 1321 w 10000"/>
                <a:gd name="connsiteY58" fmla="*/ 1038 h 10000"/>
                <a:gd name="connsiteX59" fmla="*/ 1321 w 10000"/>
                <a:gd name="connsiteY59" fmla="*/ 1634 h 10000"/>
                <a:gd name="connsiteX60" fmla="*/ 1022 w 10000"/>
                <a:gd name="connsiteY60" fmla="*/ 1159 h 10000"/>
                <a:gd name="connsiteX61" fmla="*/ 679 w 10000"/>
                <a:gd name="connsiteY61" fmla="*/ 1953 h 10000"/>
                <a:gd name="connsiteX62" fmla="*/ 933 w 10000"/>
                <a:gd name="connsiteY62" fmla="*/ 2590 h 10000"/>
                <a:gd name="connsiteX63" fmla="*/ 471 w 10000"/>
                <a:gd name="connsiteY63" fmla="*/ 3347 h 10000"/>
                <a:gd name="connsiteX64" fmla="*/ 427 w 10000"/>
                <a:gd name="connsiteY64" fmla="*/ 3347 h 10000"/>
                <a:gd name="connsiteX65" fmla="*/ 609 w 10000"/>
                <a:gd name="connsiteY65" fmla="*/ 3789 h 10000"/>
                <a:gd name="connsiteX66" fmla="*/ 379 w 10000"/>
                <a:gd name="connsiteY66" fmla="*/ 4225 h 10000"/>
                <a:gd name="connsiteX67" fmla="*/ 539 w 10000"/>
                <a:gd name="connsiteY67" fmla="*/ 4503 h 10000"/>
                <a:gd name="connsiteX68" fmla="*/ 471 w 10000"/>
                <a:gd name="connsiteY68" fmla="*/ 4941 h 10000"/>
                <a:gd name="connsiteX69" fmla="*/ 379 w 10000"/>
                <a:gd name="connsiteY69" fmla="*/ 5184 h 10000"/>
                <a:gd name="connsiteX70" fmla="*/ 539 w 10000"/>
                <a:gd name="connsiteY70" fmla="*/ 5662 h 10000"/>
                <a:gd name="connsiteX71" fmla="*/ 266 w 10000"/>
                <a:gd name="connsiteY71" fmla="*/ 6414 h 10000"/>
                <a:gd name="connsiteX72" fmla="*/ 471 w 10000"/>
                <a:gd name="connsiteY72" fmla="*/ 6856 h 10000"/>
                <a:gd name="connsiteX73" fmla="*/ 105 w 10000"/>
                <a:gd name="connsiteY73" fmla="*/ 7609 h 10000"/>
                <a:gd name="connsiteX74" fmla="*/ 288 w 10000"/>
                <a:gd name="connsiteY74" fmla="*/ 8008 h 10000"/>
                <a:gd name="connsiteX75" fmla="*/ 12 w 10000"/>
                <a:gd name="connsiteY75" fmla="*/ 8649 h 10000"/>
                <a:gd name="connsiteX76" fmla="*/ 379 w 10000"/>
                <a:gd name="connsiteY76" fmla="*/ 8883 h 10000"/>
                <a:gd name="connsiteX77" fmla="*/ 266 w 10000"/>
                <a:gd name="connsiteY77" fmla="*/ 9404 h 10000"/>
                <a:gd name="connsiteX78" fmla="*/ 357 w 10000"/>
                <a:gd name="connsiteY78" fmla="*/ 10000 h 10000"/>
                <a:gd name="connsiteX79" fmla="*/ 982 w 10000"/>
                <a:gd name="connsiteY79" fmla="*/ 9453 h 10000"/>
                <a:gd name="connsiteX80" fmla="*/ 1342 w 10000"/>
                <a:gd name="connsiteY80" fmla="*/ 8972 h 10000"/>
                <a:gd name="connsiteX81" fmla="*/ 1775 w 10000"/>
                <a:gd name="connsiteY81" fmla="*/ 8981 h 10000"/>
                <a:gd name="connsiteX82" fmla="*/ 2239 w 10000"/>
                <a:gd name="connsiteY82" fmla="*/ 8695 h 10000"/>
                <a:gd name="connsiteX83" fmla="*/ 2810 w 10000"/>
                <a:gd name="connsiteY83" fmla="*/ 8242 h 10000"/>
                <a:gd name="connsiteX84" fmla="*/ 2997 w 10000"/>
                <a:gd name="connsiteY84" fmla="*/ 7896 h 10000"/>
                <a:gd name="connsiteX85" fmla="*/ 3386 w 10000"/>
                <a:gd name="connsiteY85" fmla="*/ 7230 h 10000"/>
                <a:gd name="connsiteX86" fmla="*/ 4023 w 10000"/>
                <a:gd name="connsiteY86" fmla="*/ 7695 h 10000"/>
                <a:gd name="connsiteX87" fmla="*/ 4296 w 10000"/>
                <a:gd name="connsiteY87" fmla="*/ 7665 h 10000"/>
                <a:gd name="connsiteX88" fmla="*/ 4241 w 10000"/>
                <a:gd name="connsiteY88" fmla="*/ 7091 h 10000"/>
                <a:gd name="connsiteX89" fmla="*/ 4282 w 10000"/>
                <a:gd name="connsiteY89" fmla="*/ 6356 h 10000"/>
                <a:gd name="connsiteX90" fmla="*/ 4895 w 10000"/>
                <a:gd name="connsiteY90" fmla="*/ 6191 h 10000"/>
                <a:gd name="connsiteX91" fmla="*/ 4809 w 10000"/>
                <a:gd name="connsiteY91" fmla="*/ 7066 h 10000"/>
                <a:gd name="connsiteX0" fmla="*/ 6810 w 10000"/>
                <a:gd name="connsiteY0" fmla="*/ 7571 h 10000"/>
                <a:gd name="connsiteX1" fmla="*/ 6763 w 10000"/>
                <a:gd name="connsiteY1" fmla="*/ 7490 h 10000"/>
                <a:gd name="connsiteX2" fmla="*/ 7132 w 10000"/>
                <a:gd name="connsiteY2" fmla="*/ 6893 h 10000"/>
                <a:gd name="connsiteX3" fmla="*/ 7406 w 10000"/>
                <a:gd name="connsiteY3" fmla="*/ 6573 h 10000"/>
                <a:gd name="connsiteX4" fmla="*/ 8095 w 10000"/>
                <a:gd name="connsiteY4" fmla="*/ 5938 h 10000"/>
                <a:gd name="connsiteX5" fmla="*/ 8302 w 10000"/>
                <a:gd name="connsiteY5" fmla="*/ 5540 h 10000"/>
                <a:gd name="connsiteX6" fmla="*/ 8714 w 10000"/>
                <a:gd name="connsiteY6" fmla="*/ 4780 h 10000"/>
                <a:gd name="connsiteX7" fmla="*/ 9449 w 10000"/>
                <a:gd name="connsiteY7" fmla="*/ 4104 h 10000"/>
                <a:gd name="connsiteX8" fmla="*/ 9494 w 10000"/>
                <a:gd name="connsiteY8" fmla="*/ 3825 h 10000"/>
                <a:gd name="connsiteX9" fmla="*/ 9793 w 10000"/>
                <a:gd name="connsiteY9" fmla="*/ 3389 h 10000"/>
                <a:gd name="connsiteX10" fmla="*/ 10000 w 10000"/>
                <a:gd name="connsiteY10" fmla="*/ 2868 h 10000"/>
                <a:gd name="connsiteX11" fmla="*/ 9678 w 10000"/>
                <a:gd name="connsiteY11" fmla="*/ 2389 h 10000"/>
                <a:gd name="connsiteX12" fmla="*/ 9265 w 10000"/>
                <a:gd name="connsiteY12" fmla="*/ 2868 h 10000"/>
                <a:gd name="connsiteX13" fmla="*/ 9059 w 10000"/>
                <a:gd name="connsiteY13" fmla="*/ 2670 h 10000"/>
                <a:gd name="connsiteX14" fmla="*/ 8875 w 10000"/>
                <a:gd name="connsiteY14" fmla="*/ 2273 h 10000"/>
                <a:gd name="connsiteX15" fmla="*/ 9012 w 10000"/>
                <a:gd name="connsiteY15" fmla="*/ 1953 h 10000"/>
                <a:gd name="connsiteX16" fmla="*/ 8691 w 10000"/>
                <a:gd name="connsiteY16" fmla="*/ 1515 h 10000"/>
                <a:gd name="connsiteX17" fmla="*/ 8553 w 10000"/>
                <a:gd name="connsiteY17" fmla="*/ 1677 h 10000"/>
                <a:gd name="connsiteX18" fmla="*/ 8253 w 10000"/>
                <a:gd name="connsiteY18" fmla="*/ 1760 h 10000"/>
                <a:gd name="connsiteX19" fmla="*/ 8279 w 10000"/>
                <a:gd name="connsiteY19" fmla="*/ 2195 h 10000"/>
                <a:gd name="connsiteX20" fmla="*/ 8369 w 10000"/>
                <a:gd name="connsiteY20" fmla="*/ 2311 h 10000"/>
                <a:gd name="connsiteX21" fmla="*/ 8302 w 10000"/>
                <a:gd name="connsiteY21" fmla="*/ 2631 h 10000"/>
                <a:gd name="connsiteX22" fmla="*/ 8117 w 10000"/>
                <a:gd name="connsiteY22" fmla="*/ 2712 h 10000"/>
                <a:gd name="connsiteX23" fmla="*/ 7933 w 10000"/>
                <a:gd name="connsiteY23" fmla="*/ 2953 h 10000"/>
                <a:gd name="connsiteX24" fmla="*/ 8095 w 10000"/>
                <a:gd name="connsiteY24" fmla="*/ 3267 h 10000"/>
                <a:gd name="connsiteX25" fmla="*/ 8072 w 10000"/>
                <a:gd name="connsiteY25" fmla="*/ 3509 h 10000"/>
                <a:gd name="connsiteX26" fmla="*/ 7727 w 10000"/>
                <a:gd name="connsiteY26" fmla="*/ 3789 h 10000"/>
                <a:gd name="connsiteX27" fmla="*/ 7566 w 10000"/>
                <a:gd name="connsiteY27" fmla="*/ 4263 h 10000"/>
                <a:gd name="connsiteX28" fmla="*/ 7153 w 10000"/>
                <a:gd name="connsiteY28" fmla="*/ 3310 h 10000"/>
                <a:gd name="connsiteX29" fmla="*/ 6992 w 10000"/>
                <a:gd name="connsiteY29" fmla="*/ 3629 h 10000"/>
                <a:gd name="connsiteX30" fmla="*/ 7221 w 10000"/>
                <a:gd name="connsiteY30" fmla="*/ 4027 h 10000"/>
                <a:gd name="connsiteX31" fmla="*/ 7038 w 10000"/>
                <a:gd name="connsiteY31" fmla="*/ 4303 h 10000"/>
                <a:gd name="connsiteX32" fmla="*/ 7083 w 10000"/>
                <a:gd name="connsiteY32" fmla="*/ 4503 h 10000"/>
                <a:gd name="connsiteX33" fmla="*/ 6717 w 10000"/>
                <a:gd name="connsiteY33" fmla="*/ 4978 h 10000"/>
                <a:gd name="connsiteX34" fmla="*/ 6327 w 10000"/>
                <a:gd name="connsiteY34" fmla="*/ 4585 h 10000"/>
                <a:gd name="connsiteX35" fmla="*/ 5272 w 10000"/>
                <a:gd name="connsiteY35" fmla="*/ 5579 h 10000"/>
                <a:gd name="connsiteX36" fmla="*/ 5179 w 10000"/>
                <a:gd name="connsiteY36" fmla="*/ 5142 h 10000"/>
                <a:gd name="connsiteX37" fmla="*/ 5041 w 10000"/>
                <a:gd name="connsiteY37" fmla="*/ 4861 h 10000"/>
                <a:gd name="connsiteX38" fmla="*/ 5087 w 10000"/>
                <a:gd name="connsiteY38" fmla="*/ 4542 h 10000"/>
                <a:gd name="connsiteX39" fmla="*/ 4948 w 10000"/>
                <a:gd name="connsiteY39" fmla="*/ 4225 h 10000"/>
                <a:gd name="connsiteX40" fmla="*/ 4742 w 10000"/>
                <a:gd name="connsiteY40" fmla="*/ 4185 h 10000"/>
                <a:gd name="connsiteX41" fmla="*/ 4788 w 10000"/>
                <a:gd name="connsiteY41" fmla="*/ 3748 h 10000"/>
                <a:gd name="connsiteX42" fmla="*/ 4626 w 10000"/>
                <a:gd name="connsiteY42" fmla="*/ 3587 h 10000"/>
                <a:gd name="connsiteX43" fmla="*/ 4466 w 10000"/>
                <a:gd name="connsiteY43" fmla="*/ 3032 h 10000"/>
                <a:gd name="connsiteX44" fmla="*/ 4259 w 10000"/>
                <a:gd name="connsiteY44" fmla="*/ 3032 h 10000"/>
                <a:gd name="connsiteX45" fmla="*/ 4054 w 10000"/>
                <a:gd name="connsiteY45" fmla="*/ 2751 h 10000"/>
                <a:gd name="connsiteX46" fmla="*/ 4054 w 10000"/>
                <a:gd name="connsiteY46" fmla="*/ 2631 h 10000"/>
                <a:gd name="connsiteX47" fmla="*/ 3869 w 10000"/>
                <a:gd name="connsiteY47" fmla="*/ 2791 h 10000"/>
                <a:gd name="connsiteX48" fmla="*/ 3640 w 10000"/>
                <a:gd name="connsiteY48" fmla="*/ 2514 h 10000"/>
                <a:gd name="connsiteX49" fmla="*/ 3755 w 10000"/>
                <a:gd name="connsiteY49" fmla="*/ 2113 h 10000"/>
                <a:gd name="connsiteX50" fmla="*/ 3570 w 10000"/>
                <a:gd name="connsiteY50" fmla="*/ 1794 h 10000"/>
                <a:gd name="connsiteX51" fmla="*/ 3711 w 10000"/>
                <a:gd name="connsiteY51" fmla="*/ 1318 h 10000"/>
                <a:gd name="connsiteX52" fmla="*/ 3250 w 10000"/>
                <a:gd name="connsiteY52" fmla="*/ 679 h 10000"/>
                <a:gd name="connsiteX53" fmla="*/ 2975 w 10000"/>
                <a:gd name="connsiteY53" fmla="*/ 879 h 10000"/>
                <a:gd name="connsiteX54" fmla="*/ 2446 w 10000"/>
                <a:gd name="connsiteY54" fmla="*/ 521 h 10000"/>
                <a:gd name="connsiteX55" fmla="*/ 2239 w 10000"/>
                <a:gd name="connsiteY55" fmla="*/ 756 h 10000"/>
                <a:gd name="connsiteX56" fmla="*/ 1734 w 10000"/>
                <a:gd name="connsiteY56" fmla="*/ 42 h 10000"/>
                <a:gd name="connsiteX57" fmla="*/ 1321 w 10000"/>
                <a:gd name="connsiteY57" fmla="*/ 1038 h 10000"/>
                <a:gd name="connsiteX58" fmla="*/ 1321 w 10000"/>
                <a:gd name="connsiteY58" fmla="*/ 1634 h 10000"/>
                <a:gd name="connsiteX59" fmla="*/ 1022 w 10000"/>
                <a:gd name="connsiteY59" fmla="*/ 1159 h 10000"/>
                <a:gd name="connsiteX60" fmla="*/ 679 w 10000"/>
                <a:gd name="connsiteY60" fmla="*/ 1953 h 10000"/>
                <a:gd name="connsiteX61" fmla="*/ 933 w 10000"/>
                <a:gd name="connsiteY61" fmla="*/ 2590 h 10000"/>
                <a:gd name="connsiteX62" fmla="*/ 471 w 10000"/>
                <a:gd name="connsiteY62" fmla="*/ 3347 h 10000"/>
                <a:gd name="connsiteX63" fmla="*/ 427 w 10000"/>
                <a:gd name="connsiteY63" fmla="*/ 3347 h 10000"/>
                <a:gd name="connsiteX64" fmla="*/ 609 w 10000"/>
                <a:gd name="connsiteY64" fmla="*/ 3789 h 10000"/>
                <a:gd name="connsiteX65" fmla="*/ 379 w 10000"/>
                <a:gd name="connsiteY65" fmla="*/ 4225 h 10000"/>
                <a:gd name="connsiteX66" fmla="*/ 539 w 10000"/>
                <a:gd name="connsiteY66" fmla="*/ 4503 h 10000"/>
                <a:gd name="connsiteX67" fmla="*/ 471 w 10000"/>
                <a:gd name="connsiteY67" fmla="*/ 4941 h 10000"/>
                <a:gd name="connsiteX68" fmla="*/ 379 w 10000"/>
                <a:gd name="connsiteY68" fmla="*/ 5184 h 10000"/>
                <a:gd name="connsiteX69" fmla="*/ 539 w 10000"/>
                <a:gd name="connsiteY69" fmla="*/ 5662 h 10000"/>
                <a:gd name="connsiteX70" fmla="*/ 266 w 10000"/>
                <a:gd name="connsiteY70" fmla="*/ 6414 h 10000"/>
                <a:gd name="connsiteX71" fmla="*/ 471 w 10000"/>
                <a:gd name="connsiteY71" fmla="*/ 6856 h 10000"/>
                <a:gd name="connsiteX72" fmla="*/ 105 w 10000"/>
                <a:gd name="connsiteY72" fmla="*/ 7609 h 10000"/>
                <a:gd name="connsiteX73" fmla="*/ 288 w 10000"/>
                <a:gd name="connsiteY73" fmla="*/ 8008 h 10000"/>
                <a:gd name="connsiteX74" fmla="*/ 12 w 10000"/>
                <a:gd name="connsiteY74" fmla="*/ 8649 h 10000"/>
                <a:gd name="connsiteX75" fmla="*/ 379 w 10000"/>
                <a:gd name="connsiteY75" fmla="*/ 8883 h 10000"/>
                <a:gd name="connsiteX76" fmla="*/ 266 w 10000"/>
                <a:gd name="connsiteY76" fmla="*/ 9404 h 10000"/>
                <a:gd name="connsiteX77" fmla="*/ 357 w 10000"/>
                <a:gd name="connsiteY77" fmla="*/ 10000 h 10000"/>
                <a:gd name="connsiteX78" fmla="*/ 982 w 10000"/>
                <a:gd name="connsiteY78" fmla="*/ 9453 h 10000"/>
                <a:gd name="connsiteX79" fmla="*/ 1342 w 10000"/>
                <a:gd name="connsiteY79" fmla="*/ 8972 h 10000"/>
                <a:gd name="connsiteX80" fmla="*/ 1775 w 10000"/>
                <a:gd name="connsiteY80" fmla="*/ 8981 h 10000"/>
                <a:gd name="connsiteX81" fmla="*/ 2239 w 10000"/>
                <a:gd name="connsiteY81" fmla="*/ 8695 h 10000"/>
                <a:gd name="connsiteX82" fmla="*/ 2810 w 10000"/>
                <a:gd name="connsiteY82" fmla="*/ 8242 h 10000"/>
                <a:gd name="connsiteX83" fmla="*/ 2997 w 10000"/>
                <a:gd name="connsiteY83" fmla="*/ 7896 h 10000"/>
                <a:gd name="connsiteX84" fmla="*/ 3386 w 10000"/>
                <a:gd name="connsiteY84" fmla="*/ 7230 h 10000"/>
                <a:gd name="connsiteX85" fmla="*/ 4023 w 10000"/>
                <a:gd name="connsiteY85" fmla="*/ 7695 h 10000"/>
                <a:gd name="connsiteX86" fmla="*/ 4296 w 10000"/>
                <a:gd name="connsiteY86" fmla="*/ 7665 h 10000"/>
                <a:gd name="connsiteX87" fmla="*/ 4241 w 10000"/>
                <a:gd name="connsiteY87" fmla="*/ 7091 h 10000"/>
                <a:gd name="connsiteX88" fmla="*/ 4282 w 10000"/>
                <a:gd name="connsiteY88" fmla="*/ 6356 h 10000"/>
                <a:gd name="connsiteX89" fmla="*/ 4895 w 10000"/>
                <a:gd name="connsiteY89" fmla="*/ 6191 h 10000"/>
                <a:gd name="connsiteX90" fmla="*/ 4809 w 10000"/>
                <a:gd name="connsiteY90" fmla="*/ 7066 h 10000"/>
                <a:gd name="connsiteX0" fmla="*/ 6810 w 10000"/>
                <a:gd name="connsiteY0" fmla="*/ 7571 h 10000"/>
                <a:gd name="connsiteX1" fmla="*/ 7132 w 10000"/>
                <a:gd name="connsiteY1" fmla="*/ 6893 h 10000"/>
                <a:gd name="connsiteX2" fmla="*/ 7406 w 10000"/>
                <a:gd name="connsiteY2" fmla="*/ 6573 h 10000"/>
                <a:gd name="connsiteX3" fmla="*/ 8095 w 10000"/>
                <a:gd name="connsiteY3" fmla="*/ 5938 h 10000"/>
                <a:gd name="connsiteX4" fmla="*/ 8302 w 10000"/>
                <a:gd name="connsiteY4" fmla="*/ 5540 h 10000"/>
                <a:gd name="connsiteX5" fmla="*/ 8714 w 10000"/>
                <a:gd name="connsiteY5" fmla="*/ 4780 h 10000"/>
                <a:gd name="connsiteX6" fmla="*/ 9449 w 10000"/>
                <a:gd name="connsiteY6" fmla="*/ 4104 h 10000"/>
                <a:gd name="connsiteX7" fmla="*/ 9494 w 10000"/>
                <a:gd name="connsiteY7" fmla="*/ 3825 h 10000"/>
                <a:gd name="connsiteX8" fmla="*/ 9793 w 10000"/>
                <a:gd name="connsiteY8" fmla="*/ 3389 h 10000"/>
                <a:gd name="connsiteX9" fmla="*/ 10000 w 10000"/>
                <a:gd name="connsiteY9" fmla="*/ 2868 h 10000"/>
                <a:gd name="connsiteX10" fmla="*/ 9678 w 10000"/>
                <a:gd name="connsiteY10" fmla="*/ 2389 h 10000"/>
                <a:gd name="connsiteX11" fmla="*/ 9265 w 10000"/>
                <a:gd name="connsiteY11" fmla="*/ 2868 h 10000"/>
                <a:gd name="connsiteX12" fmla="*/ 9059 w 10000"/>
                <a:gd name="connsiteY12" fmla="*/ 2670 h 10000"/>
                <a:gd name="connsiteX13" fmla="*/ 8875 w 10000"/>
                <a:gd name="connsiteY13" fmla="*/ 2273 h 10000"/>
                <a:gd name="connsiteX14" fmla="*/ 9012 w 10000"/>
                <a:gd name="connsiteY14" fmla="*/ 1953 h 10000"/>
                <a:gd name="connsiteX15" fmla="*/ 8691 w 10000"/>
                <a:gd name="connsiteY15" fmla="*/ 1515 h 10000"/>
                <a:gd name="connsiteX16" fmla="*/ 8553 w 10000"/>
                <a:gd name="connsiteY16" fmla="*/ 1677 h 10000"/>
                <a:gd name="connsiteX17" fmla="*/ 8253 w 10000"/>
                <a:gd name="connsiteY17" fmla="*/ 1760 h 10000"/>
                <a:gd name="connsiteX18" fmla="*/ 8279 w 10000"/>
                <a:gd name="connsiteY18" fmla="*/ 2195 h 10000"/>
                <a:gd name="connsiteX19" fmla="*/ 8369 w 10000"/>
                <a:gd name="connsiteY19" fmla="*/ 2311 h 10000"/>
                <a:gd name="connsiteX20" fmla="*/ 8302 w 10000"/>
                <a:gd name="connsiteY20" fmla="*/ 2631 h 10000"/>
                <a:gd name="connsiteX21" fmla="*/ 8117 w 10000"/>
                <a:gd name="connsiteY21" fmla="*/ 2712 h 10000"/>
                <a:gd name="connsiteX22" fmla="*/ 7933 w 10000"/>
                <a:gd name="connsiteY22" fmla="*/ 2953 h 10000"/>
                <a:gd name="connsiteX23" fmla="*/ 8095 w 10000"/>
                <a:gd name="connsiteY23" fmla="*/ 3267 h 10000"/>
                <a:gd name="connsiteX24" fmla="*/ 8072 w 10000"/>
                <a:gd name="connsiteY24" fmla="*/ 3509 h 10000"/>
                <a:gd name="connsiteX25" fmla="*/ 7727 w 10000"/>
                <a:gd name="connsiteY25" fmla="*/ 3789 h 10000"/>
                <a:gd name="connsiteX26" fmla="*/ 7566 w 10000"/>
                <a:gd name="connsiteY26" fmla="*/ 4263 h 10000"/>
                <a:gd name="connsiteX27" fmla="*/ 7153 w 10000"/>
                <a:gd name="connsiteY27" fmla="*/ 3310 h 10000"/>
                <a:gd name="connsiteX28" fmla="*/ 6992 w 10000"/>
                <a:gd name="connsiteY28" fmla="*/ 3629 h 10000"/>
                <a:gd name="connsiteX29" fmla="*/ 7221 w 10000"/>
                <a:gd name="connsiteY29" fmla="*/ 4027 h 10000"/>
                <a:gd name="connsiteX30" fmla="*/ 7038 w 10000"/>
                <a:gd name="connsiteY30" fmla="*/ 4303 h 10000"/>
                <a:gd name="connsiteX31" fmla="*/ 7083 w 10000"/>
                <a:gd name="connsiteY31" fmla="*/ 4503 h 10000"/>
                <a:gd name="connsiteX32" fmla="*/ 6717 w 10000"/>
                <a:gd name="connsiteY32" fmla="*/ 4978 h 10000"/>
                <a:gd name="connsiteX33" fmla="*/ 6327 w 10000"/>
                <a:gd name="connsiteY33" fmla="*/ 4585 h 10000"/>
                <a:gd name="connsiteX34" fmla="*/ 5272 w 10000"/>
                <a:gd name="connsiteY34" fmla="*/ 5579 h 10000"/>
                <a:gd name="connsiteX35" fmla="*/ 5179 w 10000"/>
                <a:gd name="connsiteY35" fmla="*/ 5142 h 10000"/>
                <a:gd name="connsiteX36" fmla="*/ 5041 w 10000"/>
                <a:gd name="connsiteY36" fmla="*/ 4861 h 10000"/>
                <a:gd name="connsiteX37" fmla="*/ 5087 w 10000"/>
                <a:gd name="connsiteY37" fmla="*/ 4542 h 10000"/>
                <a:gd name="connsiteX38" fmla="*/ 4948 w 10000"/>
                <a:gd name="connsiteY38" fmla="*/ 4225 h 10000"/>
                <a:gd name="connsiteX39" fmla="*/ 4742 w 10000"/>
                <a:gd name="connsiteY39" fmla="*/ 4185 h 10000"/>
                <a:gd name="connsiteX40" fmla="*/ 4788 w 10000"/>
                <a:gd name="connsiteY40" fmla="*/ 3748 h 10000"/>
                <a:gd name="connsiteX41" fmla="*/ 4626 w 10000"/>
                <a:gd name="connsiteY41" fmla="*/ 3587 h 10000"/>
                <a:gd name="connsiteX42" fmla="*/ 4466 w 10000"/>
                <a:gd name="connsiteY42" fmla="*/ 3032 h 10000"/>
                <a:gd name="connsiteX43" fmla="*/ 4259 w 10000"/>
                <a:gd name="connsiteY43" fmla="*/ 3032 h 10000"/>
                <a:gd name="connsiteX44" fmla="*/ 4054 w 10000"/>
                <a:gd name="connsiteY44" fmla="*/ 2751 h 10000"/>
                <a:gd name="connsiteX45" fmla="*/ 4054 w 10000"/>
                <a:gd name="connsiteY45" fmla="*/ 2631 h 10000"/>
                <a:gd name="connsiteX46" fmla="*/ 3869 w 10000"/>
                <a:gd name="connsiteY46" fmla="*/ 2791 h 10000"/>
                <a:gd name="connsiteX47" fmla="*/ 3640 w 10000"/>
                <a:gd name="connsiteY47" fmla="*/ 2514 h 10000"/>
                <a:gd name="connsiteX48" fmla="*/ 3755 w 10000"/>
                <a:gd name="connsiteY48" fmla="*/ 2113 h 10000"/>
                <a:gd name="connsiteX49" fmla="*/ 3570 w 10000"/>
                <a:gd name="connsiteY49" fmla="*/ 1794 h 10000"/>
                <a:gd name="connsiteX50" fmla="*/ 3711 w 10000"/>
                <a:gd name="connsiteY50" fmla="*/ 1318 h 10000"/>
                <a:gd name="connsiteX51" fmla="*/ 3250 w 10000"/>
                <a:gd name="connsiteY51" fmla="*/ 679 h 10000"/>
                <a:gd name="connsiteX52" fmla="*/ 2975 w 10000"/>
                <a:gd name="connsiteY52" fmla="*/ 879 h 10000"/>
                <a:gd name="connsiteX53" fmla="*/ 2446 w 10000"/>
                <a:gd name="connsiteY53" fmla="*/ 521 h 10000"/>
                <a:gd name="connsiteX54" fmla="*/ 2239 w 10000"/>
                <a:gd name="connsiteY54" fmla="*/ 756 h 10000"/>
                <a:gd name="connsiteX55" fmla="*/ 1734 w 10000"/>
                <a:gd name="connsiteY55" fmla="*/ 42 h 10000"/>
                <a:gd name="connsiteX56" fmla="*/ 1321 w 10000"/>
                <a:gd name="connsiteY56" fmla="*/ 1038 h 10000"/>
                <a:gd name="connsiteX57" fmla="*/ 1321 w 10000"/>
                <a:gd name="connsiteY57" fmla="*/ 1634 h 10000"/>
                <a:gd name="connsiteX58" fmla="*/ 1022 w 10000"/>
                <a:gd name="connsiteY58" fmla="*/ 1159 h 10000"/>
                <a:gd name="connsiteX59" fmla="*/ 679 w 10000"/>
                <a:gd name="connsiteY59" fmla="*/ 1953 h 10000"/>
                <a:gd name="connsiteX60" fmla="*/ 933 w 10000"/>
                <a:gd name="connsiteY60" fmla="*/ 2590 h 10000"/>
                <a:gd name="connsiteX61" fmla="*/ 471 w 10000"/>
                <a:gd name="connsiteY61" fmla="*/ 3347 h 10000"/>
                <a:gd name="connsiteX62" fmla="*/ 427 w 10000"/>
                <a:gd name="connsiteY62" fmla="*/ 3347 h 10000"/>
                <a:gd name="connsiteX63" fmla="*/ 609 w 10000"/>
                <a:gd name="connsiteY63" fmla="*/ 3789 h 10000"/>
                <a:gd name="connsiteX64" fmla="*/ 379 w 10000"/>
                <a:gd name="connsiteY64" fmla="*/ 4225 h 10000"/>
                <a:gd name="connsiteX65" fmla="*/ 539 w 10000"/>
                <a:gd name="connsiteY65" fmla="*/ 4503 h 10000"/>
                <a:gd name="connsiteX66" fmla="*/ 471 w 10000"/>
                <a:gd name="connsiteY66" fmla="*/ 4941 h 10000"/>
                <a:gd name="connsiteX67" fmla="*/ 379 w 10000"/>
                <a:gd name="connsiteY67" fmla="*/ 5184 h 10000"/>
                <a:gd name="connsiteX68" fmla="*/ 539 w 10000"/>
                <a:gd name="connsiteY68" fmla="*/ 5662 h 10000"/>
                <a:gd name="connsiteX69" fmla="*/ 266 w 10000"/>
                <a:gd name="connsiteY69" fmla="*/ 6414 h 10000"/>
                <a:gd name="connsiteX70" fmla="*/ 471 w 10000"/>
                <a:gd name="connsiteY70" fmla="*/ 6856 h 10000"/>
                <a:gd name="connsiteX71" fmla="*/ 105 w 10000"/>
                <a:gd name="connsiteY71" fmla="*/ 7609 h 10000"/>
                <a:gd name="connsiteX72" fmla="*/ 288 w 10000"/>
                <a:gd name="connsiteY72" fmla="*/ 8008 h 10000"/>
                <a:gd name="connsiteX73" fmla="*/ 12 w 10000"/>
                <a:gd name="connsiteY73" fmla="*/ 8649 h 10000"/>
                <a:gd name="connsiteX74" fmla="*/ 379 w 10000"/>
                <a:gd name="connsiteY74" fmla="*/ 8883 h 10000"/>
                <a:gd name="connsiteX75" fmla="*/ 266 w 10000"/>
                <a:gd name="connsiteY75" fmla="*/ 9404 h 10000"/>
                <a:gd name="connsiteX76" fmla="*/ 357 w 10000"/>
                <a:gd name="connsiteY76" fmla="*/ 10000 h 10000"/>
                <a:gd name="connsiteX77" fmla="*/ 982 w 10000"/>
                <a:gd name="connsiteY77" fmla="*/ 9453 h 10000"/>
                <a:gd name="connsiteX78" fmla="*/ 1342 w 10000"/>
                <a:gd name="connsiteY78" fmla="*/ 8972 h 10000"/>
                <a:gd name="connsiteX79" fmla="*/ 1775 w 10000"/>
                <a:gd name="connsiteY79" fmla="*/ 8981 h 10000"/>
                <a:gd name="connsiteX80" fmla="*/ 2239 w 10000"/>
                <a:gd name="connsiteY80" fmla="*/ 8695 h 10000"/>
                <a:gd name="connsiteX81" fmla="*/ 2810 w 10000"/>
                <a:gd name="connsiteY81" fmla="*/ 8242 h 10000"/>
                <a:gd name="connsiteX82" fmla="*/ 2997 w 10000"/>
                <a:gd name="connsiteY82" fmla="*/ 7896 h 10000"/>
                <a:gd name="connsiteX83" fmla="*/ 3386 w 10000"/>
                <a:gd name="connsiteY83" fmla="*/ 7230 h 10000"/>
                <a:gd name="connsiteX84" fmla="*/ 4023 w 10000"/>
                <a:gd name="connsiteY84" fmla="*/ 7695 h 10000"/>
                <a:gd name="connsiteX85" fmla="*/ 4296 w 10000"/>
                <a:gd name="connsiteY85" fmla="*/ 7665 h 10000"/>
                <a:gd name="connsiteX86" fmla="*/ 4241 w 10000"/>
                <a:gd name="connsiteY86" fmla="*/ 7091 h 10000"/>
                <a:gd name="connsiteX87" fmla="*/ 4282 w 10000"/>
                <a:gd name="connsiteY87" fmla="*/ 6356 h 10000"/>
                <a:gd name="connsiteX88" fmla="*/ 4895 w 10000"/>
                <a:gd name="connsiteY88" fmla="*/ 6191 h 10000"/>
                <a:gd name="connsiteX89" fmla="*/ 4809 w 10000"/>
                <a:gd name="connsiteY89" fmla="*/ 7066 h 10000"/>
                <a:gd name="connsiteX0" fmla="*/ 7132 w 10000"/>
                <a:gd name="connsiteY0" fmla="*/ 6893 h 10000"/>
                <a:gd name="connsiteX1" fmla="*/ 7406 w 10000"/>
                <a:gd name="connsiteY1" fmla="*/ 6573 h 10000"/>
                <a:gd name="connsiteX2" fmla="*/ 8095 w 10000"/>
                <a:gd name="connsiteY2" fmla="*/ 5938 h 10000"/>
                <a:gd name="connsiteX3" fmla="*/ 8302 w 10000"/>
                <a:gd name="connsiteY3" fmla="*/ 5540 h 10000"/>
                <a:gd name="connsiteX4" fmla="*/ 8714 w 10000"/>
                <a:gd name="connsiteY4" fmla="*/ 4780 h 10000"/>
                <a:gd name="connsiteX5" fmla="*/ 9449 w 10000"/>
                <a:gd name="connsiteY5" fmla="*/ 4104 h 10000"/>
                <a:gd name="connsiteX6" fmla="*/ 9494 w 10000"/>
                <a:gd name="connsiteY6" fmla="*/ 3825 h 10000"/>
                <a:gd name="connsiteX7" fmla="*/ 9793 w 10000"/>
                <a:gd name="connsiteY7" fmla="*/ 3389 h 10000"/>
                <a:gd name="connsiteX8" fmla="*/ 10000 w 10000"/>
                <a:gd name="connsiteY8" fmla="*/ 2868 h 10000"/>
                <a:gd name="connsiteX9" fmla="*/ 9678 w 10000"/>
                <a:gd name="connsiteY9" fmla="*/ 2389 h 10000"/>
                <a:gd name="connsiteX10" fmla="*/ 9265 w 10000"/>
                <a:gd name="connsiteY10" fmla="*/ 2868 h 10000"/>
                <a:gd name="connsiteX11" fmla="*/ 9059 w 10000"/>
                <a:gd name="connsiteY11" fmla="*/ 2670 h 10000"/>
                <a:gd name="connsiteX12" fmla="*/ 8875 w 10000"/>
                <a:gd name="connsiteY12" fmla="*/ 2273 h 10000"/>
                <a:gd name="connsiteX13" fmla="*/ 9012 w 10000"/>
                <a:gd name="connsiteY13" fmla="*/ 1953 h 10000"/>
                <a:gd name="connsiteX14" fmla="*/ 8691 w 10000"/>
                <a:gd name="connsiteY14" fmla="*/ 1515 h 10000"/>
                <a:gd name="connsiteX15" fmla="*/ 8553 w 10000"/>
                <a:gd name="connsiteY15" fmla="*/ 1677 h 10000"/>
                <a:gd name="connsiteX16" fmla="*/ 8253 w 10000"/>
                <a:gd name="connsiteY16" fmla="*/ 1760 h 10000"/>
                <a:gd name="connsiteX17" fmla="*/ 8279 w 10000"/>
                <a:gd name="connsiteY17" fmla="*/ 2195 h 10000"/>
                <a:gd name="connsiteX18" fmla="*/ 8369 w 10000"/>
                <a:gd name="connsiteY18" fmla="*/ 2311 h 10000"/>
                <a:gd name="connsiteX19" fmla="*/ 8302 w 10000"/>
                <a:gd name="connsiteY19" fmla="*/ 2631 h 10000"/>
                <a:gd name="connsiteX20" fmla="*/ 8117 w 10000"/>
                <a:gd name="connsiteY20" fmla="*/ 2712 h 10000"/>
                <a:gd name="connsiteX21" fmla="*/ 7933 w 10000"/>
                <a:gd name="connsiteY21" fmla="*/ 2953 h 10000"/>
                <a:gd name="connsiteX22" fmla="*/ 8095 w 10000"/>
                <a:gd name="connsiteY22" fmla="*/ 3267 h 10000"/>
                <a:gd name="connsiteX23" fmla="*/ 8072 w 10000"/>
                <a:gd name="connsiteY23" fmla="*/ 3509 h 10000"/>
                <a:gd name="connsiteX24" fmla="*/ 7727 w 10000"/>
                <a:gd name="connsiteY24" fmla="*/ 3789 h 10000"/>
                <a:gd name="connsiteX25" fmla="*/ 7566 w 10000"/>
                <a:gd name="connsiteY25" fmla="*/ 4263 h 10000"/>
                <a:gd name="connsiteX26" fmla="*/ 7153 w 10000"/>
                <a:gd name="connsiteY26" fmla="*/ 3310 h 10000"/>
                <a:gd name="connsiteX27" fmla="*/ 6992 w 10000"/>
                <a:gd name="connsiteY27" fmla="*/ 3629 h 10000"/>
                <a:gd name="connsiteX28" fmla="*/ 7221 w 10000"/>
                <a:gd name="connsiteY28" fmla="*/ 4027 h 10000"/>
                <a:gd name="connsiteX29" fmla="*/ 7038 w 10000"/>
                <a:gd name="connsiteY29" fmla="*/ 4303 h 10000"/>
                <a:gd name="connsiteX30" fmla="*/ 7083 w 10000"/>
                <a:gd name="connsiteY30" fmla="*/ 4503 h 10000"/>
                <a:gd name="connsiteX31" fmla="*/ 6717 w 10000"/>
                <a:gd name="connsiteY31" fmla="*/ 4978 h 10000"/>
                <a:gd name="connsiteX32" fmla="*/ 6327 w 10000"/>
                <a:gd name="connsiteY32" fmla="*/ 4585 h 10000"/>
                <a:gd name="connsiteX33" fmla="*/ 5272 w 10000"/>
                <a:gd name="connsiteY33" fmla="*/ 5579 h 10000"/>
                <a:gd name="connsiteX34" fmla="*/ 5179 w 10000"/>
                <a:gd name="connsiteY34" fmla="*/ 5142 h 10000"/>
                <a:gd name="connsiteX35" fmla="*/ 5041 w 10000"/>
                <a:gd name="connsiteY35" fmla="*/ 4861 h 10000"/>
                <a:gd name="connsiteX36" fmla="*/ 5087 w 10000"/>
                <a:gd name="connsiteY36" fmla="*/ 4542 h 10000"/>
                <a:gd name="connsiteX37" fmla="*/ 4948 w 10000"/>
                <a:gd name="connsiteY37" fmla="*/ 4225 h 10000"/>
                <a:gd name="connsiteX38" fmla="*/ 4742 w 10000"/>
                <a:gd name="connsiteY38" fmla="*/ 4185 h 10000"/>
                <a:gd name="connsiteX39" fmla="*/ 4788 w 10000"/>
                <a:gd name="connsiteY39" fmla="*/ 3748 h 10000"/>
                <a:gd name="connsiteX40" fmla="*/ 4626 w 10000"/>
                <a:gd name="connsiteY40" fmla="*/ 3587 h 10000"/>
                <a:gd name="connsiteX41" fmla="*/ 4466 w 10000"/>
                <a:gd name="connsiteY41" fmla="*/ 3032 h 10000"/>
                <a:gd name="connsiteX42" fmla="*/ 4259 w 10000"/>
                <a:gd name="connsiteY42" fmla="*/ 3032 h 10000"/>
                <a:gd name="connsiteX43" fmla="*/ 4054 w 10000"/>
                <a:gd name="connsiteY43" fmla="*/ 2751 h 10000"/>
                <a:gd name="connsiteX44" fmla="*/ 4054 w 10000"/>
                <a:gd name="connsiteY44" fmla="*/ 2631 h 10000"/>
                <a:gd name="connsiteX45" fmla="*/ 3869 w 10000"/>
                <a:gd name="connsiteY45" fmla="*/ 2791 h 10000"/>
                <a:gd name="connsiteX46" fmla="*/ 3640 w 10000"/>
                <a:gd name="connsiteY46" fmla="*/ 2514 h 10000"/>
                <a:gd name="connsiteX47" fmla="*/ 3755 w 10000"/>
                <a:gd name="connsiteY47" fmla="*/ 2113 h 10000"/>
                <a:gd name="connsiteX48" fmla="*/ 3570 w 10000"/>
                <a:gd name="connsiteY48" fmla="*/ 1794 h 10000"/>
                <a:gd name="connsiteX49" fmla="*/ 3711 w 10000"/>
                <a:gd name="connsiteY49" fmla="*/ 1318 h 10000"/>
                <a:gd name="connsiteX50" fmla="*/ 3250 w 10000"/>
                <a:gd name="connsiteY50" fmla="*/ 679 h 10000"/>
                <a:gd name="connsiteX51" fmla="*/ 2975 w 10000"/>
                <a:gd name="connsiteY51" fmla="*/ 879 h 10000"/>
                <a:gd name="connsiteX52" fmla="*/ 2446 w 10000"/>
                <a:gd name="connsiteY52" fmla="*/ 521 h 10000"/>
                <a:gd name="connsiteX53" fmla="*/ 2239 w 10000"/>
                <a:gd name="connsiteY53" fmla="*/ 756 h 10000"/>
                <a:gd name="connsiteX54" fmla="*/ 1734 w 10000"/>
                <a:gd name="connsiteY54" fmla="*/ 42 h 10000"/>
                <a:gd name="connsiteX55" fmla="*/ 1321 w 10000"/>
                <a:gd name="connsiteY55" fmla="*/ 1038 h 10000"/>
                <a:gd name="connsiteX56" fmla="*/ 1321 w 10000"/>
                <a:gd name="connsiteY56" fmla="*/ 1634 h 10000"/>
                <a:gd name="connsiteX57" fmla="*/ 1022 w 10000"/>
                <a:gd name="connsiteY57" fmla="*/ 1159 h 10000"/>
                <a:gd name="connsiteX58" fmla="*/ 679 w 10000"/>
                <a:gd name="connsiteY58" fmla="*/ 1953 h 10000"/>
                <a:gd name="connsiteX59" fmla="*/ 933 w 10000"/>
                <a:gd name="connsiteY59" fmla="*/ 2590 h 10000"/>
                <a:gd name="connsiteX60" fmla="*/ 471 w 10000"/>
                <a:gd name="connsiteY60" fmla="*/ 3347 h 10000"/>
                <a:gd name="connsiteX61" fmla="*/ 427 w 10000"/>
                <a:gd name="connsiteY61" fmla="*/ 3347 h 10000"/>
                <a:gd name="connsiteX62" fmla="*/ 609 w 10000"/>
                <a:gd name="connsiteY62" fmla="*/ 3789 h 10000"/>
                <a:gd name="connsiteX63" fmla="*/ 379 w 10000"/>
                <a:gd name="connsiteY63" fmla="*/ 4225 h 10000"/>
                <a:gd name="connsiteX64" fmla="*/ 539 w 10000"/>
                <a:gd name="connsiteY64" fmla="*/ 4503 h 10000"/>
                <a:gd name="connsiteX65" fmla="*/ 471 w 10000"/>
                <a:gd name="connsiteY65" fmla="*/ 4941 h 10000"/>
                <a:gd name="connsiteX66" fmla="*/ 379 w 10000"/>
                <a:gd name="connsiteY66" fmla="*/ 5184 h 10000"/>
                <a:gd name="connsiteX67" fmla="*/ 539 w 10000"/>
                <a:gd name="connsiteY67" fmla="*/ 5662 h 10000"/>
                <a:gd name="connsiteX68" fmla="*/ 266 w 10000"/>
                <a:gd name="connsiteY68" fmla="*/ 6414 h 10000"/>
                <a:gd name="connsiteX69" fmla="*/ 471 w 10000"/>
                <a:gd name="connsiteY69" fmla="*/ 6856 h 10000"/>
                <a:gd name="connsiteX70" fmla="*/ 105 w 10000"/>
                <a:gd name="connsiteY70" fmla="*/ 7609 h 10000"/>
                <a:gd name="connsiteX71" fmla="*/ 288 w 10000"/>
                <a:gd name="connsiteY71" fmla="*/ 8008 h 10000"/>
                <a:gd name="connsiteX72" fmla="*/ 12 w 10000"/>
                <a:gd name="connsiteY72" fmla="*/ 8649 h 10000"/>
                <a:gd name="connsiteX73" fmla="*/ 379 w 10000"/>
                <a:gd name="connsiteY73" fmla="*/ 8883 h 10000"/>
                <a:gd name="connsiteX74" fmla="*/ 266 w 10000"/>
                <a:gd name="connsiteY74" fmla="*/ 9404 h 10000"/>
                <a:gd name="connsiteX75" fmla="*/ 357 w 10000"/>
                <a:gd name="connsiteY75" fmla="*/ 10000 h 10000"/>
                <a:gd name="connsiteX76" fmla="*/ 982 w 10000"/>
                <a:gd name="connsiteY76" fmla="*/ 9453 h 10000"/>
                <a:gd name="connsiteX77" fmla="*/ 1342 w 10000"/>
                <a:gd name="connsiteY77" fmla="*/ 8972 h 10000"/>
                <a:gd name="connsiteX78" fmla="*/ 1775 w 10000"/>
                <a:gd name="connsiteY78" fmla="*/ 8981 h 10000"/>
                <a:gd name="connsiteX79" fmla="*/ 2239 w 10000"/>
                <a:gd name="connsiteY79" fmla="*/ 8695 h 10000"/>
                <a:gd name="connsiteX80" fmla="*/ 2810 w 10000"/>
                <a:gd name="connsiteY80" fmla="*/ 8242 h 10000"/>
                <a:gd name="connsiteX81" fmla="*/ 2997 w 10000"/>
                <a:gd name="connsiteY81" fmla="*/ 7896 h 10000"/>
                <a:gd name="connsiteX82" fmla="*/ 3386 w 10000"/>
                <a:gd name="connsiteY82" fmla="*/ 7230 h 10000"/>
                <a:gd name="connsiteX83" fmla="*/ 4023 w 10000"/>
                <a:gd name="connsiteY83" fmla="*/ 7695 h 10000"/>
                <a:gd name="connsiteX84" fmla="*/ 4296 w 10000"/>
                <a:gd name="connsiteY84" fmla="*/ 7665 h 10000"/>
                <a:gd name="connsiteX85" fmla="*/ 4241 w 10000"/>
                <a:gd name="connsiteY85" fmla="*/ 7091 h 10000"/>
                <a:gd name="connsiteX86" fmla="*/ 4282 w 10000"/>
                <a:gd name="connsiteY86" fmla="*/ 6356 h 10000"/>
                <a:gd name="connsiteX87" fmla="*/ 4895 w 10000"/>
                <a:gd name="connsiteY87" fmla="*/ 6191 h 10000"/>
                <a:gd name="connsiteX88" fmla="*/ 4809 w 10000"/>
                <a:gd name="connsiteY88" fmla="*/ 7066 h 10000"/>
                <a:gd name="connsiteX0" fmla="*/ 7406 w 10000"/>
                <a:gd name="connsiteY0" fmla="*/ 6573 h 10000"/>
                <a:gd name="connsiteX1" fmla="*/ 8095 w 10000"/>
                <a:gd name="connsiteY1" fmla="*/ 5938 h 10000"/>
                <a:gd name="connsiteX2" fmla="*/ 8302 w 10000"/>
                <a:gd name="connsiteY2" fmla="*/ 5540 h 10000"/>
                <a:gd name="connsiteX3" fmla="*/ 8714 w 10000"/>
                <a:gd name="connsiteY3" fmla="*/ 4780 h 10000"/>
                <a:gd name="connsiteX4" fmla="*/ 9449 w 10000"/>
                <a:gd name="connsiteY4" fmla="*/ 4104 h 10000"/>
                <a:gd name="connsiteX5" fmla="*/ 9494 w 10000"/>
                <a:gd name="connsiteY5" fmla="*/ 3825 h 10000"/>
                <a:gd name="connsiteX6" fmla="*/ 9793 w 10000"/>
                <a:gd name="connsiteY6" fmla="*/ 3389 h 10000"/>
                <a:gd name="connsiteX7" fmla="*/ 10000 w 10000"/>
                <a:gd name="connsiteY7" fmla="*/ 2868 h 10000"/>
                <a:gd name="connsiteX8" fmla="*/ 9678 w 10000"/>
                <a:gd name="connsiteY8" fmla="*/ 2389 h 10000"/>
                <a:gd name="connsiteX9" fmla="*/ 9265 w 10000"/>
                <a:gd name="connsiteY9" fmla="*/ 2868 h 10000"/>
                <a:gd name="connsiteX10" fmla="*/ 9059 w 10000"/>
                <a:gd name="connsiteY10" fmla="*/ 2670 h 10000"/>
                <a:gd name="connsiteX11" fmla="*/ 8875 w 10000"/>
                <a:gd name="connsiteY11" fmla="*/ 2273 h 10000"/>
                <a:gd name="connsiteX12" fmla="*/ 9012 w 10000"/>
                <a:gd name="connsiteY12" fmla="*/ 1953 h 10000"/>
                <a:gd name="connsiteX13" fmla="*/ 8691 w 10000"/>
                <a:gd name="connsiteY13" fmla="*/ 1515 h 10000"/>
                <a:gd name="connsiteX14" fmla="*/ 8553 w 10000"/>
                <a:gd name="connsiteY14" fmla="*/ 1677 h 10000"/>
                <a:gd name="connsiteX15" fmla="*/ 8253 w 10000"/>
                <a:gd name="connsiteY15" fmla="*/ 1760 h 10000"/>
                <a:gd name="connsiteX16" fmla="*/ 8279 w 10000"/>
                <a:gd name="connsiteY16" fmla="*/ 2195 h 10000"/>
                <a:gd name="connsiteX17" fmla="*/ 8369 w 10000"/>
                <a:gd name="connsiteY17" fmla="*/ 2311 h 10000"/>
                <a:gd name="connsiteX18" fmla="*/ 8302 w 10000"/>
                <a:gd name="connsiteY18" fmla="*/ 2631 h 10000"/>
                <a:gd name="connsiteX19" fmla="*/ 8117 w 10000"/>
                <a:gd name="connsiteY19" fmla="*/ 2712 h 10000"/>
                <a:gd name="connsiteX20" fmla="*/ 7933 w 10000"/>
                <a:gd name="connsiteY20" fmla="*/ 2953 h 10000"/>
                <a:gd name="connsiteX21" fmla="*/ 8095 w 10000"/>
                <a:gd name="connsiteY21" fmla="*/ 3267 h 10000"/>
                <a:gd name="connsiteX22" fmla="*/ 8072 w 10000"/>
                <a:gd name="connsiteY22" fmla="*/ 3509 h 10000"/>
                <a:gd name="connsiteX23" fmla="*/ 7727 w 10000"/>
                <a:gd name="connsiteY23" fmla="*/ 3789 h 10000"/>
                <a:gd name="connsiteX24" fmla="*/ 7566 w 10000"/>
                <a:gd name="connsiteY24" fmla="*/ 4263 h 10000"/>
                <a:gd name="connsiteX25" fmla="*/ 7153 w 10000"/>
                <a:gd name="connsiteY25" fmla="*/ 3310 h 10000"/>
                <a:gd name="connsiteX26" fmla="*/ 6992 w 10000"/>
                <a:gd name="connsiteY26" fmla="*/ 3629 h 10000"/>
                <a:gd name="connsiteX27" fmla="*/ 7221 w 10000"/>
                <a:gd name="connsiteY27" fmla="*/ 4027 h 10000"/>
                <a:gd name="connsiteX28" fmla="*/ 7038 w 10000"/>
                <a:gd name="connsiteY28" fmla="*/ 4303 h 10000"/>
                <a:gd name="connsiteX29" fmla="*/ 7083 w 10000"/>
                <a:gd name="connsiteY29" fmla="*/ 4503 h 10000"/>
                <a:gd name="connsiteX30" fmla="*/ 6717 w 10000"/>
                <a:gd name="connsiteY30" fmla="*/ 4978 h 10000"/>
                <a:gd name="connsiteX31" fmla="*/ 6327 w 10000"/>
                <a:gd name="connsiteY31" fmla="*/ 4585 h 10000"/>
                <a:gd name="connsiteX32" fmla="*/ 5272 w 10000"/>
                <a:gd name="connsiteY32" fmla="*/ 5579 h 10000"/>
                <a:gd name="connsiteX33" fmla="*/ 5179 w 10000"/>
                <a:gd name="connsiteY33" fmla="*/ 5142 h 10000"/>
                <a:gd name="connsiteX34" fmla="*/ 5041 w 10000"/>
                <a:gd name="connsiteY34" fmla="*/ 4861 h 10000"/>
                <a:gd name="connsiteX35" fmla="*/ 5087 w 10000"/>
                <a:gd name="connsiteY35" fmla="*/ 4542 h 10000"/>
                <a:gd name="connsiteX36" fmla="*/ 4948 w 10000"/>
                <a:gd name="connsiteY36" fmla="*/ 4225 h 10000"/>
                <a:gd name="connsiteX37" fmla="*/ 4742 w 10000"/>
                <a:gd name="connsiteY37" fmla="*/ 4185 h 10000"/>
                <a:gd name="connsiteX38" fmla="*/ 4788 w 10000"/>
                <a:gd name="connsiteY38" fmla="*/ 3748 h 10000"/>
                <a:gd name="connsiteX39" fmla="*/ 4626 w 10000"/>
                <a:gd name="connsiteY39" fmla="*/ 3587 h 10000"/>
                <a:gd name="connsiteX40" fmla="*/ 4466 w 10000"/>
                <a:gd name="connsiteY40" fmla="*/ 3032 h 10000"/>
                <a:gd name="connsiteX41" fmla="*/ 4259 w 10000"/>
                <a:gd name="connsiteY41" fmla="*/ 3032 h 10000"/>
                <a:gd name="connsiteX42" fmla="*/ 4054 w 10000"/>
                <a:gd name="connsiteY42" fmla="*/ 2751 h 10000"/>
                <a:gd name="connsiteX43" fmla="*/ 4054 w 10000"/>
                <a:gd name="connsiteY43" fmla="*/ 2631 h 10000"/>
                <a:gd name="connsiteX44" fmla="*/ 3869 w 10000"/>
                <a:gd name="connsiteY44" fmla="*/ 2791 h 10000"/>
                <a:gd name="connsiteX45" fmla="*/ 3640 w 10000"/>
                <a:gd name="connsiteY45" fmla="*/ 2514 h 10000"/>
                <a:gd name="connsiteX46" fmla="*/ 3755 w 10000"/>
                <a:gd name="connsiteY46" fmla="*/ 2113 h 10000"/>
                <a:gd name="connsiteX47" fmla="*/ 3570 w 10000"/>
                <a:gd name="connsiteY47" fmla="*/ 1794 h 10000"/>
                <a:gd name="connsiteX48" fmla="*/ 3711 w 10000"/>
                <a:gd name="connsiteY48" fmla="*/ 1318 h 10000"/>
                <a:gd name="connsiteX49" fmla="*/ 3250 w 10000"/>
                <a:gd name="connsiteY49" fmla="*/ 679 h 10000"/>
                <a:gd name="connsiteX50" fmla="*/ 2975 w 10000"/>
                <a:gd name="connsiteY50" fmla="*/ 879 h 10000"/>
                <a:gd name="connsiteX51" fmla="*/ 2446 w 10000"/>
                <a:gd name="connsiteY51" fmla="*/ 521 h 10000"/>
                <a:gd name="connsiteX52" fmla="*/ 2239 w 10000"/>
                <a:gd name="connsiteY52" fmla="*/ 756 h 10000"/>
                <a:gd name="connsiteX53" fmla="*/ 1734 w 10000"/>
                <a:gd name="connsiteY53" fmla="*/ 42 h 10000"/>
                <a:gd name="connsiteX54" fmla="*/ 1321 w 10000"/>
                <a:gd name="connsiteY54" fmla="*/ 1038 h 10000"/>
                <a:gd name="connsiteX55" fmla="*/ 1321 w 10000"/>
                <a:gd name="connsiteY55" fmla="*/ 1634 h 10000"/>
                <a:gd name="connsiteX56" fmla="*/ 1022 w 10000"/>
                <a:gd name="connsiteY56" fmla="*/ 1159 h 10000"/>
                <a:gd name="connsiteX57" fmla="*/ 679 w 10000"/>
                <a:gd name="connsiteY57" fmla="*/ 1953 h 10000"/>
                <a:gd name="connsiteX58" fmla="*/ 933 w 10000"/>
                <a:gd name="connsiteY58" fmla="*/ 2590 h 10000"/>
                <a:gd name="connsiteX59" fmla="*/ 471 w 10000"/>
                <a:gd name="connsiteY59" fmla="*/ 3347 h 10000"/>
                <a:gd name="connsiteX60" fmla="*/ 427 w 10000"/>
                <a:gd name="connsiteY60" fmla="*/ 3347 h 10000"/>
                <a:gd name="connsiteX61" fmla="*/ 609 w 10000"/>
                <a:gd name="connsiteY61" fmla="*/ 3789 h 10000"/>
                <a:gd name="connsiteX62" fmla="*/ 379 w 10000"/>
                <a:gd name="connsiteY62" fmla="*/ 4225 h 10000"/>
                <a:gd name="connsiteX63" fmla="*/ 539 w 10000"/>
                <a:gd name="connsiteY63" fmla="*/ 4503 h 10000"/>
                <a:gd name="connsiteX64" fmla="*/ 471 w 10000"/>
                <a:gd name="connsiteY64" fmla="*/ 4941 h 10000"/>
                <a:gd name="connsiteX65" fmla="*/ 379 w 10000"/>
                <a:gd name="connsiteY65" fmla="*/ 5184 h 10000"/>
                <a:gd name="connsiteX66" fmla="*/ 539 w 10000"/>
                <a:gd name="connsiteY66" fmla="*/ 5662 h 10000"/>
                <a:gd name="connsiteX67" fmla="*/ 266 w 10000"/>
                <a:gd name="connsiteY67" fmla="*/ 6414 h 10000"/>
                <a:gd name="connsiteX68" fmla="*/ 471 w 10000"/>
                <a:gd name="connsiteY68" fmla="*/ 6856 h 10000"/>
                <a:gd name="connsiteX69" fmla="*/ 105 w 10000"/>
                <a:gd name="connsiteY69" fmla="*/ 7609 h 10000"/>
                <a:gd name="connsiteX70" fmla="*/ 288 w 10000"/>
                <a:gd name="connsiteY70" fmla="*/ 8008 h 10000"/>
                <a:gd name="connsiteX71" fmla="*/ 12 w 10000"/>
                <a:gd name="connsiteY71" fmla="*/ 8649 h 10000"/>
                <a:gd name="connsiteX72" fmla="*/ 379 w 10000"/>
                <a:gd name="connsiteY72" fmla="*/ 8883 h 10000"/>
                <a:gd name="connsiteX73" fmla="*/ 266 w 10000"/>
                <a:gd name="connsiteY73" fmla="*/ 9404 h 10000"/>
                <a:gd name="connsiteX74" fmla="*/ 357 w 10000"/>
                <a:gd name="connsiteY74" fmla="*/ 10000 h 10000"/>
                <a:gd name="connsiteX75" fmla="*/ 982 w 10000"/>
                <a:gd name="connsiteY75" fmla="*/ 9453 h 10000"/>
                <a:gd name="connsiteX76" fmla="*/ 1342 w 10000"/>
                <a:gd name="connsiteY76" fmla="*/ 8972 h 10000"/>
                <a:gd name="connsiteX77" fmla="*/ 1775 w 10000"/>
                <a:gd name="connsiteY77" fmla="*/ 8981 h 10000"/>
                <a:gd name="connsiteX78" fmla="*/ 2239 w 10000"/>
                <a:gd name="connsiteY78" fmla="*/ 8695 h 10000"/>
                <a:gd name="connsiteX79" fmla="*/ 2810 w 10000"/>
                <a:gd name="connsiteY79" fmla="*/ 8242 h 10000"/>
                <a:gd name="connsiteX80" fmla="*/ 2997 w 10000"/>
                <a:gd name="connsiteY80" fmla="*/ 7896 h 10000"/>
                <a:gd name="connsiteX81" fmla="*/ 3386 w 10000"/>
                <a:gd name="connsiteY81" fmla="*/ 7230 h 10000"/>
                <a:gd name="connsiteX82" fmla="*/ 4023 w 10000"/>
                <a:gd name="connsiteY82" fmla="*/ 7695 h 10000"/>
                <a:gd name="connsiteX83" fmla="*/ 4296 w 10000"/>
                <a:gd name="connsiteY83" fmla="*/ 7665 h 10000"/>
                <a:gd name="connsiteX84" fmla="*/ 4241 w 10000"/>
                <a:gd name="connsiteY84" fmla="*/ 7091 h 10000"/>
                <a:gd name="connsiteX85" fmla="*/ 4282 w 10000"/>
                <a:gd name="connsiteY85" fmla="*/ 6356 h 10000"/>
                <a:gd name="connsiteX86" fmla="*/ 4895 w 10000"/>
                <a:gd name="connsiteY86" fmla="*/ 6191 h 10000"/>
                <a:gd name="connsiteX87" fmla="*/ 4809 w 10000"/>
                <a:gd name="connsiteY87" fmla="*/ 7066 h 10000"/>
                <a:gd name="connsiteX0" fmla="*/ 8095 w 10000"/>
                <a:gd name="connsiteY0" fmla="*/ 5938 h 10000"/>
                <a:gd name="connsiteX1" fmla="*/ 8302 w 10000"/>
                <a:gd name="connsiteY1" fmla="*/ 5540 h 10000"/>
                <a:gd name="connsiteX2" fmla="*/ 8714 w 10000"/>
                <a:gd name="connsiteY2" fmla="*/ 4780 h 10000"/>
                <a:gd name="connsiteX3" fmla="*/ 9449 w 10000"/>
                <a:gd name="connsiteY3" fmla="*/ 4104 h 10000"/>
                <a:gd name="connsiteX4" fmla="*/ 9494 w 10000"/>
                <a:gd name="connsiteY4" fmla="*/ 3825 h 10000"/>
                <a:gd name="connsiteX5" fmla="*/ 9793 w 10000"/>
                <a:gd name="connsiteY5" fmla="*/ 3389 h 10000"/>
                <a:gd name="connsiteX6" fmla="*/ 10000 w 10000"/>
                <a:gd name="connsiteY6" fmla="*/ 2868 h 10000"/>
                <a:gd name="connsiteX7" fmla="*/ 9678 w 10000"/>
                <a:gd name="connsiteY7" fmla="*/ 2389 h 10000"/>
                <a:gd name="connsiteX8" fmla="*/ 9265 w 10000"/>
                <a:gd name="connsiteY8" fmla="*/ 2868 h 10000"/>
                <a:gd name="connsiteX9" fmla="*/ 9059 w 10000"/>
                <a:gd name="connsiteY9" fmla="*/ 2670 h 10000"/>
                <a:gd name="connsiteX10" fmla="*/ 8875 w 10000"/>
                <a:gd name="connsiteY10" fmla="*/ 2273 h 10000"/>
                <a:gd name="connsiteX11" fmla="*/ 9012 w 10000"/>
                <a:gd name="connsiteY11" fmla="*/ 1953 h 10000"/>
                <a:gd name="connsiteX12" fmla="*/ 8691 w 10000"/>
                <a:gd name="connsiteY12" fmla="*/ 1515 h 10000"/>
                <a:gd name="connsiteX13" fmla="*/ 8553 w 10000"/>
                <a:gd name="connsiteY13" fmla="*/ 1677 h 10000"/>
                <a:gd name="connsiteX14" fmla="*/ 8253 w 10000"/>
                <a:gd name="connsiteY14" fmla="*/ 1760 h 10000"/>
                <a:gd name="connsiteX15" fmla="*/ 8279 w 10000"/>
                <a:gd name="connsiteY15" fmla="*/ 2195 h 10000"/>
                <a:gd name="connsiteX16" fmla="*/ 8369 w 10000"/>
                <a:gd name="connsiteY16" fmla="*/ 2311 h 10000"/>
                <a:gd name="connsiteX17" fmla="*/ 8302 w 10000"/>
                <a:gd name="connsiteY17" fmla="*/ 2631 h 10000"/>
                <a:gd name="connsiteX18" fmla="*/ 8117 w 10000"/>
                <a:gd name="connsiteY18" fmla="*/ 2712 h 10000"/>
                <a:gd name="connsiteX19" fmla="*/ 7933 w 10000"/>
                <a:gd name="connsiteY19" fmla="*/ 2953 h 10000"/>
                <a:gd name="connsiteX20" fmla="*/ 8095 w 10000"/>
                <a:gd name="connsiteY20" fmla="*/ 3267 h 10000"/>
                <a:gd name="connsiteX21" fmla="*/ 8072 w 10000"/>
                <a:gd name="connsiteY21" fmla="*/ 3509 h 10000"/>
                <a:gd name="connsiteX22" fmla="*/ 7727 w 10000"/>
                <a:gd name="connsiteY22" fmla="*/ 3789 h 10000"/>
                <a:gd name="connsiteX23" fmla="*/ 7566 w 10000"/>
                <a:gd name="connsiteY23" fmla="*/ 4263 h 10000"/>
                <a:gd name="connsiteX24" fmla="*/ 7153 w 10000"/>
                <a:gd name="connsiteY24" fmla="*/ 3310 h 10000"/>
                <a:gd name="connsiteX25" fmla="*/ 6992 w 10000"/>
                <a:gd name="connsiteY25" fmla="*/ 3629 h 10000"/>
                <a:gd name="connsiteX26" fmla="*/ 7221 w 10000"/>
                <a:gd name="connsiteY26" fmla="*/ 4027 h 10000"/>
                <a:gd name="connsiteX27" fmla="*/ 7038 w 10000"/>
                <a:gd name="connsiteY27" fmla="*/ 4303 h 10000"/>
                <a:gd name="connsiteX28" fmla="*/ 7083 w 10000"/>
                <a:gd name="connsiteY28" fmla="*/ 4503 h 10000"/>
                <a:gd name="connsiteX29" fmla="*/ 6717 w 10000"/>
                <a:gd name="connsiteY29" fmla="*/ 4978 h 10000"/>
                <a:gd name="connsiteX30" fmla="*/ 6327 w 10000"/>
                <a:gd name="connsiteY30" fmla="*/ 4585 h 10000"/>
                <a:gd name="connsiteX31" fmla="*/ 5272 w 10000"/>
                <a:gd name="connsiteY31" fmla="*/ 5579 h 10000"/>
                <a:gd name="connsiteX32" fmla="*/ 5179 w 10000"/>
                <a:gd name="connsiteY32" fmla="*/ 5142 h 10000"/>
                <a:gd name="connsiteX33" fmla="*/ 5041 w 10000"/>
                <a:gd name="connsiteY33" fmla="*/ 4861 h 10000"/>
                <a:gd name="connsiteX34" fmla="*/ 5087 w 10000"/>
                <a:gd name="connsiteY34" fmla="*/ 4542 h 10000"/>
                <a:gd name="connsiteX35" fmla="*/ 4948 w 10000"/>
                <a:gd name="connsiteY35" fmla="*/ 4225 h 10000"/>
                <a:gd name="connsiteX36" fmla="*/ 4742 w 10000"/>
                <a:gd name="connsiteY36" fmla="*/ 4185 h 10000"/>
                <a:gd name="connsiteX37" fmla="*/ 4788 w 10000"/>
                <a:gd name="connsiteY37" fmla="*/ 3748 h 10000"/>
                <a:gd name="connsiteX38" fmla="*/ 4626 w 10000"/>
                <a:gd name="connsiteY38" fmla="*/ 3587 h 10000"/>
                <a:gd name="connsiteX39" fmla="*/ 4466 w 10000"/>
                <a:gd name="connsiteY39" fmla="*/ 3032 h 10000"/>
                <a:gd name="connsiteX40" fmla="*/ 4259 w 10000"/>
                <a:gd name="connsiteY40" fmla="*/ 3032 h 10000"/>
                <a:gd name="connsiteX41" fmla="*/ 4054 w 10000"/>
                <a:gd name="connsiteY41" fmla="*/ 2751 h 10000"/>
                <a:gd name="connsiteX42" fmla="*/ 4054 w 10000"/>
                <a:gd name="connsiteY42" fmla="*/ 2631 h 10000"/>
                <a:gd name="connsiteX43" fmla="*/ 3869 w 10000"/>
                <a:gd name="connsiteY43" fmla="*/ 2791 h 10000"/>
                <a:gd name="connsiteX44" fmla="*/ 3640 w 10000"/>
                <a:gd name="connsiteY44" fmla="*/ 2514 h 10000"/>
                <a:gd name="connsiteX45" fmla="*/ 3755 w 10000"/>
                <a:gd name="connsiteY45" fmla="*/ 2113 h 10000"/>
                <a:gd name="connsiteX46" fmla="*/ 3570 w 10000"/>
                <a:gd name="connsiteY46" fmla="*/ 1794 h 10000"/>
                <a:gd name="connsiteX47" fmla="*/ 3711 w 10000"/>
                <a:gd name="connsiteY47" fmla="*/ 1318 h 10000"/>
                <a:gd name="connsiteX48" fmla="*/ 3250 w 10000"/>
                <a:gd name="connsiteY48" fmla="*/ 679 h 10000"/>
                <a:gd name="connsiteX49" fmla="*/ 2975 w 10000"/>
                <a:gd name="connsiteY49" fmla="*/ 879 h 10000"/>
                <a:gd name="connsiteX50" fmla="*/ 2446 w 10000"/>
                <a:gd name="connsiteY50" fmla="*/ 521 h 10000"/>
                <a:gd name="connsiteX51" fmla="*/ 2239 w 10000"/>
                <a:gd name="connsiteY51" fmla="*/ 756 h 10000"/>
                <a:gd name="connsiteX52" fmla="*/ 1734 w 10000"/>
                <a:gd name="connsiteY52" fmla="*/ 42 h 10000"/>
                <a:gd name="connsiteX53" fmla="*/ 1321 w 10000"/>
                <a:gd name="connsiteY53" fmla="*/ 1038 h 10000"/>
                <a:gd name="connsiteX54" fmla="*/ 1321 w 10000"/>
                <a:gd name="connsiteY54" fmla="*/ 1634 h 10000"/>
                <a:gd name="connsiteX55" fmla="*/ 1022 w 10000"/>
                <a:gd name="connsiteY55" fmla="*/ 1159 h 10000"/>
                <a:gd name="connsiteX56" fmla="*/ 679 w 10000"/>
                <a:gd name="connsiteY56" fmla="*/ 1953 h 10000"/>
                <a:gd name="connsiteX57" fmla="*/ 933 w 10000"/>
                <a:gd name="connsiteY57" fmla="*/ 2590 h 10000"/>
                <a:gd name="connsiteX58" fmla="*/ 471 w 10000"/>
                <a:gd name="connsiteY58" fmla="*/ 3347 h 10000"/>
                <a:gd name="connsiteX59" fmla="*/ 427 w 10000"/>
                <a:gd name="connsiteY59" fmla="*/ 3347 h 10000"/>
                <a:gd name="connsiteX60" fmla="*/ 609 w 10000"/>
                <a:gd name="connsiteY60" fmla="*/ 3789 h 10000"/>
                <a:gd name="connsiteX61" fmla="*/ 379 w 10000"/>
                <a:gd name="connsiteY61" fmla="*/ 4225 h 10000"/>
                <a:gd name="connsiteX62" fmla="*/ 539 w 10000"/>
                <a:gd name="connsiteY62" fmla="*/ 4503 h 10000"/>
                <a:gd name="connsiteX63" fmla="*/ 471 w 10000"/>
                <a:gd name="connsiteY63" fmla="*/ 4941 h 10000"/>
                <a:gd name="connsiteX64" fmla="*/ 379 w 10000"/>
                <a:gd name="connsiteY64" fmla="*/ 5184 h 10000"/>
                <a:gd name="connsiteX65" fmla="*/ 539 w 10000"/>
                <a:gd name="connsiteY65" fmla="*/ 5662 h 10000"/>
                <a:gd name="connsiteX66" fmla="*/ 266 w 10000"/>
                <a:gd name="connsiteY66" fmla="*/ 6414 h 10000"/>
                <a:gd name="connsiteX67" fmla="*/ 471 w 10000"/>
                <a:gd name="connsiteY67" fmla="*/ 6856 h 10000"/>
                <a:gd name="connsiteX68" fmla="*/ 105 w 10000"/>
                <a:gd name="connsiteY68" fmla="*/ 7609 h 10000"/>
                <a:gd name="connsiteX69" fmla="*/ 288 w 10000"/>
                <a:gd name="connsiteY69" fmla="*/ 8008 h 10000"/>
                <a:gd name="connsiteX70" fmla="*/ 12 w 10000"/>
                <a:gd name="connsiteY70" fmla="*/ 8649 h 10000"/>
                <a:gd name="connsiteX71" fmla="*/ 379 w 10000"/>
                <a:gd name="connsiteY71" fmla="*/ 8883 h 10000"/>
                <a:gd name="connsiteX72" fmla="*/ 266 w 10000"/>
                <a:gd name="connsiteY72" fmla="*/ 9404 h 10000"/>
                <a:gd name="connsiteX73" fmla="*/ 357 w 10000"/>
                <a:gd name="connsiteY73" fmla="*/ 10000 h 10000"/>
                <a:gd name="connsiteX74" fmla="*/ 982 w 10000"/>
                <a:gd name="connsiteY74" fmla="*/ 9453 h 10000"/>
                <a:gd name="connsiteX75" fmla="*/ 1342 w 10000"/>
                <a:gd name="connsiteY75" fmla="*/ 8972 h 10000"/>
                <a:gd name="connsiteX76" fmla="*/ 1775 w 10000"/>
                <a:gd name="connsiteY76" fmla="*/ 8981 h 10000"/>
                <a:gd name="connsiteX77" fmla="*/ 2239 w 10000"/>
                <a:gd name="connsiteY77" fmla="*/ 8695 h 10000"/>
                <a:gd name="connsiteX78" fmla="*/ 2810 w 10000"/>
                <a:gd name="connsiteY78" fmla="*/ 8242 h 10000"/>
                <a:gd name="connsiteX79" fmla="*/ 2997 w 10000"/>
                <a:gd name="connsiteY79" fmla="*/ 7896 h 10000"/>
                <a:gd name="connsiteX80" fmla="*/ 3386 w 10000"/>
                <a:gd name="connsiteY80" fmla="*/ 7230 h 10000"/>
                <a:gd name="connsiteX81" fmla="*/ 4023 w 10000"/>
                <a:gd name="connsiteY81" fmla="*/ 7695 h 10000"/>
                <a:gd name="connsiteX82" fmla="*/ 4296 w 10000"/>
                <a:gd name="connsiteY82" fmla="*/ 7665 h 10000"/>
                <a:gd name="connsiteX83" fmla="*/ 4241 w 10000"/>
                <a:gd name="connsiteY83" fmla="*/ 7091 h 10000"/>
                <a:gd name="connsiteX84" fmla="*/ 4282 w 10000"/>
                <a:gd name="connsiteY84" fmla="*/ 6356 h 10000"/>
                <a:gd name="connsiteX85" fmla="*/ 4895 w 10000"/>
                <a:gd name="connsiteY85" fmla="*/ 6191 h 10000"/>
                <a:gd name="connsiteX86" fmla="*/ 4809 w 10000"/>
                <a:gd name="connsiteY86" fmla="*/ 7066 h 10000"/>
                <a:gd name="connsiteX0" fmla="*/ 8302 w 10000"/>
                <a:gd name="connsiteY0" fmla="*/ 5540 h 10000"/>
                <a:gd name="connsiteX1" fmla="*/ 8714 w 10000"/>
                <a:gd name="connsiteY1" fmla="*/ 4780 h 10000"/>
                <a:gd name="connsiteX2" fmla="*/ 9449 w 10000"/>
                <a:gd name="connsiteY2" fmla="*/ 4104 h 10000"/>
                <a:gd name="connsiteX3" fmla="*/ 9494 w 10000"/>
                <a:gd name="connsiteY3" fmla="*/ 3825 h 10000"/>
                <a:gd name="connsiteX4" fmla="*/ 9793 w 10000"/>
                <a:gd name="connsiteY4" fmla="*/ 3389 h 10000"/>
                <a:gd name="connsiteX5" fmla="*/ 10000 w 10000"/>
                <a:gd name="connsiteY5" fmla="*/ 2868 h 10000"/>
                <a:gd name="connsiteX6" fmla="*/ 9678 w 10000"/>
                <a:gd name="connsiteY6" fmla="*/ 2389 h 10000"/>
                <a:gd name="connsiteX7" fmla="*/ 9265 w 10000"/>
                <a:gd name="connsiteY7" fmla="*/ 2868 h 10000"/>
                <a:gd name="connsiteX8" fmla="*/ 9059 w 10000"/>
                <a:gd name="connsiteY8" fmla="*/ 2670 h 10000"/>
                <a:gd name="connsiteX9" fmla="*/ 8875 w 10000"/>
                <a:gd name="connsiteY9" fmla="*/ 2273 h 10000"/>
                <a:gd name="connsiteX10" fmla="*/ 9012 w 10000"/>
                <a:gd name="connsiteY10" fmla="*/ 1953 h 10000"/>
                <a:gd name="connsiteX11" fmla="*/ 8691 w 10000"/>
                <a:gd name="connsiteY11" fmla="*/ 1515 h 10000"/>
                <a:gd name="connsiteX12" fmla="*/ 8553 w 10000"/>
                <a:gd name="connsiteY12" fmla="*/ 1677 h 10000"/>
                <a:gd name="connsiteX13" fmla="*/ 8253 w 10000"/>
                <a:gd name="connsiteY13" fmla="*/ 1760 h 10000"/>
                <a:gd name="connsiteX14" fmla="*/ 8279 w 10000"/>
                <a:gd name="connsiteY14" fmla="*/ 2195 h 10000"/>
                <a:gd name="connsiteX15" fmla="*/ 8369 w 10000"/>
                <a:gd name="connsiteY15" fmla="*/ 2311 h 10000"/>
                <a:gd name="connsiteX16" fmla="*/ 8302 w 10000"/>
                <a:gd name="connsiteY16" fmla="*/ 2631 h 10000"/>
                <a:gd name="connsiteX17" fmla="*/ 8117 w 10000"/>
                <a:gd name="connsiteY17" fmla="*/ 2712 h 10000"/>
                <a:gd name="connsiteX18" fmla="*/ 7933 w 10000"/>
                <a:gd name="connsiteY18" fmla="*/ 2953 h 10000"/>
                <a:gd name="connsiteX19" fmla="*/ 8095 w 10000"/>
                <a:gd name="connsiteY19" fmla="*/ 3267 h 10000"/>
                <a:gd name="connsiteX20" fmla="*/ 8072 w 10000"/>
                <a:gd name="connsiteY20" fmla="*/ 3509 h 10000"/>
                <a:gd name="connsiteX21" fmla="*/ 7727 w 10000"/>
                <a:gd name="connsiteY21" fmla="*/ 3789 h 10000"/>
                <a:gd name="connsiteX22" fmla="*/ 7566 w 10000"/>
                <a:gd name="connsiteY22" fmla="*/ 4263 h 10000"/>
                <a:gd name="connsiteX23" fmla="*/ 7153 w 10000"/>
                <a:gd name="connsiteY23" fmla="*/ 3310 h 10000"/>
                <a:gd name="connsiteX24" fmla="*/ 6992 w 10000"/>
                <a:gd name="connsiteY24" fmla="*/ 3629 h 10000"/>
                <a:gd name="connsiteX25" fmla="*/ 7221 w 10000"/>
                <a:gd name="connsiteY25" fmla="*/ 4027 h 10000"/>
                <a:gd name="connsiteX26" fmla="*/ 7038 w 10000"/>
                <a:gd name="connsiteY26" fmla="*/ 4303 h 10000"/>
                <a:gd name="connsiteX27" fmla="*/ 7083 w 10000"/>
                <a:gd name="connsiteY27" fmla="*/ 4503 h 10000"/>
                <a:gd name="connsiteX28" fmla="*/ 6717 w 10000"/>
                <a:gd name="connsiteY28" fmla="*/ 4978 h 10000"/>
                <a:gd name="connsiteX29" fmla="*/ 6327 w 10000"/>
                <a:gd name="connsiteY29" fmla="*/ 4585 h 10000"/>
                <a:gd name="connsiteX30" fmla="*/ 5272 w 10000"/>
                <a:gd name="connsiteY30" fmla="*/ 5579 h 10000"/>
                <a:gd name="connsiteX31" fmla="*/ 5179 w 10000"/>
                <a:gd name="connsiteY31" fmla="*/ 5142 h 10000"/>
                <a:gd name="connsiteX32" fmla="*/ 5041 w 10000"/>
                <a:gd name="connsiteY32" fmla="*/ 4861 h 10000"/>
                <a:gd name="connsiteX33" fmla="*/ 5087 w 10000"/>
                <a:gd name="connsiteY33" fmla="*/ 4542 h 10000"/>
                <a:gd name="connsiteX34" fmla="*/ 4948 w 10000"/>
                <a:gd name="connsiteY34" fmla="*/ 4225 h 10000"/>
                <a:gd name="connsiteX35" fmla="*/ 4742 w 10000"/>
                <a:gd name="connsiteY35" fmla="*/ 4185 h 10000"/>
                <a:gd name="connsiteX36" fmla="*/ 4788 w 10000"/>
                <a:gd name="connsiteY36" fmla="*/ 3748 h 10000"/>
                <a:gd name="connsiteX37" fmla="*/ 4626 w 10000"/>
                <a:gd name="connsiteY37" fmla="*/ 3587 h 10000"/>
                <a:gd name="connsiteX38" fmla="*/ 4466 w 10000"/>
                <a:gd name="connsiteY38" fmla="*/ 3032 h 10000"/>
                <a:gd name="connsiteX39" fmla="*/ 4259 w 10000"/>
                <a:gd name="connsiteY39" fmla="*/ 3032 h 10000"/>
                <a:gd name="connsiteX40" fmla="*/ 4054 w 10000"/>
                <a:gd name="connsiteY40" fmla="*/ 2751 h 10000"/>
                <a:gd name="connsiteX41" fmla="*/ 4054 w 10000"/>
                <a:gd name="connsiteY41" fmla="*/ 2631 h 10000"/>
                <a:gd name="connsiteX42" fmla="*/ 3869 w 10000"/>
                <a:gd name="connsiteY42" fmla="*/ 2791 h 10000"/>
                <a:gd name="connsiteX43" fmla="*/ 3640 w 10000"/>
                <a:gd name="connsiteY43" fmla="*/ 2514 h 10000"/>
                <a:gd name="connsiteX44" fmla="*/ 3755 w 10000"/>
                <a:gd name="connsiteY44" fmla="*/ 2113 h 10000"/>
                <a:gd name="connsiteX45" fmla="*/ 3570 w 10000"/>
                <a:gd name="connsiteY45" fmla="*/ 1794 h 10000"/>
                <a:gd name="connsiteX46" fmla="*/ 3711 w 10000"/>
                <a:gd name="connsiteY46" fmla="*/ 1318 h 10000"/>
                <a:gd name="connsiteX47" fmla="*/ 3250 w 10000"/>
                <a:gd name="connsiteY47" fmla="*/ 679 h 10000"/>
                <a:gd name="connsiteX48" fmla="*/ 2975 w 10000"/>
                <a:gd name="connsiteY48" fmla="*/ 879 h 10000"/>
                <a:gd name="connsiteX49" fmla="*/ 2446 w 10000"/>
                <a:gd name="connsiteY49" fmla="*/ 521 h 10000"/>
                <a:gd name="connsiteX50" fmla="*/ 2239 w 10000"/>
                <a:gd name="connsiteY50" fmla="*/ 756 h 10000"/>
                <a:gd name="connsiteX51" fmla="*/ 1734 w 10000"/>
                <a:gd name="connsiteY51" fmla="*/ 42 h 10000"/>
                <a:gd name="connsiteX52" fmla="*/ 1321 w 10000"/>
                <a:gd name="connsiteY52" fmla="*/ 1038 h 10000"/>
                <a:gd name="connsiteX53" fmla="*/ 1321 w 10000"/>
                <a:gd name="connsiteY53" fmla="*/ 1634 h 10000"/>
                <a:gd name="connsiteX54" fmla="*/ 1022 w 10000"/>
                <a:gd name="connsiteY54" fmla="*/ 1159 h 10000"/>
                <a:gd name="connsiteX55" fmla="*/ 679 w 10000"/>
                <a:gd name="connsiteY55" fmla="*/ 1953 h 10000"/>
                <a:gd name="connsiteX56" fmla="*/ 933 w 10000"/>
                <a:gd name="connsiteY56" fmla="*/ 2590 h 10000"/>
                <a:gd name="connsiteX57" fmla="*/ 471 w 10000"/>
                <a:gd name="connsiteY57" fmla="*/ 3347 h 10000"/>
                <a:gd name="connsiteX58" fmla="*/ 427 w 10000"/>
                <a:gd name="connsiteY58" fmla="*/ 3347 h 10000"/>
                <a:gd name="connsiteX59" fmla="*/ 609 w 10000"/>
                <a:gd name="connsiteY59" fmla="*/ 3789 h 10000"/>
                <a:gd name="connsiteX60" fmla="*/ 379 w 10000"/>
                <a:gd name="connsiteY60" fmla="*/ 4225 h 10000"/>
                <a:gd name="connsiteX61" fmla="*/ 539 w 10000"/>
                <a:gd name="connsiteY61" fmla="*/ 4503 h 10000"/>
                <a:gd name="connsiteX62" fmla="*/ 471 w 10000"/>
                <a:gd name="connsiteY62" fmla="*/ 4941 h 10000"/>
                <a:gd name="connsiteX63" fmla="*/ 379 w 10000"/>
                <a:gd name="connsiteY63" fmla="*/ 5184 h 10000"/>
                <a:gd name="connsiteX64" fmla="*/ 539 w 10000"/>
                <a:gd name="connsiteY64" fmla="*/ 5662 h 10000"/>
                <a:gd name="connsiteX65" fmla="*/ 266 w 10000"/>
                <a:gd name="connsiteY65" fmla="*/ 6414 h 10000"/>
                <a:gd name="connsiteX66" fmla="*/ 471 w 10000"/>
                <a:gd name="connsiteY66" fmla="*/ 6856 h 10000"/>
                <a:gd name="connsiteX67" fmla="*/ 105 w 10000"/>
                <a:gd name="connsiteY67" fmla="*/ 7609 h 10000"/>
                <a:gd name="connsiteX68" fmla="*/ 288 w 10000"/>
                <a:gd name="connsiteY68" fmla="*/ 8008 h 10000"/>
                <a:gd name="connsiteX69" fmla="*/ 12 w 10000"/>
                <a:gd name="connsiteY69" fmla="*/ 8649 h 10000"/>
                <a:gd name="connsiteX70" fmla="*/ 379 w 10000"/>
                <a:gd name="connsiteY70" fmla="*/ 8883 h 10000"/>
                <a:gd name="connsiteX71" fmla="*/ 266 w 10000"/>
                <a:gd name="connsiteY71" fmla="*/ 9404 h 10000"/>
                <a:gd name="connsiteX72" fmla="*/ 357 w 10000"/>
                <a:gd name="connsiteY72" fmla="*/ 10000 h 10000"/>
                <a:gd name="connsiteX73" fmla="*/ 982 w 10000"/>
                <a:gd name="connsiteY73" fmla="*/ 9453 h 10000"/>
                <a:gd name="connsiteX74" fmla="*/ 1342 w 10000"/>
                <a:gd name="connsiteY74" fmla="*/ 8972 h 10000"/>
                <a:gd name="connsiteX75" fmla="*/ 1775 w 10000"/>
                <a:gd name="connsiteY75" fmla="*/ 8981 h 10000"/>
                <a:gd name="connsiteX76" fmla="*/ 2239 w 10000"/>
                <a:gd name="connsiteY76" fmla="*/ 8695 h 10000"/>
                <a:gd name="connsiteX77" fmla="*/ 2810 w 10000"/>
                <a:gd name="connsiteY77" fmla="*/ 8242 h 10000"/>
                <a:gd name="connsiteX78" fmla="*/ 2997 w 10000"/>
                <a:gd name="connsiteY78" fmla="*/ 7896 h 10000"/>
                <a:gd name="connsiteX79" fmla="*/ 3386 w 10000"/>
                <a:gd name="connsiteY79" fmla="*/ 7230 h 10000"/>
                <a:gd name="connsiteX80" fmla="*/ 4023 w 10000"/>
                <a:gd name="connsiteY80" fmla="*/ 7695 h 10000"/>
                <a:gd name="connsiteX81" fmla="*/ 4296 w 10000"/>
                <a:gd name="connsiteY81" fmla="*/ 7665 h 10000"/>
                <a:gd name="connsiteX82" fmla="*/ 4241 w 10000"/>
                <a:gd name="connsiteY82" fmla="*/ 7091 h 10000"/>
                <a:gd name="connsiteX83" fmla="*/ 4282 w 10000"/>
                <a:gd name="connsiteY83" fmla="*/ 6356 h 10000"/>
                <a:gd name="connsiteX84" fmla="*/ 4895 w 10000"/>
                <a:gd name="connsiteY84" fmla="*/ 6191 h 10000"/>
                <a:gd name="connsiteX85" fmla="*/ 4809 w 10000"/>
                <a:gd name="connsiteY85" fmla="*/ 7066 h 10000"/>
                <a:gd name="connsiteX0" fmla="*/ 8714 w 10000"/>
                <a:gd name="connsiteY0" fmla="*/ 4780 h 10000"/>
                <a:gd name="connsiteX1" fmla="*/ 9449 w 10000"/>
                <a:gd name="connsiteY1" fmla="*/ 4104 h 10000"/>
                <a:gd name="connsiteX2" fmla="*/ 9494 w 10000"/>
                <a:gd name="connsiteY2" fmla="*/ 3825 h 10000"/>
                <a:gd name="connsiteX3" fmla="*/ 9793 w 10000"/>
                <a:gd name="connsiteY3" fmla="*/ 3389 h 10000"/>
                <a:gd name="connsiteX4" fmla="*/ 10000 w 10000"/>
                <a:gd name="connsiteY4" fmla="*/ 2868 h 10000"/>
                <a:gd name="connsiteX5" fmla="*/ 9678 w 10000"/>
                <a:gd name="connsiteY5" fmla="*/ 2389 h 10000"/>
                <a:gd name="connsiteX6" fmla="*/ 9265 w 10000"/>
                <a:gd name="connsiteY6" fmla="*/ 2868 h 10000"/>
                <a:gd name="connsiteX7" fmla="*/ 9059 w 10000"/>
                <a:gd name="connsiteY7" fmla="*/ 2670 h 10000"/>
                <a:gd name="connsiteX8" fmla="*/ 8875 w 10000"/>
                <a:gd name="connsiteY8" fmla="*/ 2273 h 10000"/>
                <a:gd name="connsiteX9" fmla="*/ 9012 w 10000"/>
                <a:gd name="connsiteY9" fmla="*/ 1953 h 10000"/>
                <a:gd name="connsiteX10" fmla="*/ 8691 w 10000"/>
                <a:gd name="connsiteY10" fmla="*/ 1515 h 10000"/>
                <a:gd name="connsiteX11" fmla="*/ 8553 w 10000"/>
                <a:gd name="connsiteY11" fmla="*/ 1677 h 10000"/>
                <a:gd name="connsiteX12" fmla="*/ 8253 w 10000"/>
                <a:gd name="connsiteY12" fmla="*/ 1760 h 10000"/>
                <a:gd name="connsiteX13" fmla="*/ 8279 w 10000"/>
                <a:gd name="connsiteY13" fmla="*/ 2195 h 10000"/>
                <a:gd name="connsiteX14" fmla="*/ 8369 w 10000"/>
                <a:gd name="connsiteY14" fmla="*/ 2311 h 10000"/>
                <a:gd name="connsiteX15" fmla="*/ 8302 w 10000"/>
                <a:gd name="connsiteY15" fmla="*/ 2631 h 10000"/>
                <a:gd name="connsiteX16" fmla="*/ 8117 w 10000"/>
                <a:gd name="connsiteY16" fmla="*/ 2712 h 10000"/>
                <a:gd name="connsiteX17" fmla="*/ 7933 w 10000"/>
                <a:gd name="connsiteY17" fmla="*/ 2953 h 10000"/>
                <a:gd name="connsiteX18" fmla="*/ 8095 w 10000"/>
                <a:gd name="connsiteY18" fmla="*/ 3267 h 10000"/>
                <a:gd name="connsiteX19" fmla="*/ 8072 w 10000"/>
                <a:gd name="connsiteY19" fmla="*/ 3509 h 10000"/>
                <a:gd name="connsiteX20" fmla="*/ 7727 w 10000"/>
                <a:gd name="connsiteY20" fmla="*/ 3789 h 10000"/>
                <a:gd name="connsiteX21" fmla="*/ 7566 w 10000"/>
                <a:gd name="connsiteY21" fmla="*/ 4263 h 10000"/>
                <a:gd name="connsiteX22" fmla="*/ 7153 w 10000"/>
                <a:gd name="connsiteY22" fmla="*/ 3310 h 10000"/>
                <a:gd name="connsiteX23" fmla="*/ 6992 w 10000"/>
                <a:gd name="connsiteY23" fmla="*/ 3629 h 10000"/>
                <a:gd name="connsiteX24" fmla="*/ 7221 w 10000"/>
                <a:gd name="connsiteY24" fmla="*/ 4027 h 10000"/>
                <a:gd name="connsiteX25" fmla="*/ 7038 w 10000"/>
                <a:gd name="connsiteY25" fmla="*/ 4303 h 10000"/>
                <a:gd name="connsiteX26" fmla="*/ 7083 w 10000"/>
                <a:gd name="connsiteY26" fmla="*/ 4503 h 10000"/>
                <a:gd name="connsiteX27" fmla="*/ 6717 w 10000"/>
                <a:gd name="connsiteY27" fmla="*/ 4978 h 10000"/>
                <a:gd name="connsiteX28" fmla="*/ 6327 w 10000"/>
                <a:gd name="connsiteY28" fmla="*/ 4585 h 10000"/>
                <a:gd name="connsiteX29" fmla="*/ 5272 w 10000"/>
                <a:gd name="connsiteY29" fmla="*/ 5579 h 10000"/>
                <a:gd name="connsiteX30" fmla="*/ 5179 w 10000"/>
                <a:gd name="connsiteY30" fmla="*/ 5142 h 10000"/>
                <a:gd name="connsiteX31" fmla="*/ 5041 w 10000"/>
                <a:gd name="connsiteY31" fmla="*/ 4861 h 10000"/>
                <a:gd name="connsiteX32" fmla="*/ 5087 w 10000"/>
                <a:gd name="connsiteY32" fmla="*/ 4542 h 10000"/>
                <a:gd name="connsiteX33" fmla="*/ 4948 w 10000"/>
                <a:gd name="connsiteY33" fmla="*/ 4225 h 10000"/>
                <a:gd name="connsiteX34" fmla="*/ 4742 w 10000"/>
                <a:gd name="connsiteY34" fmla="*/ 4185 h 10000"/>
                <a:gd name="connsiteX35" fmla="*/ 4788 w 10000"/>
                <a:gd name="connsiteY35" fmla="*/ 3748 h 10000"/>
                <a:gd name="connsiteX36" fmla="*/ 4626 w 10000"/>
                <a:gd name="connsiteY36" fmla="*/ 3587 h 10000"/>
                <a:gd name="connsiteX37" fmla="*/ 4466 w 10000"/>
                <a:gd name="connsiteY37" fmla="*/ 3032 h 10000"/>
                <a:gd name="connsiteX38" fmla="*/ 4259 w 10000"/>
                <a:gd name="connsiteY38" fmla="*/ 3032 h 10000"/>
                <a:gd name="connsiteX39" fmla="*/ 4054 w 10000"/>
                <a:gd name="connsiteY39" fmla="*/ 2751 h 10000"/>
                <a:gd name="connsiteX40" fmla="*/ 4054 w 10000"/>
                <a:gd name="connsiteY40" fmla="*/ 2631 h 10000"/>
                <a:gd name="connsiteX41" fmla="*/ 3869 w 10000"/>
                <a:gd name="connsiteY41" fmla="*/ 2791 h 10000"/>
                <a:gd name="connsiteX42" fmla="*/ 3640 w 10000"/>
                <a:gd name="connsiteY42" fmla="*/ 2514 h 10000"/>
                <a:gd name="connsiteX43" fmla="*/ 3755 w 10000"/>
                <a:gd name="connsiteY43" fmla="*/ 2113 h 10000"/>
                <a:gd name="connsiteX44" fmla="*/ 3570 w 10000"/>
                <a:gd name="connsiteY44" fmla="*/ 1794 h 10000"/>
                <a:gd name="connsiteX45" fmla="*/ 3711 w 10000"/>
                <a:gd name="connsiteY45" fmla="*/ 1318 h 10000"/>
                <a:gd name="connsiteX46" fmla="*/ 3250 w 10000"/>
                <a:gd name="connsiteY46" fmla="*/ 679 h 10000"/>
                <a:gd name="connsiteX47" fmla="*/ 2975 w 10000"/>
                <a:gd name="connsiteY47" fmla="*/ 879 h 10000"/>
                <a:gd name="connsiteX48" fmla="*/ 2446 w 10000"/>
                <a:gd name="connsiteY48" fmla="*/ 521 h 10000"/>
                <a:gd name="connsiteX49" fmla="*/ 2239 w 10000"/>
                <a:gd name="connsiteY49" fmla="*/ 756 h 10000"/>
                <a:gd name="connsiteX50" fmla="*/ 1734 w 10000"/>
                <a:gd name="connsiteY50" fmla="*/ 42 h 10000"/>
                <a:gd name="connsiteX51" fmla="*/ 1321 w 10000"/>
                <a:gd name="connsiteY51" fmla="*/ 1038 h 10000"/>
                <a:gd name="connsiteX52" fmla="*/ 1321 w 10000"/>
                <a:gd name="connsiteY52" fmla="*/ 1634 h 10000"/>
                <a:gd name="connsiteX53" fmla="*/ 1022 w 10000"/>
                <a:gd name="connsiteY53" fmla="*/ 1159 h 10000"/>
                <a:gd name="connsiteX54" fmla="*/ 679 w 10000"/>
                <a:gd name="connsiteY54" fmla="*/ 1953 h 10000"/>
                <a:gd name="connsiteX55" fmla="*/ 933 w 10000"/>
                <a:gd name="connsiteY55" fmla="*/ 2590 h 10000"/>
                <a:gd name="connsiteX56" fmla="*/ 471 w 10000"/>
                <a:gd name="connsiteY56" fmla="*/ 3347 h 10000"/>
                <a:gd name="connsiteX57" fmla="*/ 427 w 10000"/>
                <a:gd name="connsiteY57" fmla="*/ 3347 h 10000"/>
                <a:gd name="connsiteX58" fmla="*/ 609 w 10000"/>
                <a:gd name="connsiteY58" fmla="*/ 3789 h 10000"/>
                <a:gd name="connsiteX59" fmla="*/ 379 w 10000"/>
                <a:gd name="connsiteY59" fmla="*/ 4225 h 10000"/>
                <a:gd name="connsiteX60" fmla="*/ 539 w 10000"/>
                <a:gd name="connsiteY60" fmla="*/ 4503 h 10000"/>
                <a:gd name="connsiteX61" fmla="*/ 471 w 10000"/>
                <a:gd name="connsiteY61" fmla="*/ 4941 h 10000"/>
                <a:gd name="connsiteX62" fmla="*/ 379 w 10000"/>
                <a:gd name="connsiteY62" fmla="*/ 5184 h 10000"/>
                <a:gd name="connsiteX63" fmla="*/ 539 w 10000"/>
                <a:gd name="connsiteY63" fmla="*/ 5662 h 10000"/>
                <a:gd name="connsiteX64" fmla="*/ 266 w 10000"/>
                <a:gd name="connsiteY64" fmla="*/ 6414 h 10000"/>
                <a:gd name="connsiteX65" fmla="*/ 471 w 10000"/>
                <a:gd name="connsiteY65" fmla="*/ 6856 h 10000"/>
                <a:gd name="connsiteX66" fmla="*/ 105 w 10000"/>
                <a:gd name="connsiteY66" fmla="*/ 7609 h 10000"/>
                <a:gd name="connsiteX67" fmla="*/ 288 w 10000"/>
                <a:gd name="connsiteY67" fmla="*/ 8008 h 10000"/>
                <a:gd name="connsiteX68" fmla="*/ 12 w 10000"/>
                <a:gd name="connsiteY68" fmla="*/ 8649 h 10000"/>
                <a:gd name="connsiteX69" fmla="*/ 379 w 10000"/>
                <a:gd name="connsiteY69" fmla="*/ 8883 h 10000"/>
                <a:gd name="connsiteX70" fmla="*/ 266 w 10000"/>
                <a:gd name="connsiteY70" fmla="*/ 9404 h 10000"/>
                <a:gd name="connsiteX71" fmla="*/ 357 w 10000"/>
                <a:gd name="connsiteY71" fmla="*/ 10000 h 10000"/>
                <a:gd name="connsiteX72" fmla="*/ 982 w 10000"/>
                <a:gd name="connsiteY72" fmla="*/ 9453 h 10000"/>
                <a:gd name="connsiteX73" fmla="*/ 1342 w 10000"/>
                <a:gd name="connsiteY73" fmla="*/ 8972 h 10000"/>
                <a:gd name="connsiteX74" fmla="*/ 1775 w 10000"/>
                <a:gd name="connsiteY74" fmla="*/ 8981 h 10000"/>
                <a:gd name="connsiteX75" fmla="*/ 2239 w 10000"/>
                <a:gd name="connsiteY75" fmla="*/ 8695 h 10000"/>
                <a:gd name="connsiteX76" fmla="*/ 2810 w 10000"/>
                <a:gd name="connsiteY76" fmla="*/ 8242 h 10000"/>
                <a:gd name="connsiteX77" fmla="*/ 2997 w 10000"/>
                <a:gd name="connsiteY77" fmla="*/ 7896 h 10000"/>
                <a:gd name="connsiteX78" fmla="*/ 3386 w 10000"/>
                <a:gd name="connsiteY78" fmla="*/ 7230 h 10000"/>
                <a:gd name="connsiteX79" fmla="*/ 4023 w 10000"/>
                <a:gd name="connsiteY79" fmla="*/ 7695 h 10000"/>
                <a:gd name="connsiteX80" fmla="*/ 4296 w 10000"/>
                <a:gd name="connsiteY80" fmla="*/ 7665 h 10000"/>
                <a:gd name="connsiteX81" fmla="*/ 4241 w 10000"/>
                <a:gd name="connsiteY81" fmla="*/ 7091 h 10000"/>
                <a:gd name="connsiteX82" fmla="*/ 4282 w 10000"/>
                <a:gd name="connsiteY82" fmla="*/ 6356 h 10000"/>
                <a:gd name="connsiteX83" fmla="*/ 4895 w 10000"/>
                <a:gd name="connsiteY83" fmla="*/ 6191 h 10000"/>
                <a:gd name="connsiteX84" fmla="*/ 4809 w 10000"/>
                <a:gd name="connsiteY84" fmla="*/ 7066 h 10000"/>
                <a:gd name="connsiteX0" fmla="*/ 9449 w 10000"/>
                <a:gd name="connsiteY0" fmla="*/ 4104 h 10000"/>
                <a:gd name="connsiteX1" fmla="*/ 9494 w 10000"/>
                <a:gd name="connsiteY1" fmla="*/ 3825 h 10000"/>
                <a:gd name="connsiteX2" fmla="*/ 9793 w 10000"/>
                <a:gd name="connsiteY2" fmla="*/ 3389 h 10000"/>
                <a:gd name="connsiteX3" fmla="*/ 10000 w 10000"/>
                <a:gd name="connsiteY3" fmla="*/ 2868 h 10000"/>
                <a:gd name="connsiteX4" fmla="*/ 9678 w 10000"/>
                <a:gd name="connsiteY4" fmla="*/ 2389 h 10000"/>
                <a:gd name="connsiteX5" fmla="*/ 9265 w 10000"/>
                <a:gd name="connsiteY5" fmla="*/ 2868 h 10000"/>
                <a:gd name="connsiteX6" fmla="*/ 9059 w 10000"/>
                <a:gd name="connsiteY6" fmla="*/ 2670 h 10000"/>
                <a:gd name="connsiteX7" fmla="*/ 8875 w 10000"/>
                <a:gd name="connsiteY7" fmla="*/ 2273 h 10000"/>
                <a:gd name="connsiteX8" fmla="*/ 9012 w 10000"/>
                <a:gd name="connsiteY8" fmla="*/ 1953 h 10000"/>
                <a:gd name="connsiteX9" fmla="*/ 8691 w 10000"/>
                <a:gd name="connsiteY9" fmla="*/ 1515 h 10000"/>
                <a:gd name="connsiteX10" fmla="*/ 8553 w 10000"/>
                <a:gd name="connsiteY10" fmla="*/ 1677 h 10000"/>
                <a:gd name="connsiteX11" fmla="*/ 8253 w 10000"/>
                <a:gd name="connsiteY11" fmla="*/ 1760 h 10000"/>
                <a:gd name="connsiteX12" fmla="*/ 8279 w 10000"/>
                <a:gd name="connsiteY12" fmla="*/ 2195 h 10000"/>
                <a:gd name="connsiteX13" fmla="*/ 8369 w 10000"/>
                <a:gd name="connsiteY13" fmla="*/ 2311 h 10000"/>
                <a:gd name="connsiteX14" fmla="*/ 8302 w 10000"/>
                <a:gd name="connsiteY14" fmla="*/ 2631 h 10000"/>
                <a:gd name="connsiteX15" fmla="*/ 8117 w 10000"/>
                <a:gd name="connsiteY15" fmla="*/ 2712 h 10000"/>
                <a:gd name="connsiteX16" fmla="*/ 7933 w 10000"/>
                <a:gd name="connsiteY16" fmla="*/ 2953 h 10000"/>
                <a:gd name="connsiteX17" fmla="*/ 8095 w 10000"/>
                <a:gd name="connsiteY17" fmla="*/ 3267 h 10000"/>
                <a:gd name="connsiteX18" fmla="*/ 8072 w 10000"/>
                <a:gd name="connsiteY18" fmla="*/ 3509 h 10000"/>
                <a:gd name="connsiteX19" fmla="*/ 7727 w 10000"/>
                <a:gd name="connsiteY19" fmla="*/ 3789 h 10000"/>
                <a:gd name="connsiteX20" fmla="*/ 7566 w 10000"/>
                <a:gd name="connsiteY20" fmla="*/ 4263 h 10000"/>
                <a:gd name="connsiteX21" fmla="*/ 7153 w 10000"/>
                <a:gd name="connsiteY21" fmla="*/ 3310 h 10000"/>
                <a:gd name="connsiteX22" fmla="*/ 6992 w 10000"/>
                <a:gd name="connsiteY22" fmla="*/ 3629 h 10000"/>
                <a:gd name="connsiteX23" fmla="*/ 7221 w 10000"/>
                <a:gd name="connsiteY23" fmla="*/ 4027 h 10000"/>
                <a:gd name="connsiteX24" fmla="*/ 7038 w 10000"/>
                <a:gd name="connsiteY24" fmla="*/ 4303 h 10000"/>
                <a:gd name="connsiteX25" fmla="*/ 7083 w 10000"/>
                <a:gd name="connsiteY25" fmla="*/ 4503 h 10000"/>
                <a:gd name="connsiteX26" fmla="*/ 6717 w 10000"/>
                <a:gd name="connsiteY26" fmla="*/ 4978 h 10000"/>
                <a:gd name="connsiteX27" fmla="*/ 6327 w 10000"/>
                <a:gd name="connsiteY27" fmla="*/ 4585 h 10000"/>
                <a:gd name="connsiteX28" fmla="*/ 5272 w 10000"/>
                <a:gd name="connsiteY28" fmla="*/ 5579 h 10000"/>
                <a:gd name="connsiteX29" fmla="*/ 5179 w 10000"/>
                <a:gd name="connsiteY29" fmla="*/ 5142 h 10000"/>
                <a:gd name="connsiteX30" fmla="*/ 5041 w 10000"/>
                <a:gd name="connsiteY30" fmla="*/ 4861 h 10000"/>
                <a:gd name="connsiteX31" fmla="*/ 5087 w 10000"/>
                <a:gd name="connsiteY31" fmla="*/ 4542 h 10000"/>
                <a:gd name="connsiteX32" fmla="*/ 4948 w 10000"/>
                <a:gd name="connsiteY32" fmla="*/ 4225 h 10000"/>
                <a:gd name="connsiteX33" fmla="*/ 4742 w 10000"/>
                <a:gd name="connsiteY33" fmla="*/ 4185 h 10000"/>
                <a:gd name="connsiteX34" fmla="*/ 4788 w 10000"/>
                <a:gd name="connsiteY34" fmla="*/ 3748 h 10000"/>
                <a:gd name="connsiteX35" fmla="*/ 4626 w 10000"/>
                <a:gd name="connsiteY35" fmla="*/ 3587 h 10000"/>
                <a:gd name="connsiteX36" fmla="*/ 4466 w 10000"/>
                <a:gd name="connsiteY36" fmla="*/ 3032 h 10000"/>
                <a:gd name="connsiteX37" fmla="*/ 4259 w 10000"/>
                <a:gd name="connsiteY37" fmla="*/ 3032 h 10000"/>
                <a:gd name="connsiteX38" fmla="*/ 4054 w 10000"/>
                <a:gd name="connsiteY38" fmla="*/ 2751 h 10000"/>
                <a:gd name="connsiteX39" fmla="*/ 4054 w 10000"/>
                <a:gd name="connsiteY39" fmla="*/ 2631 h 10000"/>
                <a:gd name="connsiteX40" fmla="*/ 3869 w 10000"/>
                <a:gd name="connsiteY40" fmla="*/ 2791 h 10000"/>
                <a:gd name="connsiteX41" fmla="*/ 3640 w 10000"/>
                <a:gd name="connsiteY41" fmla="*/ 2514 h 10000"/>
                <a:gd name="connsiteX42" fmla="*/ 3755 w 10000"/>
                <a:gd name="connsiteY42" fmla="*/ 2113 h 10000"/>
                <a:gd name="connsiteX43" fmla="*/ 3570 w 10000"/>
                <a:gd name="connsiteY43" fmla="*/ 1794 h 10000"/>
                <a:gd name="connsiteX44" fmla="*/ 3711 w 10000"/>
                <a:gd name="connsiteY44" fmla="*/ 1318 h 10000"/>
                <a:gd name="connsiteX45" fmla="*/ 3250 w 10000"/>
                <a:gd name="connsiteY45" fmla="*/ 679 h 10000"/>
                <a:gd name="connsiteX46" fmla="*/ 2975 w 10000"/>
                <a:gd name="connsiteY46" fmla="*/ 879 h 10000"/>
                <a:gd name="connsiteX47" fmla="*/ 2446 w 10000"/>
                <a:gd name="connsiteY47" fmla="*/ 521 h 10000"/>
                <a:gd name="connsiteX48" fmla="*/ 2239 w 10000"/>
                <a:gd name="connsiteY48" fmla="*/ 756 h 10000"/>
                <a:gd name="connsiteX49" fmla="*/ 1734 w 10000"/>
                <a:gd name="connsiteY49" fmla="*/ 42 h 10000"/>
                <a:gd name="connsiteX50" fmla="*/ 1321 w 10000"/>
                <a:gd name="connsiteY50" fmla="*/ 1038 h 10000"/>
                <a:gd name="connsiteX51" fmla="*/ 1321 w 10000"/>
                <a:gd name="connsiteY51" fmla="*/ 1634 h 10000"/>
                <a:gd name="connsiteX52" fmla="*/ 1022 w 10000"/>
                <a:gd name="connsiteY52" fmla="*/ 1159 h 10000"/>
                <a:gd name="connsiteX53" fmla="*/ 679 w 10000"/>
                <a:gd name="connsiteY53" fmla="*/ 1953 h 10000"/>
                <a:gd name="connsiteX54" fmla="*/ 933 w 10000"/>
                <a:gd name="connsiteY54" fmla="*/ 2590 h 10000"/>
                <a:gd name="connsiteX55" fmla="*/ 471 w 10000"/>
                <a:gd name="connsiteY55" fmla="*/ 3347 h 10000"/>
                <a:gd name="connsiteX56" fmla="*/ 427 w 10000"/>
                <a:gd name="connsiteY56" fmla="*/ 3347 h 10000"/>
                <a:gd name="connsiteX57" fmla="*/ 609 w 10000"/>
                <a:gd name="connsiteY57" fmla="*/ 3789 h 10000"/>
                <a:gd name="connsiteX58" fmla="*/ 379 w 10000"/>
                <a:gd name="connsiteY58" fmla="*/ 4225 h 10000"/>
                <a:gd name="connsiteX59" fmla="*/ 539 w 10000"/>
                <a:gd name="connsiteY59" fmla="*/ 4503 h 10000"/>
                <a:gd name="connsiteX60" fmla="*/ 471 w 10000"/>
                <a:gd name="connsiteY60" fmla="*/ 4941 h 10000"/>
                <a:gd name="connsiteX61" fmla="*/ 379 w 10000"/>
                <a:gd name="connsiteY61" fmla="*/ 5184 h 10000"/>
                <a:gd name="connsiteX62" fmla="*/ 539 w 10000"/>
                <a:gd name="connsiteY62" fmla="*/ 5662 h 10000"/>
                <a:gd name="connsiteX63" fmla="*/ 266 w 10000"/>
                <a:gd name="connsiteY63" fmla="*/ 6414 h 10000"/>
                <a:gd name="connsiteX64" fmla="*/ 471 w 10000"/>
                <a:gd name="connsiteY64" fmla="*/ 6856 h 10000"/>
                <a:gd name="connsiteX65" fmla="*/ 105 w 10000"/>
                <a:gd name="connsiteY65" fmla="*/ 7609 h 10000"/>
                <a:gd name="connsiteX66" fmla="*/ 288 w 10000"/>
                <a:gd name="connsiteY66" fmla="*/ 8008 h 10000"/>
                <a:gd name="connsiteX67" fmla="*/ 12 w 10000"/>
                <a:gd name="connsiteY67" fmla="*/ 8649 h 10000"/>
                <a:gd name="connsiteX68" fmla="*/ 379 w 10000"/>
                <a:gd name="connsiteY68" fmla="*/ 8883 h 10000"/>
                <a:gd name="connsiteX69" fmla="*/ 266 w 10000"/>
                <a:gd name="connsiteY69" fmla="*/ 9404 h 10000"/>
                <a:gd name="connsiteX70" fmla="*/ 357 w 10000"/>
                <a:gd name="connsiteY70" fmla="*/ 10000 h 10000"/>
                <a:gd name="connsiteX71" fmla="*/ 982 w 10000"/>
                <a:gd name="connsiteY71" fmla="*/ 9453 h 10000"/>
                <a:gd name="connsiteX72" fmla="*/ 1342 w 10000"/>
                <a:gd name="connsiteY72" fmla="*/ 8972 h 10000"/>
                <a:gd name="connsiteX73" fmla="*/ 1775 w 10000"/>
                <a:gd name="connsiteY73" fmla="*/ 8981 h 10000"/>
                <a:gd name="connsiteX74" fmla="*/ 2239 w 10000"/>
                <a:gd name="connsiteY74" fmla="*/ 8695 h 10000"/>
                <a:gd name="connsiteX75" fmla="*/ 2810 w 10000"/>
                <a:gd name="connsiteY75" fmla="*/ 8242 h 10000"/>
                <a:gd name="connsiteX76" fmla="*/ 2997 w 10000"/>
                <a:gd name="connsiteY76" fmla="*/ 7896 h 10000"/>
                <a:gd name="connsiteX77" fmla="*/ 3386 w 10000"/>
                <a:gd name="connsiteY77" fmla="*/ 7230 h 10000"/>
                <a:gd name="connsiteX78" fmla="*/ 4023 w 10000"/>
                <a:gd name="connsiteY78" fmla="*/ 7695 h 10000"/>
                <a:gd name="connsiteX79" fmla="*/ 4296 w 10000"/>
                <a:gd name="connsiteY79" fmla="*/ 7665 h 10000"/>
                <a:gd name="connsiteX80" fmla="*/ 4241 w 10000"/>
                <a:gd name="connsiteY80" fmla="*/ 7091 h 10000"/>
                <a:gd name="connsiteX81" fmla="*/ 4282 w 10000"/>
                <a:gd name="connsiteY81" fmla="*/ 6356 h 10000"/>
                <a:gd name="connsiteX82" fmla="*/ 4895 w 10000"/>
                <a:gd name="connsiteY82" fmla="*/ 6191 h 10000"/>
                <a:gd name="connsiteX83" fmla="*/ 4809 w 10000"/>
                <a:gd name="connsiteY83" fmla="*/ 7066 h 10000"/>
                <a:gd name="connsiteX0" fmla="*/ 9494 w 10000"/>
                <a:gd name="connsiteY0" fmla="*/ 3825 h 10000"/>
                <a:gd name="connsiteX1" fmla="*/ 9793 w 10000"/>
                <a:gd name="connsiteY1" fmla="*/ 3389 h 10000"/>
                <a:gd name="connsiteX2" fmla="*/ 10000 w 10000"/>
                <a:gd name="connsiteY2" fmla="*/ 2868 h 10000"/>
                <a:gd name="connsiteX3" fmla="*/ 9678 w 10000"/>
                <a:gd name="connsiteY3" fmla="*/ 2389 h 10000"/>
                <a:gd name="connsiteX4" fmla="*/ 9265 w 10000"/>
                <a:gd name="connsiteY4" fmla="*/ 2868 h 10000"/>
                <a:gd name="connsiteX5" fmla="*/ 9059 w 10000"/>
                <a:gd name="connsiteY5" fmla="*/ 2670 h 10000"/>
                <a:gd name="connsiteX6" fmla="*/ 8875 w 10000"/>
                <a:gd name="connsiteY6" fmla="*/ 2273 h 10000"/>
                <a:gd name="connsiteX7" fmla="*/ 9012 w 10000"/>
                <a:gd name="connsiteY7" fmla="*/ 1953 h 10000"/>
                <a:gd name="connsiteX8" fmla="*/ 8691 w 10000"/>
                <a:gd name="connsiteY8" fmla="*/ 1515 h 10000"/>
                <a:gd name="connsiteX9" fmla="*/ 8553 w 10000"/>
                <a:gd name="connsiteY9" fmla="*/ 1677 h 10000"/>
                <a:gd name="connsiteX10" fmla="*/ 8253 w 10000"/>
                <a:gd name="connsiteY10" fmla="*/ 1760 h 10000"/>
                <a:gd name="connsiteX11" fmla="*/ 8279 w 10000"/>
                <a:gd name="connsiteY11" fmla="*/ 2195 h 10000"/>
                <a:gd name="connsiteX12" fmla="*/ 8369 w 10000"/>
                <a:gd name="connsiteY12" fmla="*/ 2311 h 10000"/>
                <a:gd name="connsiteX13" fmla="*/ 8302 w 10000"/>
                <a:gd name="connsiteY13" fmla="*/ 2631 h 10000"/>
                <a:gd name="connsiteX14" fmla="*/ 8117 w 10000"/>
                <a:gd name="connsiteY14" fmla="*/ 2712 h 10000"/>
                <a:gd name="connsiteX15" fmla="*/ 7933 w 10000"/>
                <a:gd name="connsiteY15" fmla="*/ 2953 h 10000"/>
                <a:gd name="connsiteX16" fmla="*/ 8095 w 10000"/>
                <a:gd name="connsiteY16" fmla="*/ 3267 h 10000"/>
                <a:gd name="connsiteX17" fmla="*/ 8072 w 10000"/>
                <a:gd name="connsiteY17" fmla="*/ 3509 h 10000"/>
                <a:gd name="connsiteX18" fmla="*/ 7727 w 10000"/>
                <a:gd name="connsiteY18" fmla="*/ 3789 h 10000"/>
                <a:gd name="connsiteX19" fmla="*/ 7566 w 10000"/>
                <a:gd name="connsiteY19" fmla="*/ 4263 h 10000"/>
                <a:gd name="connsiteX20" fmla="*/ 7153 w 10000"/>
                <a:gd name="connsiteY20" fmla="*/ 3310 h 10000"/>
                <a:gd name="connsiteX21" fmla="*/ 6992 w 10000"/>
                <a:gd name="connsiteY21" fmla="*/ 3629 h 10000"/>
                <a:gd name="connsiteX22" fmla="*/ 7221 w 10000"/>
                <a:gd name="connsiteY22" fmla="*/ 4027 h 10000"/>
                <a:gd name="connsiteX23" fmla="*/ 7038 w 10000"/>
                <a:gd name="connsiteY23" fmla="*/ 4303 h 10000"/>
                <a:gd name="connsiteX24" fmla="*/ 7083 w 10000"/>
                <a:gd name="connsiteY24" fmla="*/ 4503 h 10000"/>
                <a:gd name="connsiteX25" fmla="*/ 6717 w 10000"/>
                <a:gd name="connsiteY25" fmla="*/ 4978 h 10000"/>
                <a:gd name="connsiteX26" fmla="*/ 6327 w 10000"/>
                <a:gd name="connsiteY26" fmla="*/ 4585 h 10000"/>
                <a:gd name="connsiteX27" fmla="*/ 5272 w 10000"/>
                <a:gd name="connsiteY27" fmla="*/ 5579 h 10000"/>
                <a:gd name="connsiteX28" fmla="*/ 5179 w 10000"/>
                <a:gd name="connsiteY28" fmla="*/ 5142 h 10000"/>
                <a:gd name="connsiteX29" fmla="*/ 5041 w 10000"/>
                <a:gd name="connsiteY29" fmla="*/ 4861 h 10000"/>
                <a:gd name="connsiteX30" fmla="*/ 5087 w 10000"/>
                <a:gd name="connsiteY30" fmla="*/ 4542 h 10000"/>
                <a:gd name="connsiteX31" fmla="*/ 4948 w 10000"/>
                <a:gd name="connsiteY31" fmla="*/ 4225 h 10000"/>
                <a:gd name="connsiteX32" fmla="*/ 4742 w 10000"/>
                <a:gd name="connsiteY32" fmla="*/ 4185 h 10000"/>
                <a:gd name="connsiteX33" fmla="*/ 4788 w 10000"/>
                <a:gd name="connsiteY33" fmla="*/ 3748 h 10000"/>
                <a:gd name="connsiteX34" fmla="*/ 4626 w 10000"/>
                <a:gd name="connsiteY34" fmla="*/ 3587 h 10000"/>
                <a:gd name="connsiteX35" fmla="*/ 4466 w 10000"/>
                <a:gd name="connsiteY35" fmla="*/ 3032 h 10000"/>
                <a:gd name="connsiteX36" fmla="*/ 4259 w 10000"/>
                <a:gd name="connsiteY36" fmla="*/ 3032 h 10000"/>
                <a:gd name="connsiteX37" fmla="*/ 4054 w 10000"/>
                <a:gd name="connsiteY37" fmla="*/ 2751 h 10000"/>
                <a:gd name="connsiteX38" fmla="*/ 4054 w 10000"/>
                <a:gd name="connsiteY38" fmla="*/ 2631 h 10000"/>
                <a:gd name="connsiteX39" fmla="*/ 3869 w 10000"/>
                <a:gd name="connsiteY39" fmla="*/ 2791 h 10000"/>
                <a:gd name="connsiteX40" fmla="*/ 3640 w 10000"/>
                <a:gd name="connsiteY40" fmla="*/ 2514 h 10000"/>
                <a:gd name="connsiteX41" fmla="*/ 3755 w 10000"/>
                <a:gd name="connsiteY41" fmla="*/ 2113 h 10000"/>
                <a:gd name="connsiteX42" fmla="*/ 3570 w 10000"/>
                <a:gd name="connsiteY42" fmla="*/ 1794 h 10000"/>
                <a:gd name="connsiteX43" fmla="*/ 3711 w 10000"/>
                <a:gd name="connsiteY43" fmla="*/ 1318 h 10000"/>
                <a:gd name="connsiteX44" fmla="*/ 3250 w 10000"/>
                <a:gd name="connsiteY44" fmla="*/ 679 h 10000"/>
                <a:gd name="connsiteX45" fmla="*/ 2975 w 10000"/>
                <a:gd name="connsiteY45" fmla="*/ 879 h 10000"/>
                <a:gd name="connsiteX46" fmla="*/ 2446 w 10000"/>
                <a:gd name="connsiteY46" fmla="*/ 521 h 10000"/>
                <a:gd name="connsiteX47" fmla="*/ 2239 w 10000"/>
                <a:gd name="connsiteY47" fmla="*/ 756 h 10000"/>
                <a:gd name="connsiteX48" fmla="*/ 1734 w 10000"/>
                <a:gd name="connsiteY48" fmla="*/ 42 h 10000"/>
                <a:gd name="connsiteX49" fmla="*/ 1321 w 10000"/>
                <a:gd name="connsiteY49" fmla="*/ 1038 h 10000"/>
                <a:gd name="connsiteX50" fmla="*/ 1321 w 10000"/>
                <a:gd name="connsiteY50" fmla="*/ 1634 h 10000"/>
                <a:gd name="connsiteX51" fmla="*/ 1022 w 10000"/>
                <a:gd name="connsiteY51" fmla="*/ 1159 h 10000"/>
                <a:gd name="connsiteX52" fmla="*/ 679 w 10000"/>
                <a:gd name="connsiteY52" fmla="*/ 1953 h 10000"/>
                <a:gd name="connsiteX53" fmla="*/ 933 w 10000"/>
                <a:gd name="connsiteY53" fmla="*/ 2590 h 10000"/>
                <a:gd name="connsiteX54" fmla="*/ 471 w 10000"/>
                <a:gd name="connsiteY54" fmla="*/ 3347 h 10000"/>
                <a:gd name="connsiteX55" fmla="*/ 427 w 10000"/>
                <a:gd name="connsiteY55" fmla="*/ 3347 h 10000"/>
                <a:gd name="connsiteX56" fmla="*/ 609 w 10000"/>
                <a:gd name="connsiteY56" fmla="*/ 3789 h 10000"/>
                <a:gd name="connsiteX57" fmla="*/ 379 w 10000"/>
                <a:gd name="connsiteY57" fmla="*/ 4225 h 10000"/>
                <a:gd name="connsiteX58" fmla="*/ 539 w 10000"/>
                <a:gd name="connsiteY58" fmla="*/ 4503 h 10000"/>
                <a:gd name="connsiteX59" fmla="*/ 471 w 10000"/>
                <a:gd name="connsiteY59" fmla="*/ 4941 h 10000"/>
                <a:gd name="connsiteX60" fmla="*/ 379 w 10000"/>
                <a:gd name="connsiteY60" fmla="*/ 5184 h 10000"/>
                <a:gd name="connsiteX61" fmla="*/ 539 w 10000"/>
                <a:gd name="connsiteY61" fmla="*/ 5662 h 10000"/>
                <a:gd name="connsiteX62" fmla="*/ 266 w 10000"/>
                <a:gd name="connsiteY62" fmla="*/ 6414 h 10000"/>
                <a:gd name="connsiteX63" fmla="*/ 471 w 10000"/>
                <a:gd name="connsiteY63" fmla="*/ 6856 h 10000"/>
                <a:gd name="connsiteX64" fmla="*/ 105 w 10000"/>
                <a:gd name="connsiteY64" fmla="*/ 7609 h 10000"/>
                <a:gd name="connsiteX65" fmla="*/ 288 w 10000"/>
                <a:gd name="connsiteY65" fmla="*/ 8008 h 10000"/>
                <a:gd name="connsiteX66" fmla="*/ 12 w 10000"/>
                <a:gd name="connsiteY66" fmla="*/ 8649 h 10000"/>
                <a:gd name="connsiteX67" fmla="*/ 379 w 10000"/>
                <a:gd name="connsiteY67" fmla="*/ 8883 h 10000"/>
                <a:gd name="connsiteX68" fmla="*/ 266 w 10000"/>
                <a:gd name="connsiteY68" fmla="*/ 9404 h 10000"/>
                <a:gd name="connsiteX69" fmla="*/ 357 w 10000"/>
                <a:gd name="connsiteY69" fmla="*/ 10000 h 10000"/>
                <a:gd name="connsiteX70" fmla="*/ 982 w 10000"/>
                <a:gd name="connsiteY70" fmla="*/ 9453 h 10000"/>
                <a:gd name="connsiteX71" fmla="*/ 1342 w 10000"/>
                <a:gd name="connsiteY71" fmla="*/ 8972 h 10000"/>
                <a:gd name="connsiteX72" fmla="*/ 1775 w 10000"/>
                <a:gd name="connsiteY72" fmla="*/ 8981 h 10000"/>
                <a:gd name="connsiteX73" fmla="*/ 2239 w 10000"/>
                <a:gd name="connsiteY73" fmla="*/ 8695 h 10000"/>
                <a:gd name="connsiteX74" fmla="*/ 2810 w 10000"/>
                <a:gd name="connsiteY74" fmla="*/ 8242 h 10000"/>
                <a:gd name="connsiteX75" fmla="*/ 2997 w 10000"/>
                <a:gd name="connsiteY75" fmla="*/ 7896 h 10000"/>
                <a:gd name="connsiteX76" fmla="*/ 3386 w 10000"/>
                <a:gd name="connsiteY76" fmla="*/ 7230 h 10000"/>
                <a:gd name="connsiteX77" fmla="*/ 4023 w 10000"/>
                <a:gd name="connsiteY77" fmla="*/ 7695 h 10000"/>
                <a:gd name="connsiteX78" fmla="*/ 4296 w 10000"/>
                <a:gd name="connsiteY78" fmla="*/ 7665 h 10000"/>
                <a:gd name="connsiteX79" fmla="*/ 4241 w 10000"/>
                <a:gd name="connsiteY79" fmla="*/ 7091 h 10000"/>
                <a:gd name="connsiteX80" fmla="*/ 4282 w 10000"/>
                <a:gd name="connsiteY80" fmla="*/ 6356 h 10000"/>
                <a:gd name="connsiteX81" fmla="*/ 4895 w 10000"/>
                <a:gd name="connsiteY81" fmla="*/ 6191 h 10000"/>
                <a:gd name="connsiteX82" fmla="*/ 4809 w 10000"/>
                <a:gd name="connsiteY82" fmla="*/ 7066 h 10000"/>
                <a:gd name="connsiteX0" fmla="*/ 9793 w 10000"/>
                <a:gd name="connsiteY0" fmla="*/ 3389 h 10000"/>
                <a:gd name="connsiteX1" fmla="*/ 10000 w 10000"/>
                <a:gd name="connsiteY1" fmla="*/ 2868 h 10000"/>
                <a:gd name="connsiteX2" fmla="*/ 9678 w 10000"/>
                <a:gd name="connsiteY2" fmla="*/ 2389 h 10000"/>
                <a:gd name="connsiteX3" fmla="*/ 9265 w 10000"/>
                <a:gd name="connsiteY3" fmla="*/ 2868 h 10000"/>
                <a:gd name="connsiteX4" fmla="*/ 9059 w 10000"/>
                <a:gd name="connsiteY4" fmla="*/ 2670 h 10000"/>
                <a:gd name="connsiteX5" fmla="*/ 8875 w 10000"/>
                <a:gd name="connsiteY5" fmla="*/ 2273 h 10000"/>
                <a:gd name="connsiteX6" fmla="*/ 9012 w 10000"/>
                <a:gd name="connsiteY6" fmla="*/ 1953 h 10000"/>
                <a:gd name="connsiteX7" fmla="*/ 8691 w 10000"/>
                <a:gd name="connsiteY7" fmla="*/ 1515 h 10000"/>
                <a:gd name="connsiteX8" fmla="*/ 8553 w 10000"/>
                <a:gd name="connsiteY8" fmla="*/ 1677 h 10000"/>
                <a:gd name="connsiteX9" fmla="*/ 8253 w 10000"/>
                <a:gd name="connsiteY9" fmla="*/ 1760 h 10000"/>
                <a:gd name="connsiteX10" fmla="*/ 8279 w 10000"/>
                <a:gd name="connsiteY10" fmla="*/ 2195 h 10000"/>
                <a:gd name="connsiteX11" fmla="*/ 8369 w 10000"/>
                <a:gd name="connsiteY11" fmla="*/ 2311 h 10000"/>
                <a:gd name="connsiteX12" fmla="*/ 8302 w 10000"/>
                <a:gd name="connsiteY12" fmla="*/ 2631 h 10000"/>
                <a:gd name="connsiteX13" fmla="*/ 8117 w 10000"/>
                <a:gd name="connsiteY13" fmla="*/ 2712 h 10000"/>
                <a:gd name="connsiteX14" fmla="*/ 7933 w 10000"/>
                <a:gd name="connsiteY14" fmla="*/ 2953 h 10000"/>
                <a:gd name="connsiteX15" fmla="*/ 8095 w 10000"/>
                <a:gd name="connsiteY15" fmla="*/ 3267 h 10000"/>
                <a:gd name="connsiteX16" fmla="*/ 8072 w 10000"/>
                <a:gd name="connsiteY16" fmla="*/ 3509 h 10000"/>
                <a:gd name="connsiteX17" fmla="*/ 7727 w 10000"/>
                <a:gd name="connsiteY17" fmla="*/ 3789 h 10000"/>
                <a:gd name="connsiteX18" fmla="*/ 7566 w 10000"/>
                <a:gd name="connsiteY18" fmla="*/ 4263 h 10000"/>
                <a:gd name="connsiteX19" fmla="*/ 7153 w 10000"/>
                <a:gd name="connsiteY19" fmla="*/ 3310 h 10000"/>
                <a:gd name="connsiteX20" fmla="*/ 6992 w 10000"/>
                <a:gd name="connsiteY20" fmla="*/ 3629 h 10000"/>
                <a:gd name="connsiteX21" fmla="*/ 7221 w 10000"/>
                <a:gd name="connsiteY21" fmla="*/ 4027 h 10000"/>
                <a:gd name="connsiteX22" fmla="*/ 7038 w 10000"/>
                <a:gd name="connsiteY22" fmla="*/ 4303 h 10000"/>
                <a:gd name="connsiteX23" fmla="*/ 7083 w 10000"/>
                <a:gd name="connsiteY23" fmla="*/ 4503 h 10000"/>
                <a:gd name="connsiteX24" fmla="*/ 6717 w 10000"/>
                <a:gd name="connsiteY24" fmla="*/ 4978 h 10000"/>
                <a:gd name="connsiteX25" fmla="*/ 6327 w 10000"/>
                <a:gd name="connsiteY25" fmla="*/ 4585 h 10000"/>
                <a:gd name="connsiteX26" fmla="*/ 5272 w 10000"/>
                <a:gd name="connsiteY26" fmla="*/ 5579 h 10000"/>
                <a:gd name="connsiteX27" fmla="*/ 5179 w 10000"/>
                <a:gd name="connsiteY27" fmla="*/ 5142 h 10000"/>
                <a:gd name="connsiteX28" fmla="*/ 5041 w 10000"/>
                <a:gd name="connsiteY28" fmla="*/ 4861 h 10000"/>
                <a:gd name="connsiteX29" fmla="*/ 5087 w 10000"/>
                <a:gd name="connsiteY29" fmla="*/ 4542 h 10000"/>
                <a:gd name="connsiteX30" fmla="*/ 4948 w 10000"/>
                <a:gd name="connsiteY30" fmla="*/ 4225 h 10000"/>
                <a:gd name="connsiteX31" fmla="*/ 4742 w 10000"/>
                <a:gd name="connsiteY31" fmla="*/ 4185 h 10000"/>
                <a:gd name="connsiteX32" fmla="*/ 4788 w 10000"/>
                <a:gd name="connsiteY32" fmla="*/ 3748 h 10000"/>
                <a:gd name="connsiteX33" fmla="*/ 4626 w 10000"/>
                <a:gd name="connsiteY33" fmla="*/ 3587 h 10000"/>
                <a:gd name="connsiteX34" fmla="*/ 4466 w 10000"/>
                <a:gd name="connsiteY34" fmla="*/ 3032 h 10000"/>
                <a:gd name="connsiteX35" fmla="*/ 4259 w 10000"/>
                <a:gd name="connsiteY35" fmla="*/ 3032 h 10000"/>
                <a:gd name="connsiteX36" fmla="*/ 4054 w 10000"/>
                <a:gd name="connsiteY36" fmla="*/ 2751 h 10000"/>
                <a:gd name="connsiteX37" fmla="*/ 4054 w 10000"/>
                <a:gd name="connsiteY37" fmla="*/ 2631 h 10000"/>
                <a:gd name="connsiteX38" fmla="*/ 3869 w 10000"/>
                <a:gd name="connsiteY38" fmla="*/ 2791 h 10000"/>
                <a:gd name="connsiteX39" fmla="*/ 3640 w 10000"/>
                <a:gd name="connsiteY39" fmla="*/ 2514 h 10000"/>
                <a:gd name="connsiteX40" fmla="*/ 3755 w 10000"/>
                <a:gd name="connsiteY40" fmla="*/ 2113 h 10000"/>
                <a:gd name="connsiteX41" fmla="*/ 3570 w 10000"/>
                <a:gd name="connsiteY41" fmla="*/ 1794 h 10000"/>
                <a:gd name="connsiteX42" fmla="*/ 3711 w 10000"/>
                <a:gd name="connsiteY42" fmla="*/ 1318 h 10000"/>
                <a:gd name="connsiteX43" fmla="*/ 3250 w 10000"/>
                <a:gd name="connsiteY43" fmla="*/ 679 h 10000"/>
                <a:gd name="connsiteX44" fmla="*/ 2975 w 10000"/>
                <a:gd name="connsiteY44" fmla="*/ 879 h 10000"/>
                <a:gd name="connsiteX45" fmla="*/ 2446 w 10000"/>
                <a:gd name="connsiteY45" fmla="*/ 521 h 10000"/>
                <a:gd name="connsiteX46" fmla="*/ 2239 w 10000"/>
                <a:gd name="connsiteY46" fmla="*/ 756 h 10000"/>
                <a:gd name="connsiteX47" fmla="*/ 1734 w 10000"/>
                <a:gd name="connsiteY47" fmla="*/ 42 h 10000"/>
                <a:gd name="connsiteX48" fmla="*/ 1321 w 10000"/>
                <a:gd name="connsiteY48" fmla="*/ 1038 h 10000"/>
                <a:gd name="connsiteX49" fmla="*/ 1321 w 10000"/>
                <a:gd name="connsiteY49" fmla="*/ 1634 h 10000"/>
                <a:gd name="connsiteX50" fmla="*/ 1022 w 10000"/>
                <a:gd name="connsiteY50" fmla="*/ 1159 h 10000"/>
                <a:gd name="connsiteX51" fmla="*/ 679 w 10000"/>
                <a:gd name="connsiteY51" fmla="*/ 1953 h 10000"/>
                <a:gd name="connsiteX52" fmla="*/ 933 w 10000"/>
                <a:gd name="connsiteY52" fmla="*/ 2590 h 10000"/>
                <a:gd name="connsiteX53" fmla="*/ 471 w 10000"/>
                <a:gd name="connsiteY53" fmla="*/ 3347 h 10000"/>
                <a:gd name="connsiteX54" fmla="*/ 427 w 10000"/>
                <a:gd name="connsiteY54" fmla="*/ 3347 h 10000"/>
                <a:gd name="connsiteX55" fmla="*/ 609 w 10000"/>
                <a:gd name="connsiteY55" fmla="*/ 3789 h 10000"/>
                <a:gd name="connsiteX56" fmla="*/ 379 w 10000"/>
                <a:gd name="connsiteY56" fmla="*/ 4225 h 10000"/>
                <a:gd name="connsiteX57" fmla="*/ 539 w 10000"/>
                <a:gd name="connsiteY57" fmla="*/ 4503 h 10000"/>
                <a:gd name="connsiteX58" fmla="*/ 471 w 10000"/>
                <a:gd name="connsiteY58" fmla="*/ 4941 h 10000"/>
                <a:gd name="connsiteX59" fmla="*/ 379 w 10000"/>
                <a:gd name="connsiteY59" fmla="*/ 5184 h 10000"/>
                <a:gd name="connsiteX60" fmla="*/ 539 w 10000"/>
                <a:gd name="connsiteY60" fmla="*/ 5662 h 10000"/>
                <a:gd name="connsiteX61" fmla="*/ 266 w 10000"/>
                <a:gd name="connsiteY61" fmla="*/ 6414 h 10000"/>
                <a:gd name="connsiteX62" fmla="*/ 471 w 10000"/>
                <a:gd name="connsiteY62" fmla="*/ 6856 h 10000"/>
                <a:gd name="connsiteX63" fmla="*/ 105 w 10000"/>
                <a:gd name="connsiteY63" fmla="*/ 7609 h 10000"/>
                <a:gd name="connsiteX64" fmla="*/ 288 w 10000"/>
                <a:gd name="connsiteY64" fmla="*/ 8008 h 10000"/>
                <a:gd name="connsiteX65" fmla="*/ 12 w 10000"/>
                <a:gd name="connsiteY65" fmla="*/ 8649 h 10000"/>
                <a:gd name="connsiteX66" fmla="*/ 379 w 10000"/>
                <a:gd name="connsiteY66" fmla="*/ 8883 h 10000"/>
                <a:gd name="connsiteX67" fmla="*/ 266 w 10000"/>
                <a:gd name="connsiteY67" fmla="*/ 9404 h 10000"/>
                <a:gd name="connsiteX68" fmla="*/ 357 w 10000"/>
                <a:gd name="connsiteY68" fmla="*/ 10000 h 10000"/>
                <a:gd name="connsiteX69" fmla="*/ 982 w 10000"/>
                <a:gd name="connsiteY69" fmla="*/ 9453 h 10000"/>
                <a:gd name="connsiteX70" fmla="*/ 1342 w 10000"/>
                <a:gd name="connsiteY70" fmla="*/ 8972 h 10000"/>
                <a:gd name="connsiteX71" fmla="*/ 1775 w 10000"/>
                <a:gd name="connsiteY71" fmla="*/ 8981 h 10000"/>
                <a:gd name="connsiteX72" fmla="*/ 2239 w 10000"/>
                <a:gd name="connsiteY72" fmla="*/ 8695 h 10000"/>
                <a:gd name="connsiteX73" fmla="*/ 2810 w 10000"/>
                <a:gd name="connsiteY73" fmla="*/ 8242 h 10000"/>
                <a:gd name="connsiteX74" fmla="*/ 2997 w 10000"/>
                <a:gd name="connsiteY74" fmla="*/ 7896 h 10000"/>
                <a:gd name="connsiteX75" fmla="*/ 3386 w 10000"/>
                <a:gd name="connsiteY75" fmla="*/ 7230 h 10000"/>
                <a:gd name="connsiteX76" fmla="*/ 4023 w 10000"/>
                <a:gd name="connsiteY76" fmla="*/ 7695 h 10000"/>
                <a:gd name="connsiteX77" fmla="*/ 4296 w 10000"/>
                <a:gd name="connsiteY77" fmla="*/ 7665 h 10000"/>
                <a:gd name="connsiteX78" fmla="*/ 4241 w 10000"/>
                <a:gd name="connsiteY78" fmla="*/ 7091 h 10000"/>
                <a:gd name="connsiteX79" fmla="*/ 4282 w 10000"/>
                <a:gd name="connsiteY79" fmla="*/ 6356 h 10000"/>
                <a:gd name="connsiteX80" fmla="*/ 4895 w 10000"/>
                <a:gd name="connsiteY80" fmla="*/ 6191 h 10000"/>
                <a:gd name="connsiteX81" fmla="*/ 4809 w 10000"/>
                <a:gd name="connsiteY81" fmla="*/ 7066 h 10000"/>
                <a:gd name="connsiteX0" fmla="*/ 10000 w 10000"/>
                <a:gd name="connsiteY0" fmla="*/ 2868 h 10000"/>
                <a:gd name="connsiteX1" fmla="*/ 9678 w 10000"/>
                <a:gd name="connsiteY1" fmla="*/ 2389 h 10000"/>
                <a:gd name="connsiteX2" fmla="*/ 9265 w 10000"/>
                <a:gd name="connsiteY2" fmla="*/ 2868 h 10000"/>
                <a:gd name="connsiteX3" fmla="*/ 9059 w 10000"/>
                <a:gd name="connsiteY3" fmla="*/ 2670 h 10000"/>
                <a:gd name="connsiteX4" fmla="*/ 8875 w 10000"/>
                <a:gd name="connsiteY4" fmla="*/ 2273 h 10000"/>
                <a:gd name="connsiteX5" fmla="*/ 9012 w 10000"/>
                <a:gd name="connsiteY5" fmla="*/ 1953 h 10000"/>
                <a:gd name="connsiteX6" fmla="*/ 8691 w 10000"/>
                <a:gd name="connsiteY6" fmla="*/ 1515 h 10000"/>
                <a:gd name="connsiteX7" fmla="*/ 8553 w 10000"/>
                <a:gd name="connsiteY7" fmla="*/ 1677 h 10000"/>
                <a:gd name="connsiteX8" fmla="*/ 8253 w 10000"/>
                <a:gd name="connsiteY8" fmla="*/ 1760 h 10000"/>
                <a:gd name="connsiteX9" fmla="*/ 8279 w 10000"/>
                <a:gd name="connsiteY9" fmla="*/ 2195 h 10000"/>
                <a:gd name="connsiteX10" fmla="*/ 8369 w 10000"/>
                <a:gd name="connsiteY10" fmla="*/ 2311 h 10000"/>
                <a:gd name="connsiteX11" fmla="*/ 8302 w 10000"/>
                <a:gd name="connsiteY11" fmla="*/ 2631 h 10000"/>
                <a:gd name="connsiteX12" fmla="*/ 8117 w 10000"/>
                <a:gd name="connsiteY12" fmla="*/ 2712 h 10000"/>
                <a:gd name="connsiteX13" fmla="*/ 7933 w 10000"/>
                <a:gd name="connsiteY13" fmla="*/ 2953 h 10000"/>
                <a:gd name="connsiteX14" fmla="*/ 8095 w 10000"/>
                <a:gd name="connsiteY14" fmla="*/ 3267 h 10000"/>
                <a:gd name="connsiteX15" fmla="*/ 8072 w 10000"/>
                <a:gd name="connsiteY15" fmla="*/ 3509 h 10000"/>
                <a:gd name="connsiteX16" fmla="*/ 7727 w 10000"/>
                <a:gd name="connsiteY16" fmla="*/ 3789 h 10000"/>
                <a:gd name="connsiteX17" fmla="*/ 7566 w 10000"/>
                <a:gd name="connsiteY17" fmla="*/ 4263 h 10000"/>
                <a:gd name="connsiteX18" fmla="*/ 7153 w 10000"/>
                <a:gd name="connsiteY18" fmla="*/ 3310 h 10000"/>
                <a:gd name="connsiteX19" fmla="*/ 6992 w 10000"/>
                <a:gd name="connsiteY19" fmla="*/ 3629 h 10000"/>
                <a:gd name="connsiteX20" fmla="*/ 7221 w 10000"/>
                <a:gd name="connsiteY20" fmla="*/ 4027 h 10000"/>
                <a:gd name="connsiteX21" fmla="*/ 7038 w 10000"/>
                <a:gd name="connsiteY21" fmla="*/ 4303 h 10000"/>
                <a:gd name="connsiteX22" fmla="*/ 7083 w 10000"/>
                <a:gd name="connsiteY22" fmla="*/ 4503 h 10000"/>
                <a:gd name="connsiteX23" fmla="*/ 6717 w 10000"/>
                <a:gd name="connsiteY23" fmla="*/ 4978 h 10000"/>
                <a:gd name="connsiteX24" fmla="*/ 6327 w 10000"/>
                <a:gd name="connsiteY24" fmla="*/ 4585 h 10000"/>
                <a:gd name="connsiteX25" fmla="*/ 5272 w 10000"/>
                <a:gd name="connsiteY25" fmla="*/ 5579 h 10000"/>
                <a:gd name="connsiteX26" fmla="*/ 5179 w 10000"/>
                <a:gd name="connsiteY26" fmla="*/ 5142 h 10000"/>
                <a:gd name="connsiteX27" fmla="*/ 5041 w 10000"/>
                <a:gd name="connsiteY27" fmla="*/ 4861 h 10000"/>
                <a:gd name="connsiteX28" fmla="*/ 5087 w 10000"/>
                <a:gd name="connsiteY28" fmla="*/ 4542 h 10000"/>
                <a:gd name="connsiteX29" fmla="*/ 4948 w 10000"/>
                <a:gd name="connsiteY29" fmla="*/ 4225 h 10000"/>
                <a:gd name="connsiteX30" fmla="*/ 4742 w 10000"/>
                <a:gd name="connsiteY30" fmla="*/ 4185 h 10000"/>
                <a:gd name="connsiteX31" fmla="*/ 4788 w 10000"/>
                <a:gd name="connsiteY31" fmla="*/ 3748 h 10000"/>
                <a:gd name="connsiteX32" fmla="*/ 4626 w 10000"/>
                <a:gd name="connsiteY32" fmla="*/ 3587 h 10000"/>
                <a:gd name="connsiteX33" fmla="*/ 4466 w 10000"/>
                <a:gd name="connsiteY33" fmla="*/ 3032 h 10000"/>
                <a:gd name="connsiteX34" fmla="*/ 4259 w 10000"/>
                <a:gd name="connsiteY34" fmla="*/ 3032 h 10000"/>
                <a:gd name="connsiteX35" fmla="*/ 4054 w 10000"/>
                <a:gd name="connsiteY35" fmla="*/ 2751 h 10000"/>
                <a:gd name="connsiteX36" fmla="*/ 4054 w 10000"/>
                <a:gd name="connsiteY36" fmla="*/ 2631 h 10000"/>
                <a:gd name="connsiteX37" fmla="*/ 3869 w 10000"/>
                <a:gd name="connsiteY37" fmla="*/ 2791 h 10000"/>
                <a:gd name="connsiteX38" fmla="*/ 3640 w 10000"/>
                <a:gd name="connsiteY38" fmla="*/ 2514 h 10000"/>
                <a:gd name="connsiteX39" fmla="*/ 3755 w 10000"/>
                <a:gd name="connsiteY39" fmla="*/ 2113 h 10000"/>
                <a:gd name="connsiteX40" fmla="*/ 3570 w 10000"/>
                <a:gd name="connsiteY40" fmla="*/ 1794 h 10000"/>
                <a:gd name="connsiteX41" fmla="*/ 3711 w 10000"/>
                <a:gd name="connsiteY41" fmla="*/ 1318 h 10000"/>
                <a:gd name="connsiteX42" fmla="*/ 3250 w 10000"/>
                <a:gd name="connsiteY42" fmla="*/ 679 h 10000"/>
                <a:gd name="connsiteX43" fmla="*/ 2975 w 10000"/>
                <a:gd name="connsiteY43" fmla="*/ 879 h 10000"/>
                <a:gd name="connsiteX44" fmla="*/ 2446 w 10000"/>
                <a:gd name="connsiteY44" fmla="*/ 521 h 10000"/>
                <a:gd name="connsiteX45" fmla="*/ 2239 w 10000"/>
                <a:gd name="connsiteY45" fmla="*/ 756 h 10000"/>
                <a:gd name="connsiteX46" fmla="*/ 1734 w 10000"/>
                <a:gd name="connsiteY46" fmla="*/ 42 h 10000"/>
                <a:gd name="connsiteX47" fmla="*/ 1321 w 10000"/>
                <a:gd name="connsiteY47" fmla="*/ 1038 h 10000"/>
                <a:gd name="connsiteX48" fmla="*/ 1321 w 10000"/>
                <a:gd name="connsiteY48" fmla="*/ 1634 h 10000"/>
                <a:gd name="connsiteX49" fmla="*/ 1022 w 10000"/>
                <a:gd name="connsiteY49" fmla="*/ 1159 h 10000"/>
                <a:gd name="connsiteX50" fmla="*/ 679 w 10000"/>
                <a:gd name="connsiteY50" fmla="*/ 1953 h 10000"/>
                <a:gd name="connsiteX51" fmla="*/ 933 w 10000"/>
                <a:gd name="connsiteY51" fmla="*/ 2590 h 10000"/>
                <a:gd name="connsiteX52" fmla="*/ 471 w 10000"/>
                <a:gd name="connsiteY52" fmla="*/ 3347 h 10000"/>
                <a:gd name="connsiteX53" fmla="*/ 427 w 10000"/>
                <a:gd name="connsiteY53" fmla="*/ 3347 h 10000"/>
                <a:gd name="connsiteX54" fmla="*/ 609 w 10000"/>
                <a:gd name="connsiteY54" fmla="*/ 3789 h 10000"/>
                <a:gd name="connsiteX55" fmla="*/ 379 w 10000"/>
                <a:gd name="connsiteY55" fmla="*/ 4225 h 10000"/>
                <a:gd name="connsiteX56" fmla="*/ 539 w 10000"/>
                <a:gd name="connsiteY56" fmla="*/ 4503 h 10000"/>
                <a:gd name="connsiteX57" fmla="*/ 471 w 10000"/>
                <a:gd name="connsiteY57" fmla="*/ 4941 h 10000"/>
                <a:gd name="connsiteX58" fmla="*/ 379 w 10000"/>
                <a:gd name="connsiteY58" fmla="*/ 5184 h 10000"/>
                <a:gd name="connsiteX59" fmla="*/ 539 w 10000"/>
                <a:gd name="connsiteY59" fmla="*/ 5662 h 10000"/>
                <a:gd name="connsiteX60" fmla="*/ 266 w 10000"/>
                <a:gd name="connsiteY60" fmla="*/ 6414 h 10000"/>
                <a:gd name="connsiteX61" fmla="*/ 471 w 10000"/>
                <a:gd name="connsiteY61" fmla="*/ 6856 h 10000"/>
                <a:gd name="connsiteX62" fmla="*/ 105 w 10000"/>
                <a:gd name="connsiteY62" fmla="*/ 7609 h 10000"/>
                <a:gd name="connsiteX63" fmla="*/ 288 w 10000"/>
                <a:gd name="connsiteY63" fmla="*/ 8008 h 10000"/>
                <a:gd name="connsiteX64" fmla="*/ 12 w 10000"/>
                <a:gd name="connsiteY64" fmla="*/ 8649 h 10000"/>
                <a:gd name="connsiteX65" fmla="*/ 379 w 10000"/>
                <a:gd name="connsiteY65" fmla="*/ 8883 h 10000"/>
                <a:gd name="connsiteX66" fmla="*/ 266 w 10000"/>
                <a:gd name="connsiteY66" fmla="*/ 9404 h 10000"/>
                <a:gd name="connsiteX67" fmla="*/ 357 w 10000"/>
                <a:gd name="connsiteY67" fmla="*/ 10000 h 10000"/>
                <a:gd name="connsiteX68" fmla="*/ 982 w 10000"/>
                <a:gd name="connsiteY68" fmla="*/ 9453 h 10000"/>
                <a:gd name="connsiteX69" fmla="*/ 1342 w 10000"/>
                <a:gd name="connsiteY69" fmla="*/ 8972 h 10000"/>
                <a:gd name="connsiteX70" fmla="*/ 1775 w 10000"/>
                <a:gd name="connsiteY70" fmla="*/ 8981 h 10000"/>
                <a:gd name="connsiteX71" fmla="*/ 2239 w 10000"/>
                <a:gd name="connsiteY71" fmla="*/ 8695 h 10000"/>
                <a:gd name="connsiteX72" fmla="*/ 2810 w 10000"/>
                <a:gd name="connsiteY72" fmla="*/ 8242 h 10000"/>
                <a:gd name="connsiteX73" fmla="*/ 2997 w 10000"/>
                <a:gd name="connsiteY73" fmla="*/ 7896 h 10000"/>
                <a:gd name="connsiteX74" fmla="*/ 3386 w 10000"/>
                <a:gd name="connsiteY74" fmla="*/ 7230 h 10000"/>
                <a:gd name="connsiteX75" fmla="*/ 4023 w 10000"/>
                <a:gd name="connsiteY75" fmla="*/ 7695 h 10000"/>
                <a:gd name="connsiteX76" fmla="*/ 4296 w 10000"/>
                <a:gd name="connsiteY76" fmla="*/ 7665 h 10000"/>
                <a:gd name="connsiteX77" fmla="*/ 4241 w 10000"/>
                <a:gd name="connsiteY77" fmla="*/ 7091 h 10000"/>
                <a:gd name="connsiteX78" fmla="*/ 4282 w 10000"/>
                <a:gd name="connsiteY78" fmla="*/ 6356 h 10000"/>
                <a:gd name="connsiteX79" fmla="*/ 4895 w 10000"/>
                <a:gd name="connsiteY79" fmla="*/ 6191 h 10000"/>
                <a:gd name="connsiteX80" fmla="*/ 4809 w 10000"/>
                <a:gd name="connsiteY80" fmla="*/ 7066 h 10000"/>
                <a:gd name="connsiteX0" fmla="*/ 9678 w 9678"/>
                <a:gd name="connsiteY0" fmla="*/ 2389 h 10000"/>
                <a:gd name="connsiteX1" fmla="*/ 9265 w 9678"/>
                <a:gd name="connsiteY1" fmla="*/ 2868 h 10000"/>
                <a:gd name="connsiteX2" fmla="*/ 9059 w 9678"/>
                <a:gd name="connsiteY2" fmla="*/ 2670 h 10000"/>
                <a:gd name="connsiteX3" fmla="*/ 8875 w 9678"/>
                <a:gd name="connsiteY3" fmla="*/ 2273 h 10000"/>
                <a:gd name="connsiteX4" fmla="*/ 9012 w 9678"/>
                <a:gd name="connsiteY4" fmla="*/ 1953 h 10000"/>
                <a:gd name="connsiteX5" fmla="*/ 8691 w 9678"/>
                <a:gd name="connsiteY5" fmla="*/ 1515 h 10000"/>
                <a:gd name="connsiteX6" fmla="*/ 8553 w 9678"/>
                <a:gd name="connsiteY6" fmla="*/ 1677 h 10000"/>
                <a:gd name="connsiteX7" fmla="*/ 8253 w 9678"/>
                <a:gd name="connsiteY7" fmla="*/ 1760 h 10000"/>
                <a:gd name="connsiteX8" fmla="*/ 8279 w 9678"/>
                <a:gd name="connsiteY8" fmla="*/ 2195 h 10000"/>
                <a:gd name="connsiteX9" fmla="*/ 8369 w 9678"/>
                <a:gd name="connsiteY9" fmla="*/ 2311 h 10000"/>
                <a:gd name="connsiteX10" fmla="*/ 8302 w 9678"/>
                <a:gd name="connsiteY10" fmla="*/ 2631 h 10000"/>
                <a:gd name="connsiteX11" fmla="*/ 8117 w 9678"/>
                <a:gd name="connsiteY11" fmla="*/ 2712 h 10000"/>
                <a:gd name="connsiteX12" fmla="*/ 7933 w 9678"/>
                <a:gd name="connsiteY12" fmla="*/ 2953 h 10000"/>
                <a:gd name="connsiteX13" fmla="*/ 8095 w 9678"/>
                <a:gd name="connsiteY13" fmla="*/ 3267 h 10000"/>
                <a:gd name="connsiteX14" fmla="*/ 8072 w 9678"/>
                <a:gd name="connsiteY14" fmla="*/ 3509 h 10000"/>
                <a:gd name="connsiteX15" fmla="*/ 7727 w 9678"/>
                <a:gd name="connsiteY15" fmla="*/ 3789 h 10000"/>
                <a:gd name="connsiteX16" fmla="*/ 7566 w 9678"/>
                <a:gd name="connsiteY16" fmla="*/ 4263 h 10000"/>
                <a:gd name="connsiteX17" fmla="*/ 7153 w 9678"/>
                <a:gd name="connsiteY17" fmla="*/ 3310 h 10000"/>
                <a:gd name="connsiteX18" fmla="*/ 6992 w 9678"/>
                <a:gd name="connsiteY18" fmla="*/ 3629 h 10000"/>
                <a:gd name="connsiteX19" fmla="*/ 7221 w 9678"/>
                <a:gd name="connsiteY19" fmla="*/ 4027 h 10000"/>
                <a:gd name="connsiteX20" fmla="*/ 7038 w 9678"/>
                <a:gd name="connsiteY20" fmla="*/ 4303 h 10000"/>
                <a:gd name="connsiteX21" fmla="*/ 7083 w 9678"/>
                <a:gd name="connsiteY21" fmla="*/ 4503 h 10000"/>
                <a:gd name="connsiteX22" fmla="*/ 6717 w 9678"/>
                <a:gd name="connsiteY22" fmla="*/ 4978 h 10000"/>
                <a:gd name="connsiteX23" fmla="*/ 6327 w 9678"/>
                <a:gd name="connsiteY23" fmla="*/ 4585 h 10000"/>
                <a:gd name="connsiteX24" fmla="*/ 5272 w 9678"/>
                <a:gd name="connsiteY24" fmla="*/ 5579 h 10000"/>
                <a:gd name="connsiteX25" fmla="*/ 5179 w 9678"/>
                <a:gd name="connsiteY25" fmla="*/ 5142 h 10000"/>
                <a:gd name="connsiteX26" fmla="*/ 5041 w 9678"/>
                <a:gd name="connsiteY26" fmla="*/ 4861 h 10000"/>
                <a:gd name="connsiteX27" fmla="*/ 5087 w 9678"/>
                <a:gd name="connsiteY27" fmla="*/ 4542 h 10000"/>
                <a:gd name="connsiteX28" fmla="*/ 4948 w 9678"/>
                <a:gd name="connsiteY28" fmla="*/ 4225 h 10000"/>
                <a:gd name="connsiteX29" fmla="*/ 4742 w 9678"/>
                <a:gd name="connsiteY29" fmla="*/ 4185 h 10000"/>
                <a:gd name="connsiteX30" fmla="*/ 4788 w 9678"/>
                <a:gd name="connsiteY30" fmla="*/ 3748 h 10000"/>
                <a:gd name="connsiteX31" fmla="*/ 4626 w 9678"/>
                <a:gd name="connsiteY31" fmla="*/ 3587 h 10000"/>
                <a:gd name="connsiteX32" fmla="*/ 4466 w 9678"/>
                <a:gd name="connsiteY32" fmla="*/ 3032 h 10000"/>
                <a:gd name="connsiteX33" fmla="*/ 4259 w 9678"/>
                <a:gd name="connsiteY33" fmla="*/ 3032 h 10000"/>
                <a:gd name="connsiteX34" fmla="*/ 4054 w 9678"/>
                <a:gd name="connsiteY34" fmla="*/ 2751 h 10000"/>
                <a:gd name="connsiteX35" fmla="*/ 4054 w 9678"/>
                <a:gd name="connsiteY35" fmla="*/ 2631 h 10000"/>
                <a:gd name="connsiteX36" fmla="*/ 3869 w 9678"/>
                <a:gd name="connsiteY36" fmla="*/ 2791 h 10000"/>
                <a:gd name="connsiteX37" fmla="*/ 3640 w 9678"/>
                <a:gd name="connsiteY37" fmla="*/ 2514 h 10000"/>
                <a:gd name="connsiteX38" fmla="*/ 3755 w 9678"/>
                <a:gd name="connsiteY38" fmla="*/ 2113 h 10000"/>
                <a:gd name="connsiteX39" fmla="*/ 3570 w 9678"/>
                <a:gd name="connsiteY39" fmla="*/ 1794 h 10000"/>
                <a:gd name="connsiteX40" fmla="*/ 3711 w 9678"/>
                <a:gd name="connsiteY40" fmla="*/ 1318 h 10000"/>
                <a:gd name="connsiteX41" fmla="*/ 3250 w 9678"/>
                <a:gd name="connsiteY41" fmla="*/ 679 h 10000"/>
                <a:gd name="connsiteX42" fmla="*/ 2975 w 9678"/>
                <a:gd name="connsiteY42" fmla="*/ 879 h 10000"/>
                <a:gd name="connsiteX43" fmla="*/ 2446 w 9678"/>
                <a:gd name="connsiteY43" fmla="*/ 521 h 10000"/>
                <a:gd name="connsiteX44" fmla="*/ 2239 w 9678"/>
                <a:gd name="connsiteY44" fmla="*/ 756 h 10000"/>
                <a:gd name="connsiteX45" fmla="*/ 1734 w 9678"/>
                <a:gd name="connsiteY45" fmla="*/ 42 h 10000"/>
                <a:gd name="connsiteX46" fmla="*/ 1321 w 9678"/>
                <a:gd name="connsiteY46" fmla="*/ 1038 h 10000"/>
                <a:gd name="connsiteX47" fmla="*/ 1321 w 9678"/>
                <a:gd name="connsiteY47" fmla="*/ 1634 h 10000"/>
                <a:gd name="connsiteX48" fmla="*/ 1022 w 9678"/>
                <a:gd name="connsiteY48" fmla="*/ 1159 h 10000"/>
                <a:gd name="connsiteX49" fmla="*/ 679 w 9678"/>
                <a:gd name="connsiteY49" fmla="*/ 1953 h 10000"/>
                <a:gd name="connsiteX50" fmla="*/ 933 w 9678"/>
                <a:gd name="connsiteY50" fmla="*/ 2590 h 10000"/>
                <a:gd name="connsiteX51" fmla="*/ 471 w 9678"/>
                <a:gd name="connsiteY51" fmla="*/ 3347 h 10000"/>
                <a:gd name="connsiteX52" fmla="*/ 427 w 9678"/>
                <a:gd name="connsiteY52" fmla="*/ 3347 h 10000"/>
                <a:gd name="connsiteX53" fmla="*/ 609 w 9678"/>
                <a:gd name="connsiteY53" fmla="*/ 3789 h 10000"/>
                <a:gd name="connsiteX54" fmla="*/ 379 w 9678"/>
                <a:gd name="connsiteY54" fmla="*/ 4225 h 10000"/>
                <a:gd name="connsiteX55" fmla="*/ 539 w 9678"/>
                <a:gd name="connsiteY55" fmla="*/ 4503 h 10000"/>
                <a:gd name="connsiteX56" fmla="*/ 471 w 9678"/>
                <a:gd name="connsiteY56" fmla="*/ 4941 h 10000"/>
                <a:gd name="connsiteX57" fmla="*/ 379 w 9678"/>
                <a:gd name="connsiteY57" fmla="*/ 5184 h 10000"/>
                <a:gd name="connsiteX58" fmla="*/ 539 w 9678"/>
                <a:gd name="connsiteY58" fmla="*/ 5662 h 10000"/>
                <a:gd name="connsiteX59" fmla="*/ 266 w 9678"/>
                <a:gd name="connsiteY59" fmla="*/ 6414 h 10000"/>
                <a:gd name="connsiteX60" fmla="*/ 471 w 9678"/>
                <a:gd name="connsiteY60" fmla="*/ 6856 h 10000"/>
                <a:gd name="connsiteX61" fmla="*/ 105 w 9678"/>
                <a:gd name="connsiteY61" fmla="*/ 7609 h 10000"/>
                <a:gd name="connsiteX62" fmla="*/ 288 w 9678"/>
                <a:gd name="connsiteY62" fmla="*/ 8008 h 10000"/>
                <a:gd name="connsiteX63" fmla="*/ 12 w 9678"/>
                <a:gd name="connsiteY63" fmla="*/ 8649 h 10000"/>
                <a:gd name="connsiteX64" fmla="*/ 379 w 9678"/>
                <a:gd name="connsiteY64" fmla="*/ 8883 h 10000"/>
                <a:gd name="connsiteX65" fmla="*/ 266 w 9678"/>
                <a:gd name="connsiteY65" fmla="*/ 9404 h 10000"/>
                <a:gd name="connsiteX66" fmla="*/ 357 w 9678"/>
                <a:gd name="connsiteY66" fmla="*/ 10000 h 10000"/>
                <a:gd name="connsiteX67" fmla="*/ 982 w 9678"/>
                <a:gd name="connsiteY67" fmla="*/ 9453 h 10000"/>
                <a:gd name="connsiteX68" fmla="*/ 1342 w 9678"/>
                <a:gd name="connsiteY68" fmla="*/ 8972 h 10000"/>
                <a:gd name="connsiteX69" fmla="*/ 1775 w 9678"/>
                <a:gd name="connsiteY69" fmla="*/ 8981 h 10000"/>
                <a:gd name="connsiteX70" fmla="*/ 2239 w 9678"/>
                <a:gd name="connsiteY70" fmla="*/ 8695 h 10000"/>
                <a:gd name="connsiteX71" fmla="*/ 2810 w 9678"/>
                <a:gd name="connsiteY71" fmla="*/ 8242 h 10000"/>
                <a:gd name="connsiteX72" fmla="*/ 2997 w 9678"/>
                <a:gd name="connsiteY72" fmla="*/ 7896 h 10000"/>
                <a:gd name="connsiteX73" fmla="*/ 3386 w 9678"/>
                <a:gd name="connsiteY73" fmla="*/ 7230 h 10000"/>
                <a:gd name="connsiteX74" fmla="*/ 4023 w 9678"/>
                <a:gd name="connsiteY74" fmla="*/ 7695 h 10000"/>
                <a:gd name="connsiteX75" fmla="*/ 4296 w 9678"/>
                <a:gd name="connsiteY75" fmla="*/ 7665 h 10000"/>
                <a:gd name="connsiteX76" fmla="*/ 4241 w 9678"/>
                <a:gd name="connsiteY76" fmla="*/ 7091 h 10000"/>
                <a:gd name="connsiteX77" fmla="*/ 4282 w 9678"/>
                <a:gd name="connsiteY77" fmla="*/ 6356 h 10000"/>
                <a:gd name="connsiteX78" fmla="*/ 4895 w 9678"/>
                <a:gd name="connsiteY78" fmla="*/ 6191 h 10000"/>
                <a:gd name="connsiteX79" fmla="*/ 4809 w 9678"/>
                <a:gd name="connsiteY79" fmla="*/ 7066 h 10000"/>
                <a:gd name="connsiteX0" fmla="*/ 9573 w 9573"/>
                <a:gd name="connsiteY0" fmla="*/ 2868 h 10000"/>
                <a:gd name="connsiteX1" fmla="*/ 9360 w 9573"/>
                <a:gd name="connsiteY1" fmla="*/ 2670 h 10000"/>
                <a:gd name="connsiteX2" fmla="*/ 9170 w 9573"/>
                <a:gd name="connsiteY2" fmla="*/ 2273 h 10000"/>
                <a:gd name="connsiteX3" fmla="*/ 9312 w 9573"/>
                <a:gd name="connsiteY3" fmla="*/ 1953 h 10000"/>
                <a:gd name="connsiteX4" fmla="*/ 8980 w 9573"/>
                <a:gd name="connsiteY4" fmla="*/ 1515 h 10000"/>
                <a:gd name="connsiteX5" fmla="*/ 8838 w 9573"/>
                <a:gd name="connsiteY5" fmla="*/ 1677 h 10000"/>
                <a:gd name="connsiteX6" fmla="*/ 8528 w 9573"/>
                <a:gd name="connsiteY6" fmla="*/ 1760 h 10000"/>
                <a:gd name="connsiteX7" fmla="*/ 8554 w 9573"/>
                <a:gd name="connsiteY7" fmla="*/ 2195 h 10000"/>
                <a:gd name="connsiteX8" fmla="*/ 8647 w 9573"/>
                <a:gd name="connsiteY8" fmla="*/ 2311 h 10000"/>
                <a:gd name="connsiteX9" fmla="*/ 8578 w 9573"/>
                <a:gd name="connsiteY9" fmla="*/ 2631 h 10000"/>
                <a:gd name="connsiteX10" fmla="*/ 8387 w 9573"/>
                <a:gd name="connsiteY10" fmla="*/ 2712 h 10000"/>
                <a:gd name="connsiteX11" fmla="*/ 8197 w 9573"/>
                <a:gd name="connsiteY11" fmla="*/ 2953 h 10000"/>
                <a:gd name="connsiteX12" fmla="*/ 8364 w 9573"/>
                <a:gd name="connsiteY12" fmla="*/ 3267 h 10000"/>
                <a:gd name="connsiteX13" fmla="*/ 8341 w 9573"/>
                <a:gd name="connsiteY13" fmla="*/ 3509 h 10000"/>
                <a:gd name="connsiteX14" fmla="*/ 7984 w 9573"/>
                <a:gd name="connsiteY14" fmla="*/ 3789 h 10000"/>
                <a:gd name="connsiteX15" fmla="*/ 7818 w 9573"/>
                <a:gd name="connsiteY15" fmla="*/ 4263 h 10000"/>
                <a:gd name="connsiteX16" fmla="*/ 7391 w 9573"/>
                <a:gd name="connsiteY16" fmla="*/ 3310 h 10000"/>
                <a:gd name="connsiteX17" fmla="*/ 7225 w 9573"/>
                <a:gd name="connsiteY17" fmla="*/ 3629 h 10000"/>
                <a:gd name="connsiteX18" fmla="*/ 7461 w 9573"/>
                <a:gd name="connsiteY18" fmla="*/ 4027 h 10000"/>
                <a:gd name="connsiteX19" fmla="*/ 7272 w 9573"/>
                <a:gd name="connsiteY19" fmla="*/ 4303 h 10000"/>
                <a:gd name="connsiteX20" fmla="*/ 7319 w 9573"/>
                <a:gd name="connsiteY20" fmla="*/ 4503 h 10000"/>
                <a:gd name="connsiteX21" fmla="*/ 6940 w 9573"/>
                <a:gd name="connsiteY21" fmla="*/ 4978 h 10000"/>
                <a:gd name="connsiteX22" fmla="*/ 6538 w 9573"/>
                <a:gd name="connsiteY22" fmla="*/ 4585 h 10000"/>
                <a:gd name="connsiteX23" fmla="*/ 5447 w 9573"/>
                <a:gd name="connsiteY23" fmla="*/ 5579 h 10000"/>
                <a:gd name="connsiteX24" fmla="*/ 5351 w 9573"/>
                <a:gd name="connsiteY24" fmla="*/ 5142 h 10000"/>
                <a:gd name="connsiteX25" fmla="*/ 5209 w 9573"/>
                <a:gd name="connsiteY25" fmla="*/ 4861 h 10000"/>
                <a:gd name="connsiteX26" fmla="*/ 5256 w 9573"/>
                <a:gd name="connsiteY26" fmla="*/ 4542 h 10000"/>
                <a:gd name="connsiteX27" fmla="*/ 5113 w 9573"/>
                <a:gd name="connsiteY27" fmla="*/ 4225 h 10000"/>
                <a:gd name="connsiteX28" fmla="*/ 4900 w 9573"/>
                <a:gd name="connsiteY28" fmla="*/ 4185 h 10000"/>
                <a:gd name="connsiteX29" fmla="*/ 4947 w 9573"/>
                <a:gd name="connsiteY29" fmla="*/ 3748 h 10000"/>
                <a:gd name="connsiteX30" fmla="*/ 4780 w 9573"/>
                <a:gd name="connsiteY30" fmla="*/ 3587 h 10000"/>
                <a:gd name="connsiteX31" fmla="*/ 4615 w 9573"/>
                <a:gd name="connsiteY31" fmla="*/ 3032 h 10000"/>
                <a:gd name="connsiteX32" fmla="*/ 4401 w 9573"/>
                <a:gd name="connsiteY32" fmla="*/ 3032 h 10000"/>
                <a:gd name="connsiteX33" fmla="*/ 4189 w 9573"/>
                <a:gd name="connsiteY33" fmla="*/ 2751 h 10000"/>
                <a:gd name="connsiteX34" fmla="*/ 4189 w 9573"/>
                <a:gd name="connsiteY34" fmla="*/ 2631 h 10000"/>
                <a:gd name="connsiteX35" fmla="*/ 3998 w 9573"/>
                <a:gd name="connsiteY35" fmla="*/ 2791 h 10000"/>
                <a:gd name="connsiteX36" fmla="*/ 3761 w 9573"/>
                <a:gd name="connsiteY36" fmla="*/ 2514 h 10000"/>
                <a:gd name="connsiteX37" fmla="*/ 3880 w 9573"/>
                <a:gd name="connsiteY37" fmla="*/ 2113 h 10000"/>
                <a:gd name="connsiteX38" fmla="*/ 3689 w 9573"/>
                <a:gd name="connsiteY38" fmla="*/ 1794 h 10000"/>
                <a:gd name="connsiteX39" fmla="*/ 3834 w 9573"/>
                <a:gd name="connsiteY39" fmla="*/ 1318 h 10000"/>
                <a:gd name="connsiteX40" fmla="*/ 3358 w 9573"/>
                <a:gd name="connsiteY40" fmla="*/ 679 h 10000"/>
                <a:gd name="connsiteX41" fmla="*/ 3074 w 9573"/>
                <a:gd name="connsiteY41" fmla="*/ 879 h 10000"/>
                <a:gd name="connsiteX42" fmla="*/ 2527 w 9573"/>
                <a:gd name="connsiteY42" fmla="*/ 521 h 10000"/>
                <a:gd name="connsiteX43" fmla="*/ 2313 w 9573"/>
                <a:gd name="connsiteY43" fmla="*/ 756 h 10000"/>
                <a:gd name="connsiteX44" fmla="*/ 1792 w 9573"/>
                <a:gd name="connsiteY44" fmla="*/ 42 h 10000"/>
                <a:gd name="connsiteX45" fmla="*/ 1365 w 9573"/>
                <a:gd name="connsiteY45" fmla="*/ 1038 h 10000"/>
                <a:gd name="connsiteX46" fmla="*/ 1365 w 9573"/>
                <a:gd name="connsiteY46" fmla="*/ 1634 h 10000"/>
                <a:gd name="connsiteX47" fmla="*/ 1056 w 9573"/>
                <a:gd name="connsiteY47" fmla="*/ 1159 h 10000"/>
                <a:gd name="connsiteX48" fmla="*/ 702 w 9573"/>
                <a:gd name="connsiteY48" fmla="*/ 1953 h 10000"/>
                <a:gd name="connsiteX49" fmla="*/ 964 w 9573"/>
                <a:gd name="connsiteY49" fmla="*/ 2590 h 10000"/>
                <a:gd name="connsiteX50" fmla="*/ 487 w 9573"/>
                <a:gd name="connsiteY50" fmla="*/ 3347 h 10000"/>
                <a:gd name="connsiteX51" fmla="*/ 441 w 9573"/>
                <a:gd name="connsiteY51" fmla="*/ 3347 h 10000"/>
                <a:gd name="connsiteX52" fmla="*/ 629 w 9573"/>
                <a:gd name="connsiteY52" fmla="*/ 3789 h 10000"/>
                <a:gd name="connsiteX53" fmla="*/ 392 w 9573"/>
                <a:gd name="connsiteY53" fmla="*/ 4225 h 10000"/>
                <a:gd name="connsiteX54" fmla="*/ 557 w 9573"/>
                <a:gd name="connsiteY54" fmla="*/ 4503 h 10000"/>
                <a:gd name="connsiteX55" fmla="*/ 487 w 9573"/>
                <a:gd name="connsiteY55" fmla="*/ 4941 h 10000"/>
                <a:gd name="connsiteX56" fmla="*/ 392 w 9573"/>
                <a:gd name="connsiteY56" fmla="*/ 5184 h 10000"/>
                <a:gd name="connsiteX57" fmla="*/ 557 w 9573"/>
                <a:gd name="connsiteY57" fmla="*/ 5662 h 10000"/>
                <a:gd name="connsiteX58" fmla="*/ 275 w 9573"/>
                <a:gd name="connsiteY58" fmla="*/ 6414 h 10000"/>
                <a:gd name="connsiteX59" fmla="*/ 487 w 9573"/>
                <a:gd name="connsiteY59" fmla="*/ 6856 h 10000"/>
                <a:gd name="connsiteX60" fmla="*/ 108 w 9573"/>
                <a:gd name="connsiteY60" fmla="*/ 7609 h 10000"/>
                <a:gd name="connsiteX61" fmla="*/ 298 w 9573"/>
                <a:gd name="connsiteY61" fmla="*/ 8008 h 10000"/>
                <a:gd name="connsiteX62" fmla="*/ 12 w 9573"/>
                <a:gd name="connsiteY62" fmla="*/ 8649 h 10000"/>
                <a:gd name="connsiteX63" fmla="*/ 392 w 9573"/>
                <a:gd name="connsiteY63" fmla="*/ 8883 h 10000"/>
                <a:gd name="connsiteX64" fmla="*/ 275 w 9573"/>
                <a:gd name="connsiteY64" fmla="*/ 9404 h 10000"/>
                <a:gd name="connsiteX65" fmla="*/ 369 w 9573"/>
                <a:gd name="connsiteY65" fmla="*/ 10000 h 10000"/>
                <a:gd name="connsiteX66" fmla="*/ 1015 w 9573"/>
                <a:gd name="connsiteY66" fmla="*/ 9453 h 10000"/>
                <a:gd name="connsiteX67" fmla="*/ 1387 w 9573"/>
                <a:gd name="connsiteY67" fmla="*/ 8972 h 10000"/>
                <a:gd name="connsiteX68" fmla="*/ 1834 w 9573"/>
                <a:gd name="connsiteY68" fmla="*/ 8981 h 10000"/>
                <a:gd name="connsiteX69" fmla="*/ 2313 w 9573"/>
                <a:gd name="connsiteY69" fmla="*/ 8695 h 10000"/>
                <a:gd name="connsiteX70" fmla="*/ 2903 w 9573"/>
                <a:gd name="connsiteY70" fmla="*/ 8242 h 10000"/>
                <a:gd name="connsiteX71" fmla="*/ 3097 w 9573"/>
                <a:gd name="connsiteY71" fmla="*/ 7896 h 10000"/>
                <a:gd name="connsiteX72" fmla="*/ 3499 w 9573"/>
                <a:gd name="connsiteY72" fmla="*/ 7230 h 10000"/>
                <a:gd name="connsiteX73" fmla="*/ 4157 w 9573"/>
                <a:gd name="connsiteY73" fmla="*/ 7695 h 10000"/>
                <a:gd name="connsiteX74" fmla="*/ 4439 w 9573"/>
                <a:gd name="connsiteY74" fmla="*/ 7665 h 10000"/>
                <a:gd name="connsiteX75" fmla="*/ 4382 w 9573"/>
                <a:gd name="connsiteY75" fmla="*/ 7091 h 10000"/>
                <a:gd name="connsiteX76" fmla="*/ 4424 w 9573"/>
                <a:gd name="connsiteY76" fmla="*/ 6356 h 10000"/>
                <a:gd name="connsiteX77" fmla="*/ 5058 w 9573"/>
                <a:gd name="connsiteY77" fmla="*/ 6191 h 10000"/>
                <a:gd name="connsiteX78" fmla="*/ 4969 w 9573"/>
                <a:gd name="connsiteY78" fmla="*/ 7066 h 10000"/>
                <a:gd name="connsiteX0" fmla="*/ 9777 w 9777"/>
                <a:gd name="connsiteY0" fmla="*/ 2670 h 10000"/>
                <a:gd name="connsiteX1" fmla="*/ 9579 w 9777"/>
                <a:gd name="connsiteY1" fmla="*/ 2273 h 10000"/>
                <a:gd name="connsiteX2" fmla="*/ 9727 w 9777"/>
                <a:gd name="connsiteY2" fmla="*/ 1953 h 10000"/>
                <a:gd name="connsiteX3" fmla="*/ 9381 w 9777"/>
                <a:gd name="connsiteY3" fmla="*/ 1515 h 10000"/>
                <a:gd name="connsiteX4" fmla="*/ 9232 w 9777"/>
                <a:gd name="connsiteY4" fmla="*/ 1677 h 10000"/>
                <a:gd name="connsiteX5" fmla="*/ 8908 w 9777"/>
                <a:gd name="connsiteY5" fmla="*/ 1760 h 10000"/>
                <a:gd name="connsiteX6" fmla="*/ 8936 w 9777"/>
                <a:gd name="connsiteY6" fmla="*/ 2195 h 10000"/>
                <a:gd name="connsiteX7" fmla="*/ 9033 w 9777"/>
                <a:gd name="connsiteY7" fmla="*/ 2311 h 10000"/>
                <a:gd name="connsiteX8" fmla="*/ 8961 w 9777"/>
                <a:gd name="connsiteY8" fmla="*/ 2631 h 10000"/>
                <a:gd name="connsiteX9" fmla="*/ 8761 w 9777"/>
                <a:gd name="connsiteY9" fmla="*/ 2712 h 10000"/>
                <a:gd name="connsiteX10" fmla="*/ 8563 w 9777"/>
                <a:gd name="connsiteY10" fmla="*/ 2953 h 10000"/>
                <a:gd name="connsiteX11" fmla="*/ 8737 w 9777"/>
                <a:gd name="connsiteY11" fmla="*/ 3267 h 10000"/>
                <a:gd name="connsiteX12" fmla="*/ 8713 w 9777"/>
                <a:gd name="connsiteY12" fmla="*/ 3509 h 10000"/>
                <a:gd name="connsiteX13" fmla="*/ 8340 w 9777"/>
                <a:gd name="connsiteY13" fmla="*/ 3789 h 10000"/>
                <a:gd name="connsiteX14" fmla="*/ 8167 w 9777"/>
                <a:gd name="connsiteY14" fmla="*/ 4263 h 10000"/>
                <a:gd name="connsiteX15" fmla="*/ 7721 w 9777"/>
                <a:gd name="connsiteY15" fmla="*/ 3310 h 10000"/>
                <a:gd name="connsiteX16" fmla="*/ 7547 w 9777"/>
                <a:gd name="connsiteY16" fmla="*/ 3629 h 10000"/>
                <a:gd name="connsiteX17" fmla="*/ 7794 w 9777"/>
                <a:gd name="connsiteY17" fmla="*/ 4027 h 10000"/>
                <a:gd name="connsiteX18" fmla="*/ 7596 w 9777"/>
                <a:gd name="connsiteY18" fmla="*/ 4303 h 10000"/>
                <a:gd name="connsiteX19" fmla="*/ 7645 w 9777"/>
                <a:gd name="connsiteY19" fmla="*/ 4503 h 10000"/>
                <a:gd name="connsiteX20" fmla="*/ 7250 w 9777"/>
                <a:gd name="connsiteY20" fmla="*/ 4978 h 10000"/>
                <a:gd name="connsiteX21" fmla="*/ 6830 w 9777"/>
                <a:gd name="connsiteY21" fmla="*/ 4585 h 10000"/>
                <a:gd name="connsiteX22" fmla="*/ 5690 w 9777"/>
                <a:gd name="connsiteY22" fmla="*/ 5579 h 10000"/>
                <a:gd name="connsiteX23" fmla="*/ 5590 w 9777"/>
                <a:gd name="connsiteY23" fmla="*/ 5142 h 10000"/>
                <a:gd name="connsiteX24" fmla="*/ 5441 w 9777"/>
                <a:gd name="connsiteY24" fmla="*/ 4861 h 10000"/>
                <a:gd name="connsiteX25" fmla="*/ 5490 w 9777"/>
                <a:gd name="connsiteY25" fmla="*/ 4542 h 10000"/>
                <a:gd name="connsiteX26" fmla="*/ 5341 w 9777"/>
                <a:gd name="connsiteY26" fmla="*/ 4225 h 10000"/>
                <a:gd name="connsiteX27" fmla="*/ 5119 w 9777"/>
                <a:gd name="connsiteY27" fmla="*/ 4185 h 10000"/>
                <a:gd name="connsiteX28" fmla="*/ 5168 w 9777"/>
                <a:gd name="connsiteY28" fmla="*/ 3748 h 10000"/>
                <a:gd name="connsiteX29" fmla="*/ 4993 w 9777"/>
                <a:gd name="connsiteY29" fmla="*/ 3587 h 10000"/>
                <a:gd name="connsiteX30" fmla="*/ 4821 w 9777"/>
                <a:gd name="connsiteY30" fmla="*/ 3032 h 10000"/>
                <a:gd name="connsiteX31" fmla="*/ 4597 w 9777"/>
                <a:gd name="connsiteY31" fmla="*/ 3032 h 10000"/>
                <a:gd name="connsiteX32" fmla="*/ 4376 w 9777"/>
                <a:gd name="connsiteY32" fmla="*/ 2751 h 10000"/>
                <a:gd name="connsiteX33" fmla="*/ 4376 w 9777"/>
                <a:gd name="connsiteY33" fmla="*/ 2631 h 10000"/>
                <a:gd name="connsiteX34" fmla="*/ 4176 w 9777"/>
                <a:gd name="connsiteY34" fmla="*/ 2791 h 10000"/>
                <a:gd name="connsiteX35" fmla="*/ 3929 w 9777"/>
                <a:gd name="connsiteY35" fmla="*/ 2514 h 10000"/>
                <a:gd name="connsiteX36" fmla="*/ 4053 w 9777"/>
                <a:gd name="connsiteY36" fmla="*/ 2113 h 10000"/>
                <a:gd name="connsiteX37" fmla="*/ 3854 w 9777"/>
                <a:gd name="connsiteY37" fmla="*/ 1794 h 10000"/>
                <a:gd name="connsiteX38" fmla="*/ 4005 w 9777"/>
                <a:gd name="connsiteY38" fmla="*/ 1318 h 10000"/>
                <a:gd name="connsiteX39" fmla="*/ 3508 w 9777"/>
                <a:gd name="connsiteY39" fmla="*/ 679 h 10000"/>
                <a:gd name="connsiteX40" fmla="*/ 3211 w 9777"/>
                <a:gd name="connsiteY40" fmla="*/ 879 h 10000"/>
                <a:gd name="connsiteX41" fmla="*/ 2640 w 9777"/>
                <a:gd name="connsiteY41" fmla="*/ 521 h 10000"/>
                <a:gd name="connsiteX42" fmla="*/ 2416 w 9777"/>
                <a:gd name="connsiteY42" fmla="*/ 756 h 10000"/>
                <a:gd name="connsiteX43" fmla="*/ 1872 w 9777"/>
                <a:gd name="connsiteY43" fmla="*/ 42 h 10000"/>
                <a:gd name="connsiteX44" fmla="*/ 1426 w 9777"/>
                <a:gd name="connsiteY44" fmla="*/ 1038 h 10000"/>
                <a:gd name="connsiteX45" fmla="*/ 1426 w 9777"/>
                <a:gd name="connsiteY45" fmla="*/ 1634 h 10000"/>
                <a:gd name="connsiteX46" fmla="*/ 1103 w 9777"/>
                <a:gd name="connsiteY46" fmla="*/ 1159 h 10000"/>
                <a:gd name="connsiteX47" fmla="*/ 733 w 9777"/>
                <a:gd name="connsiteY47" fmla="*/ 1953 h 10000"/>
                <a:gd name="connsiteX48" fmla="*/ 1007 w 9777"/>
                <a:gd name="connsiteY48" fmla="*/ 2590 h 10000"/>
                <a:gd name="connsiteX49" fmla="*/ 509 w 9777"/>
                <a:gd name="connsiteY49" fmla="*/ 3347 h 10000"/>
                <a:gd name="connsiteX50" fmla="*/ 461 w 9777"/>
                <a:gd name="connsiteY50" fmla="*/ 3347 h 10000"/>
                <a:gd name="connsiteX51" fmla="*/ 657 w 9777"/>
                <a:gd name="connsiteY51" fmla="*/ 3789 h 10000"/>
                <a:gd name="connsiteX52" fmla="*/ 409 w 9777"/>
                <a:gd name="connsiteY52" fmla="*/ 4225 h 10000"/>
                <a:gd name="connsiteX53" fmla="*/ 582 w 9777"/>
                <a:gd name="connsiteY53" fmla="*/ 4503 h 10000"/>
                <a:gd name="connsiteX54" fmla="*/ 509 w 9777"/>
                <a:gd name="connsiteY54" fmla="*/ 4941 h 10000"/>
                <a:gd name="connsiteX55" fmla="*/ 409 w 9777"/>
                <a:gd name="connsiteY55" fmla="*/ 5184 h 10000"/>
                <a:gd name="connsiteX56" fmla="*/ 582 w 9777"/>
                <a:gd name="connsiteY56" fmla="*/ 5662 h 10000"/>
                <a:gd name="connsiteX57" fmla="*/ 287 w 9777"/>
                <a:gd name="connsiteY57" fmla="*/ 6414 h 10000"/>
                <a:gd name="connsiteX58" fmla="*/ 509 w 9777"/>
                <a:gd name="connsiteY58" fmla="*/ 6856 h 10000"/>
                <a:gd name="connsiteX59" fmla="*/ 113 w 9777"/>
                <a:gd name="connsiteY59" fmla="*/ 7609 h 10000"/>
                <a:gd name="connsiteX60" fmla="*/ 311 w 9777"/>
                <a:gd name="connsiteY60" fmla="*/ 8008 h 10000"/>
                <a:gd name="connsiteX61" fmla="*/ 13 w 9777"/>
                <a:gd name="connsiteY61" fmla="*/ 8649 h 10000"/>
                <a:gd name="connsiteX62" fmla="*/ 409 w 9777"/>
                <a:gd name="connsiteY62" fmla="*/ 8883 h 10000"/>
                <a:gd name="connsiteX63" fmla="*/ 287 w 9777"/>
                <a:gd name="connsiteY63" fmla="*/ 9404 h 10000"/>
                <a:gd name="connsiteX64" fmla="*/ 385 w 9777"/>
                <a:gd name="connsiteY64" fmla="*/ 10000 h 10000"/>
                <a:gd name="connsiteX65" fmla="*/ 1060 w 9777"/>
                <a:gd name="connsiteY65" fmla="*/ 9453 h 10000"/>
                <a:gd name="connsiteX66" fmla="*/ 1449 w 9777"/>
                <a:gd name="connsiteY66" fmla="*/ 8972 h 10000"/>
                <a:gd name="connsiteX67" fmla="*/ 1916 w 9777"/>
                <a:gd name="connsiteY67" fmla="*/ 8981 h 10000"/>
                <a:gd name="connsiteX68" fmla="*/ 2416 w 9777"/>
                <a:gd name="connsiteY68" fmla="*/ 8695 h 10000"/>
                <a:gd name="connsiteX69" fmla="*/ 3032 w 9777"/>
                <a:gd name="connsiteY69" fmla="*/ 8242 h 10000"/>
                <a:gd name="connsiteX70" fmla="*/ 3235 w 9777"/>
                <a:gd name="connsiteY70" fmla="*/ 7896 h 10000"/>
                <a:gd name="connsiteX71" fmla="*/ 3655 w 9777"/>
                <a:gd name="connsiteY71" fmla="*/ 7230 h 10000"/>
                <a:gd name="connsiteX72" fmla="*/ 4342 w 9777"/>
                <a:gd name="connsiteY72" fmla="*/ 7695 h 10000"/>
                <a:gd name="connsiteX73" fmla="*/ 4637 w 9777"/>
                <a:gd name="connsiteY73" fmla="*/ 7665 h 10000"/>
                <a:gd name="connsiteX74" fmla="*/ 4577 w 9777"/>
                <a:gd name="connsiteY74" fmla="*/ 7091 h 10000"/>
                <a:gd name="connsiteX75" fmla="*/ 4621 w 9777"/>
                <a:gd name="connsiteY75" fmla="*/ 6356 h 10000"/>
                <a:gd name="connsiteX76" fmla="*/ 5284 w 9777"/>
                <a:gd name="connsiteY76" fmla="*/ 6191 h 10000"/>
                <a:gd name="connsiteX77" fmla="*/ 5191 w 9777"/>
                <a:gd name="connsiteY77" fmla="*/ 7066 h 10000"/>
                <a:gd name="connsiteX0" fmla="*/ 9797 w 9951"/>
                <a:gd name="connsiteY0" fmla="*/ 2273 h 10000"/>
                <a:gd name="connsiteX1" fmla="*/ 9949 w 9951"/>
                <a:gd name="connsiteY1" fmla="*/ 1953 h 10000"/>
                <a:gd name="connsiteX2" fmla="*/ 9595 w 9951"/>
                <a:gd name="connsiteY2" fmla="*/ 1515 h 10000"/>
                <a:gd name="connsiteX3" fmla="*/ 9443 w 9951"/>
                <a:gd name="connsiteY3" fmla="*/ 1677 h 10000"/>
                <a:gd name="connsiteX4" fmla="*/ 9111 w 9951"/>
                <a:gd name="connsiteY4" fmla="*/ 1760 h 10000"/>
                <a:gd name="connsiteX5" fmla="*/ 9140 w 9951"/>
                <a:gd name="connsiteY5" fmla="*/ 2195 h 10000"/>
                <a:gd name="connsiteX6" fmla="*/ 9239 w 9951"/>
                <a:gd name="connsiteY6" fmla="*/ 2311 h 10000"/>
                <a:gd name="connsiteX7" fmla="*/ 9165 w 9951"/>
                <a:gd name="connsiteY7" fmla="*/ 2631 h 10000"/>
                <a:gd name="connsiteX8" fmla="*/ 8961 w 9951"/>
                <a:gd name="connsiteY8" fmla="*/ 2712 h 10000"/>
                <a:gd name="connsiteX9" fmla="*/ 8758 w 9951"/>
                <a:gd name="connsiteY9" fmla="*/ 2953 h 10000"/>
                <a:gd name="connsiteX10" fmla="*/ 8936 w 9951"/>
                <a:gd name="connsiteY10" fmla="*/ 3267 h 10000"/>
                <a:gd name="connsiteX11" fmla="*/ 8912 w 9951"/>
                <a:gd name="connsiteY11" fmla="*/ 3509 h 10000"/>
                <a:gd name="connsiteX12" fmla="*/ 8530 w 9951"/>
                <a:gd name="connsiteY12" fmla="*/ 3789 h 10000"/>
                <a:gd name="connsiteX13" fmla="*/ 8353 w 9951"/>
                <a:gd name="connsiteY13" fmla="*/ 4263 h 10000"/>
                <a:gd name="connsiteX14" fmla="*/ 7897 w 9951"/>
                <a:gd name="connsiteY14" fmla="*/ 3310 h 10000"/>
                <a:gd name="connsiteX15" fmla="*/ 7719 w 9951"/>
                <a:gd name="connsiteY15" fmla="*/ 3629 h 10000"/>
                <a:gd name="connsiteX16" fmla="*/ 7972 w 9951"/>
                <a:gd name="connsiteY16" fmla="*/ 4027 h 10000"/>
                <a:gd name="connsiteX17" fmla="*/ 7769 w 9951"/>
                <a:gd name="connsiteY17" fmla="*/ 4303 h 10000"/>
                <a:gd name="connsiteX18" fmla="*/ 7819 w 9951"/>
                <a:gd name="connsiteY18" fmla="*/ 4503 h 10000"/>
                <a:gd name="connsiteX19" fmla="*/ 7415 w 9951"/>
                <a:gd name="connsiteY19" fmla="*/ 4978 h 10000"/>
                <a:gd name="connsiteX20" fmla="*/ 6986 w 9951"/>
                <a:gd name="connsiteY20" fmla="*/ 4585 h 10000"/>
                <a:gd name="connsiteX21" fmla="*/ 5820 w 9951"/>
                <a:gd name="connsiteY21" fmla="*/ 5579 h 10000"/>
                <a:gd name="connsiteX22" fmla="*/ 5718 w 9951"/>
                <a:gd name="connsiteY22" fmla="*/ 5142 h 10000"/>
                <a:gd name="connsiteX23" fmla="*/ 5565 w 9951"/>
                <a:gd name="connsiteY23" fmla="*/ 4861 h 10000"/>
                <a:gd name="connsiteX24" fmla="*/ 5615 w 9951"/>
                <a:gd name="connsiteY24" fmla="*/ 4542 h 10000"/>
                <a:gd name="connsiteX25" fmla="*/ 5463 w 9951"/>
                <a:gd name="connsiteY25" fmla="*/ 4225 h 10000"/>
                <a:gd name="connsiteX26" fmla="*/ 5236 w 9951"/>
                <a:gd name="connsiteY26" fmla="*/ 4185 h 10000"/>
                <a:gd name="connsiteX27" fmla="*/ 5286 w 9951"/>
                <a:gd name="connsiteY27" fmla="*/ 3748 h 10000"/>
                <a:gd name="connsiteX28" fmla="*/ 5107 w 9951"/>
                <a:gd name="connsiteY28" fmla="*/ 3587 h 10000"/>
                <a:gd name="connsiteX29" fmla="*/ 4931 w 9951"/>
                <a:gd name="connsiteY29" fmla="*/ 3032 h 10000"/>
                <a:gd name="connsiteX30" fmla="*/ 4702 w 9951"/>
                <a:gd name="connsiteY30" fmla="*/ 3032 h 10000"/>
                <a:gd name="connsiteX31" fmla="*/ 4476 w 9951"/>
                <a:gd name="connsiteY31" fmla="*/ 2751 h 10000"/>
                <a:gd name="connsiteX32" fmla="*/ 4476 w 9951"/>
                <a:gd name="connsiteY32" fmla="*/ 2631 h 10000"/>
                <a:gd name="connsiteX33" fmla="*/ 4271 w 9951"/>
                <a:gd name="connsiteY33" fmla="*/ 2791 h 10000"/>
                <a:gd name="connsiteX34" fmla="*/ 4019 w 9951"/>
                <a:gd name="connsiteY34" fmla="*/ 2514 h 10000"/>
                <a:gd name="connsiteX35" fmla="*/ 4145 w 9951"/>
                <a:gd name="connsiteY35" fmla="*/ 2113 h 10000"/>
                <a:gd name="connsiteX36" fmla="*/ 3942 w 9951"/>
                <a:gd name="connsiteY36" fmla="*/ 1794 h 10000"/>
                <a:gd name="connsiteX37" fmla="*/ 4096 w 9951"/>
                <a:gd name="connsiteY37" fmla="*/ 1318 h 10000"/>
                <a:gd name="connsiteX38" fmla="*/ 3588 w 9951"/>
                <a:gd name="connsiteY38" fmla="*/ 679 h 10000"/>
                <a:gd name="connsiteX39" fmla="*/ 3284 w 9951"/>
                <a:gd name="connsiteY39" fmla="*/ 879 h 10000"/>
                <a:gd name="connsiteX40" fmla="*/ 2700 w 9951"/>
                <a:gd name="connsiteY40" fmla="*/ 521 h 10000"/>
                <a:gd name="connsiteX41" fmla="*/ 2471 w 9951"/>
                <a:gd name="connsiteY41" fmla="*/ 756 h 10000"/>
                <a:gd name="connsiteX42" fmla="*/ 1915 w 9951"/>
                <a:gd name="connsiteY42" fmla="*/ 42 h 10000"/>
                <a:gd name="connsiteX43" fmla="*/ 1459 w 9951"/>
                <a:gd name="connsiteY43" fmla="*/ 1038 h 10000"/>
                <a:gd name="connsiteX44" fmla="*/ 1459 w 9951"/>
                <a:gd name="connsiteY44" fmla="*/ 1634 h 10000"/>
                <a:gd name="connsiteX45" fmla="*/ 1128 w 9951"/>
                <a:gd name="connsiteY45" fmla="*/ 1159 h 10000"/>
                <a:gd name="connsiteX46" fmla="*/ 750 w 9951"/>
                <a:gd name="connsiteY46" fmla="*/ 1953 h 10000"/>
                <a:gd name="connsiteX47" fmla="*/ 1030 w 9951"/>
                <a:gd name="connsiteY47" fmla="*/ 2590 h 10000"/>
                <a:gd name="connsiteX48" fmla="*/ 521 w 9951"/>
                <a:gd name="connsiteY48" fmla="*/ 3347 h 10000"/>
                <a:gd name="connsiteX49" fmla="*/ 472 w 9951"/>
                <a:gd name="connsiteY49" fmla="*/ 3347 h 10000"/>
                <a:gd name="connsiteX50" fmla="*/ 672 w 9951"/>
                <a:gd name="connsiteY50" fmla="*/ 3789 h 10000"/>
                <a:gd name="connsiteX51" fmla="*/ 418 w 9951"/>
                <a:gd name="connsiteY51" fmla="*/ 4225 h 10000"/>
                <a:gd name="connsiteX52" fmla="*/ 595 w 9951"/>
                <a:gd name="connsiteY52" fmla="*/ 4503 h 10000"/>
                <a:gd name="connsiteX53" fmla="*/ 521 w 9951"/>
                <a:gd name="connsiteY53" fmla="*/ 4941 h 10000"/>
                <a:gd name="connsiteX54" fmla="*/ 418 w 9951"/>
                <a:gd name="connsiteY54" fmla="*/ 5184 h 10000"/>
                <a:gd name="connsiteX55" fmla="*/ 595 w 9951"/>
                <a:gd name="connsiteY55" fmla="*/ 5662 h 10000"/>
                <a:gd name="connsiteX56" fmla="*/ 294 w 9951"/>
                <a:gd name="connsiteY56" fmla="*/ 6414 h 10000"/>
                <a:gd name="connsiteX57" fmla="*/ 521 w 9951"/>
                <a:gd name="connsiteY57" fmla="*/ 6856 h 10000"/>
                <a:gd name="connsiteX58" fmla="*/ 116 w 9951"/>
                <a:gd name="connsiteY58" fmla="*/ 7609 h 10000"/>
                <a:gd name="connsiteX59" fmla="*/ 318 w 9951"/>
                <a:gd name="connsiteY59" fmla="*/ 8008 h 10000"/>
                <a:gd name="connsiteX60" fmla="*/ 13 w 9951"/>
                <a:gd name="connsiteY60" fmla="*/ 8649 h 10000"/>
                <a:gd name="connsiteX61" fmla="*/ 418 w 9951"/>
                <a:gd name="connsiteY61" fmla="*/ 8883 h 10000"/>
                <a:gd name="connsiteX62" fmla="*/ 294 w 9951"/>
                <a:gd name="connsiteY62" fmla="*/ 9404 h 10000"/>
                <a:gd name="connsiteX63" fmla="*/ 394 w 9951"/>
                <a:gd name="connsiteY63" fmla="*/ 10000 h 10000"/>
                <a:gd name="connsiteX64" fmla="*/ 1084 w 9951"/>
                <a:gd name="connsiteY64" fmla="*/ 9453 h 10000"/>
                <a:gd name="connsiteX65" fmla="*/ 1482 w 9951"/>
                <a:gd name="connsiteY65" fmla="*/ 8972 h 10000"/>
                <a:gd name="connsiteX66" fmla="*/ 1960 w 9951"/>
                <a:gd name="connsiteY66" fmla="*/ 8981 h 10000"/>
                <a:gd name="connsiteX67" fmla="*/ 2471 w 9951"/>
                <a:gd name="connsiteY67" fmla="*/ 8695 h 10000"/>
                <a:gd name="connsiteX68" fmla="*/ 3101 w 9951"/>
                <a:gd name="connsiteY68" fmla="*/ 8242 h 10000"/>
                <a:gd name="connsiteX69" fmla="*/ 3309 w 9951"/>
                <a:gd name="connsiteY69" fmla="*/ 7896 h 10000"/>
                <a:gd name="connsiteX70" fmla="*/ 3738 w 9951"/>
                <a:gd name="connsiteY70" fmla="*/ 7230 h 10000"/>
                <a:gd name="connsiteX71" fmla="*/ 4441 w 9951"/>
                <a:gd name="connsiteY71" fmla="*/ 7695 h 10000"/>
                <a:gd name="connsiteX72" fmla="*/ 4743 w 9951"/>
                <a:gd name="connsiteY72" fmla="*/ 7665 h 10000"/>
                <a:gd name="connsiteX73" fmla="*/ 4681 w 9951"/>
                <a:gd name="connsiteY73" fmla="*/ 7091 h 10000"/>
                <a:gd name="connsiteX74" fmla="*/ 4726 w 9951"/>
                <a:gd name="connsiteY74" fmla="*/ 6356 h 10000"/>
                <a:gd name="connsiteX75" fmla="*/ 5405 w 9951"/>
                <a:gd name="connsiteY75" fmla="*/ 6191 h 10000"/>
                <a:gd name="connsiteX76" fmla="*/ 5309 w 9951"/>
                <a:gd name="connsiteY76" fmla="*/ 7066 h 10000"/>
                <a:gd name="connsiteX0" fmla="*/ 9998 w 10000"/>
                <a:gd name="connsiteY0" fmla="*/ 1953 h 10000"/>
                <a:gd name="connsiteX1" fmla="*/ 9642 w 10000"/>
                <a:gd name="connsiteY1" fmla="*/ 1515 h 10000"/>
                <a:gd name="connsiteX2" fmla="*/ 9489 w 10000"/>
                <a:gd name="connsiteY2" fmla="*/ 1677 h 10000"/>
                <a:gd name="connsiteX3" fmla="*/ 9156 w 10000"/>
                <a:gd name="connsiteY3" fmla="*/ 1760 h 10000"/>
                <a:gd name="connsiteX4" fmla="*/ 9185 w 10000"/>
                <a:gd name="connsiteY4" fmla="*/ 2195 h 10000"/>
                <a:gd name="connsiteX5" fmla="*/ 9284 w 10000"/>
                <a:gd name="connsiteY5" fmla="*/ 2311 h 10000"/>
                <a:gd name="connsiteX6" fmla="*/ 9210 w 10000"/>
                <a:gd name="connsiteY6" fmla="*/ 2631 h 10000"/>
                <a:gd name="connsiteX7" fmla="*/ 9005 w 10000"/>
                <a:gd name="connsiteY7" fmla="*/ 2712 h 10000"/>
                <a:gd name="connsiteX8" fmla="*/ 8801 w 10000"/>
                <a:gd name="connsiteY8" fmla="*/ 2953 h 10000"/>
                <a:gd name="connsiteX9" fmla="*/ 8980 w 10000"/>
                <a:gd name="connsiteY9" fmla="*/ 3267 h 10000"/>
                <a:gd name="connsiteX10" fmla="*/ 8956 w 10000"/>
                <a:gd name="connsiteY10" fmla="*/ 3509 h 10000"/>
                <a:gd name="connsiteX11" fmla="*/ 8572 w 10000"/>
                <a:gd name="connsiteY11" fmla="*/ 3789 h 10000"/>
                <a:gd name="connsiteX12" fmla="*/ 8394 w 10000"/>
                <a:gd name="connsiteY12" fmla="*/ 4263 h 10000"/>
                <a:gd name="connsiteX13" fmla="*/ 7936 w 10000"/>
                <a:gd name="connsiteY13" fmla="*/ 3310 h 10000"/>
                <a:gd name="connsiteX14" fmla="*/ 7757 w 10000"/>
                <a:gd name="connsiteY14" fmla="*/ 3629 h 10000"/>
                <a:gd name="connsiteX15" fmla="*/ 8011 w 10000"/>
                <a:gd name="connsiteY15" fmla="*/ 4027 h 10000"/>
                <a:gd name="connsiteX16" fmla="*/ 7807 w 10000"/>
                <a:gd name="connsiteY16" fmla="*/ 4303 h 10000"/>
                <a:gd name="connsiteX17" fmla="*/ 7858 w 10000"/>
                <a:gd name="connsiteY17" fmla="*/ 4503 h 10000"/>
                <a:gd name="connsiteX18" fmla="*/ 7452 w 10000"/>
                <a:gd name="connsiteY18" fmla="*/ 4978 h 10000"/>
                <a:gd name="connsiteX19" fmla="*/ 7020 w 10000"/>
                <a:gd name="connsiteY19" fmla="*/ 4585 h 10000"/>
                <a:gd name="connsiteX20" fmla="*/ 5849 w 10000"/>
                <a:gd name="connsiteY20" fmla="*/ 5579 h 10000"/>
                <a:gd name="connsiteX21" fmla="*/ 5746 w 10000"/>
                <a:gd name="connsiteY21" fmla="*/ 5142 h 10000"/>
                <a:gd name="connsiteX22" fmla="*/ 5592 w 10000"/>
                <a:gd name="connsiteY22" fmla="*/ 4861 h 10000"/>
                <a:gd name="connsiteX23" fmla="*/ 5643 w 10000"/>
                <a:gd name="connsiteY23" fmla="*/ 4542 h 10000"/>
                <a:gd name="connsiteX24" fmla="*/ 5490 w 10000"/>
                <a:gd name="connsiteY24" fmla="*/ 4225 h 10000"/>
                <a:gd name="connsiteX25" fmla="*/ 5262 w 10000"/>
                <a:gd name="connsiteY25" fmla="*/ 4185 h 10000"/>
                <a:gd name="connsiteX26" fmla="*/ 5312 w 10000"/>
                <a:gd name="connsiteY26" fmla="*/ 3748 h 10000"/>
                <a:gd name="connsiteX27" fmla="*/ 5132 w 10000"/>
                <a:gd name="connsiteY27" fmla="*/ 3587 h 10000"/>
                <a:gd name="connsiteX28" fmla="*/ 4955 w 10000"/>
                <a:gd name="connsiteY28" fmla="*/ 3032 h 10000"/>
                <a:gd name="connsiteX29" fmla="*/ 4725 w 10000"/>
                <a:gd name="connsiteY29" fmla="*/ 3032 h 10000"/>
                <a:gd name="connsiteX30" fmla="*/ 4498 w 10000"/>
                <a:gd name="connsiteY30" fmla="*/ 2751 h 10000"/>
                <a:gd name="connsiteX31" fmla="*/ 4498 w 10000"/>
                <a:gd name="connsiteY31" fmla="*/ 2631 h 10000"/>
                <a:gd name="connsiteX32" fmla="*/ 4292 w 10000"/>
                <a:gd name="connsiteY32" fmla="*/ 2791 h 10000"/>
                <a:gd name="connsiteX33" fmla="*/ 4039 w 10000"/>
                <a:gd name="connsiteY33" fmla="*/ 2514 h 10000"/>
                <a:gd name="connsiteX34" fmla="*/ 4165 w 10000"/>
                <a:gd name="connsiteY34" fmla="*/ 2113 h 10000"/>
                <a:gd name="connsiteX35" fmla="*/ 3961 w 10000"/>
                <a:gd name="connsiteY35" fmla="*/ 1794 h 10000"/>
                <a:gd name="connsiteX36" fmla="*/ 4116 w 10000"/>
                <a:gd name="connsiteY36" fmla="*/ 1318 h 10000"/>
                <a:gd name="connsiteX37" fmla="*/ 3606 w 10000"/>
                <a:gd name="connsiteY37" fmla="*/ 679 h 10000"/>
                <a:gd name="connsiteX38" fmla="*/ 3300 w 10000"/>
                <a:gd name="connsiteY38" fmla="*/ 879 h 10000"/>
                <a:gd name="connsiteX39" fmla="*/ 2713 w 10000"/>
                <a:gd name="connsiteY39" fmla="*/ 521 h 10000"/>
                <a:gd name="connsiteX40" fmla="*/ 2483 w 10000"/>
                <a:gd name="connsiteY40" fmla="*/ 756 h 10000"/>
                <a:gd name="connsiteX41" fmla="*/ 1924 w 10000"/>
                <a:gd name="connsiteY41" fmla="*/ 42 h 10000"/>
                <a:gd name="connsiteX42" fmla="*/ 1466 w 10000"/>
                <a:gd name="connsiteY42" fmla="*/ 1038 h 10000"/>
                <a:gd name="connsiteX43" fmla="*/ 1466 w 10000"/>
                <a:gd name="connsiteY43" fmla="*/ 1634 h 10000"/>
                <a:gd name="connsiteX44" fmla="*/ 1134 w 10000"/>
                <a:gd name="connsiteY44" fmla="*/ 1159 h 10000"/>
                <a:gd name="connsiteX45" fmla="*/ 754 w 10000"/>
                <a:gd name="connsiteY45" fmla="*/ 1953 h 10000"/>
                <a:gd name="connsiteX46" fmla="*/ 1035 w 10000"/>
                <a:gd name="connsiteY46" fmla="*/ 2590 h 10000"/>
                <a:gd name="connsiteX47" fmla="*/ 524 w 10000"/>
                <a:gd name="connsiteY47" fmla="*/ 3347 h 10000"/>
                <a:gd name="connsiteX48" fmla="*/ 474 w 10000"/>
                <a:gd name="connsiteY48" fmla="*/ 3347 h 10000"/>
                <a:gd name="connsiteX49" fmla="*/ 675 w 10000"/>
                <a:gd name="connsiteY49" fmla="*/ 3789 h 10000"/>
                <a:gd name="connsiteX50" fmla="*/ 420 w 10000"/>
                <a:gd name="connsiteY50" fmla="*/ 4225 h 10000"/>
                <a:gd name="connsiteX51" fmla="*/ 598 w 10000"/>
                <a:gd name="connsiteY51" fmla="*/ 4503 h 10000"/>
                <a:gd name="connsiteX52" fmla="*/ 524 w 10000"/>
                <a:gd name="connsiteY52" fmla="*/ 4941 h 10000"/>
                <a:gd name="connsiteX53" fmla="*/ 420 w 10000"/>
                <a:gd name="connsiteY53" fmla="*/ 5184 h 10000"/>
                <a:gd name="connsiteX54" fmla="*/ 598 w 10000"/>
                <a:gd name="connsiteY54" fmla="*/ 5662 h 10000"/>
                <a:gd name="connsiteX55" fmla="*/ 295 w 10000"/>
                <a:gd name="connsiteY55" fmla="*/ 6414 h 10000"/>
                <a:gd name="connsiteX56" fmla="*/ 524 w 10000"/>
                <a:gd name="connsiteY56" fmla="*/ 6856 h 10000"/>
                <a:gd name="connsiteX57" fmla="*/ 117 w 10000"/>
                <a:gd name="connsiteY57" fmla="*/ 7609 h 10000"/>
                <a:gd name="connsiteX58" fmla="*/ 320 w 10000"/>
                <a:gd name="connsiteY58" fmla="*/ 8008 h 10000"/>
                <a:gd name="connsiteX59" fmla="*/ 13 w 10000"/>
                <a:gd name="connsiteY59" fmla="*/ 8649 h 10000"/>
                <a:gd name="connsiteX60" fmla="*/ 420 w 10000"/>
                <a:gd name="connsiteY60" fmla="*/ 8883 h 10000"/>
                <a:gd name="connsiteX61" fmla="*/ 295 w 10000"/>
                <a:gd name="connsiteY61" fmla="*/ 9404 h 10000"/>
                <a:gd name="connsiteX62" fmla="*/ 396 w 10000"/>
                <a:gd name="connsiteY62" fmla="*/ 10000 h 10000"/>
                <a:gd name="connsiteX63" fmla="*/ 1089 w 10000"/>
                <a:gd name="connsiteY63" fmla="*/ 9453 h 10000"/>
                <a:gd name="connsiteX64" fmla="*/ 1489 w 10000"/>
                <a:gd name="connsiteY64" fmla="*/ 8972 h 10000"/>
                <a:gd name="connsiteX65" fmla="*/ 1970 w 10000"/>
                <a:gd name="connsiteY65" fmla="*/ 8981 h 10000"/>
                <a:gd name="connsiteX66" fmla="*/ 2483 w 10000"/>
                <a:gd name="connsiteY66" fmla="*/ 8695 h 10000"/>
                <a:gd name="connsiteX67" fmla="*/ 3116 w 10000"/>
                <a:gd name="connsiteY67" fmla="*/ 8242 h 10000"/>
                <a:gd name="connsiteX68" fmla="*/ 3325 w 10000"/>
                <a:gd name="connsiteY68" fmla="*/ 7896 h 10000"/>
                <a:gd name="connsiteX69" fmla="*/ 3756 w 10000"/>
                <a:gd name="connsiteY69" fmla="*/ 7230 h 10000"/>
                <a:gd name="connsiteX70" fmla="*/ 4463 w 10000"/>
                <a:gd name="connsiteY70" fmla="*/ 7695 h 10000"/>
                <a:gd name="connsiteX71" fmla="*/ 4766 w 10000"/>
                <a:gd name="connsiteY71" fmla="*/ 7665 h 10000"/>
                <a:gd name="connsiteX72" fmla="*/ 4704 w 10000"/>
                <a:gd name="connsiteY72" fmla="*/ 7091 h 10000"/>
                <a:gd name="connsiteX73" fmla="*/ 4749 w 10000"/>
                <a:gd name="connsiteY73" fmla="*/ 6356 h 10000"/>
                <a:gd name="connsiteX74" fmla="*/ 5432 w 10000"/>
                <a:gd name="connsiteY74" fmla="*/ 6191 h 10000"/>
                <a:gd name="connsiteX75" fmla="*/ 5335 w 10000"/>
                <a:gd name="connsiteY75" fmla="*/ 7066 h 10000"/>
                <a:gd name="connsiteX0" fmla="*/ 9642 w 9642"/>
                <a:gd name="connsiteY0" fmla="*/ 1515 h 10000"/>
                <a:gd name="connsiteX1" fmla="*/ 9489 w 9642"/>
                <a:gd name="connsiteY1" fmla="*/ 1677 h 10000"/>
                <a:gd name="connsiteX2" fmla="*/ 9156 w 9642"/>
                <a:gd name="connsiteY2" fmla="*/ 1760 h 10000"/>
                <a:gd name="connsiteX3" fmla="*/ 9185 w 9642"/>
                <a:gd name="connsiteY3" fmla="*/ 2195 h 10000"/>
                <a:gd name="connsiteX4" fmla="*/ 9284 w 9642"/>
                <a:gd name="connsiteY4" fmla="*/ 2311 h 10000"/>
                <a:gd name="connsiteX5" fmla="*/ 9210 w 9642"/>
                <a:gd name="connsiteY5" fmla="*/ 2631 h 10000"/>
                <a:gd name="connsiteX6" fmla="*/ 9005 w 9642"/>
                <a:gd name="connsiteY6" fmla="*/ 2712 h 10000"/>
                <a:gd name="connsiteX7" fmla="*/ 8801 w 9642"/>
                <a:gd name="connsiteY7" fmla="*/ 2953 h 10000"/>
                <a:gd name="connsiteX8" fmla="*/ 8980 w 9642"/>
                <a:gd name="connsiteY8" fmla="*/ 3267 h 10000"/>
                <a:gd name="connsiteX9" fmla="*/ 8956 w 9642"/>
                <a:gd name="connsiteY9" fmla="*/ 3509 h 10000"/>
                <a:gd name="connsiteX10" fmla="*/ 8572 w 9642"/>
                <a:gd name="connsiteY10" fmla="*/ 3789 h 10000"/>
                <a:gd name="connsiteX11" fmla="*/ 8394 w 9642"/>
                <a:gd name="connsiteY11" fmla="*/ 4263 h 10000"/>
                <a:gd name="connsiteX12" fmla="*/ 7936 w 9642"/>
                <a:gd name="connsiteY12" fmla="*/ 3310 h 10000"/>
                <a:gd name="connsiteX13" fmla="*/ 7757 w 9642"/>
                <a:gd name="connsiteY13" fmla="*/ 3629 h 10000"/>
                <a:gd name="connsiteX14" fmla="*/ 8011 w 9642"/>
                <a:gd name="connsiteY14" fmla="*/ 4027 h 10000"/>
                <a:gd name="connsiteX15" fmla="*/ 7807 w 9642"/>
                <a:gd name="connsiteY15" fmla="*/ 4303 h 10000"/>
                <a:gd name="connsiteX16" fmla="*/ 7858 w 9642"/>
                <a:gd name="connsiteY16" fmla="*/ 4503 h 10000"/>
                <a:gd name="connsiteX17" fmla="*/ 7452 w 9642"/>
                <a:gd name="connsiteY17" fmla="*/ 4978 h 10000"/>
                <a:gd name="connsiteX18" fmla="*/ 7020 w 9642"/>
                <a:gd name="connsiteY18" fmla="*/ 4585 h 10000"/>
                <a:gd name="connsiteX19" fmla="*/ 5849 w 9642"/>
                <a:gd name="connsiteY19" fmla="*/ 5579 h 10000"/>
                <a:gd name="connsiteX20" fmla="*/ 5746 w 9642"/>
                <a:gd name="connsiteY20" fmla="*/ 5142 h 10000"/>
                <a:gd name="connsiteX21" fmla="*/ 5592 w 9642"/>
                <a:gd name="connsiteY21" fmla="*/ 4861 h 10000"/>
                <a:gd name="connsiteX22" fmla="*/ 5643 w 9642"/>
                <a:gd name="connsiteY22" fmla="*/ 4542 h 10000"/>
                <a:gd name="connsiteX23" fmla="*/ 5490 w 9642"/>
                <a:gd name="connsiteY23" fmla="*/ 4225 h 10000"/>
                <a:gd name="connsiteX24" fmla="*/ 5262 w 9642"/>
                <a:gd name="connsiteY24" fmla="*/ 4185 h 10000"/>
                <a:gd name="connsiteX25" fmla="*/ 5312 w 9642"/>
                <a:gd name="connsiteY25" fmla="*/ 3748 h 10000"/>
                <a:gd name="connsiteX26" fmla="*/ 5132 w 9642"/>
                <a:gd name="connsiteY26" fmla="*/ 3587 h 10000"/>
                <a:gd name="connsiteX27" fmla="*/ 4955 w 9642"/>
                <a:gd name="connsiteY27" fmla="*/ 3032 h 10000"/>
                <a:gd name="connsiteX28" fmla="*/ 4725 w 9642"/>
                <a:gd name="connsiteY28" fmla="*/ 3032 h 10000"/>
                <a:gd name="connsiteX29" fmla="*/ 4498 w 9642"/>
                <a:gd name="connsiteY29" fmla="*/ 2751 h 10000"/>
                <a:gd name="connsiteX30" fmla="*/ 4498 w 9642"/>
                <a:gd name="connsiteY30" fmla="*/ 2631 h 10000"/>
                <a:gd name="connsiteX31" fmla="*/ 4292 w 9642"/>
                <a:gd name="connsiteY31" fmla="*/ 2791 h 10000"/>
                <a:gd name="connsiteX32" fmla="*/ 4039 w 9642"/>
                <a:gd name="connsiteY32" fmla="*/ 2514 h 10000"/>
                <a:gd name="connsiteX33" fmla="*/ 4165 w 9642"/>
                <a:gd name="connsiteY33" fmla="*/ 2113 h 10000"/>
                <a:gd name="connsiteX34" fmla="*/ 3961 w 9642"/>
                <a:gd name="connsiteY34" fmla="*/ 1794 h 10000"/>
                <a:gd name="connsiteX35" fmla="*/ 4116 w 9642"/>
                <a:gd name="connsiteY35" fmla="*/ 1318 h 10000"/>
                <a:gd name="connsiteX36" fmla="*/ 3606 w 9642"/>
                <a:gd name="connsiteY36" fmla="*/ 679 h 10000"/>
                <a:gd name="connsiteX37" fmla="*/ 3300 w 9642"/>
                <a:gd name="connsiteY37" fmla="*/ 879 h 10000"/>
                <a:gd name="connsiteX38" fmla="*/ 2713 w 9642"/>
                <a:gd name="connsiteY38" fmla="*/ 521 h 10000"/>
                <a:gd name="connsiteX39" fmla="*/ 2483 w 9642"/>
                <a:gd name="connsiteY39" fmla="*/ 756 h 10000"/>
                <a:gd name="connsiteX40" fmla="*/ 1924 w 9642"/>
                <a:gd name="connsiteY40" fmla="*/ 42 h 10000"/>
                <a:gd name="connsiteX41" fmla="*/ 1466 w 9642"/>
                <a:gd name="connsiteY41" fmla="*/ 1038 h 10000"/>
                <a:gd name="connsiteX42" fmla="*/ 1466 w 9642"/>
                <a:gd name="connsiteY42" fmla="*/ 1634 h 10000"/>
                <a:gd name="connsiteX43" fmla="*/ 1134 w 9642"/>
                <a:gd name="connsiteY43" fmla="*/ 1159 h 10000"/>
                <a:gd name="connsiteX44" fmla="*/ 754 w 9642"/>
                <a:gd name="connsiteY44" fmla="*/ 1953 h 10000"/>
                <a:gd name="connsiteX45" fmla="*/ 1035 w 9642"/>
                <a:gd name="connsiteY45" fmla="*/ 2590 h 10000"/>
                <a:gd name="connsiteX46" fmla="*/ 524 w 9642"/>
                <a:gd name="connsiteY46" fmla="*/ 3347 h 10000"/>
                <a:gd name="connsiteX47" fmla="*/ 474 w 9642"/>
                <a:gd name="connsiteY47" fmla="*/ 3347 h 10000"/>
                <a:gd name="connsiteX48" fmla="*/ 675 w 9642"/>
                <a:gd name="connsiteY48" fmla="*/ 3789 h 10000"/>
                <a:gd name="connsiteX49" fmla="*/ 420 w 9642"/>
                <a:gd name="connsiteY49" fmla="*/ 4225 h 10000"/>
                <a:gd name="connsiteX50" fmla="*/ 598 w 9642"/>
                <a:gd name="connsiteY50" fmla="*/ 4503 h 10000"/>
                <a:gd name="connsiteX51" fmla="*/ 524 w 9642"/>
                <a:gd name="connsiteY51" fmla="*/ 4941 h 10000"/>
                <a:gd name="connsiteX52" fmla="*/ 420 w 9642"/>
                <a:gd name="connsiteY52" fmla="*/ 5184 h 10000"/>
                <a:gd name="connsiteX53" fmla="*/ 598 w 9642"/>
                <a:gd name="connsiteY53" fmla="*/ 5662 h 10000"/>
                <a:gd name="connsiteX54" fmla="*/ 295 w 9642"/>
                <a:gd name="connsiteY54" fmla="*/ 6414 h 10000"/>
                <a:gd name="connsiteX55" fmla="*/ 524 w 9642"/>
                <a:gd name="connsiteY55" fmla="*/ 6856 h 10000"/>
                <a:gd name="connsiteX56" fmla="*/ 117 w 9642"/>
                <a:gd name="connsiteY56" fmla="*/ 7609 h 10000"/>
                <a:gd name="connsiteX57" fmla="*/ 320 w 9642"/>
                <a:gd name="connsiteY57" fmla="*/ 8008 h 10000"/>
                <a:gd name="connsiteX58" fmla="*/ 13 w 9642"/>
                <a:gd name="connsiteY58" fmla="*/ 8649 h 10000"/>
                <a:gd name="connsiteX59" fmla="*/ 420 w 9642"/>
                <a:gd name="connsiteY59" fmla="*/ 8883 h 10000"/>
                <a:gd name="connsiteX60" fmla="*/ 295 w 9642"/>
                <a:gd name="connsiteY60" fmla="*/ 9404 h 10000"/>
                <a:gd name="connsiteX61" fmla="*/ 396 w 9642"/>
                <a:gd name="connsiteY61" fmla="*/ 10000 h 10000"/>
                <a:gd name="connsiteX62" fmla="*/ 1089 w 9642"/>
                <a:gd name="connsiteY62" fmla="*/ 9453 h 10000"/>
                <a:gd name="connsiteX63" fmla="*/ 1489 w 9642"/>
                <a:gd name="connsiteY63" fmla="*/ 8972 h 10000"/>
                <a:gd name="connsiteX64" fmla="*/ 1970 w 9642"/>
                <a:gd name="connsiteY64" fmla="*/ 8981 h 10000"/>
                <a:gd name="connsiteX65" fmla="*/ 2483 w 9642"/>
                <a:gd name="connsiteY65" fmla="*/ 8695 h 10000"/>
                <a:gd name="connsiteX66" fmla="*/ 3116 w 9642"/>
                <a:gd name="connsiteY66" fmla="*/ 8242 h 10000"/>
                <a:gd name="connsiteX67" fmla="*/ 3325 w 9642"/>
                <a:gd name="connsiteY67" fmla="*/ 7896 h 10000"/>
                <a:gd name="connsiteX68" fmla="*/ 3756 w 9642"/>
                <a:gd name="connsiteY68" fmla="*/ 7230 h 10000"/>
                <a:gd name="connsiteX69" fmla="*/ 4463 w 9642"/>
                <a:gd name="connsiteY69" fmla="*/ 7695 h 10000"/>
                <a:gd name="connsiteX70" fmla="*/ 4766 w 9642"/>
                <a:gd name="connsiteY70" fmla="*/ 7665 h 10000"/>
                <a:gd name="connsiteX71" fmla="*/ 4704 w 9642"/>
                <a:gd name="connsiteY71" fmla="*/ 7091 h 10000"/>
                <a:gd name="connsiteX72" fmla="*/ 4749 w 9642"/>
                <a:gd name="connsiteY72" fmla="*/ 6356 h 10000"/>
                <a:gd name="connsiteX73" fmla="*/ 5432 w 9642"/>
                <a:gd name="connsiteY73" fmla="*/ 6191 h 10000"/>
                <a:gd name="connsiteX74" fmla="*/ 5335 w 9642"/>
                <a:gd name="connsiteY74" fmla="*/ 7066 h 10000"/>
                <a:gd name="connsiteX0" fmla="*/ 9841 w 9841"/>
                <a:gd name="connsiteY0" fmla="*/ 1677 h 10000"/>
                <a:gd name="connsiteX1" fmla="*/ 9496 w 9841"/>
                <a:gd name="connsiteY1" fmla="*/ 1760 h 10000"/>
                <a:gd name="connsiteX2" fmla="*/ 9526 w 9841"/>
                <a:gd name="connsiteY2" fmla="*/ 2195 h 10000"/>
                <a:gd name="connsiteX3" fmla="*/ 9629 w 9841"/>
                <a:gd name="connsiteY3" fmla="*/ 2311 h 10000"/>
                <a:gd name="connsiteX4" fmla="*/ 9552 w 9841"/>
                <a:gd name="connsiteY4" fmla="*/ 2631 h 10000"/>
                <a:gd name="connsiteX5" fmla="*/ 9339 w 9841"/>
                <a:gd name="connsiteY5" fmla="*/ 2712 h 10000"/>
                <a:gd name="connsiteX6" fmla="*/ 9128 w 9841"/>
                <a:gd name="connsiteY6" fmla="*/ 2953 h 10000"/>
                <a:gd name="connsiteX7" fmla="*/ 9313 w 9841"/>
                <a:gd name="connsiteY7" fmla="*/ 3267 h 10000"/>
                <a:gd name="connsiteX8" fmla="*/ 9289 w 9841"/>
                <a:gd name="connsiteY8" fmla="*/ 3509 h 10000"/>
                <a:gd name="connsiteX9" fmla="*/ 8890 w 9841"/>
                <a:gd name="connsiteY9" fmla="*/ 3789 h 10000"/>
                <a:gd name="connsiteX10" fmla="*/ 8706 w 9841"/>
                <a:gd name="connsiteY10" fmla="*/ 4263 h 10000"/>
                <a:gd name="connsiteX11" fmla="*/ 8231 w 9841"/>
                <a:gd name="connsiteY11" fmla="*/ 3310 h 10000"/>
                <a:gd name="connsiteX12" fmla="*/ 8045 w 9841"/>
                <a:gd name="connsiteY12" fmla="*/ 3629 h 10000"/>
                <a:gd name="connsiteX13" fmla="*/ 8308 w 9841"/>
                <a:gd name="connsiteY13" fmla="*/ 4027 h 10000"/>
                <a:gd name="connsiteX14" fmla="*/ 8097 w 9841"/>
                <a:gd name="connsiteY14" fmla="*/ 4303 h 10000"/>
                <a:gd name="connsiteX15" fmla="*/ 8150 w 9841"/>
                <a:gd name="connsiteY15" fmla="*/ 4503 h 10000"/>
                <a:gd name="connsiteX16" fmla="*/ 7729 w 9841"/>
                <a:gd name="connsiteY16" fmla="*/ 4978 h 10000"/>
                <a:gd name="connsiteX17" fmla="*/ 7281 w 9841"/>
                <a:gd name="connsiteY17" fmla="*/ 4585 h 10000"/>
                <a:gd name="connsiteX18" fmla="*/ 6066 w 9841"/>
                <a:gd name="connsiteY18" fmla="*/ 5579 h 10000"/>
                <a:gd name="connsiteX19" fmla="*/ 5959 w 9841"/>
                <a:gd name="connsiteY19" fmla="*/ 5142 h 10000"/>
                <a:gd name="connsiteX20" fmla="*/ 5800 w 9841"/>
                <a:gd name="connsiteY20" fmla="*/ 4861 h 10000"/>
                <a:gd name="connsiteX21" fmla="*/ 5853 w 9841"/>
                <a:gd name="connsiteY21" fmla="*/ 4542 h 10000"/>
                <a:gd name="connsiteX22" fmla="*/ 5694 w 9841"/>
                <a:gd name="connsiteY22" fmla="*/ 4225 h 10000"/>
                <a:gd name="connsiteX23" fmla="*/ 5457 w 9841"/>
                <a:gd name="connsiteY23" fmla="*/ 4185 h 10000"/>
                <a:gd name="connsiteX24" fmla="*/ 5509 w 9841"/>
                <a:gd name="connsiteY24" fmla="*/ 3748 h 10000"/>
                <a:gd name="connsiteX25" fmla="*/ 5323 w 9841"/>
                <a:gd name="connsiteY25" fmla="*/ 3587 h 10000"/>
                <a:gd name="connsiteX26" fmla="*/ 5139 w 9841"/>
                <a:gd name="connsiteY26" fmla="*/ 3032 h 10000"/>
                <a:gd name="connsiteX27" fmla="*/ 4900 w 9841"/>
                <a:gd name="connsiteY27" fmla="*/ 3032 h 10000"/>
                <a:gd name="connsiteX28" fmla="*/ 4665 w 9841"/>
                <a:gd name="connsiteY28" fmla="*/ 2751 h 10000"/>
                <a:gd name="connsiteX29" fmla="*/ 4665 w 9841"/>
                <a:gd name="connsiteY29" fmla="*/ 2631 h 10000"/>
                <a:gd name="connsiteX30" fmla="*/ 4451 w 9841"/>
                <a:gd name="connsiteY30" fmla="*/ 2791 h 10000"/>
                <a:gd name="connsiteX31" fmla="*/ 4189 w 9841"/>
                <a:gd name="connsiteY31" fmla="*/ 2514 h 10000"/>
                <a:gd name="connsiteX32" fmla="*/ 4320 w 9841"/>
                <a:gd name="connsiteY32" fmla="*/ 2113 h 10000"/>
                <a:gd name="connsiteX33" fmla="*/ 4108 w 9841"/>
                <a:gd name="connsiteY33" fmla="*/ 1794 h 10000"/>
                <a:gd name="connsiteX34" fmla="*/ 4269 w 9841"/>
                <a:gd name="connsiteY34" fmla="*/ 1318 h 10000"/>
                <a:gd name="connsiteX35" fmla="*/ 3740 w 9841"/>
                <a:gd name="connsiteY35" fmla="*/ 679 h 10000"/>
                <a:gd name="connsiteX36" fmla="*/ 3423 w 9841"/>
                <a:gd name="connsiteY36" fmla="*/ 879 h 10000"/>
                <a:gd name="connsiteX37" fmla="*/ 2814 w 9841"/>
                <a:gd name="connsiteY37" fmla="*/ 521 h 10000"/>
                <a:gd name="connsiteX38" fmla="*/ 2575 w 9841"/>
                <a:gd name="connsiteY38" fmla="*/ 756 h 10000"/>
                <a:gd name="connsiteX39" fmla="*/ 1995 w 9841"/>
                <a:gd name="connsiteY39" fmla="*/ 42 h 10000"/>
                <a:gd name="connsiteX40" fmla="*/ 1520 w 9841"/>
                <a:gd name="connsiteY40" fmla="*/ 1038 h 10000"/>
                <a:gd name="connsiteX41" fmla="*/ 1520 w 9841"/>
                <a:gd name="connsiteY41" fmla="*/ 1634 h 10000"/>
                <a:gd name="connsiteX42" fmla="*/ 1176 w 9841"/>
                <a:gd name="connsiteY42" fmla="*/ 1159 h 10000"/>
                <a:gd name="connsiteX43" fmla="*/ 782 w 9841"/>
                <a:gd name="connsiteY43" fmla="*/ 1953 h 10000"/>
                <a:gd name="connsiteX44" fmla="*/ 1073 w 9841"/>
                <a:gd name="connsiteY44" fmla="*/ 2590 h 10000"/>
                <a:gd name="connsiteX45" fmla="*/ 543 w 9841"/>
                <a:gd name="connsiteY45" fmla="*/ 3347 h 10000"/>
                <a:gd name="connsiteX46" fmla="*/ 492 w 9841"/>
                <a:gd name="connsiteY46" fmla="*/ 3347 h 10000"/>
                <a:gd name="connsiteX47" fmla="*/ 700 w 9841"/>
                <a:gd name="connsiteY47" fmla="*/ 3789 h 10000"/>
                <a:gd name="connsiteX48" fmla="*/ 436 w 9841"/>
                <a:gd name="connsiteY48" fmla="*/ 4225 h 10000"/>
                <a:gd name="connsiteX49" fmla="*/ 620 w 9841"/>
                <a:gd name="connsiteY49" fmla="*/ 4503 h 10000"/>
                <a:gd name="connsiteX50" fmla="*/ 543 w 9841"/>
                <a:gd name="connsiteY50" fmla="*/ 4941 h 10000"/>
                <a:gd name="connsiteX51" fmla="*/ 436 w 9841"/>
                <a:gd name="connsiteY51" fmla="*/ 5184 h 10000"/>
                <a:gd name="connsiteX52" fmla="*/ 620 w 9841"/>
                <a:gd name="connsiteY52" fmla="*/ 5662 h 10000"/>
                <a:gd name="connsiteX53" fmla="*/ 306 w 9841"/>
                <a:gd name="connsiteY53" fmla="*/ 6414 h 10000"/>
                <a:gd name="connsiteX54" fmla="*/ 543 w 9841"/>
                <a:gd name="connsiteY54" fmla="*/ 6856 h 10000"/>
                <a:gd name="connsiteX55" fmla="*/ 121 w 9841"/>
                <a:gd name="connsiteY55" fmla="*/ 7609 h 10000"/>
                <a:gd name="connsiteX56" fmla="*/ 332 w 9841"/>
                <a:gd name="connsiteY56" fmla="*/ 8008 h 10000"/>
                <a:gd name="connsiteX57" fmla="*/ 13 w 9841"/>
                <a:gd name="connsiteY57" fmla="*/ 8649 h 10000"/>
                <a:gd name="connsiteX58" fmla="*/ 436 w 9841"/>
                <a:gd name="connsiteY58" fmla="*/ 8883 h 10000"/>
                <a:gd name="connsiteX59" fmla="*/ 306 w 9841"/>
                <a:gd name="connsiteY59" fmla="*/ 9404 h 10000"/>
                <a:gd name="connsiteX60" fmla="*/ 411 w 9841"/>
                <a:gd name="connsiteY60" fmla="*/ 10000 h 10000"/>
                <a:gd name="connsiteX61" fmla="*/ 1129 w 9841"/>
                <a:gd name="connsiteY61" fmla="*/ 9453 h 10000"/>
                <a:gd name="connsiteX62" fmla="*/ 1544 w 9841"/>
                <a:gd name="connsiteY62" fmla="*/ 8972 h 10000"/>
                <a:gd name="connsiteX63" fmla="*/ 2043 w 9841"/>
                <a:gd name="connsiteY63" fmla="*/ 8981 h 10000"/>
                <a:gd name="connsiteX64" fmla="*/ 2575 w 9841"/>
                <a:gd name="connsiteY64" fmla="*/ 8695 h 10000"/>
                <a:gd name="connsiteX65" fmla="*/ 3232 w 9841"/>
                <a:gd name="connsiteY65" fmla="*/ 8242 h 10000"/>
                <a:gd name="connsiteX66" fmla="*/ 3448 w 9841"/>
                <a:gd name="connsiteY66" fmla="*/ 7896 h 10000"/>
                <a:gd name="connsiteX67" fmla="*/ 3895 w 9841"/>
                <a:gd name="connsiteY67" fmla="*/ 7230 h 10000"/>
                <a:gd name="connsiteX68" fmla="*/ 4629 w 9841"/>
                <a:gd name="connsiteY68" fmla="*/ 7695 h 10000"/>
                <a:gd name="connsiteX69" fmla="*/ 4943 w 9841"/>
                <a:gd name="connsiteY69" fmla="*/ 7665 h 10000"/>
                <a:gd name="connsiteX70" fmla="*/ 4879 w 9841"/>
                <a:gd name="connsiteY70" fmla="*/ 7091 h 10000"/>
                <a:gd name="connsiteX71" fmla="*/ 4925 w 9841"/>
                <a:gd name="connsiteY71" fmla="*/ 6356 h 10000"/>
                <a:gd name="connsiteX72" fmla="*/ 5634 w 9841"/>
                <a:gd name="connsiteY72" fmla="*/ 6191 h 10000"/>
                <a:gd name="connsiteX73" fmla="*/ 5533 w 9841"/>
                <a:gd name="connsiteY73" fmla="*/ 7066 h 10000"/>
                <a:gd name="connsiteX0" fmla="*/ 9649 w 9790"/>
                <a:gd name="connsiteY0" fmla="*/ 1760 h 10000"/>
                <a:gd name="connsiteX1" fmla="*/ 9680 w 9790"/>
                <a:gd name="connsiteY1" fmla="*/ 2195 h 10000"/>
                <a:gd name="connsiteX2" fmla="*/ 9785 w 9790"/>
                <a:gd name="connsiteY2" fmla="*/ 2311 h 10000"/>
                <a:gd name="connsiteX3" fmla="*/ 9706 w 9790"/>
                <a:gd name="connsiteY3" fmla="*/ 2631 h 10000"/>
                <a:gd name="connsiteX4" fmla="*/ 9490 w 9790"/>
                <a:gd name="connsiteY4" fmla="*/ 2712 h 10000"/>
                <a:gd name="connsiteX5" fmla="*/ 9275 w 9790"/>
                <a:gd name="connsiteY5" fmla="*/ 2953 h 10000"/>
                <a:gd name="connsiteX6" fmla="*/ 9463 w 9790"/>
                <a:gd name="connsiteY6" fmla="*/ 3267 h 10000"/>
                <a:gd name="connsiteX7" fmla="*/ 9439 w 9790"/>
                <a:gd name="connsiteY7" fmla="*/ 3509 h 10000"/>
                <a:gd name="connsiteX8" fmla="*/ 9034 w 9790"/>
                <a:gd name="connsiteY8" fmla="*/ 3789 h 10000"/>
                <a:gd name="connsiteX9" fmla="*/ 8847 w 9790"/>
                <a:gd name="connsiteY9" fmla="*/ 4263 h 10000"/>
                <a:gd name="connsiteX10" fmla="*/ 8364 w 9790"/>
                <a:gd name="connsiteY10" fmla="*/ 3310 h 10000"/>
                <a:gd name="connsiteX11" fmla="*/ 8175 w 9790"/>
                <a:gd name="connsiteY11" fmla="*/ 3629 h 10000"/>
                <a:gd name="connsiteX12" fmla="*/ 8442 w 9790"/>
                <a:gd name="connsiteY12" fmla="*/ 4027 h 10000"/>
                <a:gd name="connsiteX13" fmla="*/ 8228 w 9790"/>
                <a:gd name="connsiteY13" fmla="*/ 4303 h 10000"/>
                <a:gd name="connsiteX14" fmla="*/ 8282 w 9790"/>
                <a:gd name="connsiteY14" fmla="*/ 4503 h 10000"/>
                <a:gd name="connsiteX15" fmla="*/ 7854 w 9790"/>
                <a:gd name="connsiteY15" fmla="*/ 4978 h 10000"/>
                <a:gd name="connsiteX16" fmla="*/ 7399 w 9790"/>
                <a:gd name="connsiteY16" fmla="*/ 4585 h 10000"/>
                <a:gd name="connsiteX17" fmla="*/ 6164 w 9790"/>
                <a:gd name="connsiteY17" fmla="*/ 5579 h 10000"/>
                <a:gd name="connsiteX18" fmla="*/ 6055 w 9790"/>
                <a:gd name="connsiteY18" fmla="*/ 5142 h 10000"/>
                <a:gd name="connsiteX19" fmla="*/ 5894 w 9790"/>
                <a:gd name="connsiteY19" fmla="*/ 4861 h 10000"/>
                <a:gd name="connsiteX20" fmla="*/ 5948 w 9790"/>
                <a:gd name="connsiteY20" fmla="*/ 4542 h 10000"/>
                <a:gd name="connsiteX21" fmla="*/ 5786 w 9790"/>
                <a:gd name="connsiteY21" fmla="*/ 4225 h 10000"/>
                <a:gd name="connsiteX22" fmla="*/ 5545 w 9790"/>
                <a:gd name="connsiteY22" fmla="*/ 4185 h 10000"/>
                <a:gd name="connsiteX23" fmla="*/ 5598 w 9790"/>
                <a:gd name="connsiteY23" fmla="*/ 3748 h 10000"/>
                <a:gd name="connsiteX24" fmla="*/ 5409 w 9790"/>
                <a:gd name="connsiteY24" fmla="*/ 3587 h 10000"/>
                <a:gd name="connsiteX25" fmla="*/ 5222 w 9790"/>
                <a:gd name="connsiteY25" fmla="*/ 3032 h 10000"/>
                <a:gd name="connsiteX26" fmla="*/ 4979 w 9790"/>
                <a:gd name="connsiteY26" fmla="*/ 3032 h 10000"/>
                <a:gd name="connsiteX27" fmla="*/ 4740 w 9790"/>
                <a:gd name="connsiteY27" fmla="*/ 2751 h 10000"/>
                <a:gd name="connsiteX28" fmla="*/ 4740 w 9790"/>
                <a:gd name="connsiteY28" fmla="*/ 2631 h 10000"/>
                <a:gd name="connsiteX29" fmla="*/ 4523 w 9790"/>
                <a:gd name="connsiteY29" fmla="*/ 2791 h 10000"/>
                <a:gd name="connsiteX30" fmla="*/ 4257 w 9790"/>
                <a:gd name="connsiteY30" fmla="*/ 2514 h 10000"/>
                <a:gd name="connsiteX31" fmla="*/ 4390 w 9790"/>
                <a:gd name="connsiteY31" fmla="*/ 2113 h 10000"/>
                <a:gd name="connsiteX32" fmla="*/ 4174 w 9790"/>
                <a:gd name="connsiteY32" fmla="*/ 1794 h 10000"/>
                <a:gd name="connsiteX33" fmla="*/ 4338 w 9790"/>
                <a:gd name="connsiteY33" fmla="*/ 1318 h 10000"/>
                <a:gd name="connsiteX34" fmla="*/ 3800 w 9790"/>
                <a:gd name="connsiteY34" fmla="*/ 679 h 10000"/>
                <a:gd name="connsiteX35" fmla="*/ 3478 w 9790"/>
                <a:gd name="connsiteY35" fmla="*/ 879 h 10000"/>
                <a:gd name="connsiteX36" fmla="*/ 2859 w 9790"/>
                <a:gd name="connsiteY36" fmla="*/ 521 h 10000"/>
                <a:gd name="connsiteX37" fmla="*/ 2617 w 9790"/>
                <a:gd name="connsiteY37" fmla="*/ 756 h 10000"/>
                <a:gd name="connsiteX38" fmla="*/ 2027 w 9790"/>
                <a:gd name="connsiteY38" fmla="*/ 42 h 10000"/>
                <a:gd name="connsiteX39" fmla="*/ 1545 w 9790"/>
                <a:gd name="connsiteY39" fmla="*/ 1038 h 10000"/>
                <a:gd name="connsiteX40" fmla="*/ 1545 w 9790"/>
                <a:gd name="connsiteY40" fmla="*/ 1634 h 10000"/>
                <a:gd name="connsiteX41" fmla="*/ 1195 w 9790"/>
                <a:gd name="connsiteY41" fmla="*/ 1159 h 10000"/>
                <a:gd name="connsiteX42" fmla="*/ 795 w 9790"/>
                <a:gd name="connsiteY42" fmla="*/ 1953 h 10000"/>
                <a:gd name="connsiteX43" fmla="*/ 1090 w 9790"/>
                <a:gd name="connsiteY43" fmla="*/ 2590 h 10000"/>
                <a:gd name="connsiteX44" fmla="*/ 552 w 9790"/>
                <a:gd name="connsiteY44" fmla="*/ 3347 h 10000"/>
                <a:gd name="connsiteX45" fmla="*/ 500 w 9790"/>
                <a:gd name="connsiteY45" fmla="*/ 3347 h 10000"/>
                <a:gd name="connsiteX46" fmla="*/ 711 w 9790"/>
                <a:gd name="connsiteY46" fmla="*/ 3789 h 10000"/>
                <a:gd name="connsiteX47" fmla="*/ 443 w 9790"/>
                <a:gd name="connsiteY47" fmla="*/ 4225 h 10000"/>
                <a:gd name="connsiteX48" fmla="*/ 630 w 9790"/>
                <a:gd name="connsiteY48" fmla="*/ 4503 h 10000"/>
                <a:gd name="connsiteX49" fmla="*/ 552 w 9790"/>
                <a:gd name="connsiteY49" fmla="*/ 4941 h 10000"/>
                <a:gd name="connsiteX50" fmla="*/ 443 w 9790"/>
                <a:gd name="connsiteY50" fmla="*/ 5184 h 10000"/>
                <a:gd name="connsiteX51" fmla="*/ 630 w 9790"/>
                <a:gd name="connsiteY51" fmla="*/ 5662 h 10000"/>
                <a:gd name="connsiteX52" fmla="*/ 311 w 9790"/>
                <a:gd name="connsiteY52" fmla="*/ 6414 h 10000"/>
                <a:gd name="connsiteX53" fmla="*/ 552 w 9790"/>
                <a:gd name="connsiteY53" fmla="*/ 6856 h 10000"/>
                <a:gd name="connsiteX54" fmla="*/ 123 w 9790"/>
                <a:gd name="connsiteY54" fmla="*/ 7609 h 10000"/>
                <a:gd name="connsiteX55" fmla="*/ 337 w 9790"/>
                <a:gd name="connsiteY55" fmla="*/ 8008 h 10000"/>
                <a:gd name="connsiteX56" fmla="*/ 13 w 9790"/>
                <a:gd name="connsiteY56" fmla="*/ 8649 h 10000"/>
                <a:gd name="connsiteX57" fmla="*/ 443 w 9790"/>
                <a:gd name="connsiteY57" fmla="*/ 8883 h 10000"/>
                <a:gd name="connsiteX58" fmla="*/ 311 w 9790"/>
                <a:gd name="connsiteY58" fmla="*/ 9404 h 10000"/>
                <a:gd name="connsiteX59" fmla="*/ 418 w 9790"/>
                <a:gd name="connsiteY59" fmla="*/ 10000 h 10000"/>
                <a:gd name="connsiteX60" fmla="*/ 1147 w 9790"/>
                <a:gd name="connsiteY60" fmla="*/ 9453 h 10000"/>
                <a:gd name="connsiteX61" fmla="*/ 1569 w 9790"/>
                <a:gd name="connsiteY61" fmla="*/ 8972 h 10000"/>
                <a:gd name="connsiteX62" fmla="*/ 2076 w 9790"/>
                <a:gd name="connsiteY62" fmla="*/ 8981 h 10000"/>
                <a:gd name="connsiteX63" fmla="*/ 2617 w 9790"/>
                <a:gd name="connsiteY63" fmla="*/ 8695 h 10000"/>
                <a:gd name="connsiteX64" fmla="*/ 3284 w 9790"/>
                <a:gd name="connsiteY64" fmla="*/ 8242 h 10000"/>
                <a:gd name="connsiteX65" fmla="*/ 3504 w 9790"/>
                <a:gd name="connsiteY65" fmla="*/ 7896 h 10000"/>
                <a:gd name="connsiteX66" fmla="*/ 3958 w 9790"/>
                <a:gd name="connsiteY66" fmla="*/ 7230 h 10000"/>
                <a:gd name="connsiteX67" fmla="*/ 4704 w 9790"/>
                <a:gd name="connsiteY67" fmla="*/ 7695 h 10000"/>
                <a:gd name="connsiteX68" fmla="*/ 5023 w 9790"/>
                <a:gd name="connsiteY68" fmla="*/ 7665 h 10000"/>
                <a:gd name="connsiteX69" fmla="*/ 4958 w 9790"/>
                <a:gd name="connsiteY69" fmla="*/ 7091 h 10000"/>
                <a:gd name="connsiteX70" fmla="*/ 5005 w 9790"/>
                <a:gd name="connsiteY70" fmla="*/ 6356 h 10000"/>
                <a:gd name="connsiteX71" fmla="*/ 5725 w 9790"/>
                <a:gd name="connsiteY71" fmla="*/ 6191 h 10000"/>
                <a:gd name="connsiteX72" fmla="*/ 5622 w 9790"/>
                <a:gd name="connsiteY72" fmla="*/ 7066 h 10000"/>
                <a:gd name="connsiteX0" fmla="*/ 9888 w 10000"/>
                <a:gd name="connsiteY0" fmla="*/ 2195 h 10000"/>
                <a:gd name="connsiteX1" fmla="*/ 9995 w 10000"/>
                <a:gd name="connsiteY1" fmla="*/ 2311 h 10000"/>
                <a:gd name="connsiteX2" fmla="*/ 9914 w 10000"/>
                <a:gd name="connsiteY2" fmla="*/ 2631 h 10000"/>
                <a:gd name="connsiteX3" fmla="*/ 9694 w 10000"/>
                <a:gd name="connsiteY3" fmla="*/ 2712 h 10000"/>
                <a:gd name="connsiteX4" fmla="*/ 9474 w 10000"/>
                <a:gd name="connsiteY4" fmla="*/ 2953 h 10000"/>
                <a:gd name="connsiteX5" fmla="*/ 9666 w 10000"/>
                <a:gd name="connsiteY5" fmla="*/ 3267 h 10000"/>
                <a:gd name="connsiteX6" fmla="*/ 9641 w 10000"/>
                <a:gd name="connsiteY6" fmla="*/ 3509 h 10000"/>
                <a:gd name="connsiteX7" fmla="*/ 9228 w 10000"/>
                <a:gd name="connsiteY7" fmla="*/ 3789 h 10000"/>
                <a:gd name="connsiteX8" fmla="*/ 9037 w 10000"/>
                <a:gd name="connsiteY8" fmla="*/ 4263 h 10000"/>
                <a:gd name="connsiteX9" fmla="*/ 8543 w 10000"/>
                <a:gd name="connsiteY9" fmla="*/ 3310 h 10000"/>
                <a:gd name="connsiteX10" fmla="*/ 8350 w 10000"/>
                <a:gd name="connsiteY10" fmla="*/ 3629 h 10000"/>
                <a:gd name="connsiteX11" fmla="*/ 8623 w 10000"/>
                <a:gd name="connsiteY11" fmla="*/ 4027 h 10000"/>
                <a:gd name="connsiteX12" fmla="*/ 8404 w 10000"/>
                <a:gd name="connsiteY12" fmla="*/ 4303 h 10000"/>
                <a:gd name="connsiteX13" fmla="*/ 8460 w 10000"/>
                <a:gd name="connsiteY13" fmla="*/ 4503 h 10000"/>
                <a:gd name="connsiteX14" fmla="*/ 8022 w 10000"/>
                <a:gd name="connsiteY14" fmla="*/ 4978 h 10000"/>
                <a:gd name="connsiteX15" fmla="*/ 7558 w 10000"/>
                <a:gd name="connsiteY15" fmla="*/ 4585 h 10000"/>
                <a:gd name="connsiteX16" fmla="*/ 6296 w 10000"/>
                <a:gd name="connsiteY16" fmla="*/ 5579 h 10000"/>
                <a:gd name="connsiteX17" fmla="*/ 6185 w 10000"/>
                <a:gd name="connsiteY17" fmla="*/ 5142 h 10000"/>
                <a:gd name="connsiteX18" fmla="*/ 6020 w 10000"/>
                <a:gd name="connsiteY18" fmla="*/ 4861 h 10000"/>
                <a:gd name="connsiteX19" fmla="*/ 6076 w 10000"/>
                <a:gd name="connsiteY19" fmla="*/ 4542 h 10000"/>
                <a:gd name="connsiteX20" fmla="*/ 5910 w 10000"/>
                <a:gd name="connsiteY20" fmla="*/ 4225 h 10000"/>
                <a:gd name="connsiteX21" fmla="*/ 5664 w 10000"/>
                <a:gd name="connsiteY21" fmla="*/ 4185 h 10000"/>
                <a:gd name="connsiteX22" fmla="*/ 5718 w 10000"/>
                <a:gd name="connsiteY22" fmla="*/ 3748 h 10000"/>
                <a:gd name="connsiteX23" fmla="*/ 5525 w 10000"/>
                <a:gd name="connsiteY23" fmla="*/ 3587 h 10000"/>
                <a:gd name="connsiteX24" fmla="*/ 5334 w 10000"/>
                <a:gd name="connsiteY24" fmla="*/ 3032 h 10000"/>
                <a:gd name="connsiteX25" fmla="*/ 5086 w 10000"/>
                <a:gd name="connsiteY25" fmla="*/ 3032 h 10000"/>
                <a:gd name="connsiteX26" fmla="*/ 4842 w 10000"/>
                <a:gd name="connsiteY26" fmla="*/ 2751 h 10000"/>
                <a:gd name="connsiteX27" fmla="*/ 4842 w 10000"/>
                <a:gd name="connsiteY27" fmla="*/ 2631 h 10000"/>
                <a:gd name="connsiteX28" fmla="*/ 4620 w 10000"/>
                <a:gd name="connsiteY28" fmla="*/ 2791 h 10000"/>
                <a:gd name="connsiteX29" fmla="*/ 4348 w 10000"/>
                <a:gd name="connsiteY29" fmla="*/ 2514 h 10000"/>
                <a:gd name="connsiteX30" fmla="*/ 4484 w 10000"/>
                <a:gd name="connsiteY30" fmla="*/ 2113 h 10000"/>
                <a:gd name="connsiteX31" fmla="*/ 4264 w 10000"/>
                <a:gd name="connsiteY31" fmla="*/ 1794 h 10000"/>
                <a:gd name="connsiteX32" fmla="*/ 4431 w 10000"/>
                <a:gd name="connsiteY32" fmla="*/ 1318 h 10000"/>
                <a:gd name="connsiteX33" fmla="*/ 3882 w 10000"/>
                <a:gd name="connsiteY33" fmla="*/ 679 h 10000"/>
                <a:gd name="connsiteX34" fmla="*/ 3553 w 10000"/>
                <a:gd name="connsiteY34" fmla="*/ 879 h 10000"/>
                <a:gd name="connsiteX35" fmla="*/ 2920 w 10000"/>
                <a:gd name="connsiteY35" fmla="*/ 521 h 10000"/>
                <a:gd name="connsiteX36" fmla="*/ 2673 w 10000"/>
                <a:gd name="connsiteY36" fmla="*/ 756 h 10000"/>
                <a:gd name="connsiteX37" fmla="*/ 2070 w 10000"/>
                <a:gd name="connsiteY37" fmla="*/ 42 h 10000"/>
                <a:gd name="connsiteX38" fmla="*/ 1578 w 10000"/>
                <a:gd name="connsiteY38" fmla="*/ 1038 h 10000"/>
                <a:gd name="connsiteX39" fmla="*/ 1578 w 10000"/>
                <a:gd name="connsiteY39" fmla="*/ 1634 h 10000"/>
                <a:gd name="connsiteX40" fmla="*/ 1221 w 10000"/>
                <a:gd name="connsiteY40" fmla="*/ 1159 h 10000"/>
                <a:gd name="connsiteX41" fmla="*/ 812 w 10000"/>
                <a:gd name="connsiteY41" fmla="*/ 1953 h 10000"/>
                <a:gd name="connsiteX42" fmla="*/ 1113 w 10000"/>
                <a:gd name="connsiteY42" fmla="*/ 2590 h 10000"/>
                <a:gd name="connsiteX43" fmla="*/ 564 w 10000"/>
                <a:gd name="connsiteY43" fmla="*/ 3347 h 10000"/>
                <a:gd name="connsiteX44" fmla="*/ 511 w 10000"/>
                <a:gd name="connsiteY44" fmla="*/ 3347 h 10000"/>
                <a:gd name="connsiteX45" fmla="*/ 726 w 10000"/>
                <a:gd name="connsiteY45" fmla="*/ 3789 h 10000"/>
                <a:gd name="connsiteX46" fmla="*/ 453 w 10000"/>
                <a:gd name="connsiteY46" fmla="*/ 4225 h 10000"/>
                <a:gd name="connsiteX47" fmla="*/ 644 w 10000"/>
                <a:gd name="connsiteY47" fmla="*/ 4503 h 10000"/>
                <a:gd name="connsiteX48" fmla="*/ 564 w 10000"/>
                <a:gd name="connsiteY48" fmla="*/ 4941 h 10000"/>
                <a:gd name="connsiteX49" fmla="*/ 453 w 10000"/>
                <a:gd name="connsiteY49" fmla="*/ 5184 h 10000"/>
                <a:gd name="connsiteX50" fmla="*/ 644 w 10000"/>
                <a:gd name="connsiteY50" fmla="*/ 5662 h 10000"/>
                <a:gd name="connsiteX51" fmla="*/ 318 w 10000"/>
                <a:gd name="connsiteY51" fmla="*/ 6414 h 10000"/>
                <a:gd name="connsiteX52" fmla="*/ 564 w 10000"/>
                <a:gd name="connsiteY52" fmla="*/ 6856 h 10000"/>
                <a:gd name="connsiteX53" fmla="*/ 126 w 10000"/>
                <a:gd name="connsiteY53" fmla="*/ 7609 h 10000"/>
                <a:gd name="connsiteX54" fmla="*/ 344 w 10000"/>
                <a:gd name="connsiteY54" fmla="*/ 8008 h 10000"/>
                <a:gd name="connsiteX55" fmla="*/ 13 w 10000"/>
                <a:gd name="connsiteY55" fmla="*/ 8649 h 10000"/>
                <a:gd name="connsiteX56" fmla="*/ 453 w 10000"/>
                <a:gd name="connsiteY56" fmla="*/ 8883 h 10000"/>
                <a:gd name="connsiteX57" fmla="*/ 318 w 10000"/>
                <a:gd name="connsiteY57" fmla="*/ 9404 h 10000"/>
                <a:gd name="connsiteX58" fmla="*/ 427 w 10000"/>
                <a:gd name="connsiteY58" fmla="*/ 10000 h 10000"/>
                <a:gd name="connsiteX59" fmla="*/ 1172 w 10000"/>
                <a:gd name="connsiteY59" fmla="*/ 9453 h 10000"/>
                <a:gd name="connsiteX60" fmla="*/ 1603 w 10000"/>
                <a:gd name="connsiteY60" fmla="*/ 8972 h 10000"/>
                <a:gd name="connsiteX61" fmla="*/ 2121 w 10000"/>
                <a:gd name="connsiteY61" fmla="*/ 8981 h 10000"/>
                <a:gd name="connsiteX62" fmla="*/ 2673 w 10000"/>
                <a:gd name="connsiteY62" fmla="*/ 8695 h 10000"/>
                <a:gd name="connsiteX63" fmla="*/ 3354 w 10000"/>
                <a:gd name="connsiteY63" fmla="*/ 8242 h 10000"/>
                <a:gd name="connsiteX64" fmla="*/ 3579 w 10000"/>
                <a:gd name="connsiteY64" fmla="*/ 7896 h 10000"/>
                <a:gd name="connsiteX65" fmla="*/ 4043 w 10000"/>
                <a:gd name="connsiteY65" fmla="*/ 7230 h 10000"/>
                <a:gd name="connsiteX66" fmla="*/ 4805 w 10000"/>
                <a:gd name="connsiteY66" fmla="*/ 7695 h 10000"/>
                <a:gd name="connsiteX67" fmla="*/ 5131 w 10000"/>
                <a:gd name="connsiteY67" fmla="*/ 7665 h 10000"/>
                <a:gd name="connsiteX68" fmla="*/ 5064 w 10000"/>
                <a:gd name="connsiteY68" fmla="*/ 7091 h 10000"/>
                <a:gd name="connsiteX69" fmla="*/ 5112 w 10000"/>
                <a:gd name="connsiteY69" fmla="*/ 6356 h 10000"/>
                <a:gd name="connsiteX70" fmla="*/ 5848 w 10000"/>
                <a:gd name="connsiteY70" fmla="*/ 6191 h 10000"/>
                <a:gd name="connsiteX71" fmla="*/ 5743 w 10000"/>
                <a:gd name="connsiteY71" fmla="*/ 7066 h 10000"/>
                <a:gd name="connsiteX0" fmla="*/ 9888 w 9924"/>
                <a:gd name="connsiteY0" fmla="*/ 2195 h 10000"/>
                <a:gd name="connsiteX1" fmla="*/ 9914 w 9924"/>
                <a:gd name="connsiteY1" fmla="*/ 2631 h 10000"/>
                <a:gd name="connsiteX2" fmla="*/ 9694 w 9924"/>
                <a:gd name="connsiteY2" fmla="*/ 2712 h 10000"/>
                <a:gd name="connsiteX3" fmla="*/ 9474 w 9924"/>
                <a:gd name="connsiteY3" fmla="*/ 2953 h 10000"/>
                <a:gd name="connsiteX4" fmla="*/ 9666 w 9924"/>
                <a:gd name="connsiteY4" fmla="*/ 3267 h 10000"/>
                <a:gd name="connsiteX5" fmla="*/ 9641 w 9924"/>
                <a:gd name="connsiteY5" fmla="*/ 3509 h 10000"/>
                <a:gd name="connsiteX6" fmla="*/ 9228 w 9924"/>
                <a:gd name="connsiteY6" fmla="*/ 3789 h 10000"/>
                <a:gd name="connsiteX7" fmla="*/ 9037 w 9924"/>
                <a:gd name="connsiteY7" fmla="*/ 4263 h 10000"/>
                <a:gd name="connsiteX8" fmla="*/ 8543 w 9924"/>
                <a:gd name="connsiteY8" fmla="*/ 3310 h 10000"/>
                <a:gd name="connsiteX9" fmla="*/ 8350 w 9924"/>
                <a:gd name="connsiteY9" fmla="*/ 3629 h 10000"/>
                <a:gd name="connsiteX10" fmla="*/ 8623 w 9924"/>
                <a:gd name="connsiteY10" fmla="*/ 4027 h 10000"/>
                <a:gd name="connsiteX11" fmla="*/ 8404 w 9924"/>
                <a:gd name="connsiteY11" fmla="*/ 4303 h 10000"/>
                <a:gd name="connsiteX12" fmla="*/ 8460 w 9924"/>
                <a:gd name="connsiteY12" fmla="*/ 4503 h 10000"/>
                <a:gd name="connsiteX13" fmla="*/ 8022 w 9924"/>
                <a:gd name="connsiteY13" fmla="*/ 4978 h 10000"/>
                <a:gd name="connsiteX14" fmla="*/ 7558 w 9924"/>
                <a:gd name="connsiteY14" fmla="*/ 4585 h 10000"/>
                <a:gd name="connsiteX15" fmla="*/ 6296 w 9924"/>
                <a:gd name="connsiteY15" fmla="*/ 5579 h 10000"/>
                <a:gd name="connsiteX16" fmla="*/ 6185 w 9924"/>
                <a:gd name="connsiteY16" fmla="*/ 5142 h 10000"/>
                <a:gd name="connsiteX17" fmla="*/ 6020 w 9924"/>
                <a:gd name="connsiteY17" fmla="*/ 4861 h 10000"/>
                <a:gd name="connsiteX18" fmla="*/ 6076 w 9924"/>
                <a:gd name="connsiteY18" fmla="*/ 4542 h 10000"/>
                <a:gd name="connsiteX19" fmla="*/ 5910 w 9924"/>
                <a:gd name="connsiteY19" fmla="*/ 4225 h 10000"/>
                <a:gd name="connsiteX20" fmla="*/ 5664 w 9924"/>
                <a:gd name="connsiteY20" fmla="*/ 4185 h 10000"/>
                <a:gd name="connsiteX21" fmla="*/ 5718 w 9924"/>
                <a:gd name="connsiteY21" fmla="*/ 3748 h 10000"/>
                <a:gd name="connsiteX22" fmla="*/ 5525 w 9924"/>
                <a:gd name="connsiteY22" fmla="*/ 3587 h 10000"/>
                <a:gd name="connsiteX23" fmla="*/ 5334 w 9924"/>
                <a:gd name="connsiteY23" fmla="*/ 3032 h 10000"/>
                <a:gd name="connsiteX24" fmla="*/ 5086 w 9924"/>
                <a:gd name="connsiteY24" fmla="*/ 3032 h 10000"/>
                <a:gd name="connsiteX25" fmla="*/ 4842 w 9924"/>
                <a:gd name="connsiteY25" fmla="*/ 2751 h 10000"/>
                <a:gd name="connsiteX26" fmla="*/ 4842 w 9924"/>
                <a:gd name="connsiteY26" fmla="*/ 2631 h 10000"/>
                <a:gd name="connsiteX27" fmla="*/ 4620 w 9924"/>
                <a:gd name="connsiteY27" fmla="*/ 2791 h 10000"/>
                <a:gd name="connsiteX28" fmla="*/ 4348 w 9924"/>
                <a:gd name="connsiteY28" fmla="*/ 2514 h 10000"/>
                <a:gd name="connsiteX29" fmla="*/ 4484 w 9924"/>
                <a:gd name="connsiteY29" fmla="*/ 2113 h 10000"/>
                <a:gd name="connsiteX30" fmla="*/ 4264 w 9924"/>
                <a:gd name="connsiteY30" fmla="*/ 1794 h 10000"/>
                <a:gd name="connsiteX31" fmla="*/ 4431 w 9924"/>
                <a:gd name="connsiteY31" fmla="*/ 1318 h 10000"/>
                <a:gd name="connsiteX32" fmla="*/ 3882 w 9924"/>
                <a:gd name="connsiteY32" fmla="*/ 679 h 10000"/>
                <a:gd name="connsiteX33" fmla="*/ 3553 w 9924"/>
                <a:gd name="connsiteY33" fmla="*/ 879 h 10000"/>
                <a:gd name="connsiteX34" fmla="*/ 2920 w 9924"/>
                <a:gd name="connsiteY34" fmla="*/ 521 h 10000"/>
                <a:gd name="connsiteX35" fmla="*/ 2673 w 9924"/>
                <a:gd name="connsiteY35" fmla="*/ 756 h 10000"/>
                <a:gd name="connsiteX36" fmla="*/ 2070 w 9924"/>
                <a:gd name="connsiteY36" fmla="*/ 42 h 10000"/>
                <a:gd name="connsiteX37" fmla="*/ 1578 w 9924"/>
                <a:gd name="connsiteY37" fmla="*/ 1038 h 10000"/>
                <a:gd name="connsiteX38" fmla="*/ 1578 w 9924"/>
                <a:gd name="connsiteY38" fmla="*/ 1634 h 10000"/>
                <a:gd name="connsiteX39" fmla="*/ 1221 w 9924"/>
                <a:gd name="connsiteY39" fmla="*/ 1159 h 10000"/>
                <a:gd name="connsiteX40" fmla="*/ 812 w 9924"/>
                <a:gd name="connsiteY40" fmla="*/ 1953 h 10000"/>
                <a:gd name="connsiteX41" fmla="*/ 1113 w 9924"/>
                <a:gd name="connsiteY41" fmla="*/ 2590 h 10000"/>
                <a:gd name="connsiteX42" fmla="*/ 564 w 9924"/>
                <a:gd name="connsiteY42" fmla="*/ 3347 h 10000"/>
                <a:gd name="connsiteX43" fmla="*/ 511 w 9924"/>
                <a:gd name="connsiteY43" fmla="*/ 3347 h 10000"/>
                <a:gd name="connsiteX44" fmla="*/ 726 w 9924"/>
                <a:gd name="connsiteY44" fmla="*/ 3789 h 10000"/>
                <a:gd name="connsiteX45" fmla="*/ 453 w 9924"/>
                <a:gd name="connsiteY45" fmla="*/ 4225 h 10000"/>
                <a:gd name="connsiteX46" fmla="*/ 644 w 9924"/>
                <a:gd name="connsiteY46" fmla="*/ 4503 h 10000"/>
                <a:gd name="connsiteX47" fmla="*/ 564 w 9924"/>
                <a:gd name="connsiteY47" fmla="*/ 4941 h 10000"/>
                <a:gd name="connsiteX48" fmla="*/ 453 w 9924"/>
                <a:gd name="connsiteY48" fmla="*/ 5184 h 10000"/>
                <a:gd name="connsiteX49" fmla="*/ 644 w 9924"/>
                <a:gd name="connsiteY49" fmla="*/ 5662 h 10000"/>
                <a:gd name="connsiteX50" fmla="*/ 318 w 9924"/>
                <a:gd name="connsiteY50" fmla="*/ 6414 h 10000"/>
                <a:gd name="connsiteX51" fmla="*/ 564 w 9924"/>
                <a:gd name="connsiteY51" fmla="*/ 6856 h 10000"/>
                <a:gd name="connsiteX52" fmla="*/ 126 w 9924"/>
                <a:gd name="connsiteY52" fmla="*/ 7609 h 10000"/>
                <a:gd name="connsiteX53" fmla="*/ 344 w 9924"/>
                <a:gd name="connsiteY53" fmla="*/ 8008 h 10000"/>
                <a:gd name="connsiteX54" fmla="*/ 13 w 9924"/>
                <a:gd name="connsiteY54" fmla="*/ 8649 h 10000"/>
                <a:gd name="connsiteX55" fmla="*/ 453 w 9924"/>
                <a:gd name="connsiteY55" fmla="*/ 8883 h 10000"/>
                <a:gd name="connsiteX56" fmla="*/ 318 w 9924"/>
                <a:gd name="connsiteY56" fmla="*/ 9404 h 10000"/>
                <a:gd name="connsiteX57" fmla="*/ 427 w 9924"/>
                <a:gd name="connsiteY57" fmla="*/ 10000 h 10000"/>
                <a:gd name="connsiteX58" fmla="*/ 1172 w 9924"/>
                <a:gd name="connsiteY58" fmla="*/ 9453 h 10000"/>
                <a:gd name="connsiteX59" fmla="*/ 1603 w 9924"/>
                <a:gd name="connsiteY59" fmla="*/ 8972 h 10000"/>
                <a:gd name="connsiteX60" fmla="*/ 2121 w 9924"/>
                <a:gd name="connsiteY60" fmla="*/ 8981 h 10000"/>
                <a:gd name="connsiteX61" fmla="*/ 2673 w 9924"/>
                <a:gd name="connsiteY61" fmla="*/ 8695 h 10000"/>
                <a:gd name="connsiteX62" fmla="*/ 3354 w 9924"/>
                <a:gd name="connsiteY62" fmla="*/ 8242 h 10000"/>
                <a:gd name="connsiteX63" fmla="*/ 3579 w 9924"/>
                <a:gd name="connsiteY63" fmla="*/ 7896 h 10000"/>
                <a:gd name="connsiteX64" fmla="*/ 4043 w 9924"/>
                <a:gd name="connsiteY64" fmla="*/ 7230 h 10000"/>
                <a:gd name="connsiteX65" fmla="*/ 4805 w 9924"/>
                <a:gd name="connsiteY65" fmla="*/ 7695 h 10000"/>
                <a:gd name="connsiteX66" fmla="*/ 5131 w 9924"/>
                <a:gd name="connsiteY66" fmla="*/ 7665 h 10000"/>
                <a:gd name="connsiteX67" fmla="*/ 5064 w 9924"/>
                <a:gd name="connsiteY67" fmla="*/ 7091 h 10000"/>
                <a:gd name="connsiteX68" fmla="*/ 5112 w 9924"/>
                <a:gd name="connsiteY68" fmla="*/ 6356 h 10000"/>
                <a:gd name="connsiteX69" fmla="*/ 5848 w 9924"/>
                <a:gd name="connsiteY69" fmla="*/ 6191 h 10000"/>
                <a:gd name="connsiteX70" fmla="*/ 5743 w 9924"/>
                <a:gd name="connsiteY70" fmla="*/ 7066 h 10000"/>
                <a:gd name="connsiteX0" fmla="*/ 9991 w 9991"/>
                <a:gd name="connsiteY0" fmla="*/ 2631 h 10000"/>
                <a:gd name="connsiteX1" fmla="*/ 9769 w 9991"/>
                <a:gd name="connsiteY1" fmla="*/ 2712 h 10000"/>
                <a:gd name="connsiteX2" fmla="*/ 9548 w 9991"/>
                <a:gd name="connsiteY2" fmla="*/ 2953 h 10000"/>
                <a:gd name="connsiteX3" fmla="*/ 9741 w 9991"/>
                <a:gd name="connsiteY3" fmla="*/ 3267 h 10000"/>
                <a:gd name="connsiteX4" fmla="*/ 9716 w 9991"/>
                <a:gd name="connsiteY4" fmla="*/ 3509 h 10000"/>
                <a:gd name="connsiteX5" fmla="*/ 9300 w 9991"/>
                <a:gd name="connsiteY5" fmla="*/ 3789 h 10000"/>
                <a:gd name="connsiteX6" fmla="*/ 9107 w 9991"/>
                <a:gd name="connsiteY6" fmla="*/ 4263 h 10000"/>
                <a:gd name="connsiteX7" fmla="*/ 8609 w 9991"/>
                <a:gd name="connsiteY7" fmla="*/ 3310 h 10000"/>
                <a:gd name="connsiteX8" fmla="*/ 8415 w 9991"/>
                <a:gd name="connsiteY8" fmla="*/ 3629 h 10000"/>
                <a:gd name="connsiteX9" fmla="*/ 8690 w 9991"/>
                <a:gd name="connsiteY9" fmla="*/ 4027 h 10000"/>
                <a:gd name="connsiteX10" fmla="*/ 8469 w 9991"/>
                <a:gd name="connsiteY10" fmla="*/ 4303 h 10000"/>
                <a:gd name="connsiteX11" fmla="*/ 8526 w 9991"/>
                <a:gd name="connsiteY11" fmla="*/ 4503 h 10000"/>
                <a:gd name="connsiteX12" fmla="*/ 8084 w 9991"/>
                <a:gd name="connsiteY12" fmla="*/ 4978 h 10000"/>
                <a:gd name="connsiteX13" fmla="*/ 7617 w 9991"/>
                <a:gd name="connsiteY13" fmla="*/ 4585 h 10000"/>
                <a:gd name="connsiteX14" fmla="*/ 6345 w 9991"/>
                <a:gd name="connsiteY14" fmla="*/ 5579 h 10000"/>
                <a:gd name="connsiteX15" fmla="*/ 6233 w 9991"/>
                <a:gd name="connsiteY15" fmla="*/ 5142 h 10000"/>
                <a:gd name="connsiteX16" fmla="*/ 6067 w 9991"/>
                <a:gd name="connsiteY16" fmla="*/ 4861 h 10000"/>
                <a:gd name="connsiteX17" fmla="*/ 6124 w 9991"/>
                <a:gd name="connsiteY17" fmla="*/ 4542 h 10000"/>
                <a:gd name="connsiteX18" fmla="*/ 5956 w 9991"/>
                <a:gd name="connsiteY18" fmla="*/ 4225 h 10000"/>
                <a:gd name="connsiteX19" fmla="*/ 5708 w 9991"/>
                <a:gd name="connsiteY19" fmla="*/ 4185 h 10000"/>
                <a:gd name="connsiteX20" fmla="*/ 5763 w 9991"/>
                <a:gd name="connsiteY20" fmla="*/ 3748 h 10000"/>
                <a:gd name="connsiteX21" fmla="*/ 5568 w 9991"/>
                <a:gd name="connsiteY21" fmla="*/ 3587 h 10000"/>
                <a:gd name="connsiteX22" fmla="*/ 5376 w 9991"/>
                <a:gd name="connsiteY22" fmla="*/ 3032 h 10000"/>
                <a:gd name="connsiteX23" fmla="*/ 5126 w 9991"/>
                <a:gd name="connsiteY23" fmla="*/ 3032 h 10000"/>
                <a:gd name="connsiteX24" fmla="*/ 4880 w 9991"/>
                <a:gd name="connsiteY24" fmla="*/ 2751 h 10000"/>
                <a:gd name="connsiteX25" fmla="*/ 4880 w 9991"/>
                <a:gd name="connsiteY25" fmla="*/ 2631 h 10000"/>
                <a:gd name="connsiteX26" fmla="*/ 4656 w 9991"/>
                <a:gd name="connsiteY26" fmla="*/ 2791 h 10000"/>
                <a:gd name="connsiteX27" fmla="*/ 4382 w 9991"/>
                <a:gd name="connsiteY27" fmla="*/ 2514 h 10000"/>
                <a:gd name="connsiteX28" fmla="*/ 4519 w 9991"/>
                <a:gd name="connsiteY28" fmla="*/ 2113 h 10000"/>
                <a:gd name="connsiteX29" fmla="*/ 4298 w 9991"/>
                <a:gd name="connsiteY29" fmla="*/ 1794 h 10000"/>
                <a:gd name="connsiteX30" fmla="*/ 4466 w 9991"/>
                <a:gd name="connsiteY30" fmla="*/ 1318 h 10000"/>
                <a:gd name="connsiteX31" fmla="*/ 3913 w 9991"/>
                <a:gd name="connsiteY31" fmla="*/ 679 h 10000"/>
                <a:gd name="connsiteX32" fmla="*/ 3581 w 9991"/>
                <a:gd name="connsiteY32" fmla="*/ 879 h 10000"/>
                <a:gd name="connsiteX33" fmla="*/ 2943 w 9991"/>
                <a:gd name="connsiteY33" fmla="*/ 521 h 10000"/>
                <a:gd name="connsiteX34" fmla="*/ 2694 w 9991"/>
                <a:gd name="connsiteY34" fmla="*/ 756 h 10000"/>
                <a:gd name="connsiteX35" fmla="*/ 2087 w 9991"/>
                <a:gd name="connsiteY35" fmla="*/ 42 h 10000"/>
                <a:gd name="connsiteX36" fmla="*/ 1591 w 9991"/>
                <a:gd name="connsiteY36" fmla="*/ 1038 h 10000"/>
                <a:gd name="connsiteX37" fmla="*/ 1591 w 9991"/>
                <a:gd name="connsiteY37" fmla="*/ 1634 h 10000"/>
                <a:gd name="connsiteX38" fmla="*/ 1231 w 9991"/>
                <a:gd name="connsiteY38" fmla="*/ 1159 h 10000"/>
                <a:gd name="connsiteX39" fmla="*/ 819 w 9991"/>
                <a:gd name="connsiteY39" fmla="*/ 1953 h 10000"/>
                <a:gd name="connsiteX40" fmla="*/ 1123 w 9991"/>
                <a:gd name="connsiteY40" fmla="*/ 2590 h 10000"/>
                <a:gd name="connsiteX41" fmla="*/ 569 w 9991"/>
                <a:gd name="connsiteY41" fmla="*/ 3347 h 10000"/>
                <a:gd name="connsiteX42" fmla="*/ 516 w 9991"/>
                <a:gd name="connsiteY42" fmla="*/ 3347 h 10000"/>
                <a:gd name="connsiteX43" fmla="*/ 733 w 9991"/>
                <a:gd name="connsiteY43" fmla="*/ 3789 h 10000"/>
                <a:gd name="connsiteX44" fmla="*/ 457 w 9991"/>
                <a:gd name="connsiteY44" fmla="*/ 4225 h 10000"/>
                <a:gd name="connsiteX45" fmla="*/ 650 w 9991"/>
                <a:gd name="connsiteY45" fmla="*/ 4503 h 10000"/>
                <a:gd name="connsiteX46" fmla="*/ 569 w 9991"/>
                <a:gd name="connsiteY46" fmla="*/ 4941 h 10000"/>
                <a:gd name="connsiteX47" fmla="*/ 457 w 9991"/>
                <a:gd name="connsiteY47" fmla="*/ 5184 h 10000"/>
                <a:gd name="connsiteX48" fmla="*/ 650 w 9991"/>
                <a:gd name="connsiteY48" fmla="*/ 5662 h 10000"/>
                <a:gd name="connsiteX49" fmla="*/ 321 w 9991"/>
                <a:gd name="connsiteY49" fmla="*/ 6414 h 10000"/>
                <a:gd name="connsiteX50" fmla="*/ 569 w 9991"/>
                <a:gd name="connsiteY50" fmla="*/ 6856 h 10000"/>
                <a:gd name="connsiteX51" fmla="*/ 128 w 9991"/>
                <a:gd name="connsiteY51" fmla="*/ 7609 h 10000"/>
                <a:gd name="connsiteX52" fmla="*/ 348 w 9991"/>
                <a:gd name="connsiteY52" fmla="*/ 8008 h 10000"/>
                <a:gd name="connsiteX53" fmla="*/ 14 w 9991"/>
                <a:gd name="connsiteY53" fmla="*/ 8649 h 10000"/>
                <a:gd name="connsiteX54" fmla="*/ 457 w 9991"/>
                <a:gd name="connsiteY54" fmla="*/ 8883 h 10000"/>
                <a:gd name="connsiteX55" fmla="*/ 321 w 9991"/>
                <a:gd name="connsiteY55" fmla="*/ 9404 h 10000"/>
                <a:gd name="connsiteX56" fmla="*/ 431 w 9991"/>
                <a:gd name="connsiteY56" fmla="*/ 10000 h 10000"/>
                <a:gd name="connsiteX57" fmla="*/ 1182 w 9991"/>
                <a:gd name="connsiteY57" fmla="*/ 9453 h 10000"/>
                <a:gd name="connsiteX58" fmla="*/ 1616 w 9991"/>
                <a:gd name="connsiteY58" fmla="*/ 8972 h 10000"/>
                <a:gd name="connsiteX59" fmla="*/ 2138 w 9991"/>
                <a:gd name="connsiteY59" fmla="*/ 8981 h 10000"/>
                <a:gd name="connsiteX60" fmla="*/ 2694 w 9991"/>
                <a:gd name="connsiteY60" fmla="*/ 8695 h 10000"/>
                <a:gd name="connsiteX61" fmla="*/ 3381 w 9991"/>
                <a:gd name="connsiteY61" fmla="*/ 8242 h 10000"/>
                <a:gd name="connsiteX62" fmla="*/ 3607 w 9991"/>
                <a:gd name="connsiteY62" fmla="*/ 7896 h 10000"/>
                <a:gd name="connsiteX63" fmla="*/ 4075 w 9991"/>
                <a:gd name="connsiteY63" fmla="*/ 7230 h 10000"/>
                <a:gd name="connsiteX64" fmla="*/ 4843 w 9991"/>
                <a:gd name="connsiteY64" fmla="*/ 7695 h 10000"/>
                <a:gd name="connsiteX65" fmla="*/ 5171 w 9991"/>
                <a:gd name="connsiteY65" fmla="*/ 7665 h 10000"/>
                <a:gd name="connsiteX66" fmla="*/ 5104 w 9991"/>
                <a:gd name="connsiteY66" fmla="*/ 7091 h 10000"/>
                <a:gd name="connsiteX67" fmla="*/ 5152 w 9991"/>
                <a:gd name="connsiteY67" fmla="*/ 6356 h 10000"/>
                <a:gd name="connsiteX68" fmla="*/ 5894 w 9991"/>
                <a:gd name="connsiteY68" fmla="*/ 6191 h 10000"/>
                <a:gd name="connsiteX69" fmla="*/ 5788 w 9991"/>
                <a:gd name="connsiteY69" fmla="*/ 7066 h 10000"/>
                <a:gd name="connsiteX0" fmla="*/ 9778 w 9778"/>
                <a:gd name="connsiteY0" fmla="*/ 2712 h 10000"/>
                <a:gd name="connsiteX1" fmla="*/ 9557 w 9778"/>
                <a:gd name="connsiteY1" fmla="*/ 2953 h 10000"/>
                <a:gd name="connsiteX2" fmla="*/ 9750 w 9778"/>
                <a:gd name="connsiteY2" fmla="*/ 3267 h 10000"/>
                <a:gd name="connsiteX3" fmla="*/ 9725 w 9778"/>
                <a:gd name="connsiteY3" fmla="*/ 3509 h 10000"/>
                <a:gd name="connsiteX4" fmla="*/ 9308 w 9778"/>
                <a:gd name="connsiteY4" fmla="*/ 3789 h 10000"/>
                <a:gd name="connsiteX5" fmla="*/ 9115 w 9778"/>
                <a:gd name="connsiteY5" fmla="*/ 4263 h 10000"/>
                <a:gd name="connsiteX6" fmla="*/ 8617 w 9778"/>
                <a:gd name="connsiteY6" fmla="*/ 3310 h 10000"/>
                <a:gd name="connsiteX7" fmla="*/ 8423 w 9778"/>
                <a:gd name="connsiteY7" fmla="*/ 3629 h 10000"/>
                <a:gd name="connsiteX8" fmla="*/ 8698 w 9778"/>
                <a:gd name="connsiteY8" fmla="*/ 4027 h 10000"/>
                <a:gd name="connsiteX9" fmla="*/ 8477 w 9778"/>
                <a:gd name="connsiteY9" fmla="*/ 4303 h 10000"/>
                <a:gd name="connsiteX10" fmla="*/ 8534 w 9778"/>
                <a:gd name="connsiteY10" fmla="*/ 4503 h 10000"/>
                <a:gd name="connsiteX11" fmla="*/ 8091 w 9778"/>
                <a:gd name="connsiteY11" fmla="*/ 4978 h 10000"/>
                <a:gd name="connsiteX12" fmla="*/ 7624 w 9778"/>
                <a:gd name="connsiteY12" fmla="*/ 4585 h 10000"/>
                <a:gd name="connsiteX13" fmla="*/ 6351 w 9778"/>
                <a:gd name="connsiteY13" fmla="*/ 5579 h 10000"/>
                <a:gd name="connsiteX14" fmla="*/ 6239 w 9778"/>
                <a:gd name="connsiteY14" fmla="*/ 5142 h 10000"/>
                <a:gd name="connsiteX15" fmla="*/ 6072 w 9778"/>
                <a:gd name="connsiteY15" fmla="*/ 4861 h 10000"/>
                <a:gd name="connsiteX16" fmla="*/ 6130 w 9778"/>
                <a:gd name="connsiteY16" fmla="*/ 4542 h 10000"/>
                <a:gd name="connsiteX17" fmla="*/ 5961 w 9778"/>
                <a:gd name="connsiteY17" fmla="*/ 4225 h 10000"/>
                <a:gd name="connsiteX18" fmla="*/ 5713 w 9778"/>
                <a:gd name="connsiteY18" fmla="*/ 4185 h 10000"/>
                <a:gd name="connsiteX19" fmla="*/ 5768 w 9778"/>
                <a:gd name="connsiteY19" fmla="*/ 3748 h 10000"/>
                <a:gd name="connsiteX20" fmla="*/ 5573 w 9778"/>
                <a:gd name="connsiteY20" fmla="*/ 3587 h 10000"/>
                <a:gd name="connsiteX21" fmla="*/ 5381 w 9778"/>
                <a:gd name="connsiteY21" fmla="*/ 3032 h 10000"/>
                <a:gd name="connsiteX22" fmla="*/ 5131 w 9778"/>
                <a:gd name="connsiteY22" fmla="*/ 3032 h 10000"/>
                <a:gd name="connsiteX23" fmla="*/ 4884 w 9778"/>
                <a:gd name="connsiteY23" fmla="*/ 2751 h 10000"/>
                <a:gd name="connsiteX24" fmla="*/ 4884 w 9778"/>
                <a:gd name="connsiteY24" fmla="*/ 2631 h 10000"/>
                <a:gd name="connsiteX25" fmla="*/ 4660 w 9778"/>
                <a:gd name="connsiteY25" fmla="*/ 2791 h 10000"/>
                <a:gd name="connsiteX26" fmla="*/ 4386 w 9778"/>
                <a:gd name="connsiteY26" fmla="*/ 2514 h 10000"/>
                <a:gd name="connsiteX27" fmla="*/ 4523 w 9778"/>
                <a:gd name="connsiteY27" fmla="*/ 2113 h 10000"/>
                <a:gd name="connsiteX28" fmla="*/ 4302 w 9778"/>
                <a:gd name="connsiteY28" fmla="*/ 1794 h 10000"/>
                <a:gd name="connsiteX29" fmla="*/ 4470 w 9778"/>
                <a:gd name="connsiteY29" fmla="*/ 1318 h 10000"/>
                <a:gd name="connsiteX30" fmla="*/ 3917 w 9778"/>
                <a:gd name="connsiteY30" fmla="*/ 679 h 10000"/>
                <a:gd name="connsiteX31" fmla="*/ 3584 w 9778"/>
                <a:gd name="connsiteY31" fmla="*/ 879 h 10000"/>
                <a:gd name="connsiteX32" fmla="*/ 2946 w 9778"/>
                <a:gd name="connsiteY32" fmla="*/ 521 h 10000"/>
                <a:gd name="connsiteX33" fmla="*/ 2696 w 9778"/>
                <a:gd name="connsiteY33" fmla="*/ 756 h 10000"/>
                <a:gd name="connsiteX34" fmla="*/ 2089 w 9778"/>
                <a:gd name="connsiteY34" fmla="*/ 42 h 10000"/>
                <a:gd name="connsiteX35" fmla="*/ 1592 w 9778"/>
                <a:gd name="connsiteY35" fmla="*/ 1038 h 10000"/>
                <a:gd name="connsiteX36" fmla="*/ 1592 w 9778"/>
                <a:gd name="connsiteY36" fmla="*/ 1634 h 10000"/>
                <a:gd name="connsiteX37" fmla="*/ 1232 w 9778"/>
                <a:gd name="connsiteY37" fmla="*/ 1159 h 10000"/>
                <a:gd name="connsiteX38" fmla="*/ 820 w 9778"/>
                <a:gd name="connsiteY38" fmla="*/ 1953 h 10000"/>
                <a:gd name="connsiteX39" fmla="*/ 1124 w 9778"/>
                <a:gd name="connsiteY39" fmla="*/ 2590 h 10000"/>
                <a:gd name="connsiteX40" fmla="*/ 570 w 9778"/>
                <a:gd name="connsiteY40" fmla="*/ 3347 h 10000"/>
                <a:gd name="connsiteX41" fmla="*/ 516 w 9778"/>
                <a:gd name="connsiteY41" fmla="*/ 3347 h 10000"/>
                <a:gd name="connsiteX42" fmla="*/ 734 w 9778"/>
                <a:gd name="connsiteY42" fmla="*/ 3789 h 10000"/>
                <a:gd name="connsiteX43" fmla="*/ 457 w 9778"/>
                <a:gd name="connsiteY43" fmla="*/ 4225 h 10000"/>
                <a:gd name="connsiteX44" fmla="*/ 651 w 9778"/>
                <a:gd name="connsiteY44" fmla="*/ 4503 h 10000"/>
                <a:gd name="connsiteX45" fmla="*/ 570 w 9778"/>
                <a:gd name="connsiteY45" fmla="*/ 4941 h 10000"/>
                <a:gd name="connsiteX46" fmla="*/ 457 w 9778"/>
                <a:gd name="connsiteY46" fmla="*/ 5184 h 10000"/>
                <a:gd name="connsiteX47" fmla="*/ 651 w 9778"/>
                <a:gd name="connsiteY47" fmla="*/ 5662 h 10000"/>
                <a:gd name="connsiteX48" fmla="*/ 321 w 9778"/>
                <a:gd name="connsiteY48" fmla="*/ 6414 h 10000"/>
                <a:gd name="connsiteX49" fmla="*/ 570 w 9778"/>
                <a:gd name="connsiteY49" fmla="*/ 6856 h 10000"/>
                <a:gd name="connsiteX50" fmla="*/ 128 w 9778"/>
                <a:gd name="connsiteY50" fmla="*/ 7609 h 10000"/>
                <a:gd name="connsiteX51" fmla="*/ 348 w 9778"/>
                <a:gd name="connsiteY51" fmla="*/ 8008 h 10000"/>
                <a:gd name="connsiteX52" fmla="*/ 14 w 9778"/>
                <a:gd name="connsiteY52" fmla="*/ 8649 h 10000"/>
                <a:gd name="connsiteX53" fmla="*/ 457 w 9778"/>
                <a:gd name="connsiteY53" fmla="*/ 8883 h 10000"/>
                <a:gd name="connsiteX54" fmla="*/ 321 w 9778"/>
                <a:gd name="connsiteY54" fmla="*/ 9404 h 10000"/>
                <a:gd name="connsiteX55" fmla="*/ 431 w 9778"/>
                <a:gd name="connsiteY55" fmla="*/ 10000 h 10000"/>
                <a:gd name="connsiteX56" fmla="*/ 1183 w 9778"/>
                <a:gd name="connsiteY56" fmla="*/ 9453 h 10000"/>
                <a:gd name="connsiteX57" fmla="*/ 1617 w 9778"/>
                <a:gd name="connsiteY57" fmla="*/ 8972 h 10000"/>
                <a:gd name="connsiteX58" fmla="*/ 2140 w 9778"/>
                <a:gd name="connsiteY58" fmla="*/ 8981 h 10000"/>
                <a:gd name="connsiteX59" fmla="*/ 2696 w 9778"/>
                <a:gd name="connsiteY59" fmla="*/ 8695 h 10000"/>
                <a:gd name="connsiteX60" fmla="*/ 3384 w 9778"/>
                <a:gd name="connsiteY60" fmla="*/ 8242 h 10000"/>
                <a:gd name="connsiteX61" fmla="*/ 3610 w 9778"/>
                <a:gd name="connsiteY61" fmla="*/ 7896 h 10000"/>
                <a:gd name="connsiteX62" fmla="*/ 4079 w 9778"/>
                <a:gd name="connsiteY62" fmla="*/ 7230 h 10000"/>
                <a:gd name="connsiteX63" fmla="*/ 4847 w 9778"/>
                <a:gd name="connsiteY63" fmla="*/ 7695 h 10000"/>
                <a:gd name="connsiteX64" fmla="*/ 5176 w 9778"/>
                <a:gd name="connsiteY64" fmla="*/ 7665 h 10000"/>
                <a:gd name="connsiteX65" fmla="*/ 5109 w 9778"/>
                <a:gd name="connsiteY65" fmla="*/ 7091 h 10000"/>
                <a:gd name="connsiteX66" fmla="*/ 5157 w 9778"/>
                <a:gd name="connsiteY66" fmla="*/ 6356 h 10000"/>
                <a:gd name="connsiteX67" fmla="*/ 5899 w 9778"/>
                <a:gd name="connsiteY67" fmla="*/ 6191 h 10000"/>
                <a:gd name="connsiteX68" fmla="*/ 5793 w 9778"/>
                <a:gd name="connsiteY68" fmla="*/ 7066 h 10000"/>
                <a:gd name="connsiteX0" fmla="*/ 9774 w 9971"/>
                <a:gd name="connsiteY0" fmla="*/ 2953 h 10000"/>
                <a:gd name="connsiteX1" fmla="*/ 9971 w 9971"/>
                <a:gd name="connsiteY1" fmla="*/ 3267 h 10000"/>
                <a:gd name="connsiteX2" fmla="*/ 9946 w 9971"/>
                <a:gd name="connsiteY2" fmla="*/ 3509 h 10000"/>
                <a:gd name="connsiteX3" fmla="*/ 9519 w 9971"/>
                <a:gd name="connsiteY3" fmla="*/ 3789 h 10000"/>
                <a:gd name="connsiteX4" fmla="*/ 9322 w 9971"/>
                <a:gd name="connsiteY4" fmla="*/ 4263 h 10000"/>
                <a:gd name="connsiteX5" fmla="*/ 8813 w 9971"/>
                <a:gd name="connsiteY5" fmla="*/ 3310 h 10000"/>
                <a:gd name="connsiteX6" fmla="*/ 8614 w 9971"/>
                <a:gd name="connsiteY6" fmla="*/ 3629 h 10000"/>
                <a:gd name="connsiteX7" fmla="*/ 8895 w 9971"/>
                <a:gd name="connsiteY7" fmla="*/ 4027 h 10000"/>
                <a:gd name="connsiteX8" fmla="*/ 8669 w 9971"/>
                <a:gd name="connsiteY8" fmla="*/ 4303 h 10000"/>
                <a:gd name="connsiteX9" fmla="*/ 8728 w 9971"/>
                <a:gd name="connsiteY9" fmla="*/ 4503 h 10000"/>
                <a:gd name="connsiteX10" fmla="*/ 8275 w 9971"/>
                <a:gd name="connsiteY10" fmla="*/ 4978 h 10000"/>
                <a:gd name="connsiteX11" fmla="*/ 7797 w 9971"/>
                <a:gd name="connsiteY11" fmla="*/ 4585 h 10000"/>
                <a:gd name="connsiteX12" fmla="*/ 6495 w 9971"/>
                <a:gd name="connsiteY12" fmla="*/ 5579 h 10000"/>
                <a:gd name="connsiteX13" fmla="*/ 6381 w 9971"/>
                <a:gd name="connsiteY13" fmla="*/ 5142 h 10000"/>
                <a:gd name="connsiteX14" fmla="*/ 6210 w 9971"/>
                <a:gd name="connsiteY14" fmla="*/ 4861 h 10000"/>
                <a:gd name="connsiteX15" fmla="*/ 6269 w 9971"/>
                <a:gd name="connsiteY15" fmla="*/ 4542 h 10000"/>
                <a:gd name="connsiteX16" fmla="*/ 6096 w 9971"/>
                <a:gd name="connsiteY16" fmla="*/ 4225 h 10000"/>
                <a:gd name="connsiteX17" fmla="*/ 5843 w 9971"/>
                <a:gd name="connsiteY17" fmla="*/ 4185 h 10000"/>
                <a:gd name="connsiteX18" fmla="*/ 5899 w 9971"/>
                <a:gd name="connsiteY18" fmla="*/ 3748 h 10000"/>
                <a:gd name="connsiteX19" fmla="*/ 5700 w 9971"/>
                <a:gd name="connsiteY19" fmla="*/ 3587 h 10000"/>
                <a:gd name="connsiteX20" fmla="*/ 5503 w 9971"/>
                <a:gd name="connsiteY20" fmla="*/ 3032 h 10000"/>
                <a:gd name="connsiteX21" fmla="*/ 5247 w 9971"/>
                <a:gd name="connsiteY21" fmla="*/ 3032 h 10000"/>
                <a:gd name="connsiteX22" fmla="*/ 4995 w 9971"/>
                <a:gd name="connsiteY22" fmla="*/ 2751 h 10000"/>
                <a:gd name="connsiteX23" fmla="*/ 4995 w 9971"/>
                <a:gd name="connsiteY23" fmla="*/ 2631 h 10000"/>
                <a:gd name="connsiteX24" fmla="*/ 4766 w 9971"/>
                <a:gd name="connsiteY24" fmla="*/ 2791 h 10000"/>
                <a:gd name="connsiteX25" fmla="*/ 4486 w 9971"/>
                <a:gd name="connsiteY25" fmla="*/ 2514 h 10000"/>
                <a:gd name="connsiteX26" fmla="*/ 4626 w 9971"/>
                <a:gd name="connsiteY26" fmla="*/ 2113 h 10000"/>
                <a:gd name="connsiteX27" fmla="*/ 4400 w 9971"/>
                <a:gd name="connsiteY27" fmla="*/ 1794 h 10000"/>
                <a:gd name="connsiteX28" fmla="*/ 4571 w 9971"/>
                <a:gd name="connsiteY28" fmla="*/ 1318 h 10000"/>
                <a:gd name="connsiteX29" fmla="*/ 4006 w 9971"/>
                <a:gd name="connsiteY29" fmla="*/ 679 h 10000"/>
                <a:gd name="connsiteX30" fmla="*/ 3665 w 9971"/>
                <a:gd name="connsiteY30" fmla="*/ 879 h 10000"/>
                <a:gd name="connsiteX31" fmla="*/ 3013 w 9971"/>
                <a:gd name="connsiteY31" fmla="*/ 521 h 10000"/>
                <a:gd name="connsiteX32" fmla="*/ 2757 w 9971"/>
                <a:gd name="connsiteY32" fmla="*/ 756 h 10000"/>
                <a:gd name="connsiteX33" fmla="*/ 2136 w 9971"/>
                <a:gd name="connsiteY33" fmla="*/ 42 h 10000"/>
                <a:gd name="connsiteX34" fmla="*/ 1628 w 9971"/>
                <a:gd name="connsiteY34" fmla="*/ 1038 h 10000"/>
                <a:gd name="connsiteX35" fmla="*/ 1628 w 9971"/>
                <a:gd name="connsiteY35" fmla="*/ 1634 h 10000"/>
                <a:gd name="connsiteX36" fmla="*/ 1260 w 9971"/>
                <a:gd name="connsiteY36" fmla="*/ 1159 h 10000"/>
                <a:gd name="connsiteX37" fmla="*/ 839 w 9971"/>
                <a:gd name="connsiteY37" fmla="*/ 1953 h 10000"/>
                <a:gd name="connsiteX38" fmla="*/ 1150 w 9971"/>
                <a:gd name="connsiteY38" fmla="*/ 2590 h 10000"/>
                <a:gd name="connsiteX39" fmla="*/ 583 w 9971"/>
                <a:gd name="connsiteY39" fmla="*/ 3347 h 10000"/>
                <a:gd name="connsiteX40" fmla="*/ 528 w 9971"/>
                <a:gd name="connsiteY40" fmla="*/ 3347 h 10000"/>
                <a:gd name="connsiteX41" fmla="*/ 751 w 9971"/>
                <a:gd name="connsiteY41" fmla="*/ 3789 h 10000"/>
                <a:gd name="connsiteX42" fmla="*/ 467 w 9971"/>
                <a:gd name="connsiteY42" fmla="*/ 4225 h 10000"/>
                <a:gd name="connsiteX43" fmla="*/ 666 w 9971"/>
                <a:gd name="connsiteY43" fmla="*/ 4503 h 10000"/>
                <a:gd name="connsiteX44" fmla="*/ 583 w 9971"/>
                <a:gd name="connsiteY44" fmla="*/ 4941 h 10000"/>
                <a:gd name="connsiteX45" fmla="*/ 467 w 9971"/>
                <a:gd name="connsiteY45" fmla="*/ 5184 h 10000"/>
                <a:gd name="connsiteX46" fmla="*/ 666 w 9971"/>
                <a:gd name="connsiteY46" fmla="*/ 5662 h 10000"/>
                <a:gd name="connsiteX47" fmla="*/ 328 w 9971"/>
                <a:gd name="connsiteY47" fmla="*/ 6414 h 10000"/>
                <a:gd name="connsiteX48" fmla="*/ 583 w 9971"/>
                <a:gd name="connsiteY48" fmla="*/ 6856 h 10000"/>
                <a:gd name="connsiteX49" fmla="*/ 131 w 9971"/>
                <a:gd name="connsiteY49" fmla="*/ 7609 h 10000"/>
                <a:gd name="connsiteX50" fmla="*/ 356 w 9971"/>
                <a:gd name="connsiteY50" fmla="*/ 8008 h 10000"/>
                <a:gd name="connsiteX51" fmla="*/ 14 w 9971"/>
                <a:gd name="connsiteY51" fmla="*/ 8649 h 10000"/>
                <a:gd name="connsiteX52" fmla="*/ 467 w 9971"/>
                <a:gd name="connsiteY52" fmla="*/ 8883 h 10000"/>
                <a:gd name="connsiteX53" fmla="*/ 328 w 9971"/>
                <a:gd name="connsiteY53" fmla="*/ 9404 h 10000"/>
                <a:gd name="connsiteX54" fmla="*/ 441 w 9971"/>
                <a:gd name="connsiteY54" fmla="*/ 10000 h 10000"/>
                <a:gd name="connsiteX55" fmla="*/ 1210 w 9971"/>
                <a:gd name="connsiteY55" fmla="*/ 9453 h 10000"/>
                <a:gd name="connsiteX56" fmla="*/ 1654 w 9971"/>
                <a:gd name="connsiteY56" fmla="*/ 8972 h 10000"/>
                <a:gd name="connsiteX57" fmla="*/ 2189 w 9971"/>
                <a:gd name="connsiteY57" fmla="*/ 8981 h 10000"/>
                <a:gd name="connsiteX58" fmla="*/ 2757 w 9971"/>
                <a:gd name="connsiteY58" fmla="*/ 8695 h 10000"/>
                <a:gd name="connsiteX59" fmla="*/ 3461 w 9971"/>
                <a:gd name="connsiteY59" fmla="*/ 8242 h 10000"/>
                <a:gd name="connsiteX60" fmla="*/ 3692 w 9971"/>
                <a:gd name="connsiteY60" fmla="*/ 7896 h 10000"/>
                <a:gd name="connsiteX61" fmla="*/ 4172 w 9971"/>
                <a:gd name="connsiteY61" fmla="*/ 7230 h 10000"/>
                <a:gd name="connsiteX62" fmla="*/ 4957 w 9971"/>
                <a:gd name="connsiteY62" fmla="*/ 7695 h 10000"/>
                <a:gd name="connsiteX63" fmla="*/ 5294 w 9971"/>
                <a:gd name="connsiteY63" fmla="*/ 7665 h 10000"/>
                <a:gd name="connsiteX64" fmla="*/ 5225 w 9971"/>
                <a:gd name="connsiteY64" fmla="*/ 7091 h 10000"/>
                <a:gd name="connsiteX65" fmla="*/ 5274 w 9971"/>
                <a:gd name="connsiteY65" fmla="*/ 6356 h 10000"/>
                <a:gd name="connsiteX66" fmla="*/ 6033 w 9971"/>
                <a:gd name="connsiteY66" fmla="*/ 6191 h 10000"/>
                <a:gd name="connsiteX67" fmla="*/ 5925 w 9971"/>
                <a:gd name="connsiteY67" fmla="*/ 7066 h 10000"/>
                <a:gd name="connsiteX0" fmla="*/ 10000 w 10000"/>
                <a:gd name="connsiteY0" fmla="*/ 3267 h 10000"/>
                <a:gd name="connsiteX1" fmla="*/ 9975 w 10000"/>
                <a:gd name="connsiteY1" fmla="*/ 3509 h 10000"/>
                <a:gd name="connsiteX2" fmla="*/ 9547 w 10000"/>
                <a:gd name="connsiteY2" fmla="*/ 3789 h 10000"/>
                <a:gd name="connsiteX3" fmla="*/ 9349 w 10000"/>
                <a:gd name="connsiteY3" fmla="*/ 4263 h 10000"/>
                <a:gd name="connsiteX4" fmla="*/ 8839 w 10000"/>
                <a:gd name="connsiteY4" fmla="*/ 3310 h 10000"/>
                <a:gd name="connsiteX5" fmla="*/ 8639 w 10000"/>
                <a:gd name="connsiteY5" fmla="*/ 3629 h 10000"/>
                <a:gd name="connsiteX6" fmla="*/ 8921 w 10000"/>
                <a:gd name="connsiteY6" fmla="*/ 4027 h 10000"/>
                <a:gd name="connsiteX7" fmla="*/ 8694 w 10000"/>
                <a:gd name="connsiteY7" fmla="*/ 4303 h 10000"/>
                <a:gd name="connsiteX8" fmla="*/ 8753 w 10000"/>
                <a:gd name="connsiteY8" fmla="*/ 4503 h 10000"/>
                <a:gd name="connsiteX9" fmla="*/ 8299 w 10000"/>
                <a:gd name="connsiteY9" fmla="*/ 4978 h 10000"/>
                <a:gd name="connsiteX10" fmla="*/ 7820 w 10000"/>
                <a:gd name="connsiteY10" fmla="*/ 4585 h 10000"/>
                <a:gd name="connsiteX11" fmla="*/ 6514 w 10000"/>
                <a:gd name="connsiteY11" fmla="*/ 5579 h 10000"/>
                <a:gd name="connsiteX12" fmla="*/ 6400 w 10000"/>
                <a:gd name="connsiteY12" fmla="*/ 5142 h 10000"/>
                <a:gd name="connsiteX13" fmla="*/ 6228 w 10000"/>
                <a:gd name="connsiteY13" fmla="*/ 4861 h 10000"/>
                <a:gd name="connsiteX14" fmla="*/ 6287 w 10000"/>
                <a:gd name="connsiteY14" fmla="*/ 4542 h 10000"/>
                <a:gd name="connsiteX15" fmla="*/ 6114 w 10000"/>
                <a:gd name="connsiteY15" fmla="*/ 4225 h 10000"/>
                <a:gd name="connsiteX16" fmla="*/ 5860 w 10000"/>
                <a:gd name="connsiteY16" fmla="*/ 4185 h 10000"/>
                <a:gd name="connsiteX17" fmla="*/ 5916 w 10000"/>
                <a:gd name="connsiteY17" fmla="*/ 3748 h 10000"/>
                <a:gd name="connsiteX18" fmla="*/ 5717 w 10000"/>
                <a:gd name="connsiteY18" fmla="*/ 3587 h 10000"/>
                <a:gd name="connsiteX19" fmla="*/ 5519 w 10000"/>
                <a:gd name="connsiteY19" fmla="*/ 3032 h 10000"/>
                <a:gd name="connsiteX20" fmla="*/ 5262 w 10000"/>
                <a:gd name="connsiteY20" fmla="*/ 3032 h 10000"/>
                <a:gd name="connsiteX21" fmla="*/ 5010 w 10000"/>
                <a:gd name="connsiteY21" fmla="*/ 2751 h 10000"/>
                <a:gd name="connsiteX22" fmla="*/ 5010 w 10000"/>
                <a:gd name="connsiteY22" fmla="*/ 2631 h 10000"/>
                <a:gd name="connsiteX23" fmla="*/ 4780 w 10000"/>
                <a:gd name="connsiteY23" fmla="*/ 2791 h 10000"/>
                <a:gd name="connsiteX24" fmla="*/ 4499 w 10000"/>
                <a:gd name="connsiteY24" fmla="*/ 2514 h 10000"/>
                <a:gd name="connsiteX25" fmla="*/ 4639 w 10000"/>
                <a:gd name="connsiteY25" fmla="*/ 2113 h 10000"/>
                <a:gd name="connsiteX26" fmla="*/ 4413 w 10000"/>
                <a:gd name="connsiteY26" fmla="*/ 1794 h 10000"/>
                <a:gd name="connsiteX27" fmla="*/ 4584 w 10000"/>
                <a:gd name="connsiteY27" fmla="*/ 1318 h 10000"/>
                <a:gd name="connsiteX28" fmla="*/ 4018 w 10000"/>
                <a:gd name="connsiteY28" fmla="*/ 679 h 10000"/>
                <a:gd name="connsiteX29" fmla="*/ 3676 w 10000"/>
                <a:gd name="connsiteY29" fmla="*/ 879 h 10000"/>
                <a:gd name="connsiteX30" fmla="*/ 3022 w 10000"/>
                <a:gd name="connsiteY30" fmla="*/ 521 h 10000"/>
                <a:gd name="connsiteX31" fmla="*/ 2765 w 10000"/>
                <a:gd name="connsiteY31" fmla="*/ 756 h 10000"/>
                <a:gd name="connsiteX32" fmla="*/ 2142 w 10000"/>
                <a:gd name="connsiteY32" fmla="*/ 42 h 10000"/>
                <a:gd name="connsiteX33" fmla="*/ 1633 w 10000"/>
                <a:gd name="connsiteY33" fmla="*/ 1038 h 10000"/>
                <a:gd name="connsiteX34" fmla="*/ 1633 w 10000"/>
                <a:gd name="connsiteY34" fmla="*/ 1634 h 10000"/>
                <a:gd name="connsiteX35" fmla="*/ 1264 w 10000"/>
                <a:gd name="connsiteY35" fmla="*/ 1159 h 10000"/>
                <a:gd name="connsiteX36" fmla="*/ 841 w 10000"/>
                <a:gd name="connsiteY36" fmla="*/ 1953 h 10000"/>
                <a:gd name="connsiteX37" fmla="*/ 1153 w 10000"/>
                <a:gd name="connsiteY37" fmla="*/ 2590 h 10000"/>
                <a:gd name="connsiteX38" fmla="*/ 585 w 10000"/>
                <a:gd name="connsiteY38" fmla="*/ 3347 h 10000"/>
                <a:gd name="connsiteX39" fmla="*/ 530 w 10000"/>
                <a:gd name="connsiteY39" fmla="*/ 3347 h 10000"/>
                <a:gd name="connsiteX40" fmla="*/ 753 w 10000"/>
                <a:gd name="connsiteY40" fmla="*/ 3789 h 10000"/>
                <a:gd name="connsiteX41" fmla="*/ 468 w 10000"/>
                <a:gd name="connsiteY41" fmla="*/ 4225 h 10000"/>
                <a:gd name="connsiteX42" fmla="*/ 668 w 10000"/>
                <a:gd name="connsiteY42" fmla="*/ 4503 h 10000"/>
                <a:gd name="connsiteX43" fmla="*/ 585 w 10000"/>
                <a:gd name="connsiteY43" fmla="*/ 4941 h 10000"/>
                <a:gd name="connsiteX44" fmla="*/ 468 w 10000"/>
                <a:gd name="connsiteY44" fmla="*/ 5184 h 10000"/>
                <a:gd name="connsiteX45" fmla="*/ 668 w 10000"/>
                <a:gd name="connsiteY45" fmla="*/ 5662 h 10000"/>
                <a:gd name="connsiteX46" fmla="*/ 329 w 10000"/>
                <a:gd name="connsiteY46" fmla="*/ 6414 h 10000"/>
                <a:gd name="connsiteX47" fmla="*/ 585 w 10000"/>
                <a:gd name="connsiteY47" fmla="*/ 6856 h 10000"/>
                <a:gd name="connsiteX48" fmla="*/ 131 w 10000"/>
                <a:gd name="connsiteY48" fmla="*/ 7609 h 10000"/>
                <a:gd name="connsiteX49" fmla="*/ 357 w 10000"/>
                <a:gd name="connsiteY49" fmla="*/ 8008 h 10000"/>
                <a:gd name="connsiteX50" fmla="*/ 14 w 10000"/>
                <a:gd name="connsiteY50" fmla="*/ 8649 h 10000"/>
                <a:gd name="connsiteX51" fmla="*/ 468 w 10000"/>
                <a:gd name="connsiteY51" fmla="*/ 8883 h 10000"/>
                <a:gd name="connsiteX52" fmla="*/ 329 w 10000"/>
                <a:gd name="connsiteY52" fmla="*/ 9404 h 10000"/>
                <a:gd name="connsiteX53" fmla="*/ 442 w 10000"/>
                <a:gd name="connsiteY53" fmla="*/ 10000 h 10000"/>
                <a:gd name="connsiteX54" fmla="*/ 1214 w 10000"/>
                <a:gd name="connsiteY54" fmla="*/ 9453 h 10000"/>
                <a:gd name="connsiteX55" fmla="*/ 1659 w 10000"/>
                <a:gd name="connsiteY55" fmla="*/ 8972 h 10000"/>
                <a:gd name="connsiteX56" fmla="*/ 2195 w 10000"/>
                <a:gd name="connsiteY56" fmla="*/ 8981 h 10000"/>
                <a:gd name="connsiteX57" fmla="*/ 2765 w 10000"/>
                <a:gd name="connsiteY57" fmla="*/ 8695 h 10000"/>
                <a:gd name="connsiteX58" fmla="*/ 3471 w 10000"/>
                <a:gd name="connsiteY58" fmla="*/ 8242 h 10000"/>
                <a:gd name="connsiteX59" fmla="*/ 3703 w 10000"/>
                <a:gd name="connsiteY59" fmla="*/ 7896 h 10000"/>
                <a:gd name="connsiteX60" fmla="*/ 4184 w 10000"/>
                <a:gd name="connsiteY60" fmla="*/ 7230 h 10000"/>
                <a:gd name="connsiteX61" fmla="*/ 4971 w 10000"/>
                <a:gd name="connsiteY61" fmla="*/ 7695 h 10000"/>
                <a:gd name="connsiteX62" fmla="*/ 5309 w 10000"/>
                <a:gd name="connsiteY62" fmla="*/ 7665 h 10000"/>
                <a:gd name="connsiteX63" fmla="*/ 5240 w 10000"/>
                <a:gd name="connsiteY63" fmla="*/ 7091 h 10000"/>
                <a:gd name="connsiteX64" fmla="*/ 5289 w 10000"/>
                <a:gd name="connsiteY64" fmla="*/ 6356 h 10000"/>
                <a:gd name="connsiteX65" fmla="*/ 6051 w 10000"/>
                <a:gd name="connsiteY65" fmla="*/ 6191 h 10000"/>
                <a:gd name="connsiteX66" fmla="*/ 5942 w 10000"/>
                <a:gd name="connsiteY66" fmla="*/ 7066 h 10000"/>
                <a:gd name="connsiteX0" fmla="*/ 10000 w 10000"/>
                <a:gd name="connsiteY0" fmla="*/ 3267 h 10000"/>
                <a:gd name="connsiteX1" fmla="*/ 9547 w 10000"/>
                <a:gd name="connsiteY1" fmla="*/ 3789 h 10000"/>
                <a:gd name="connsiteX2" fmla="*/ 9349 w 10000"/>
                <a:gd name="connsiteY2" fmla="*/ 4263 h 10000"/>
                <a:gd name="connsiteX3" fmla="*/ 8839 w 10000"/>
                <a:gd name="connsiteY3" fmla="*/ 3310 h 10000"/>
                <a:gd name="connsiteX4" fmla="*/ 8639 w 10000"/>
                <a:gd name="connsiteY4" fmla="*/ 3629 h 10000"/>
                <a:gd name="connsiteX5" fmla="*/ 8921 w 10000"/>
                <a:gd name="connsiteY5" fmla="*/ 4027 h 10000"/>
                <a:gd name="connsiteX6" fmla="*/ 8694 w 10000"/>
                <a:gd name="connsiteY6" fmla="*/ 4303 h 10000"/>
                <a:gd name="connsiteX7" fmla="*/ 8753 w 10000"/>
                <a:gd name="connsiteY7" fmla="*/ 4503 h 10000"/>
                <a:gd name="connsiteX8" fmla="*/ 8299 w 10000"/>
                <a:gd name="connsiteY8" fmla="*/ 4978 h 10000"/>
                <a:gd name="connsiteX9" fmla="*/ 7820 w 10000"/>
                <a:gd name="connsiteY9" fmla="*/ 4585 h 10000"/>
                <a:gd name="connsiteX10" fmla="*/ 6514 w 10000"/>
                <a:gd name="connsiteY10" fmla="*/ 5579 h 10000"/>
                <a:gd name="connsiteX11" fmla="*/ 6400 w 10000"/>
                <a:gd name="connsiteY11" fmla="*/ 5142 h 10000"/>
                <a:gd name="connsiteX12" fmla="*/ 6228 w 10000"/>
                <a:gd name="connsiteY12" fmla="*/ 4861 h 10000"/>
                <a:gd name="connsiteX13" fmla="*/ 6287 w 10000"/>
                <a:gd name="connsiteY13" fmla="*/ 4542 h 10000"/>
                <a:gd name="connsiteX14" fmla="*/ 6114 w 10000"/>
                <a:gd name="connsiteY14" fmla="*/ 4225 h 10000"/>
                <a:gd name="connsiteX15" fmla="*/ 5860 w 10000"/>
                <a:gd name="connsiteY15" fmla="*/ 4185 h 10000"/>
                <a:gd name="connsiteX16" fmla="*/ 5916 w 10000"/>
                <a:gd name="connsiteY16" fmla="*/ 3748 h 10000"/>
                <a:gd name="connsiteX17" fmla="*/ 5717 w 10000"/>
                <a:gd name="connsiteY17" fmla="*/ 3587 h 10000"/>
                <a:gd name="connsiteX18" fmla="*/ 5519 w 10000"/>
                <a:gd name="connsiteY18" fmla="*/ 3032 h 10000"/>
                <a:gd name="connsiteX19" fmla="*/ 5262 w 10000"/>
                <a:gd name="connsiteY19" fmla="*/ 3032 h 10000"/>
                <a:gd name="connsiteX20" fmla="*/ 5010 w 10000"/>
                <a:gd name="connsiteY20" fmla="*/ 2751 h 10000"/>
                <a:gd name="connsiteX21" fmla="*/ 5010 w 10000"/>
                <a:gd name="connsiteY21" fmla="*/ 2631 h 10000"/>
                <a:gd name="connsiteX22" fmla="*/ 4780 w 10000"/>
                <a:gd name="connsiteY22" fmla="*/ 2791 h 10000"/>
                <a:gd name="connsiteX23" fmla="*/ 4499 w 10000"/>
                <a:gd name="connsiteY23" fmla="*/ 2514 h 10000"/>
                <a:gd name="connsiteX24" fmla="*/ 4639 w 10000"/>
                <a:gd name="connsiteY24" fmla="*/ 2113 h 10000"/>
                <a:gd name="connsiteX25" fmla="*/ 4413 w 10000"/>
                <a:gd name="connsiteY25" fmla="*/ 1794 h 10000"/>
                <a:gd name="connsiteX26" fmla="*/ 4584 w 10000"/>
                <a:gd name="connsiteY26" fmla="*/ 1318 h 10000"/>
                <a:gd name="connsiteX27" fmla="*/ 4018 w 10000"/>
                <a:gd name="connsiteY27" fmla="*/ 679 h 10000"/>
                <a:gd name="connsiteX28" fmla="*/ 3676 w 10000"/>
                <a:gd name="connsiteY28" fmla="*/ 879 h 10000"/>
                <a:gd name="connsiteX29" fmla="*/ 3022 w 10000"/>
                <a:gd name="connsiteY29" fmla="*/ 521 h 10000"/>
                <a:gd name="connsiteX30" fmla="*/ 2765 w 10000"/>
                <a:gd name="connsiteY30" fmla="*/ 756 h 10000"/>
                <a:gd name="connsiteX31" fmla="*/ 2142 w 10000"/>
                <a:gd name="connsiteY31" fmla="*/ 42 h 10000"/>
                <a:gd name="connsiteX32" fmla="*/ 1633 w 10000"/>
                <a:gd name="connsiteY32" fmla="*/ 1038 h 10000"/>
                <a:gd name="connsiteX33" fmla="*/ 1633 w 10000"/>
                <a:gd name="connsiteY33" fmla="*/ 1634 h 10000"/>
                <a:gd name="connsiteX34" fmla="*/ 1264 w 10000"/>
                <a:gd name="connsiteY34" fmla="*/ 1159 h 10000"/>
                <a:gd name="connsiteX35" fmla="*/ 841 w 10000"/>
                <a:gd name="connsiteY35" fmla="*/ 1953 h 10000"/>
                <a:gd name="connsiteX36" fmla="*/ 1153 w 10000"/>
                <a:gd name="connsiteY36" fmla="*/ 2590 h 10000"/>
                <a:gd name="connsiteX37" fmla="*/ 585 w 10000"/>
                <a:gd name="connsiteY37" fmla="*/ 3347 h 10000"/>
                <a:gd name="connsiteX38" fmla="*/ 530 w 10000"/>
                <a:gd name="connsiteY38" fmla="*/ 3347 h 10000"/>
                <a:gd name="connsiteX39" fmla="*/ 753 w 10000"/>
                <a:gd name="connsiteY39" fmla="*/ 3789 h 10000"/>
                <a:gd name="connsiteX40" fmla="*/ 468 w 10000"/>
                <a:gd name="connsiteY40" fmla="*/ 4225 h 10000"/>
                <a:gd name="connsiteX41" fmla="*/ 668 w 10000"/>
                <a:gd name="connsiteY41" fmla="*/ 4503 h 10000"/>
                <a:gd name="connsiteX42" fmla="*/ 585 w 10000"/>
                <a:gd name="connsiteY42" fmla="*/ 4941 h 10000"/>
                <a:gd name="connsiteX43" fmla="*/ 468 w 10000"/>
                <a:gd name="connsiteY43" fmla="*/ 5184 h 10000"/>
                <a:gd name="connsiteX44" fmla="*/ 668 w 10000"/>
                <a:gd name="connsiteY44" fmla="*/ 5662 h 10000"/>
                <a:gd name="connsiteX45" fmla="*/ 329 w 10000"/>
                <a:gd name="connsiteY45" fmla="*/ 6414 h 10000"/>
                <a:gd name="connsiteX46" fmla="*/ 585 w 10000"/>
                <a:gd name="connsiteY46" fmla="*/ 6856 h 10000"/>
                <a:gd name="connsiteX47" fmla="*/ 131 w 10000"/>
                <a:gd name="connsiteY47" fmla="*/ 7609 h 10000"/>
                <a:gd name="connsiteX48" fmla="*/ 357 w 10000"/>
                <a:gd name="connsiteY48" fmla="*/ 8008 h 10000"/>
                <a:gd name="connsiteX49" fmla="*/ 14 w 10000"/>
                <a:gd name="connsiteY49" fmla="*/ 8649 h 10000"/>
                <a:gd name="connsiteX50" fmla="*/ 468 w 10000"/>
                <a:gd name="connsiteY50" fmla="*/ 8883 h 10000"/>
                <a:gd name="connsiteX51" fmla="*/ 329 w 10000"/>
                <a:gd name="connsiteY51" fmla="*/ 9404 h 10000"/>
                <a:gd name="connsiteX52" fmla="*/ 442 w 10000"/>
                <a:gd name="connsiteY52" fmla="*/ 10000 h 10000"/>
                <a:gd name="connsiteX53" fmla="*/ 1214 w 10000"/>
                <a:gd name="connsiteY53" fmla="*/ 9453 h 10000"/>
                <a:gd name="connsiteX54" fmla="*/ 1659 w 10000"/>
                <a:gd name="connsiteY54" fmla="*/ 8972 h 10000"/>
                <a:gd name="connsiteX55" fmla="*/ 2195 w 10000"/>
                <a:gd name="connsiteY55" fmla="*/ 8981 h 10000"/>
                <a:gd name="connsiteX56" fmla="*/ 2765 w 10000"/>
                <a:gd name="connsiteY56" fmla="*/ 8695 h 10000"/>
                <a:gd name="connsiteX57" fmla="*/ 3471 w 10000"/>
                <a:gd name="connsiteY57" fmla="*/ 8242 h 10000"/>
                <a:gd name="connsiteX58" fmla="*/ 3703 w 10000"/>
                <a:gd name="connsiteY58" fmla="*/ 7896 h 10000"/>
                <a:gd name="connsiteX59" fmla="*/ 4184 w 10000"/>
                <a:gd name="connsiteY59" fmla="*/ 7230 h 10000"/>
                <a:gd name="connsiteX60" fmla="*/ 4971 w 10000"/>
                <a:gd name="connsiteY60" fmla="*/ 7695 h 10000"/>
                <a:gd name="connsiteX61" fmla="*/ 5309 w 10000"/>
                <a:gd name="connsiteY61" fmla="*/ 7665 h 10000"/>
                <a:gd name="connsiteX62" fmla="*/ 5240 w 10000"/>
                <a:gd name="connsiteY62" fmla="*/ 7091 h 10000"/>
                <a:gd name="connsiteX63" fmla="*/ 5289 w 10000"/>
                <a:gd name="connsiteY63" fmla="*/ 6356 h 10000"/>
                <a:gd name="connsiteX64" fmla="*/ 6051 w 10000"/>
                <a:gd name="connsiteY64" fmla="*/ 6191 h 10000"/>
                <a:gd name="connsiteX65" fmla="*/ 5942 w 10000"/>
                <a:gd name="connsiteY65" fmla="*/ 7066 h 10000"/>
                <a:gd name="connsiteX0" fmla="*/ 9547 w 9547"/>
                <a:gd name="connsiteY0" fmla="*/ 3789 h 10000"/>
                <a:gd name="connsiteX1" fmla="*/ 9349 w 9547"/>
                <a:gd name="connsiteY1" fmla="*/ 4263 h 10000"/>
                <a:gd name="connsiteX2" fmla="*/ 8839 w 9547"/>
                <a:gd name="connsiteY2" fmla="*/ 3310 h 10000"/>
                <a:gd name="connsiteX3" fmla="*/ 8639 w 9547"/>
                <a:gd name="connsiteY3" fmla="*/ 3629 h 10000"/>
                <a:gd name="connsiteX4" fmla="*/ 8921 w 9547"/>
                <a:gd name="connsiteY4" fmla="*/ 4027 h 10000"/>
                <a:gd name="connsiteX5" fmla="*/ 8694 w 9547"/>
                <a:gd name="connsiteY5" fmla="*/ 4303 h 10000"/>
                <a:gd name="connsiteX6" fmla="*/ 8753 w 9547"/>
                <a:gd name="connsiteY6" fmla="*/ 4503 h 10000"/>
                <a:gd name="connsiteX7" fmla="*/ 8299 w 9547"/>
                <a:gd name="connsiteY7" fmla="*/ 4978 h 10000"/>
                <a:gd name="connsiteX8" fmla="*/ 7820 w 9547"/>
                <a:gd name="connsiteY8" fmla="*/ 4585 h 10000"/>
                <a:gd name="connsiteX9" fmla="*/ 6514 w 9547"/>
                <a:gd name="connsiteY9" fmla="*/ 5579 h 10000"/>
                <a:gd name="connsiteX10" fmla="*/ 6400 w 9547"/>
                <a:gd name="connsiteY10" fmla="*/ 5142 h 10000"/>
                <a:gd name="connsiteX11" fmla="*/ 6228 w 9547"/>
                <a:gd name="connsiteY11" fmla="*/ 4861 h 10000"/>
                <a:gd name="connsiteX12" fmla="*/ 6287 w 9547"/>
                <a:gd name="connsiteY12" fmla="*/ 4542 h 10000"/>
                <a:gd name="connsiteX13" fmla="*/ 6114 w 9547"/>
                <a:gd name="connsiteY13" fmla="*/ 4225 h 10000"/>
                <a:gd name="connsiteX14" fmla="*/ 5860 w 9547"/>
                <a:gd name="connsiteY14" fmla="*/ 4185 h 10000"/>
                <a:gd name="connsiteX15" fmla="*/ 5916 w 9547"/>
                <a:gd name="connsiteY15" fmla="*/ 3748 h 10000"/>
                <a:gd name="connsiteX16" fmla="*/ 5717 w 9547"/>
                <a:gd name="connsiteY16" fmla="*/ 3587 h 10000"/>
                <a:gd name="connsiteX17" fmla="*/ 5519 w 9547"/>
                <a:gd name="connsiteY17" fmla="*/ 3032 h 10000"/>
                <a:gd name="connsiteX18" fmla="*/ 5262 w 9547"/>
                <a:gd name="connsiteY18" fmla="*/ 3032 h 10000"/>
                <a:gd name="connsiteX19" fmla="*/ 5010 w 9547"/>
                <a:gd name="connsiteY19" fmla="*/ 2751 h 10000"/>
                <a:gd name="connsiteX20" fmla="*/ 5010 w 9547"/>
                <a:gd name="connsiteY20" fmla="*/ 2631 h 10000"/>
                <a:gd name="connsiteX21" fmla="*/ 4780 w 9547"/>
                <a:gd name="connsiteY21" fmla="*/ 2791 h 10000"/>
                <a:gd name="connsiteX22" fmla="*/ 4499 w 9547"/>
                <a:gd name="connsiteY22" fmla="*/ 2514 h 10000"/>
                <a:gd name="connsiteX23" fmla="*/ 4639 w 9547"/>
                <a:gd name="connsiteY23" fmla="*/ 2113 h 10000"/>
                <a:gd name="connsiteX24" fmla="*/ 4413 w 9547"/>
                <a:gd name="connsiteY24" fmla="*/ 1794 h 10000"/>
                <a:gd name="connsiteX25" fmla="*/ 4584 w 9547"/>
                <a:gd name="connsiteY25" fmla="*/ 1318 h 10000"/>
                <a:gd name="connsiteX26" fmla="*/ 4018 w 9547"/>
                <a:gd name="connsiteY26" fmla="*/ 679 h 10000"/>
                <a:gd name="connsiteX27" fmla="*/ 3676 w 9547"/>
                <a:gd name="connsiteY27" fmla="*/ 879 h 10000"/>
                <a:gd name="connsiteX28" fmla="*/ 3022 w 9547"/>
                <a:gd name="connsiteY28" fmla="*/ 521 h 10000"/>
                <a:gd name="connsiteX29" fmla="*/ 2765 w 9547"/>
                <a:gd name="connsiteY29" fmla="*/ 756 h 10000"/>
                <a:gd name="connsiteX30" fmla="*/ 2142 w 9547"/>
                <a:gd name="connsiteY30" fmla="*/ 42 h 10000"/>
                <a:gd name="connsiteX31" fmla="*/ 1633 w 9547"/>
                <a:gd name="connsiteY31" fmla="*/ 1038 h 10000"/>
                <a:gd name="connsiteX32" fmla="*/ 1633 w 9547"/>
                <a:gd name="connsiteY32" fmla="*/ 1634 h 10000"/>
                <a:gd name="connsiteX33" fmla="*/ 1264 w 9547"/>
                <a:gd name="connsiteY33" fmla="*/ 1159 h 10000"/>
                <a:gd name="connsiteX34" fmla="*/ 841 w 9547"/>
                <a:gd name="connsiteY34" fmla="*/ 1953 h 10000"/>
                <a:gd name="connsiteX35" fmla="*/ 1153 w 9547"/>
                <a:gd name="connsiteY35" fmla="*/ 2590 h 10000"/>
                <a:gd name="connsiteX36" fmla="*/ 585 w 9547"/>
                <a:gd name="connsiteY36" fmla="*/ 3347 h 10000"/>
                <a:gd name="connsiteX37" fmla="*/ 530 w 9547"/>
                <a:gd name="connsiteY37" fmla="*/ 3347 h 10000"/>
                <a:gd name="connsiteX38" fmla="*/ 753 w 9547"/>
                <a:gd name="connsiteY38" fmla="*/ 3789 h 10000"/>
                <a:gd name="connsiteX39" fmla="*/ 468 w 9547"/>
                <a:gd name="connsiteY39" fmla="*/ 4225 h 10000"/>
                <a:gd name="connsiteX40" fmla="*/ 668 w 9547"/>
                <a:gd name="connsiteY40" fmla="*/ 4503 h 10000"/>
                <a:gd name="connsiteX41" fmla="*/ 585 w 9547"/>
                <a:gd name="connsiteY41" fmla="*/ 4941 h 10000"/>
                <a:gd name="connsiteX42" fmla="*/ 468 w 9547"/>
                <a:gd name="connsiteY42" fmla="*/ 5184 h 10000"/>
                <a:gd name="connsiteX43" fmla="*/ 668 w 9547"/>
                <a:gd name="connsiteY43" fmla="*/ 5662 h 10000"/>
                <a:gd name="connsiteX44" fmla="*/ 329 w 9547"/>
                <a:gd name="connsiteY44" fmla="*/ 6414 h 10000"/>
                <a:gd name="connsiteX45" fmla="*/ 585 w 9547"/>
                <a:gd name="connsiteY45" fmla="*/ 6856 h 10000"/>
                <a:gd name="connsiteX46" fmla="*/ 131 w 9547"/>
                <a:gd name="connsiteY46" fmla="*/ 7609 h 10000"/>
                <a:gd name="connsiteX47" fmla="*/ 357 w 9547"/>
                <a:gd name="connsiteY47" fmla="*/ 8008 h 10000"/>
                <a:gd name="connsiteX48" fmla="*/ 14 w 9547"/>
                <a:gd name="connsiteY48" fmla="*/ 8649 h 10000"/>
                <a:gd name="connsiteX49" fmla="*/ 468 w 9547"/>
                <a:gd name="connsiteY49" fmla="*/ 8883 h 10000"/>
                <a:gd name="connsiteX50" fmla="*/ 329 w 9547"/>
                <a:gd name="connsiteY50" fmla="*/ 9404 h 10000"/>
                <a:gd name="connsiteX51" fmla="*/ 442 w 9547"/>
                <a:gd name="connsiteY51" fmla="*/ 10000 h 10000"/>
                <a:gd name="connsiteX52" fmla="*/ 1214 w 9547"/>
                <a:gd name="connsiteY52" fmla="*/ 9453 h 10000"/>
                <a:gd name="connsiteX53" fmla="*/ 1659 w 9547"/>
                <a:gd name="connsiteY53" fmla="*/ 8972 h 10000"/>
                <a:gd name="connsiteX54" fmla="*/ 2195 w 9547"/>
                <a:gd name="connsiteY54" fmla="*/ 8981 h 10000"/>
                <a:gd name="connsiteX55" fmla="*/ 2765 w 9547"/>
                <a:gd name="connsiteY55" fmla="*/ 8695 h 10000"/>
                <a:gd name="connsiteX56" fmla="*/ 3471 w 9547"/>
                <a:gd name="connsiteY56" fmla="*/ 8242 h 10000"/>
                <a:gd name="connsiteX57" fmla="*/ 3703 w 9547"/>
                <a:gd name="connsiteY57" fmla="*/ 7896 h 10000"/>
                <a:gd name="connsiteX58" fmla="*/ 4184 w 9547"/>
                <a:gd name="connsiteY58" fmla="*/ 7230 h 10000"/>
                <a:gd name="connsiteX59" fmla="*/ 4971 w 9547"/>
                <a:gd name="connsiteY59" fmla="*/ 7695 h 10000"/>
                <a:gd name="connsiteX60" fmla="*/ 5309 w 9547"/>
                <a:gd name="connsiteY60" fmla="*/ 7665 h 10000"/>
                <a:gd name="connsiteX61" fmla="*/ 5240 w 9547"/>
                <a:gd name="connsiteY61" fmla="*/ 7091 h 10000"/>
                <a:gd name="connsiteX62" fmla="*/ 5289 w 9547"/>
                <a:gd name="connsiteY62" fmla="*/ 6356 h 10000"/>
                <a:gd name="connsiteX63" fmla="*/ 6051 w 9547"/>
                <a:gd name="connsiteY63" fmla="*/ 6191 h 10000"/>
                <a:gd name="connsiteX64" fmla="*/ 5942 w 9547"/>
                <a:gd name="connsiteY64" fmla="*/ 7066 h 10000"/>
                <a:gd name="connsiteX0" fmla="*/ 9793 w 9793"/>
                <a:gd name="connsiteY0" fmla="*/ 4263 h 10000"/>
                <a:gd name="connsiteX1" fmla="*/ 9258 w 9793"/>
                <a:gd name="connsiteY1" fmla="*/ 3310 h 10000"/>
                <a:gd name="connsiteX2" fmla="*/ 9049 w 9793"/>
                <a:gd name="connsiteY2" fmla="*/ 3629 h 10000"/>
                <a:gd name="connsiteX3" fmla="*/ 9344 w 9793"/>
                <a:gd name="connsiteY3" fmla="*/ 4027 h 10000"/>
                <a:gd name="connsiteX4" fmla="*/ 9107 w 9793"/>
                <a:gd name="connsiteY4" fmla="*/ 4303 h 10000"/>
                <a:gd name="connsiteX5" fmla="*/ 9168 w 9793"/>
                <a:gd name="connsiteY5" fmla="*/ 4503 h 10000"/>
                <a:gd name="connsiteX6" fmla="*/ 8693 w 9793"/>
                <a:gd name="connsiteY6" fmla="*/ 4978 h 10000"/>
                <a:gd name="connsiteX7" fmla="*/ 8191 w 9793"/>
                <a:gd name="connsiteY7" fmla="*/ 4585 h 10000"/>
                <a:gd name="connsiteX8" fmla="*/ 6823 w 9793"/>
                <a:gd name="connsiteY8" fmla="*/ 5579 h 10000"/>
                <a:gd name="connsiteX9" fmla="*/ 6704 w 9793"/>
                <a:gd name="connsiteY9" fmla="*/ 5142 h 10000"/>
                <a:gd name="connsiteX10" fmla="*/ 6524 w 9793"/>
                <a:gd name="connsiteY10" fmla="*/ 4861 h 10000"/>
                <a:gd name="connsiteX11" fmla="*/ 6585 w 9793"/>
                <a:gd name="connsiteY11" fmla="*/ 4542 h 10000"/>
                <a:gd name="connsiteX12" fmla="*/ 6404 w 9793"/>
                <a:gd name="connsiteY12" fmla="*/ 4225 h 10000"/>
                <a:gd name="connsiteX13" fmla="*/ 6138 w 9793"/>
                <a:gd name="connsiteY13" fmla="*/ 4185 h 10000"/>
                <a:gd name="connsiteX14" fmla="*/ 6197 w 9793"/>
                <a:gd name="connsiteY14" fmla="*/ 3748 h 10000"/>
                <a:gd name="connsiteX15" fmla="*/ 5988 w 9793"/>
                <a:gd name="connsiteY15" fmla="*/ 3587 h 10000"/>
                <a:gd name="connsiteX16" fmla="*/ 5781 w 9793"/>
                <a:gd name="connsiteY16" fmla="*/ 3032 h 10000"/>
                <a:gd name="connsiteX17" fmla="*/ 5512 w 9793"/>
                <a:gd name="connsiteY17" fmla="*/ 3032 h 10000"/>
                <a:gd name="connsiteX18" fmla="*/ 5248 w 9793"/>
                <a:gd name="connsiteY18" fmla="*/ 2751 h 10000"/>
                <a:gd name="connsiteX19" fmla="*/ 5248 w 9793"/>
                <a:gd name="connsiteY19" fmla="*/ 2631 h 10000"/>
                <a:gd name="connsiteX20" fmla="*/ 5007 w 9793"/>
                <a:gd name="connsiteY20" fmla="*/ 2791 h 10000"/>
                <a:gd name="connsiteX21" fmla="*/ 4712 w 9793"/>
                <a:gd name="connsiteY21" fmla="*/ 2514 h 10000"/>
                <a:gd name="connsiteX22" fmla="*/ 4859 w 9793"/>
                <a:gd name="connsiteY22" fmla="*/ 2113 h 10000"/>
                <a:gd name="connsiteX23" fmla="*/ 4622 w 9793"/>
                <a:gd name="connsiteY23" fmla="*/ 1794 h 10000"/>
                <a:gd name="connsiteX24" fmla="*/ 4802 w 9793"/>
                <a:gd name="connsiteY24" fmla="*/ 1318 h 10000"/>
                <a:gd name="connsiteX25" fmla="*/ 4209 w 9793"/>
                <a:gd name="connsiteY25" fmla="*/ 679 h 10000"/>
                <a:gd name="connsiteX26" fmla="*/ 3850 w 9793"/>
                <a:gd name="connsiteY26" fmla="*/ 879 h 10000"/>
                <a:gd name="connsiteX27" fmla="*/ 3165 w 9793"/>
                <a:gd name="connsiteY27" fmla="*/ 521 h 10000"/>
                <a:gd name="connsiteX28" fmla="*/ 2896 w 9793"/>
                <a:gd name="connsiteY28" fmla="*/ 756 h 10000"/>
                <a:gd name="connsiteX29" fmla="*/ 2244 w 9793"/>
                <a:gd name="connsiteY29" fmla="*/ 42 h 10000"/>
                <a:gd name="connsiteX30" fmla="*/ 1710 w 9793"/>
                <a:gd name="connsiteY30" fmla="*/ 1038 h 10000"/>
                <a:gd name="connsiteX31" fmla="*/ 1710 w 9793"/>
                <a:gd name="connsiteY31" fmla="*/ 1634 h 10000"/>
                <a:gd name="connsiteX32" fmla="*/ 1324 w 9793"/>
                <a:gd name="connsiteY32" fmla="*/ 1159 h 10000"/>
                <a:gd name="connsiteX33" fmla="*/ 881 w 9793"/>
                <a:gd name="connsiteY33" fmla="*/ 1953 h 10000"/>
                <a:gd name="connsiteX34" fmla="*/ 1208 w 9793"/>
                <a:gd name="connsiteY34" fmla="*/ 2590 h 10000"/>
                <a:gd name="connsiteX35" fmla="*/ 613 w 9793"/>
                <a:gd name="connsiteY35" fmla="*/ 3347 h 10000"/>
                <a:gd name="connsiteX36" fmla="*/ 555 w 9793"/>
                <a:gd name="connsiteY36" fmla="*/ 3347 h 10000"/>
                <a:gd name="connsiteX37" fmla="*/ 789 w 9793"/>
                <a:gd name="connsiteY37" fmla="*/ 3789 h 10000"/>
                <a:gd name="connsiteX38" fmla="*/ 490 w 9793"/>
                <a:gd name="connsiteY38" fmla="*/ 4225 h 10000"/>
                <a:gd name="connsiteX39" fmla="*/ 700 w 9793"/>
                <a:gd name="connsiteY39" fmla="*/ 4503 h 10000"/>
                <a:gd name="connsiteX40" fmla="*/ 613 w 9793"/>
                <a:gd name="connsiteY40" fmla="*/ 4941 h 10000"/>
                <a:gd name="connsiteX41" fmla="*/ 490 w 9793"/>
                <a:gd name="connsiteY41" fmla="*/ 5184 h 10000"/>
                <a:gd name="connsiteX42" fmla="*/ 700 w 9793"/>
                <a:gd name="connsiteY42" fmla="*/ 5662 h 10000"/>
                <a:gd name="connsiteX43" fmla="*/ 345 w 9793"/>
                <a:gd name="connsiteY43" fmla="*/ 6414 h 10000"/>
                <a:gd name="connsiteX44" fmla="*/ 613 w 9793"/>
                <a:gd name="connsiteY44" fmla="*/ 6856 h 10000"/>
                <a:gd name="connsiteX45" fmla="*/ 137 w 9793"/>
                <a:gd name="connsiteY45" fmla="*/ 7609 h 10000"/>
                <a:gd name="connsiteX46" fmla="*/ 374 w 9793"/>
                <a:gd name="connsiteY46" fmla="*/ 8008 h 10000"/>
                <a:gd name="connsiteX47" fmla="*/ 15 w 9793"/>
                <a:gd name="connsiteY47" fmla="*/ 8649 h 10000"/>
                <a:gd name="connsiteX48" fmla="*/ 490 w 9793"/>
                <a:gd name="connsiteY48" fmla="*/ 8883 h 10000"/>
                <a:gd name="connsiteX49" fmla="*/ 345 w 9793"/>
                <a:gd name="connsiteY49" fmla="*/ 9404 h 10000"/>
                <a:gd name="connsiteX50" fmla="*/ 463 w 9793"/>
                <a:gd name="connsiteY50" fmla="*/ 10000 h 10000"/>
                <a:gd name="connsiteX51" fmla="*/ 1272 w 9793"/>
                <a:gd name="connsiteY51" fmla="*/ 9453 h 10000"/>
                <a:gd name="connsiteX52" fmla="*/ 1738 w 9793"/>
                <a:gd name="connsiteY52" fmla="*/ 8972 h 10000"/>
                <a:gd name="connsiteX53" fmla="*/ 2299 w 9793"/>
                <a:gd name="connsiteY53" fmla="*/ 8981 h 10000"/>
                <a:gd name="connsiteX54" fmla="*/ 2896 w 9793"/>
                <a:gd name="connsiteY54" fmla="*/ 8695 h 10000"/>
                <a:gd name="connsiteX55" fmla="*/ 3636 w 9793"/>
                <a:gd name="connsiteY55" fmla="*/ 8242 h 10000"/>
                <a:gd name="connsiteX56" fmla="*/ 3879 w 9793"/>
                <a:gd name="connsiteY56" fmla="*/ 7896 h 10000"/>
                <a:gd name="connsiteX57" fmla="*/ 4383 w 9793"/>
                <a:gd name="connsiteY57" fmla="*/ 7230 h 10000"/>
                <a:gd name="connsiteX58" fmla="*/ 5207 w 9793"/>
                <a:gd name="connsiteY58" fmla="*/ 7695 h 10000"/>
                <a:gd name="connsiteX59" fmla="*/ 5561 w 9793"/>
                <a:gd name="connsiteY59" fmla="*/ 7665 h 10000"/>
                <a:gd name="connsiteX60" fmla="*/ 5489 w 9793"/>
                <a:gd name="connsiteY60" fmla="*/ 7091 h 10000"/>
                <a:gd name="connsiteX61" fmla="*/ 5540 w 9793"/>
                <a:gd name="connsiteY61" fmla="*/ 6356 h 10000"/>
                <a:gd name="connsiteX62" fmla="*/ 6338 w 9793"/>
                <a:gd name="connsiteY62" fmla="*/ 6191 h 10000"/>
                <a:gd name="connsiteX63" fmla="*/ 6224 w 9793"/>
                <a:gd name="connsiteY63" fmla="*/ 7066 h 10000"/>
                <a:gd name="connsiteX0" fmla="*/ 9454 w 9568"/>
                <a:gd name="connsiteY0" fmla="*/ 3310 h 10000"/>
                <a:gd name="connsiteX1" fmla="*/ 9240 w 9568"/>
                <a:gd name="connsiteY1" fmla="*/ 3629 h 10000"/>
                <a:gd name="connsiteX2" fmla="*/ 9542 w 9568"/>
                <a:gd name="connsiteY2" fmla="*/ 4027 h 10000"/>
                <a:gd name="connsiteX3" fmla="*/ 9299 w 9568"/>
                <a:gd name="connsiteY3" fmla="*/ 4303 h 10000"/>
                <a:gd name="connsiteX4" fmla="*/ 9362 w 9568"/>
                <a:gd name="connsiteY4" fmla="*/ 4503 h 10000"/>
                <a:gd name="connsiteX5" fmla="*/ 8877 w 9568"/>
                <a:gd name="connsiteY5" fmla="*/ 4978 h 10000"/>
                <a:gd name="connsiteX6" fmla="*/ 8364 w 9568"/>
                <a:gd name="connsiteY6" fmla="*/ 4585 h 10000"/>
                <a:gd name="connsiteX7" fmla="*/ 6967 w 9568"/>
                <a:gd name="connsiteY7" fmla="*/ 5579 h 10000"/>
                <a:gd name="connsiteX8" fmla="*/ 6846 w 9568"/>
                <a:gd name="connsiteY8" fmla="*/ 5142 h 10000"/>
                <a:gd name="connsiteX9" fmla="*/ 6662 w 9568"/>
                <a:gd name="connsiteY9" fmla="*/ 4861 h 10000"/>
                <a:gd name="connsiteX10" fmla="*/ 6724 w 9568"/>
                <a:gd name="connsiteY10" fmla="*/ 4542 h 10000"/>
                <a:gd name="connsiteX11" fmla="*/ 6539 w 9568"/>
                <a:gd name="connsiteY11" fmla="*/ 4225 h 10000"/>
                <a:gd name="connsiteX12" fmla="*/ 6268 w 9568"/>
                <a:gd name="connsiteY12" fmla="*/ 4185 h 10000"/>
                <a:gd name="connsiteX13" fmla="*/ 6328 w 9568"/>
                <a:gd name="connsiteY13" fmla="*/ 3748 h 10000"/>
                <a:gd name="connsiteX14" fmla="*/ 6115 w 9568"/>
                <a:gd name="connsiteY14" fmla="*/ 3587 h 10000"/>
                <a:gd name="connsiteX15" fmla="*/ 5903 w 9568"/>
                <a:gd name="connsiteY15" fmla="*/ 3032 h 10000"/>
                <a:gd name="connsiteX16" fmla="*/ 5629 w 9568"/>
                <a:gd name="connsiteY16" fmla="*/ 3032 h 10000"/>
                <a:gd name="connsiteX17" fmla="*/ 5359 w 9568"/>
                <a:gd name="connsiteY17" fmla="*/ 2751 h 10000"/>
                <a:gd name="connsiteX18" fmla="*/ 5359 w 9568"/>
                <a:gd name="connsiteY18" fmla="*/ 2631 h 10000"/>
                <a:gd name="connsiteX19" fmla="*/ 5113 w 9568"/>
                <a:gd name="connsiteY19" fmla="*/ 2791 h 10000"/>
                <a:gd name="connsiteX20" fmla="*/ 4812 w 9568"/>
                <a:gd name="connsiteY20" fmla="*/ 2514 h 10000"/>
                <a:gd name="connsiteX21" fmla="*/ 4962 w 9568"/>
                <a:gd name="connsiteY21" fmla="*/ 2113 h 10000"/>
                <a:gd name="connsiteX22" fmla="*/ 4720 w 9568"/>
                <a:gd name="connsiteY22" fmla="*/ 1794 h 10000"/>
                <a:gd name="connsiteX23" fmla="*/ 4904 w 9568"/>
                <a:gd name="connsiteY23" fmla="*/ 1318 h 10000"/>
                <a:gd name="connsiteX24" fmla="*/ 4298 w 9568"/>
                <a:gd name="connsiteY24" fmla="*/ 679 h 10000"/>
                <a:gd name="connsiteX25" fmla="*/ 3931 w 9568"/>
                <a:gd name="connsiteY25" fmla="*/ 879 h 10000"/>
                <a:gd name="connsiteX26" fmla="*/ 3232 w 9568"/>
                <a:gd name="connsiteY26" fmla="*/ 521 h 10000"/>
                <a:gd name="connsiteX27" fmla="*/ 2957 w 9568"/>
                <a:gd name="connsiteY27" fmla="*/ 756 h 10000"/>
                <a:gd name="connsiteX28" fmla="*/ 2291 w 9568"/>
                <a:gd name="connsiteY28" fmla="*/ 42 h 10000"/>
                <a:gd name="connsiteX29" fmla="*/ 1746 w 9568"/>
                <a:gd name="connsiteY29" fmla="*/ 1038 h 10000"/>
                <a:gd name="connsiteX30" fmla="*/ 1746 w 9568"/>
                <a:gd name="connsiteY30" fmla="*/ 1634 h 10000"/>
                <a:gd name="connsiteX31" fmla="*/ 1352 w 9568"/>
                <a:gd name="connsiteY31" fmla="*/ 1159 h 10000"/>
                <a:gd name="connsiteX32" fmla="*/ 900 w 9568"/>
                <a:gd name="connsiteY32" fmla="*/ 1953 h 10000"/>
                <a:gd name="connsiteX33" fmla="*/ 1234 w 9568"/>
                <a:gd name="connsiteY33" fmla="*/ 2590 h 10000"/>
                <a:gd name="connsiteX34" fmla="*/ 626 w 9568"/>
                <a:gd name="connsiteY34" fmla="*/ 3347 h 10000"/>
                <a:gd name="connsiteX35" fmla="*/ 567 w 9568"/>
                <a:gd name="connsiteY35" fmla="*/ 3347 h 10000"/>
                <a:gd name="connsiteX36" fmla="*/ 806 w 9568"/>
                <a:gd name="connsiteY36" fmla="*/ 3789 h 10000"/>
                <a:gd name="connsiteX37" fmla="*/ 500 w 9568"/>
                <a:gd name="connsiteY37" fmla="*/ 4225 h 10000"/>
                <a:gd name="connsiteX38" fmla="*/ 715 w 9568"/>
                <a:gd name="connsiteY38" fmla="*/ 4503 h 10000"/>
                <a:gd name="connsiteX39" fmla="*/ 626 w 9568"/>
                <a:gd name="connsiteY39" fmla="*/ 4941 h 10000"/>
                <a:gd name="connsiteX40" fmla="*/ 500 w 9568"/>
                <a:gd name="connsiteY40" fmla="*/ 5184 h 10000"/>
                <a:gd name="connsiteX41" fmla="*/ 715 w 9568"/>
                <a:gd name="connsiteY41" fmla="*/ 5662 h 10000"/>
                <a:gd name="connsiteX42" fmla="*/ 352 w 9568"/>
                <a:gd name="connsiteY42" fmla="*/ 6414 h 10000"/>
                <a:gd name="connsiteX43" fmla="*/ 626 w 9568"/>
                <a:gd name="connsiteY43" fmla="*/ 6856 h 10000"/>
                <a:gd name="connsiteX44" fmla="*/ 140 w 9568"/>
                <a:gd name="connsiteY44" fmla="*/ 7609 h 10000"/>
                <a:gd name="connsiteX45" fmla="*/ 382 w 9568"/>
                <a:gd name="connsiteY45" fmla="*/ 8008 h 10000"/>
                <a:gd name="connsiteX46" fmla="*/ 15 w 9568"/>
                <a:gd name="connsiteY46" fmla="*/ 8649 h 10000"/>
                <a:gd name="connsiteX47" fmla="*/ 500 w 9568"/>
                <a:gd name="connsiteY47" fmla="*/ 8883 h 10000"/>
                <a:gd name="connsiteX48" fmla="*/ 352 w 9568"/>
                <a:gd name="connsiteY48" fmla="*/ 9404 h 10000"/>
                <a:gd name="connsiteX49" fmla="*/ 473 w 9568"/>
                <a:gd name="connsiteY49" fmla="*/ 10000 h 10000"/>
                <a:gd name="connsiteX50" fmla="*/ 1299 w 9568"/>
                <a:gd name="connsiteY50" fmla="*/ 9453 h 10000"/>
                <a:gd name="connsiteX51" fmla="*/ 1775 w 9568"/>
                <a:gd name="connsiteY51" fmla="*/ 8972 h 10000"/>
                <a:gd name="connsiteX52" fmla="*/ 2348 w 9568"/>
                <a:gd name="connsiteY52" fmla="*/ 8981 h 10000"/>
                <a:gd name="connsiteX53" fmla="*/ 2957 w 9568"/>
                <a:gd name="connsiteY53" fmla="*/ 8695 h 10000"/>
                <a:gd name="connsiteX54" fmla="*/ 3713 w 9568"/>
                <a:gd name="connsiteY54" fmla="*/ 8242 h 10000"/>
                <a:gd name="connsiteX55" fmla="*/ 3961 w 9568"/>
                <a:gd name="connsiteY55" fmla="*/ 7896 h 10000"/>
                <a:gd name="connsiteX56" fmla="*/ 4476 w 9568"/>
                <a:gd name="connsiteY56" fmla="*/ 7230 h 10000"/>
                <a:gd name="connsiteX57" fmla="*/ 5317 w 9568"/>
                <a:gd name="connsiteY57" fmla="*/ 7695 h 10000"/>
                <a:gd name="connsiteX58" fmla="*/ 5679 w 9568"/>
                <a:gd name="connsiteY58" fmla="*/ 7665 h 10000"/>
                <a:gd name="connsiteX59" fmla="*/ 5605 w 9568"/>
                <a:gd name="connsiteY59" fmla="*/ 7091 h 10000"/>
                <a:gd name="connsiteX60" fmla="*/ 5657 w 9568"/>
                <a:gd name="connsiteY60" fmla="*/ 6356 h 10000"/>
                <a:gd name="connsiteX61" fmla="*/ 6472 w 9568"/>
                <a:gd name="connsiteY61" fmla="*/ 6191 h 10000"/>
                <a:gd name="connsiteX62" fmla="*/ 6356 w 9568"/>
                <a:gd name="connsiteY62" fmla="*/ 7066 h 10000"/>
                <a:gd name="connsiteX0" fmla="*/ 9657 w 10000"/>
                <a:gd name="connsiteY0" fmla="*/ 3629 h 10000"/>
                <a:gd name="connsiteX1" fmla="*/ 9973 w 10000"/>
                <a:gd name="connsiteY1" fmla="*/ 4027 h 10000"/>
                <a:gd name="connsiteX2" fmla="*/ 9719 w 10000"/>
                <a:gd name="connsiteY2" fmla="*/ 4303 h 10000"/>
                <a:gd name="connsiteX3" fmla="*/ 9785 w 10000"/>
                <a:gd name="connsiteY3" fmla="*/ 4503 h 10000"/>
                <a:gd name="connsiteX4" fmla="*/ 9278 w 10000"/>
                <a:gd name="connsiteY4" fmla="*/ 4978 h 10000"/>
                <a:gd name="connsiteX5" fmla="*/ 8742 w 10000"/>
                <a:gd name="connsiteY5" fmla="*/ 4585 h 10000"/>
                <a:gd name="connsiteX6" fmla="*/ 7282 w 10000"/>
                <a:gd name="connsiteY6" fmla="*/ 5579 h 10000"/>
                <a:gd name="connsiteX7" fmla="*/ 7155 w 10000"/>
                <a:gd name="connsiteY7" fmla="*/ 5142 h 10000"/>
                <a:gd name="connsiteX8" fmla="*/ 6963 w 10000"/>
                <a:gd name="connsiteY8" fmla="*/ 4861 h 10000"/>
                <a:gd name="connsiteX9" fmla="*/ 7028 w 10000"/>
                <a:gd name="connsiteY9" fmla="*/ 4542 h 10000"/>
                <a:gd name="connsiteX10" fmla="*/ 6834 w 10000"/>
                <a:gd name="connsiteY10" fmla="*/ 4225 h 10000"/>
                <a:gd name="connsiteX11" fmla="*/ 6551 w 10000"/>
                <a:gd name="connsiteY11" fmla="*/ 4185 h 10000"/>
                <a:gd name="connsiteX12" fmla="*/ 6614 w 10000"/>
                <a:gd name="connsiteY12" fmla="*/ 3748 h 10000"/>
                <a:gd name="connsiteX13" fmla="*/ 6391 w 10000"/>
                <a:gd name="connsiteY13" fmla="*/ 3587 h 10000"/>
                <a:gd name="connsiteX14" fmla="*/ 6170 w 10000"/>
                <a:gd name="connsiteY14" fmla="*/ 3032 h 10000"/>
                <a:gd name="connsiteX15" fmla="*/ 5883 w 10000"/>
                <a:gd name="connsiteY15" fmla="*/ 3032 h 10000"/>
                <a:gd name="connsiteX16" fmla="*/ 5601 w 10000"/>
                <a:gd name="connsiteY16" fmla="*/ 2751 h 10000"/>
                <a:gd name="connsiteX17" fmla="*/ 5601 w 10000"/>
                <a:gd name="connsiteY17" fmla="*/ 2631 h 10000"/>
                <a:gd name="connsiteX18" fmla="*/ 5344 w 10000"/>
                <a:gd name="connsiteY18" fmla="*/ 2791 h 10000"/>
                <a:gd name="connsiteX19" fmla="*/ 5029 w 10000"/>
                <a:gd name="connsiteY19" fmla="*/ 2514 h 10000"/>
                <a:gd name="connsiteX20" fmla="*/ 5186 w 10000"/>
                <a:gd name="connsiteY20" fmla="*/ 2113 h 10000"/>
                <a:gd name="connsiteX21" fmla="*/ 4933 w 10000"/>
                <a:gd name="connsiteY21" fmla="*/ 1794 h 10000"/>
                <a:gd name="connsiteX22" fmla="*/ 5125 w 10000"/>
                <a:gd name="connsiteY22" fmla="*/ 1318 h 10000"/>
                <a:gd name="connsiteX23" fmla="*/ 4492 w 10000"/>
                <a:gd name="connsiteY23" fmla="*/ 679 h 10000"/>
                <a:gd name="connsiteX24" fmla="*/ 4108 w 10000"/>
                <a:gd name="connsiteY24" fmla="*/ 879 h 10000"/>
                <a:gd name="connsiteX25" fmla="*/ 3378 w 10000"/>
                <a:gd name="connsiteY25" fmla="*/ 521 h 10000"/>
                <a:gd name="connsiteX26" fmla="*/ 3091 w 10000"/>
                <a:gd name="connsiteY26" fmla="*/ 756 h 10000"/>
                <a:gd name="connsiteX27" fmla="*/ 2394 w 10000"/>
                <a:gd name="connsiteY27" fmla="*/ 42 h 10000"/>
                <a:gd name="connsiteX28" fmla="*/ 1825 w 10000"/>
                <a:gd name="connsiteY28" fmla="*/ 1038 h 10000"/>
                <a:gd name="connsiteX29" fmla="*/ 1825 w 10000"/>
                <a:gd name="connsiteY29" fmla="*/ 1634 h 10000"/>
                <a:gd name="connsiteX30" fmla="*/ 1413 w 10000"/>
                <a:gd name="connsiteY30" fmla="*/ 1159 h 10000"/>
                <a:gd name="connsiteX31" fmla="*/ 941 w 10000"/>
                <a:gd name="connsiteY31" fmla="*/ 1953 h 10000"/>
                <a:gd name="connsiteX32" fmla="*/ 1290 w 10000"/>
                <a:gd name="connsiteY32" fmla="*/ 2590 h 10000"/>
                <a:gd name="connsiteX33" fmla="*/ 654 w 10000"/>
                <a:gd name="connsiteY33" fmla="*/ 3347 h 10000"/>
                <a:gd name="connsiteX34" fmla="*/ 593 w 10000"/>
                <a:gd name="connsiteY34" fmla="*/ 3347 h 10000"/>
                <a:gd name="connsiteX35" fmla="*/ 842 w 10000"/>
                <a:gd name="connsiteY35" fmla="*/ 3789 h 10000"/>
                <a:gd name="connsiteX36" fmla="*/ 523 w 10000"/>
                <a:gd name="connsiteY36" fmla="*/ 4225 h 10000"/>
                <a:gd name="connsiteX37" fmla="*/ 747 w 10000"/>
                <a:gd name="connsiteY37" fmla="*/ 4503 h 10000"/>
                <a:gd name="connsiteX38" fmla="*/ 654 w 10000"/>
                <a:gd name="connsiteY38" fmla="*/ 4941 h 10000"/>
                <a:gd name="connsiteX39" fmla="*/ 523 w 10000"/>
                <a:gd name="connsiteY39" fmla="*/ 5184 h 10000"/>
                <a:gd name="connsiteX40" fmla="*/ 747 w 10000"/>
                <a:gd name="connsiteY40" fmla="*/ 5662 h 10000"/>
                <a:gd name="connsiteX41" fmla="*/ 368 w 10000"/>
                <a:gd name="connsiteY41" fmla="*/ 6414 h 10000"/>
                <a:gd name="connsiteX42" fmla="*/ 654 w 10000"/>
                <a:gd name="connsiteY42" fmla="*/ 6856 h 10000"/>
                <a:gd name="connsiteX43" fmla="*/ 146 w 10000"/>
                <a:gd name="connsiteY43" fmla="*/ 7609 h 10000"/>
                <a:gd name="connsiteX44" fmla="*/ 399 w 10000"/>
                <a:gd name="connsiteY44" fmla="*/ 8008 h 10000"/>
                <a:gd name="connsiteX45" fmla="*/ 16 w 10000"/>
                <a:gd name="connsiteY45" fmla="*/ 8649 h 10000"/>
                <a:gd name="connsiteX46" fmla="*/ 523 w 10000"/>
                <a:gd name="connsiteY46" fmla="*/ 8883 h 10000"/>
                <a:gd name="connsiteX47" fmla="*/ 368 w 10000"/>
                <a:gd name="connsiteY47" fmla="*/ 9404 h 10000"/>
                <a:gd name="connsiteX48" fmla="*/ 494 w 10000"/>
                <a:gd name="connsiteY48" fmla="*/ 10000 h 10000"/>
                <a:gd name="connsiteX49" fmla="*/ 1358 w 10000"/>
                <a:gd name="connsiteY49" fmla="*/ 9453 h 10000"/>
                <a:gd name="connsiteX50" fmla="*/ 1855 w 10000"/>
                <a:gd name="connsiteY50" fmla="*/ 8972 h 10000"/>
                <a:gd name="connsiteX51" fmla="*/ 2454 w 10000"/>
                <a:gd name="connsiteY51" fmla="*/ 8981 h 10000"/>
                <a:gd name="connsiteX52" fmla="*/ 3091 w 10000"/>
                <a:gd name="connsiteY52" fmla="*/ 8695 h 10000"/>
                <a:gd name="connsiteX53" fmla="*/ 3881 w 10000"/>
                <a:gd name="connsiteY53" fmla="*/ 8242 h 10000"/>
                <a:gd name="connsiteX54" fmla="*/ 4140 w 10000"/>
                <a:gd name="connsiteY54" fmla="*/ 7896 h 10000"/>
                <a:gd name="connsiteX55" fmla="*/ 4678 w 10000"/>
                <a:gd name="connsiteY55" fmla="*/ 7230 h 10000"/>
                <a:gd name="connsiteX56" fmla="*/ 5557 w 10000"/>
                <a:gd name="connsiteY56" fmla="*/ 7695 h 10000"/>
                <a:gd name="connsiteX57" fmla="*/ 5935 w 10000"/>
                <a:gd name="connsiteY57" fmla="*/ 7665 h 10000"/>
                <a:gd name="connsiteX58" fmla="*/ 5858 w 10000"/>
                <a:gd name="connsiteY58" fmla="*/ 7091 h 10000"/>
                <a:gd name="connsiteX59" fmla="*/ 5912 w 10000"/>
                <a:gd name="connsiteY59" fmla="*/ 6356 h 10000"/>
                <a:gd name="connsiteX60" fmla="*/ 6764 w 10000"/>
                <a:gd name="connsiteY60" fmla="*/ 6191 h 10000"/>
                <a:gd name="connsiteX61" fmla="*/ 6643 w 10000"/>
                <a:gd name="connsiteY61" fmla="*/ 7066 h 10000"/>
                <a:gd name="connsiteX0" fmla="*/ 9973 w 10000"/>
                <a:gd name="connsiteY0" fmla="*/ 4027 h 10000"/>
                <a:gd name="connsiteX1" fmla="*/ 9719 w 10000"/>
                <a:gd name="connsiteY1" fmla="*/ 4303 h 10000"/>
                <a:gd name="connsiteX2" fmla="*/ 9785 w 10000"/>
                <a:gd name="connsiteY2" fmla="*/ 4503 h 10000"/>
                <a:gd name="connsiteX3" fmla="*/ 9278 w 10000"/>
                <a:gd name="connsiteY3" fmla="*/ 4978 h 10000"/>
                <a:gd name="connsiteX4" fmla="*/ 8742 w 10000"/>
                <a:gd name="connsiteY4" fmla="*/ 4585 h 10000"/>
                <a:gd name="connsiteX5" fmla="*/ 7282 w 10000"/>
                <a:gd name="connsiteY5" fmla="*/ 5579 h 10000"/>
                <a:gd name="connsiteX6" fmla="*/ 7155 w 10000"/>
                <a:gd name="connsiteY6" fmla="*/ 5142 h 10000"/>
                <a:gd name="connsiteX7" fmla="*/ 6963 w 10000"/>
                <a:gd name="connsiteY7" fmla="*/ 4861 h 10000"/>
                <a:gd name="connsiteX8" fmla="*/ 7028 w 10000"/>
                <a:gd name="connsiteY8" fmla="*/ 4542 h 10000"/>
                <a:gd name="connsiteX9" fmla="*/ 6834 w 10000"/>
                <a:gd name="connsiteY9" fmla="*/ 4225 h 10000"/>
                <a:gd name="connsiteX10" fmla="*/ 6551 w 10000"/>
                <a:gd name="connsiteY10" fmla="*/ 4185 h 10000"/>
                <a:gd name="connsiteX11" fmla="*/ 6614 w 10000"/>
                <a:gd name="connsiteY11" fmla="*/ 3748 h 10000"/>
                <a:gd name="connsiteX12" fmla="*/ 6391 w 10000"/>
                <a:gd name="connsiteY12" fmla="*/ 3587 h 10000"/>
                <a:gd name="connsiteX13" fmla="*/ 6170 w 10000"/>
                <a:gd name="connsiteY13" fmla="*/ 3032 h 10000"/>
                <a:gd name="connsiteX14" fmla="*/ 5883 w 10000"/>
                <a:gd name="connsiteY14" fmla="*/ 3032 h 10000"/>
                <a:gd name="connsiteX15" fmla="*/ 5601 w 10000"/>
                <a:gd name="connsiteY15" fmla="*/ 2751 h 10000"/>
                <a:gd name="connsiteX16" fmla="*/ 5601 w 10000"/>
                <a:gd name="connsiteY16" fmla="*/ 2631 h 10000"/>
                <a:gd name="connsiteX17" fmla="*/ 5344 w 10000"/>
                <a:gd name="connsiteY17" fmla="*/ 2791 h 10000"/>
                <a:gd name="connsiteX18" fmla="*/ 5029 w 10000"/>
                <a:gd name="connsiteY18" fmla="*/ 2514 h 10000"/>
                <a:gd name="connsiteX19" fmla="*/ 5186 w 10000"/>
                <a:gd name="connsiteY19" fmla="*/ 2113 h 10000"/>
                <a:gd name="connsiteX20" fmla="*/ 4933 w 10000"/>
                <a:gd name="connsiteY20" fmla="*/ 1794 h 10000"/>
                <a:gd name="connsiteX21" fmla="*/ 5125 w 10000"/>
                <a:gd name="connsiteY21" fmla="*/ 1318 h 10000"/>
                <a:gd name="connsiteX22" fmla="*/ 4492 w 10000"/>
                <a:gd name="connsiteY22" fmla="*/ 679 h 10000"/>
                <a:gd name="connsiteX23" fmla="*/ 4108 w 10000"/>
                <a:gd name="connsiteY23" fmla="*/ 879 h 10000"/>
                <a:gd name="connsiteX24" fmla="*/ 3378 w 10000"/>
                <a:gd name="connsiteY24" fmla="*/ 521 h 10000"/>
                <a:gd name="connsiteX25" fmla="*/ 3091 w 10000"/>
                <a:gd name="connsiteY25" fmla="*/ 756 h 10000"/>
                <a:gd name="connsiteX26" fmla="*/ 2394 w 10000"/>
                <a:gd name="connsiteY26" fmla="*/ 42 h 10000"/>
                <a:gd name="connsiteX27" fmla="*/ 1825 w 10000"/>
                <a:gd name="connsiteY27" fmla="*/ 1038 h 10000"/>
                <a:gd name="connsiteX28" fmla="*/ 1825 w 10000"/>
                <a:gd name="connsiteY28" fmla="*/ 1634 h 10000"/>
                <a:gd name="connsiteX29" fmla="*/ 1413 w 10000"/>
                <a:gd name="connsiteY29" fmla="*/ 1159 h 10000"/>
                <a:gd name="connsiteX30" fmla="*/ 941 w 10000"/>
                <a:gd name="connsiteY30" fmla="*/ 1953 h 10000"/>
                <a:gd name="connsiteX31" fmla="*/ 1290 w 10000"/>
                <a:gd name="connsiteY31" fmla="*/ 2590 h 10000"/>
                <a:gd name="connsiteX32" fmla="*/ 654 w 10000"/>
                <a:gd name="connsiteY32" fmla="*/ 3347 h 10000"/>
                <a:gd name="connsiteX33" fmla="*/ 593 w 10000"/>
                <a:gd name="connsiteY33" fmla="*/ 3347 h 10000"/>
                <a:gd name="connsiteX34" fmla="*/ 842 w 10000"/>
                <a:gd name="connsiteY34" fmla="*/ 3789 h 10000"/>
                <a:gd name="connsiteX35" fmla="*/ 523 w 10000"/>
                <a:gd name="connsiteY35" fmla="*/ 4225 h 10000"/>
                <a:gd name="connsiteX36" fmla="*/ 747 w 10000"/>
                <a:gd name="connsiteY36" fmla="*/ 4503 h 10000"/>
                <a:gd name="connsiteX37" fmla="*/ 654 w 10000"/>
                <a:gd name="connsiteY37" fmla="*/ 4941 h 10000"/>
                <a:gd name="connsiteX38" fmla="*/ 523 w 10000"/>
                <a:gd name="connsiteY38" fmla="*/ 5184 h 10000"/>
                <a:gd name="connsiteX39" fmla="*/ 747 w 10000"/>
                <a:gd name="connsiteY39" fmla="*/ 5662 h 10000"/>
                <a:gd name="connsiteX40" fmla="*/ 368 w 10000"/>
                <a:gd name="connsiteY40" fmla="*/ 6414 h 10000"/>
                <a:gd name="connsiteX41" fmla="*/ 654 w 10000"/>
                <a:gd name="connsiteY41" fmla="*/ 6856 h 10000"/>
                <a:gd name="connsiteX42" fmla="*/ 146 w 10000"/>
                <a:gd name="connsiteY42" fmla="*/ 7609 h 10000"/>
                <a:gd name="connsiteX43" fmla="*/ 399 w 10000"/>
                <a:gd name="connsiteY43" fmla="*/ 8008 h 10000"/>
                <a:gd name="connsiteX44" fmla="*/ 16 w 10000"/>
                <a:gd name="connsiteY44" fmla="*/ 8649 h 10000"/>
                <a:gd name="connsiteX45" fmla="*/ 523 w 10000"/>
                <a:gd name="connsiteY45" fmla="*/ 8883 h 10000"/>
                <a:gd name="connsiteX46" fmla="*/ 368 w 10000"/>
                <a:gd name="connsiteY46" fmla="*/ 9404 h 10000"/>
                <a:gd name="connsiteX47" fmla="*/ 494 w 10000"/>
                <a:gd name="connsiteY47" fmla="*/ 10000 h 10000"/>
                <a:gd name="connsiteX48" fmla="*/ 1358 w 10000"/>
                <a:gd name="connsiteY48" fmla="*/ 9453 h 10000"/>
                <a:gd name="connsiteX49" fmla="*/ 1855 w 10000"/>
                <a:gd name="connsiteY49" fmla="*/ 8972 h 10000"/>
                <a:gd name="connsiteX50" fmla="*/ 2454 w 10000"/>
                <a:gd name="connsiteY50" fmla="*/ 8981 h 10000"/>
                <a:gd name="connsiteX51" fmla="*/ 3091 w 10000"/>
                <a:gd name="connsiteY51" fmla="*/ 8695 h 10000"/>
                <a:gd name="connsiteX52" fmla="*/ 3881 w 10000"/>
                <a:gd name="connsiteY52" fmla="*/ 8242 h 10000"/>
                <a:gd name="connsiteX53" fmla="*/ 4140 w 10000"/>
                <a:gd name="connsiteY53" fmla="*/ 7896 h 10000"/>
                <a:gd name="connsiteX54" fmla="*/ 4678 w 10000"/>
                <a:gd name="connsiteY54" fmla="*/ 7230 h 10000"/>
                <a:gd name="connsiteX55" fmla="*/ 5557 w 10000"/>
                <a:gd name="connsiteY55" fmla="*/ 7695 h 10000"/>
                <a:gd name="connsiteX56" fmla="*/ 5935 w 10000"/>
                <a:gd name="connsiteY56" fmla="*/ 7665 h 10000"/>
                <a:gd name="connsiteX57" fmla="*/ 5858 w 10000"/>
                <a:gd name="connsiteY57" fmla="*/ 7091 h 10000"/>
                <a:gd name="connsiteX58" fmla="*/ 5912 w 10000"/>
                <a:gd name="connsiteY58" fmla="*/ 6356 h 10000"/>
                <a:gd name="connsiteX59" fmla="*/ 6764 w 10000"/>
                <a:gd name="connsiteY59" fmla="*/ 6191 h 10000"/>
                <a:gd name="connsiteX60" fmla="*/ 6643 w 10000"/>
                <a:gd name="connsiteY60" fmla="*/ 7066 h 10000"/>
                <a:gd name="connsiteX0" fmla="*/ 9719 w 9786"/>
                <a:gd name="connsiteY0" fmla="*/ 4303 h 10000"/>
                <a:gd name="connsiteX1" fmla="*/ 9785 w 9786"/>
                <a:gd name="connsiteY1" fmla="*/ 4503 h 10000"/>
                <a:gd name="connsiteX2" fmla="*/ 9278 w 9786"/>
                <a:gd name="connsiteY2" fmla="*/ 4978 h 10000"/>
                <a:gd name="connsiteX3" fmla="*/ 8742 w 9786"/>
                <a:gd name="connsiteY3" fmla="*/ 4585 h 10000"/>
                <a:gd name="connsiteX4" fmla="*/ 7282 w 9786"/>
                <a:gd name="connsiteY4" fmla="*/ 5579 h 10000"/>
                <a:gd name="connsiteX5" fmla="*/ 7155 w 9786"/>
                <a:gd name="connsiteY5" fmla="*/ 5142 h 10000"/>
                <a:gd name="connsiteX6" fmla="*/ 6963 w 9786"/>
                <a:gd name="connsiteY6" fmla="*/ 4861 h 10000"/>
                <a:gd name="connsiteX7" fmla="*/ 7028 w 9786"/>
                <a:gd name="connsiteY7" fmla="*/ 4542 h 10000"/>
                <a:gd name="connsiteX8" fmla="*/ 6834 w 9786"/>
                <a:gd name="connsiteY8" fmla="*/ 4225 h 10000"/>
                <a:gd name="connsiteX9" fmla="*/ 6551 w 9786"/>
                <a:gd name="connsiteY9" fmla="*/ 4185 h 10000"/>
                <a:gd name="connsiteX10" fmla="*/ 6614 w 9786"/>
                <a:gd name="connsiteY10" fmla="*/ 3748 h 10000"/>
                <a:gd name="connsiteX11" fmla="*/ 6391 w 9786"/>
                <a:gd name="connsiteY11" fmla="*/ 3587 h 10000"/>
                <a:gd name="connsiteX12" fmla="*/ 6170 w 9786"/>
                <a:gd name="connsiteY12" fmla="*/ 3032 h 10000"/>
                <a:gd name="connsiteX13" fmla="*/ 5883 w 9786"/>
                <a:gd name="connsiteY13" fmla="*/ 3032 h 10000"/>
                <a:gd name="connsiteX14" fmla="*/ 5601 w 9786"/>
                <a:gd name="connsiteY14" fmla="*/ 2751 h 10000"/>
                <a:gd name="connsiteX15" fmla="*/ 5601 w 9786"/>
                <a:gd name="connsiteY15" fmla="*/ 2631 h 10000"/>
                <a:gd name="connsiteX16" fmla="*/ 5344 w 9786"/>
                <a:gd name="connsiteY16" fmla="*/ 2791 h 10000"/>
                <a:gd name="connsiteX17" fmla="*/ 5029 w 9786"/>
                <a:gd name="connsiteY17" fmla="*/ 2514 h 10000"/>
                <a:gd name="connsiteX18" fmla="*/ 5186 w 9786"/>
                <a:gd name="connsiteY18" fmla="*/ 2113 h 10000"/>
                <a:gd name="connsiteX19" fmla="*/ 4933 w 9786"/>
                <a:gd name="connsiteY19" fmla="*/ 1794 h 10000"/>
                <a:gd name="connsiteX20" fmla="*/ 5125 w 9786"/>
                <a:gd name="connsiteY20" fmla="*/ 1318 h 10000"/>
                <a:gd name="connsiteX21" fmla="*/ 4492 w 9786"/>
                <a:gd name="connsiteY21" fmla="*/ 679 h 10000"/>
                <a:gd name="connsiteX22" fmla="*/ 4108 w 9786"/>
                <a:gd name="connsiteY22" fmla="*/ 879 h 10000"/>
                <a:gd name="connsiteX23" fmla="*/ 3378 w 9786"/>
                <a:gd name="connsiteY23" fmla="*/ 521 h 10000"/>
                <a:gd name="connsiteX24" fmla="*/ 3091 w 9786"/>
                <a:gd name="connsiteY24" fmla="*/ 756 h 10000"/>
                <a:gd name="connsiteX25" fmla="*/ 2394 w 9786"/>
                <a:gd name="connsiteY25" fmla="*/ 42 h 10000"/>
                <a:gd name="connsiteX26" fmla="*/ 1825 w 9786"/>
                <a:gd name="connsiteY26" fmla="*/ 1038 h 10000"/>
                <a:gd name="connsiteX27" fmla="*/ 1825 w 9786"/>
                <a:gd name="connsiteY27" fmla="*/ 1634 h 10000"/>
                <a:gd name="connsiteX28" fmla="*/ 1413 w 9786"/>
                <a:gd name="connsiteY28" fmla="*/ 1159 h 10000"/>
                <a:gd name="connsiteX29" fmla="*/ 941 w 9786"/>
                <a:gd name="connsiteY29" fmla="*/ 1953 h 10000"/>
                <a:gd name="connsiteX30" fmla="*/ 1290 w 9786"/>
                <a:gd name="connsiteY30" fmla="*/ 2590 h 10000"/>
                <a:gd name="connsiteX31" fmla="*/ 654 w 9786"/>
                <a:gd name="connsiteY31" fmla="*/ 3347 h 10000"/>
                <a:gd name="connsiteX32" fmla="*/ 593 w 9786"/>
                <a:gd name="connsiteY32" fmla="*/ 3347 h 10000"/>
                <a:gd name="connsiteX33" fmla="*/ 842 w 9786"/>
                <a:gd name="connsiteY33" fmla="*/ 3789 h 10000"/>
                <a:gd name="connsiteX34" fmla="*/ 523 w 9786"/>
                <a:gd name="connsiteY34" fmla="*/ 4225 h 10000"/>
                <a:gd name="connsiteX35" fmla="*/ 747 w 9786"/>
                <a:gd name="connsiteY35" fmla="*/ 4503 h 10000"/>
                <a:gd name="connsiteX36" fmla="*/ 654 w 9786"/>
                <a:gd name="connsiteY36" fmla="*/ 4941 h 10000"/>
                <a:gd name="connsiteX37" fmla="*/ 523 w 9786"/>
                <a:gd name="connsiteY37" fmla="*/ 5184 h 10000"/>
                <a:gd name="connsiteX38" fmla="*/ 747 w 9786"/>
                <a:gd name="connsiteY38" fmla="*/ 5662 h 10000"/>
                <a:gd name="connsiteX39" fmla="*/ 368 w 9786"/>
                <a:gd name="connsiteY39" fmla="*/ 6414 h 10000"/>
                <a:gd name="connsiteX40" fmla="*/ 654 w 9786"/>
                <a:gd name="connsiteY40" fmla="*/ 6856 h 10000"/>
                <a:gd name="connsiteX41" fmla="*/ 146 w 9786"/>
                <a:gd name="connsiteY41" fmla="*/ 7609 h 10000"/>
                <a:gd name="connsiteX42" fmla="*/ 399 w 9786"/>
                <a:gd name="connsiteY42" fmla="*/ 8008 h 10000"/>
                <a:gd name="connsiteX43" fmla="*/ 16 w 9786"/>
                <a:gd name="connsiteY43" fmla="*/ 8649 h 10000"/>
                <a:gd name="connsiteX44" fmla="*/ 523 w 9786"/>
                <a:gd name="connsiteY44" fmla="*/ 8883 h 10000"/>
                <a:gd name="connsiteX45" fmla="*/ 368 w 9786"/>
                <a:gd name="connsiteY45" fmla="*/ 9404 h 10000"/>
                <a:gd name="connsiteX46" fmla="*/ 494 w 9786"/>
                <a:gd name="connsiteY46" fmla="*/ 10000 h 10000"/>
                <a:gd name="connsiteX47" fmla="*/ 1358 w 9786"/>
                <a:gd name="connsiteY47" fmla="*/ 9453 h 10000"/>
                <a:gd name="connsiteX48" fmla="*/ 1855 w 9786"/>
                <a:gd name="connsiteY48" fmla="*/ 8972 h 10000"/>
                <a:gd name="connsiteX49" fmla="*/ 2454 w 9786"/>
                <a:gd name="connsiteY49" fmla="*/ 8981 h 10000"/>
                <a:gd name="connsiteX50" fmla="*/ 3091 w 9786"/>
                <a:gd name="connsiteY50" fmla="*/ 8695 h 10000"/>
                <a:gd name="connsiteX51" fmla="*/ 3881 w 9786"/>
                <a:gd name="connsiteY51" fmla="*/ 8242 h 10000"/>
                <a:gd name="connsiteX52" fmla="*/ 4140 w 9786"/>
                <a:gd name="connsiteY52" fmla="*/ 7896 h 10000"/>
                <a:gd name="connsiteX53" fmla="*/ 4678 w 9786"/>
                <a:gd name="connsiteY53" fmla="*/ 7230 h 10000"/>
                <a:gd name="connsiteX54" fmla="*/ 5557 w 9786"/>
                <a:gd name="connsiteY54" fmla="*/ 7695 h 10000"/>
                <a:gd name="connsiteX55" fmla="*/ 5935 w 9786"/>
                <a:gd name="connsiteY55" fmla="*/ 7665 h 10000"/>
                <a:gd name="connsiteX56" fmla="*/ 5858 w 9786"/>
                <a:gd name="connsiteY56" fmla="*/ 7091 h 10000"/>
                <a:gd name="connsiteX57" fmla="*/ 5912 w 9786"/>
                <a:gd name="connsiteY57" fmla="*/ 6356 h 10000"/>
                <a:gd name="connsiteX58" fmla="*/ 6764 w 9786"/>
                <a:gd name="connsiteY58" fmla="*/ 6191 h 10000"/>
                <a:gd name="connsiteX59" fmla="*/ 6643 w 9786"/>
                <a:gd name="connsiteY59" fmla="*/ 7066 h 10000"/>
                <a:gd name="connsiteX0" fmla="*/ 9999 w 10000"/>
                <a:gd name="connsiteY0" fmla="*/ 4503 h 10000"/>
                <a:gd name="connsiteX1" fmla="*/ 9481 w 10000"/>
                <a:gd name="connsiteY1" fmla="*/ 4978 h 10000"/>
                <a:gd name="connsiteX2" fmla="*/ 8933 w 10000"/>
                <a:gd name="connsiteY2" fmla="*/ 4585 h 10000"/>
                <a:gd name="connsiteX3" fmla="*/ 7441 w 10000"/>
                <a:gd name="connsiteY3" fmla="*/ 5579 h 10000"/>
                <a:gd name="connsiteX4" fmla="*/ 7311 w 10000"/>
                <a:gd name="connsiteY4" fmla="*/ 5142 h 10000"/>
                <a:gd name="connsiteX5" fmla="*/ 7115 w 10000"/>
                <a:gd name="connsiteY5" fmla="*/ 4861 h 10000"/>
                <a:gd name="connsiteX6" fmla="*/ 7182 w 10000"/>
                <a:gd name="connsiteY6" fmla="*/ 4542 h 10000"/>
                <a:gd name="connsiteX7" fmla="*/ 6983 w 10000"/>
                <a:gd name="connsiteY7" fmla="*/ 4225 h 10000"/>
                <a:gd name="connsiteX8" fmla="*/ 6694 w 10000"/>
                <a:gd name="connsiteY8" fmla="*/ 4185 h 10000"/>
                <a:gd name="connsiteX9" fmla="*/ 6759 w 10000"/>
                <a:gd name="connsiteY9" fmla="*/ 3748 h 10000"/>
                <a:gd name="connsiteX10" fmla="*/ 6531 w 10000"/>
                <a:gd name="connsiteY10" fmla="*/ 3587 h 10000"/>
                <a:gd name="connsiteX11" fmla="*/ 6305 w 10000"/>
                <a:gd name="connsiteY11" fmla="*/ 3032 h 10000"/>
                <a:gd name="connsiteX12" fmla="*/ 6012 w 10000"/>
                <a:gd name="connsiteY12" fmla="*/ 3032 h 10000"/>
                <a:gd name="connsiteX13" fmla="*/ 5723 w 10000"/>
                <a:gd name="connsiteY13" fmla="*/ 2751 h 10000"/>
                <a:gd name="connsiteX14" fmla="*/ 5723 w 10000"/>
                <a:gd name="connsiteY14" fmla="*/ 2631 h 10000"/>
                <a:gd name="connsiteX15" fmla="*/ 5461 w 10000"/>
                <a:gd name="connsiteY15" fmla="*/ 2791 h 10000"/>
                <a:gd name="connsiteX16" fmla="*/ 5139 w 10000"/>
                <a:gd name="connsiteY16" fmla="*/ 2514 h 10000"/>
                <a:gd name="connsiteX17" fmla="*/ 5299 w 10000"/>
                <a:gd name="connsiteY17" fmla="*/ 2113 h 10000"/>
                <a:gd name="connsiteX18" fmla="*/ 5041 w 10000"/>
                <a:gd name="connsiteY18" fmla="*/ 1794 h 10000"/>
                <a:gd name="connsiteX19" fmla="*/ 5237 w 10000"/>
                <a:gd name="connsiteY19" fmla="*/ 1318 h 10000"/>
                <a:gd name="connsiteX20" fmla="*/ 4590 w 10000"/>
                <a:gd name="connsiteY20" fmla="*/ 679 h 10000"/>
                <a:gd name="connsiteX21" fmla="*/ 4198 w 10000"/>
                <a:gd name="connsiteY21" fmla="*/ 879 h 10000"/>
                <a:gd name="connsiteX22" fmla="*/ 3452 w 10000"/>
                <a:gd name="connsiteY22" fmla="*/ 521 h 10000"/>
                <a:gd name="connsiteX23" fmla="*/ 3159 w 10000"/>
                <a:gd name="connsiteY23" fmla="*/ 756 h 10000"/>
                <a:gd name="connsiteX24" fmla="*/ 2446 w 10000"/>
                <a:gd name="connsiteY24" fmla="*/ 42 h 10000"/>
                <a:gd name="connsiteX25" fmla="*/ 1865 w 10000"/>
                <a:gd name="connsiteY25" fmla="*/ 1038 h 10000"/>
                <a:gd name="connsiteX26" fmla="*/ 1865 w 10000"/>
                <a:gd name="connsiteY26" fmla="*/ 1634 h 10000"/>
                <a:gd name="connsiteX27" fmla="*/ 1444 w 10000"/>
                <a:gd name="connsiteY27" fmla="*/ 1159 h 10000"/>
                <a:gd name="connsiteX28" fmla="*/ 962 w 10000"/>
                <a:gd name="connsiteY28" fmla="*/ 1953 h 10000"/>
                <a:gd name="connsiteX29" fmla="*/ 1318 w 10000"/>
                <a:gd name="connsiteY29" fmla="*/ 2590 h 10000"/>
                <a:gd name="connsiteX30" fmla="*/ 668 w 10000"/>
                <a:gd name="connsiteY30" fmla="*/ 3347 h 10000"/>
                <a:gd name="connsiteX31" fmla="*/ 606 w 10000"/>
                <a:gd name="connsiteY31" fmla="*/ 3347 h 10000"/>
                <a:gd name="connsiteX32" fmla="*/ 860 w 10000"/>
                <a:gd name="connsiteY32" fmla="*/ 3789 h 10000"/>
                <a:gd name="connsiteX33" fmla="*/ 534 w 10000"/>
                <a:gd name="connsiteY33" fmla="*/ 4225 h 10000"/>
                <a:gd name="connsiteX34" fmla="*/ 763 w 10000"/>
                <a:gd name="connsiteY34" fmla="*/ 4503 h 10000"/>
                <a:gd name="connsiteX35" fmla="*/ 668 w 10000"/>
                <a:gd name="connsiteY35" fmla="*/ 4941 h 10000"/>
                <a:gd name="connsiteX36" fmla="*/ 534 w 10000"/>
                <a:gd name="connsiteY36" fmla="*/ 5184 h 10000"/>
                <a:gd name="connsiteX37" fmla="*/ 763 w 10000"/>
                <a:gd name="connsiteY37" fmla="*/ 5662 h 10000"/>
                <a:gd name="connsiteX38" fmla="*/ 376 w 10000"/>
                <a:gd name="connsiteY38" fmla="*/ 6414 h 10000"/>
                <a:gd name="connsiteX39" fmla="*/ 668 w 10000"/>
                <a:gd name="connsiteY39" fmla="*/ 6856 h 10000"/>
                <a:gd name="connsiteX40" fmla="*/ 149 w 10000"/>
                <a:gd name="connsiteY40" fmla="*/ 7609 h 10000"/>
                <a:gd name="connsiteX41" fmla="*/ 408 w 10000"/>
                <a:gd name="connsiteY41" fmla="*/ 8008 h 10000"/>
                <a:gd name="connsiteX42" fmla="*/ 16 w 10000"/>
                <a:gd name="connsiteY42" fmla="*/ 8649 h 10000"/>
                <a:gd name="connsiteX43" fmla="*/ 534 w 10000"/>
                <a:gd name="connsiteY43" fmla="*/ 8883 h 10000"/>
                <a:gd name="connsiteX44" fmla="*/ 376 w 10000"/>
                <a:gd name="connsiteY44" fmla="*/ 9404 h 10000"/>
                <a:gd name="connsiteX45" fmla="*/ 505 w 10000"/>
                <a:gd name="connsiteY45" fmla="*/ 10000 h 10000"/>
                <a:gd name="connsiteX46" fmla="*/ 1388 w 10000"/>
                <a:gd name="connsiteY46" fmla="*/ 9453 h 10000"/>
                <a:gd name="connsiteX47" fmla="*/ 1896 w 10000"/>
                <a:gd name="connsiteY47" fmla="*/ 8972 h 10000"/>
                <a:gd name="connsiteX48" fmla="*/ 2508 w 10000"/>
                <a:gd name="connsiteY48" fmla="*/ 8981 h 10000"/>
                <a:gd name="connsiteX49" fmla="*/ 3159 w 10000"/>
                <a:gd name="connsiteY49" fmla="*/ 8695 h 10000"/>
                <a:gd name="connsiteX50" fmla="*/ 3966 w 10000"/>
                <a:gd name="connsiteY50" fmla="*/ 8242 h 10000"/>
                <a:gd name="connsiteX51" fmla="*/ 4231 w 10000"/>
                <a:gd name="connsiteY51" fmla="*/ 7896 h 10000"/>
                <a:gd name="connsiteX52" fmla="*/ 4780 w 10000"/>
                <a:gd name="connsiteY52" fmla="*/ 7230 h 10000"/>
                <a:gd name="connsiteX53" fmla="*/ 5679 w 10000"/>
                <a:gd name="connsiteY53" fmla="*/ 7695 h 10000"/>
                <a:gd name="connsiteX54" fmla="*/ 6065 w 10000"/>
                <a:gd name="connsiteY54" fmla="*/ 7665 h 10000"/>
                <a:gd name="connsiteX55" fmla="*/ 5986 w 10000"/>
                <a:gd name="connsiteY55" fmla="*/ 7091 h 10000"/>
                <a:gd name="connsiteX56" fmla="*/ 6041 w 10000"/>
                <a:gd name="connsiteY56" fmla="*/ 6356 h 10000"/>
                <a:gd name="connsiteX57" fmla="*/ 6912 w 10000"/>
                <a:gd name="connsiteY57" fmla="*/ 6191 h 10000"/>
                <a:gd name="connsiteX58" fmla="*/ 6788 w 10000"/>
                <a:gd name="connsiteY58" fmla="*/ 7066 h 10000"/>
                <a:gd name="connsiteX0" fmla="*/ 9481 w 9481"/>
                <a:gd name="connsiteY0" fmla="*/ 4978 h 10000"/>
                <a:gd name="connsiteX1" fmla="*/ 8933 w 9481"/>
                <a:gd name="connsiteY1" fmla="*/ 4585 h 10000"/>
                <a:gd name="connsiteX2" fmla="*/ 7441 w 9481"/>
                <a:gd name="connsiteY2" fmla="*/ 5579 h 10000"/>
                <a:gd name="connsiteX3" fmla="*/ 7311 w 9481"/>
                <a:gd name="connsiteY3" fmla="*/ 5142 h 10000"/>
                <a:gd name="connsiteX4" fmla="*/ 7115 w 9481"/>
                <a:gd name="connsiteY4" fmla="*/ 4861 h 10000"/>
                <a:gd name="connsiteX5" fmla="*/ 7182 w 9481"/>
                <a:gd name="connsiteY5" fmla="*/ 4542 h 10000"/>
                <a:gd name="connsiteX6" fmla="*/ 6983 w 9481"/>
                <a:gd name="connsiteY6" fmla="*/ 4225 h 10000"/>
                <a:gd name="connsiteX7" fmla="*/ 6694 w 9481"/>
                <a:gd name="connsiteY7" fmla="*/ 4185 h 10000"/>
                <a:gd name="connsiteX8" fmla="*/ 6759 w 9481"/>
                <a:gd name="connsiteY8" fmla="*/ 3748 h 10000"/>
                <a:gd name="connsiteX9" fmla="*/ 6531 w 9481"/>
                <a:gd name="connsiteY9" fmla="*/ 3587 h 10000"/>
                <a:gd name="connsiteX10" fmla="*/ 6305 w 9481"/>
                <a:gd name="connsiteY10" fmla="*/ 3032 h 10000"/>
                <a:gd name="connsiteX11" fmla="*/ 6012 w 9481"/>
                <a:gd name="connsiteY11" fmla="*/ 3032 h 10000"/>
                <a:gd name="connsiteX12" fmla="*/ 5723 w 9481"/>
                <a:gd name="connsiteY12" fmla="*/ 2751 h 10000"/>
                <a:gd name="connsiteX13" fmla="*/ 5723 w 9481"/>
                <a:gd name="connsiteY13" fmla="*/ 2631 h 10000"/>
                <a:gd name="connsiteX14" fmla="*/ 5461 w 9481"/>
                <a:gd name="connsiteY14" fmla="*/ 2791 h 10000"/>
                <a:gd name="connsiteX15" fmla="*/ 5139 w 9481"/>
                <a:gd name="connsiteY15" fmla="*/ 2514 h 10000"/>
                <a:gd name="connsiteX16" fmla="*/ 5299 w 9481"/>
                <a:gd name="connsiteY16" fmla="*/ 2113 h 10000"/>
                <a:gd name="connsiteX17" fmla="*/ 5041 w 9481"/>
                <a:gd name="connsiteY17" fmla="*/ 1794 h 10000"/>
                <a:gd name="connsiteX18" fmla="*/ 5237 w 9481"/>
                <a:gd name="connsiteY18" fmla="*/ 1318 h 10000"/>
                <a:gd name="connsiteX19" fmla="*/ 4590 w 9481"/>
                <a:gd name="connsiteY19" fmla="*/ 679 h 10000"/>
                <a:gd name="connsiteX20" fmla="*/ 4198 w 9481"/>
                <a:gd name="connsiteY20" fmla="*/ 879 h 10000"/>
                <a:gd name="connsiteX21" fmla="*/ 3452 w 9481"/>
                <a:gd name="connsiteY21" fmla="*/ 521 h 10000"/>
                <a:gd name="connsiteX22" fmla="*/ 3159 w 9481"/>
                <a:gd name="connsiteY22" fmla="*/ 756 h 10000"/>
                <a:gd name="connsiteX23" fmla="*/ 2446 w 9481"/>
                <a:gd name="connsiteY23" fmla="*/ 42 h 10000"/>
                <a:gd name="connsiteX24" fmla="*/ 1865 w 9481"/>
                <a:gd name="connsiteY24" fmla="*/ 1038 h 10000"/>
                <a:gd name="connsiteX25" fmla="*/ 1865 w 9481"/>
                <a:gd name="connsiteY25" fmla="*/ 1634 h 10000"/>
                <a:gd name="connsiteX26" fmla="*/ 1444 w 9481"/>
                <a:gd name="connsiteY26" fmla="*/ 1159 h 10000"/>
                <a:gd name="connsiteX27" fmla="*/ 962 w 9481"/>
                <a:gd name="connsiteY27" fmla="*/ 1953 h 10000"/>
                <a:gd name="connsiteX28" fmla="*/ 1318 w 9481"/>
                <a:gd name="connsiteY28" fmla="*/ 2590 h 10000"/>
                <a:gd name="connsiteX29" fmla="*/ 668 w 9481"/>
                <a:gd name="connsiteY29" fmla="*/ 3347 h 10000"/>
                <a:gd name="connsiteX30" fmla="*/ 606 w 9481"/>
                <a:gd name="connsiteY30" fmla="*/ 3347 h 10000"/>
                <a:gd name="connsiteX31" fmla="*/ 860 w 9481"/>
                <a:gd name="connsiteY31" fmla="*/ 3789 h 10000"/>
                <a:gd name="connsiteX32" fmla="*/ 534 w 9481"/>
                <a:gd name="connsiteY32" fmla="*/ 4225 h 10000"/>
                <a:gd name="connsiteX33" fmla="*/ 763 w 9481"/>
                <a:gd name="connsiteY33" fmla="*/ 4503 h 10000"/>
                <a:gd name="connsiteX34" fmla="*/ 668 w 9481"/>
                <a:gd name="connsiteY34" fmla="*/ 4941 h 10000"/>
                <a:gd name="connsiteX35" fmla="*/ 534 w 9481"/>
                <a:gd name="connsiteY35" fmla="*/ 5184 h 10000"/>
                <a:gd name="connsiteX36" fmla="*/ 763 w 9481"/>
                <a:gd name="connsiteY36" fmla="*/ 5662 h 10000"/>
                <a:gd name="connsiteX37" fmla="*/ 376 w 9481"/>
                <a:gd name="connsiteY37" fmla="*/ 6414 h 10000"/>
                <a:gd name="connsiteX38" fmla="*/ 668 w 9481"/>
                <a:gd name="connsiteY38" fmla="*/ 6856 h 10000"/>
                <a:gd name="connsiteX39" fmla="*/ 149 w 9481"/>
                <a:gd name="connsiteY39" fmla="*/ 7609 h 10000"/>
                <a:gd name="connsiteX40" fmla="*/ 408 w 9481"/>
                <a:gd name="connsiteY40" fmla="*/ 8008 h 10000"/>
                <a:gd name="connsiteX41" fmla="*/ 16 w 9481"/>
                <a:gd name="connsiteY41" fmla="*/ 8649 h 10000"/>
                <a:gd name="connsiteX42" fmla="*/ 534 w 9481"/>
                <a:gd name="connsiteY42" fmla="*/ 8883 h 10000"/>
                <a:gd name="connsiteX43" fmla="*/ 376 w 9481"/>
                <a:gd name="connsiteY43" fmla="*/ 9404 h 10000"/>
                <a:gd name="connsiteX44" fmla="*/ 505 w 9481"/>
                <a:gd name="connsiteY44" fmla="*/ 10000 h 10000"/>
                <a:gd name="connsiteX45" fmla="*/ 1388 w 9481"/>
                <a:gd name="connsiteY45" fmla="*/ 9453 h 10000"/>
                <a:gd name="connsiteX46" fmla="*/ 1896 w 9481"/>
                <a:gd name="connsiteY46" fmla="*/ 8972 h 10000"/>
                <a:gd name="connsiteX47" fmla="*/ 2508 w 9481"/>
                <a:gd name="connsiteY47" fmla="*/ 8981 h 10000"/>
                <a:gd name="connsiteX48" fmla="*/ 3159 w 9481"/>
                <a:gd name="connsiteY48" fmla="*/ 8695 h 10000"/>
                <a:gd name="connsiteX49" fmla="*/ 3966 w 9481"/>
                <a:gd name="connsiteY49" fmla="*/ 8242 h 10000"/>
                <a:gd name="connsiteX50" fmla="*/ 4231 w 9481"/>
                <a:gd name="connsiteY50" fmla="*/ 7896 h 10000"/>
                <a:gd name="connsiteX51" fmla="*/ 4780 w 9481"/>
                <a:gd name="connsiteY51" fmla="*/ 7230 h 10000"/>
                <a:gd name="connsiteX52" fmla="*/ 5679 w 9481"/>
                <a:gd name="connsiteY52" fmla="*/ 7695 h 10000"/>
                <a:gd name="connsiteX53" fmla="*/ 6065 w 9481"/>
                <a:gd name="connsiteY53" fmla="*/ 7665 h 10000"/>
                <a:gd name="connsiteX54" fmla="*/ 5986 w 9481"/>
                <a:gd name="connsiteY54" fmla="*/ 7091 h 10000"/>
                <a:gd name="connsiteX55" fmla="*/ 6041 w 9481"/>
                <a:gd name="connsiteY55" fmla="*/ 6356 h 10000"/>
                <a:gd name="connsiteX56" fmla="*/ 6912 w 9481"/>
                <a:gd name="connsiteY56" fmla="*/ 6191 h 10000"/>
                <a:gd name="connsiteX57" fmla="*/ 6788 w 9481"/>
                <a:gd name="connsiteY57" fmla="*/ 7066 h 10000"/>
                <a:gd name="connsiteX0" fmla="*/ 9422 w 9422"/>
                <a:gd name="connsiteY0" fmla="*/ 4585 h 10000"/>
                <a:gd name="connsiteX1" fmla="*/ 7848 w 9422"/>
                <a:gd name="connsiteY1" fmla="*/ 5579 h 10000"/>
                <a:gd name="connsiteX2" fmla="*/ 7711 w 9422"/>
                <a:gd name="connsiteY2" fmla="*/ 5142 h 10000"/>
                <a:gd name="connsiteX3" fmla="*/ 7504 w 9422"/>
                <a:gd name="connsiteY3" fmla="*/ 4861 h 10000"/>
                <a:gd name="connsiteX4" fmla="*/ 7575 w 9422"/>
                <a:gd name="connsiteY4" fmla="*/ 4542 h 10000"/>
                <a:gd name="connsiteX5" fmla="*/ 7365 w 9422"/>
                <a:gd name="connsiteY5" fmla="*/ 4225 h 10000"/>
                <a:gd name="connsiteX6" fmla="*/ 7060 w 9422"/>
                <a:gd name="connsiteY6" fmla="*/ 4185 h 10000"/>
                <a:gd name="connsiteX7" fmla="*/ 7129 w 9422"/>
                <a:gd name="connsiteY7" fmla="*/ 3748 h 10000"/>
                <a:gd name="connsiteX8" fmla="*/ 6889 w 9422"/>
                <a:gd name="connsiteY8" fmla="*/ 3587 h 10000"/>
                <a:gd name="connsiteX9" fmla="*/ 6650 w 9422"/>
                <a:gd name="connsiteY9" fmla="*/ 3032 h 10000"/>
                <a:gd name="connsiteX10" fmla="*/ 6341 w 9422"/>
                <a:gd name="connsiteY10" fmla="*/ 3032 h 10000"/>
                <a:gd name="connsiteX11" fmla="*/ 6036 w 9422"/>
                <a:gd name="connsiteY11" fmla="*/ 2751 h 10000"/>
                <a:gd name="connsiteX12" fmla="*/ 6036 w 9422"/>
                <a:gd name="connsiteY12" fmla="*/ 2631 h 10000"/>
                <a:gd name="connsiteX13" fmla="*/ 5760 w 9422"/>
                <a:gd name="connsiteY13" fmla="*/ 2791 h 10000"/>
                <a:gd name="connsiteX14" fmla="*/ 5420 w 9422"/>
                <a:gd name="connsiteY14" fmla="*/ 2514 h 10000"/>
                <a:gd name="connsiteX15" fmla="*/ 5589 w 9422"/>
                <a:gd name="connsiteY15" fmla="*/ 2113 h 10000"/>
                <a:gd name="connsiteX16" fmla="*/ 5317 w 9422"/>
                <a:gd name="connsiteY16" fmla="*/ 1794 h 10000"/>
                <a:gd name="connsiteX17" fmla="*/ 5524 w 9422"/>
                <a:gd name="connsiteY17" fmla="*/ 1318 h 10000"/>
                <a:gd name="connsiteX18" fmla="*/ 4841 w 9422"/>
                <a:gd name="connsiteY18" fmla="*/ 679 h 10000"/>
                <a:gd name="connsiteX19" fmla="*/ 4428 w 9422"/>
                <a:gd name="connsiteY19" fmla="*/ 879 h 10000"/>
                <a:gd name="connsiteX20" fmla="*/ 3641 w 9422"/>
                <a:gd name="connsiteY20" fmla="*/ 521 h 10000"/>
                <a:gd name="connsiteX21" fmla="*/ 3332 w 9422"/>
                <a:gd name="connsiteY21" fmla="*/ 756 h 10000"/>
                <a:gd name="connsiteX22" fmla="*/ 2580 w 9422"/>
                <a:gd name="connsiteY22" fmla="*/ 42 h 10000"/>
                <a:gd name="connsiteX23" fmla="*/ 1967 w 9422"/>
                <a:gd name="connsiteY23" fmla="*/ 1038 h 10000"/>
                <a:gd name="connsiteX24" fmla="*/ 1967 w 9422"/>
                <a:gd name="connsiteY24" fmla="*/ 1634 h 10000"/>
                <a:gd name="connsiteX25" fmla="*/ 1523 w 9422"/>
                <a:gd name="connsiteY25" fmla="*/ 1159 h 10000"/>
                <a:gd name="connsiteX26" fmla="*/ 1015 w 9422"/>
                <a:gd name="connsiteY26" fmla="*/ 1953 h 10000"/>
                <a:gd name="connsiteX27" fmla="*/ 1390 w 9422"/>
                <a:gd name="connsiteY27" fmla="*/ 2590 h 10000"/>
                <a:gd name="connsiteX28" fmla="*/ 705 w 9422"/>
                <a:gd name="connsiteY28" fmla="*/ 3347 h 10000"/>
                <a:gd name="connsiteX29" fmla="*/ 639 w 9422"/>
                <a:gd name="connsiteY29" fmla="*/ 3347 h 10000"/>
                <a:gd name="connsiteX30" fmla="*/ 907 w 9422"/>
                <a:gd name="connsiteY30" fmla="*/ 3789 h 10000"/>
                <a:gd name="connsiteX31" fmla="*/ 563 w 9422"/>
                <a:gd name="connsiteY31" fmla="*/ 4225 h 10000"/>
                <a:gd name="connsiteX32" fmla="*/ 805 w 9422"/>
                <a:gd name="connsiteY32" fmla="*/ 4503 h 10000"/>
                <a:gd name="connsiteX33" fmla="*/ 705 w 9422"/>
                <a:gd name="connsiteY33" fmla="*/ 4941 h 10000"/>
                <a:gd name="connsiteX34" fmla="*/ 563 w 9422"/>
                <a:gd name="connsiteY34" fmla="*/ 5184 h 10000"/>
                <a:gd name="connsiteX35" fmla="*/ 805 w 9422"/>
                <a:gd name="connsiteY35" fmla="*/ 5662 h 10000"/>
                <a:gd name="connsiteX36" fmla="*/ 397 w 9422"/>
                <a:gd name="connsiteY36" fmla="*/ 6414 h 10000"/>
                <a:gd name="connsiteX37" fmla="*/ 705 w 9422"/>
                <a:gd name="connsiteY37" fmla="*/ 6856 h 10000"/>
                <a:gd name="connsiteX38" fmla="*/ 157 w 9422"/>
                <a:gd name="connsiteY38" fmla="*/ 7609 h 10000"/>
                <a:gd name="connsiteX39" fmla="*/ 430 w 9422"/>
                <a:gd name="connsiteY39" fmla="*/ 8008 h 10000"/>
                <a:gd name="connsiteX40" fmla="*/ 17 w 9422"/>
                <a:gd name="connsiteY40" fmla="*/ 8649 h 10000"/>
                <a:gd name="connsiteX41" fmla="*/ 563 w 9422"/>
                <a:gd name="connsiteY41" fmla="*/ 8883 h 10000"/>
                <a:gd name="connsiteX42" fmla="*/ 397 w 9422"/>
                <a:gd name="connsiteY42" fmla="*/ 9404 h 10000"/>
                <a:gd name="connsiteX43" fmla="*/ 533 w 9422"/>
                <a:gd name="connsiteY43" fmla="*/ 10000 h 10000"/>
                <a:gd name="connsiteX44" fmla="*/ 1464 w 9422"/>
                <a:gd name="connsiteY44" fmla="*/ 9453 h 10000"/>
                <a:gd name="connsiteX45" fmla="*/ 2000 w 9422"/>
                <a:gd name="connsiteY45" fmla="*/ 8972 h 10000"/>
                <a:gd name="connsiteX46" fmla="*/ 2645 w 9422"/>
                <a:gd name="connsiteY46" fmla="*/ 8981 h 10000"/>
                <a:gd name="connsiteX47" fmla="*/ 3332 w 9422"/>
                <a:gd name="connsiteY47" fmla="*/ 8695 h 10000"/>
                <a:gd name="connsiteX48" fmla="*/ 4183 w 9422"/>
                <a:gd name="connsiteY48" fmla="*/ 8242 h 10000"/>
                <a:gd name="connsiteX49" fmla="*/ 4463 w 9422"/>
                <a:gd name="connsiteY49" fmla="*/ 7896 h 10000"/>
                <a:gd name="connsiteX50" fmla="*/ 5042 w 9422"/>
                <a:gd name="connsiteY50" fmla="*/ 7230 h 10000"/>
                <a:gd name="connsiteX51" fmla="*/ 5990 w 9422"/>
                <a:gd name="connsiteY51" fmla="*/ 7695 h 10000"/>
                <a:gd name="connsiteX52" fmla="*/ 6397 w 9422"/>
                <a:gd name="connsiteY52" fmla="*/ 7665 h 10000"/>
                <a:gd name="connsiteX53" fmla="*/ 6314 w 9422"/>
                <a:gd name="connsiteY53" fmla="*/ 7091 h 10000"/>
                <a:gd name="connsiteX54" fmla="*/ 6372 w 9422"/>
                <a:gd name="connsiteY54" fmla="*/ 6356 h 10000"/>
                <a:gd name="connsiteX55" fmla="*/ 7290 w 9422"/>
                <a:gd name="connsiteY55" fmla="*/ 6191 h 10000"/>
                <a:gd name="connsiteX56" fmla="*/ 7160 w 9422"/>
                <a:gd name="connsiteY56" fmla="*/ 7066 h 10000"/>
                <a:gd name="connsiteX0" fmla="*/ 8329 w 8329"/>
                <a:gd name="connsiteY0" fmla="*/ 5579 h 10000"/>
                <a:gd name="connsiteX1" fmla="*/ 8184 w 8329"/>
                <a:gd name="connsiteY1" fmla="*/ 5142 h 10000"/>
                <a:gd name="connsiteX2" fmla="*/ 7964 w 8329"/>
                <a:gd name="connsiteY2" fmla="*/ 4861 h 10000"/>
                <a:gd name="connsiteX3" fmla="*/ 8040 w 8329"/>
                <a:gd name="connsiteY3" fmla="*/ 4542 h 10000"/>
                <a:gd name="connsiteX4" fmla="*/ 7817 w 8329"/>
                <a:gd name="connsiteY4" fmla="*/ 4225 h 10000"/>
                <a:gd name="connsiteX5" fmla="*/ 7493 w 8329"/>
                <a:gd name="connsiteY5" fmla="*/ 4185 h 10000"/>
                <a:gd name="connsiteX6" fmla="*/ 7566 w 8329"/>
                <a:gd name="connsiteY6" fmla="*/ 3748 h 10000"/>
                <a:gd name="connsiteX7" fmla="*/ 7312 w 8329"/>
                <a:gd name="connsiteY7" fmla="*/ 3587 h 10000"/>
                <a:gd name="connsiteX8" fmla="*/ 7058 w 8329"/>
                <a:gd name="connsiteY8" fmla="*/ 3032 h 10000"/>
                <a:gd name="connsiteX9" fmla="*/ 6730 w 8329"/>
                <a:gd name="connsiteY9" fmla="*/ 3032 h 10000"/>
                <a:gd name="connsiteX10" fmla="*/ 6406 w 8329"/>
                <a:gd name="connsiteY10" fmla="*/ 2751 h 10000"/>
                <a:gd name="connsiteX11" fmla="*/ 6406 w 8329"/>
                <a:gd name="connsiteY11" fmla="*/ 2631 h 10000"/>
                <a:gd name="connsiteX12" fmla="*/ 6113 w 8329"/>
                <a:gd name="connsiteY12" fmla="*/ 2791 h 10000"/>
                <a:gd name="connsiteX13" fmla="*/ 5752 w 8329"/>
                <a:gd name="connsiteY13" fmla="*/ 2514 h 10000"/>
                <a:gd name="connsiteX14" fmla="*/ 5932 w 8329"/>
                <a:gd name="connsiteY14" fmla="*/ 2113 h 10000"/>
                <a:gd name="connsiteX15" fmla="*/ 5643 w 8329"/>
                <a:gd name="connsiteY15" fmla="*/ 1794 h 10000"/>
                <a:gd name="connsiteX16" fmla="*/ 5863 w 8329"/>
                <a:gd name="connsiteY16" fmla="*/ 1318 h 10000"/>
                <a:gd name="connsiteX17" fmla="*/ 5138 w 8329"/>
                <a:gd name="connsiteY17" fmla="*/ 679 h 10000"/>
                <a:gd name="connsiteX18" fmla="*/ 4700 w 8329"/>
                <a:gd name="connsiteY18" fmla="*/ 879 h 10000"/>
                <a:gd name="connsiteX19" fmla="*/ 3864 w 8329"/>
                <a:gd name="connsiteY19" fmla="*/ 521 h 10000"/>
                <a:gd name="connsiteX20" fmla="*/ 3536 w 8329"/>
                <a:gd name="connsiteY20" fmla="*/ 756 h 10000"/>
                <a:gd name="connsiteX21" fmla="*/ 2738 w 8329"/>
                <a:gd name="connsiteY21" fmla="*/ 42 h 10000"/>
                <a:gd name="connsiteX22" fmla="*/ 2088 w 8329"/>
                <a:gd name="connsiteY22" fmla="*/ 1038 h 10000"/>
                <a:gd name="connsiteX23" fmla="*/ 2088 w 8329"/>
                <a:gd name="connsiteY23" fmla="*/ 1634 h 10000"/>
                <a:gd name="connsiteX24" fmla="*/ 1616 w 8329"/>
                <a:gd name="connsiteY24" fmla="*/ 1159 h 10000"/>
                <a:gd name="connsiteX25" fmla="*/ 1077 w 8329"/>
                <a:gd name="connsiteY25" fmla="*/ 1953 h 10000"/>
                <a:gd name="connsiteX26" fmla="*/ 1475 w 8329"/>
                <a:gd name="connsiteY26" fmla="*/ 2590 h 10000"/>
                <a:gd name="connsiteX27" fmla="*/ 748 w 8329"/>
                <a:gd name="connsiteY27" fmla="*/ 3347 h 10000"/>
                <a:gd name="connsiteX28" fmla="*/ 678 w 8329"/>
                <a:gd name="connsiteY28" fmla="*/ 3347 h 10000"/>
                <a:gd name="connsiteX29" fmla="*/ 963 w 8329"/>
                <a:gd name="connsiteY29" fmla="*/ 3789 h 10000"/>
                <a:gd name="connsiteX30" fmla="*/ 598 w 8329"/>
                <a:gd name="connsiteY30" fmla="*/ 4225 h 10000"/>
                <a:gd name="connsiteX31" fmla="*/ 854 w 8329"/>
                <a:gd name="connsiteY31" fmla="*/ 4503 h 10000"/>
                <a:gd name="connsiteX32" fmla="*/ 748 w 8329"/>
                <a:gd name="connsiteY32" fmla="*/ 4941 h 10000"/>
                <a:gd name="connsiteX33" fmla="*/ 598 w 8329"/>
                <a:gd name="connsiteY33" fmla="*/ 5184 h 10000"/>
                <a:gd name="connsiteX34" fmla="*/ 854 w 8329"/>
                <a:gd name="connsiteY34" fmla="*/ 5662 h 10000"/>
                <a:gd name="connsiteX35" fmla="*/ 421 w 8329"/>
                <a:gd name="connsiteY35" fmla="*/ 6414 h 10000"/>
                <a:gd name="connsiteX36" fmla="*/ 748 w 8329"/>
                <a:gd name="connsiteY36" fmla="*/ 6856 h 10000"/>
                <a:gd name="connsiteX37" fmla="*/ 167 w 8329"/>
                <a:gd name="connsiteY37" fmla="*/ 7609 h 10000"/>
                <a:gd name="connsiteX38" fmla="*/ 456 w 8329"/>
                <a:gd name="connsiteY38" fmla="*/ 8008 h 10000"/>
                <a:gd name="connsiteX39" fmla="*/ 18 w 8329"/>
                <a:gd name="connsiteY39" fmla="*/ 8649 h 10000"/>
                <a:gd name="connsiteX40" fmla="*/ 598 w 8329"/>
                <a:gd name="connsiteY40" fmla="*/ 8883 h 10000"/>
                <a:gd name="connsiteX41" fmla="*/ 421 w 8329"/>
                <a:gd name="connsiteY41" fmla="*/ 9404 h 10000"/>
                <a:gd name="connsiteX42" fmla="*/ 566 w 8329"/>
                <a:gd name="connsiteY42" fmla="*/ 10000 h 10000"/>
                <a:gd name="connsiteX43" fmla="*/ 1554 w 8329"/>
                <a:gd name="connsiteY43" fmla="*/ 9453 h 10000"/>
                <a:gd name="connsiteX44" fmla="*/ 2123 w 8329"/>
                <a:gd name="connsiteY44" fmla="*/ 8972 h 10000"/>
                <a:gd name="connsiteX45" fmla="*/ 2807 w 8329"/>
                <a:gd name="connsiteY45" fmla="*/ 8981 h 10000"/>
                <a:gd name="connsiteX46" fmla="*/ 3536 w 8329"/>
                <a:gd name="connsiteY46" fmla="*/ 8695 h 10000"/>
                <a:gd name="connsiteX47" fmla="*/ 4440 w 8329"/>
                <a:gd name="connsiteY47" fmla="*/ 8242 h 10000"/>
                <a:gd name="connsiteX48" fmla="*/ 4737 w 8329"/>
                <a:gd name="connsiteY48" fmla="*/ 7896 h 10000"/>
                <a:gd name="connsiteX49" fmla="*/ 5351 w 8329"/>
                <a:gd name="connsiteY49" fmla="*/ 7230 h 10000"/>
                <a:gd name="connsiteX50" fmla="*/ 6357 w 8329"/>
                <a:gd name="connsiteY50" fmla="*/ 7695 h 10000"/>
                <a:gd name="connsiteX51" fmla="*/ 6789 w 8329"/>
                <a:gd name="connsiteY51" fmla="*/ 7665 h 10000"/>
                <a:gd name="connsiteX52" fmla="*/ 6701 w 8329"/>
                <a:gd name="connsiteY52" fmla="*/ 7091 h 10000"/>
                <a:gd name="connsiteX53" fmla="*/ 6763 w 8329"/>
                <a:gd name="connsiteY53" fmla="*/ 6356 h 10000"/>
                <a:gd name="connsiteX54" fmla="*/ 7737 w 8329"/>
                <a:gd name="connsiteY54" fmla="*/ 6191 h 10000"/>
                <a:gd name="connsiteX55" fmla="*/ 7599 w 8329"/>
                <a:gd name="connsiteY55" fmla="*/ 7066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507"/>
                <a:gd name="connsiteY0" fmla="*/ 5579 h 10000"/>
                <a:gd name="connsiteX1" fmla="*/ 9826 w 10507"/>
                <a:gd name="connsiteY1" fmla="*/ 5142 h 10000"/>
                <a:gd name="connsiteX2" fmla="*/ 9562 w 10507"/>
                <a:gd name="connsiteY2" fmla="*/ 4861 h 10000"/>
                <a:gd name="connsiteX3" fmla="*/ 9653 w 10507"/>
                <a:gd name="connsiteY3" fmla="*/ 4542 h 10000"/>
                <a:gd name="connsiteX4" fmla="*/ 9385 w 10507"/>
                <a:gd name="connsiteY4" fmla="*/ 4225 h 10000"/>
                <a:gd name="connsiteX5" fmla="*/ 8996 w 10507"/>
                <a:gd name="connsiteY5" fmla="*/ 4185 h 10000"/>
                <a:gd name="connsiteX6" fmla="*/ 9084 w 10507"/>
                <a:gd name="connsiteY6" fmla="*/ 3748 h 10000"/>
                <a:gd name="connsiteX7" fmla="*/ 8779 w 10507"/>
                <a:gd name="connsiteY7" fmla="*/ 3587 h 10000"/>
                <a:gd name="connsiteX8" fmla="*/ 8474 w 10507"/>
                <a:gd name="connsiteY8" fmla="*/ 3032 h 10000"/>
                <a:gd name="connsiteX9" fmla="*/ 8080 w 10507"/>
                <a:gd name="connsiteY9" fmla="*/ 3032 h 10000"/>
                <a:gd name="connsiteX10" fmla="*/ 7691 w 10507"/>
                <a:gd name="connsiteY10" fmla="*/ 2751 h 10000"/>
                <a:gd name="connsiteX11" fmla="*/ 7691 w 10507"/>
                <a:gd name="connsiteY11" fmla="*/ 2631 h 10000"/>
                <a:gd name="connsiteX12" fmla="*/ 7339 w 10507"/>
                <a:gd name="connsiteY12" fmla="*/ 2791 h 10000"/>
                <a:gd name="connsiteX13" fmla="*/ 6906 w 10507"/>
                <a:gd name="connsiteY13" fmla="*/ 2514 h 10000"/>
                <a:gd name="connsiteX14" fmla="*/ 7122 w 10507"/>
                <a:gd name="connsiteY14" fmla="*/ 2113 h 10000"/>
                <a:gd name="connsiteX15" fmla="*/ 6775 w 10507"/>
                <a:gd name="connsiteY15" fmla="*/ 1794 h 10000"/>
                <a:gd name="connsiteX16" fmla="*/ 7039 w 10507"/>
                <a:gd name="connsiteY16" fmla="*/ 1318 h 10000"/>
                <a:gd name="connsiteX17" fmla="*/ 6169 w 10507"/>
                <a:gd name="connsiteY17" fmla="*/ 679 h 10000"/>
                <a:gd name="connsiteX18" fmla="*/ 5643 w 10507"/>
                <a:gd name="connsiteY18" fmla="*/ 879 h 10000"/>
                <a:gd name="connsiteX19" fmla="*/ 4639 w 10507"/>
                <a:gd name="connsiteY19" fmla="*/ 521 h 10000"/>
                <a:gd name="connsiteX20" fmla="*/ 4245 w 10507"/>
                <a:gd name="connsiteY20" fmla="*/ 756 h 10000"/>
                <a:gd name="connsiteX21" fmla="*/ 3287 w 10507"/>
                <a:gd name="connsiteY21" fmla="*/ 42 h 10000"/>
                <a:gd name="connsiteX22" fmla="*/ 2507 w 10507"/>
                <a:gd name="connsiteY22" fmla="*/ 1038 h 10000"/>
                <a:gd name="connsiteX23" fmla="*/ 2507 w 10507"/>
                <a:gd name="connsiteY23" fmla="*/ 1634 h 10000"/>
                <a:gd name="connsiteX24" fmla="*/ 1940 w 10507"/>
                <a:gd name="connsiteY24" fmla="*/ 1159 h 10000"/>
                <a:gd name="connsiteX25" fmla="*/ 1293 w 10507"/>
                <a:gd name="connsiteY25" fmla="*/ 1953 h 10000"/>
                <a:gd name="connsiteX26" fmla="*/ 1771 w 10507"/>
                <a:gd name="connsiteY26" fmla="*/ 2590 h 10000"/>
                <a:gd name="connsiteX27" fmla="*/ 898 w 10507"/>
                <a:gd name="connsiteY27" fmla="*/ 3347 h 10000"/>
                <a:gd name="connsiteX28" fmla="*/ 814 w 10507"/>
                <a:gd name="connsiteY28" fmla="*/ 3347 h 10000"/>
                <a:gd name="connsiteX29" fmla="*/ 1156 w 10507"/>
                <a:gd name="connsiteY29" fmla="*/ 3789 h 10000"/>
                <a:gd name="connsiteX30" fmla="*/ 718 w 10507"/>
                <a:gd name="connsiteY30" fmla="*/ 4225 h 10000"/>
                <a:gd name="connsiteX31" fmla="*/ 1025 w 10507"/>
                <a:gd name="connsiteY31" fmla="*/ 4503 h 10000"/>
                <a:gd name="connsiteX32" fmla="*/ 898 w 10507"/>
                <a:gd name="connsiteY32" fmla="*/ 4941 h 10000"/>
                <a:gd name="connsiteX33" fmla="*/ 718 w 10507"/>
                <a:gd name="connsiteY33" fmla="*/ 5184 h 10000"/>
                <a:gd name="connsiteX34" fmla="*/ 1025 w 10507"/>
                <a:gd name="connsiteY34" fmla="*/ 5662 h 10000"/>
                <a:gd name="connsiteX35" fmla="*/ 505 w 10507"/>
                <a:gd name="connsiteY35" fmla="*/ 6414 h 10000"/>
                <a:gd name="connsiteX36" fmla="*/ 898 w 10507"/>
                <a:gd name="connsiteY36" fmla="*/ 6856 h 10000"/>
                <a:gd name="connsiteX37" fmla="*/ 201 w 10507"/>
                <a:gd name="connsiteY37" fmla="*/ 7609 h 10000"/>
                <a:gd name="connsiteX38" fmla="*/ 547 w 10507"/>
                <a:gd name="connsiteY38" fmla="*/ 8008 h 10000"/>
                <a:gd name="connsiteX39" fmla="*/ 22 w 10507"/>
                <a:gd name="connsiteY39" fmla="*/ 8649 h 10000"/>
                <a:gd name="connsiteX40" fmla="*/ 718 w 10507"/>
                <a:gd name="connsiteY40" fmla="*/ 8883 h 10000"/>
                <a:gd name="connsiteX41" fmla="*/ 505 w 10507"/>
                <a:gd name="connsiteY41" fmla="*/ 9404 h 10000"/>
                <a:gd name="connsiteX42" fmla="*/ 680 w 10507"/>
                <a:gd name="connsiteY42" fmla="*/ 10000 h 10000"/>
                <a:gd name="connsiteX43" fmla="*/ 1866 w 10507"/>
                <a:gd name="connsiteY43" fmla="*/ 9453 h 10000"/>
                <a:gd name="connsiteX44" fmla="*/ 2549 w 10507"/>
                <a:gd name="connsiteY44" fmla="*/ 8972 h 10000"/>
                <a:gd name="connsiteX45" fmla="*/ 3370 w 10507"/>
                <a:gd name="connsiteY45" fmla="*/ 8981 h 10000"/>
                <a:gd name="connsiteX46" fmla="*/ 4245 w 10507"/>
                <a:gd name="connsiteY46" fmla="*/ 8695 h 10000"/>
                <a:gd name="connsiteX47" fmla="*/ 5331 w 10507"/>
                <a:gd name="connsiteY47" fmla="*/ 8242 h 10000"/>
                <a:gd name="connsiteX48" fmla="*/ 5687 w 10507"/>
                <a:gd name="connsiteY48" fmla="*/ 7896 h 10000"/>
                <a:gd name="connsiteX49" fmla="*/ 6425 w 10507"/>
                <a:gd name="connsiteY49" fmla="*/ 7230 h 10000"/>
                <a:gd name="connsiteX50" fmla="*/ 7632 w 10507"/>
                <a:gd name="connsiteY50" fmla="*/ 7695 h 10000"/>
                <a:gd name="connsiteX51" fmla="*/ 8151 w 10507"/>
                <a:gd name="connsiteY51" fmla="*/ 7665 h 10000"/>
                <a:gd name="connsiteX52" fmla="*/ 8045 w 10507"/>
                <a:gd name="connsiteY52" fmla="*/ 7091 h 10000"/>
                <a:gd name="connsiteX53" fmla="*/ 8120 w 10507"/>
                <a:gd name="connsiteY53" fmla="*/ 6356 h 10000"/>
                <a:gd name="connsiteX54" fmla="*/ 9289 w 10507"/>
                <a:gd name="connsiteY54" fmla="*/ 6191 h 10000"/>
                <a:gd name="connsiteX55" fmla="*/ 10437 w 10507"/>
                <a:gd name="connsiteY55" fmla="*/ 6825 h 10000"/>
                <a:gd name="connsiteX0" fmla="*/ 10000 w 10437"/>
                <a:gd name="connsiteY0" fmla="*/ 5579 h 10000"/>
                <a:gd name="connsiteX1" fmla="*/ 9826 w 10437"/>
                <a:gd name="connsiteY1" fmla="*/ 5142 h 10000"/>
                <a:gd name="connsiteX2" fmla="*/ 9562 w 10437"/>
                <a:gd name="connsiteY2" fmla="*/ 4861 h 10000"/>
                <a:gd name="connsiteX3" fmla="*/ 9653 w 10437"/>
                <a:gd name="connsiteY3" fmla="*/ 4542 h 10000"/>
                <a:gd name="connsiteX4" fmla="*/ 9385 w 10437"/>
                <a:gd name="connsiteY4" fmla="*/ 4225 h 10000"/>
                <a:gd name="connsiteX5" fmla="*/ 8996 w 10437"/>
                <a:gd name="connsiteY5" fmla="*/ 4185 h 10000"/>
                <a:gd name="connsiteX6" fmla="*/ 9084 w 10437"/>
                <a:gd name="connsiteY6" fmla="*/ 3748 h 10000"/>
                <a:gd name="connsiteX7" fmla="*/ 8779 w 10437"/>
                <a:gd name="connsiteY7" fmla="*/ 3587 h 10000"/>
                <a:gd name="connsiteX8" fmla="*/ 8474 w 10437"/>
                <a:gd name="connsiteY8" fmla="*/ 3032 h 10000"/>
                <a:gd name="connsiteX9" fmla="*/ 8080 w 10437"/>
                <a:gd name="connsiteY9" fmla="*/ 3032 h 10000"/>
                <a:gd name="connsiteX10" fmla="*/ 7691 w 10437"/>
                <a:gd name="connsiteY10" fmla="*/ 2751 h 10000"/>
                <a:gd name="connsiteX11" fmla="*/ 7691 w 10437"/>
                <a:gd name="connsiteY11" fmla="*/ 2631 h 10000"/>
                <a:gd name="connsiteX12" fmla="*/ 7339 w 10437"/>
                <a:gd name="connsiteY12" fmla="*/ 2791 h 10000"/>
                <a:gd name="connsiteX13" fmla="*/ 6906 w 10437"/>
                <a:gd name="connsiteY13" fmla="*/ 2514 h 10000"/>
                <a:gd name="connsiteX14" fmla="*/ 7122 w 10437"/>
                <a:gd name="connsiteY14" fmla="*/ 2113 h 10000"/>
                <a:gd name="connsiteX15" fmla="*/ 6775 w 10437"/>
                <a:gd name="connsiteY15" fmla="*/ 1794 h 10000"/>
                <a:gd name="connsiteX16" fmla="*/ 7039 w 10437"/>
                <a:gd name="connsiteY16" fmla="*/ 1318 h 10000"/>
                <a:gd name="connsiteX17" fmla="*/ 6169 w 10437"/>
                <a:gd name="connsiteY17" fmla="*/ 679 h 10000"/>
                <a:gd name="connsiteX18" fmla="*/ 5643 w 10437"/>
                <a:gd name="connsiteY18" fmla="*/ 879 h 10000"/>
                <a:gd name="connsiteX19" fmla="*/ 4639 w 10437"/>
                <a:gd name="connsiteY19" fmla="*/ 521 h 10000"/>
                <a:gd name="connsiteX20" fmla="*/ 4245 w 10437"/>
                <a:gd name="connsiteY20" fmla="*/ 756 h 10000"/>
                <a:gd name="connsiteX21" fmla="*/ 3287 w 10437"/>
                <a:gd name="connsiteY21" fmla="*/ 42 h 10000"/>
                <a:gd name="connsiteX22" fmla="*/ 2507 w 10437"/>
                <a:gd name="connsiteY22" fmla="*/ 1038 h 10000"/>
                <a:gd name="connsiteX23" fmla="*/ 2507 w 10437"/>
                <a:gd name="connsiteY23" fmla="*/ 1634 h 10000"/>
                <a:gd name="connsiteX24" fmla="*/ 1940 w 10437"/>
                <a:gd name="connsiteY24" fmla="*/ 1159 h 10000"/>
                <a:gd name="connsiteX25" fmla="*/ 1293 w 10437"/>
                <a:gd name="connsiteY25" fmla="*/ 1953 h 10000"/>
                <a:gd name="connsiteX26" fmla="*/ 1771 w 10437"/>
                <a:gd name="connsiteY26" fmla="*/ 2590 h 10000"/>
                <a:gd name="connsiteX27" fmla="*/ 898 w 10437"/>
                <a:gd name="connsiteY27" fmla="*/ 3347 h 10000"/>
                <a:gd name="connsiteX28" fmla="*/ 814 w 10437"/>
                <a:gd name="connsiteY28" fmla="*/ 3347 h 10000"/>
                <a:gd name="connsiteX29" fmla="*/ 1156 w 10437"/>
                <a:gd name="connsiteY29" fmla="*/ 3789 h 10000"/>
                <a:gd name="connsiteX30" fmla="*/ 718 w 10437"/>
                <a:gd name="connsiteY30" fmla="*/ 4225 h 10000"/>
                <a:gd name="connsiteX31" fmla="*/ 1025 w 10437"/>
                <a:gd name="connsiteY31" fmla="*/ 4503 h 10000"/>
                <a:gd name="connsiteX32" fmla="*/ 898 w 10437"/>
                <a:gd name="connsiteY32" fmla="*/ 4941 h 10000"/>
                <a:gd name="connsiteX33" fmla="*/ 718 w 10437"/>
                <a:gd name="connsiteY33" fmla="*/ 5184 h 10000"/>
                <a:gd name="connsiteX34" fmla="*/ 1025 w 10437"/>
                <a:gd name="connsiteY34" fmla="*/ 5662 h 10000"/>
                <a:gd name="connsiteX35" fmla="*/ 505 w 10437"/>
                <a:gd name="connsiteY35" fmla="*/ 6414 h 10000"/>
                <a:gd name="connsiteX36" fmla="*/ 898 w 10437"/>
                <a:gd name="connsiteY36" fmla="*/ 6856 h 10000"/>
                <a:gd name="connsiteX37" fmla="*/ 201 w 10437"/>
                <a:gd name="connsiteY37" fmla="*/ 7609 h 10000"/>
                <a:gd name="connsiteX38" fmla="*/ 547 w 10437"/>
                <a:gd name="connsiteY38" fmla="*/ 8008 h 10000"/>
                <a:gd name="connsiteX39" fmla="*/ 22 w 10437"/>
                <a:gd name="connsiteY39" fmla="*/ 8649 h 10000"/>
                <a:gd name="connsiteX40" fmla="*/ 718 w 10437"/>
                <a:gd name="connsiteY40" fmla="*/ 8883 h 10000"/>
                <a:gd name="connsiteX41" fmla="*/ 505 w 10437"/>
                <a:gd name="connsiteY41" fmla="*/ 9404 h 10000"/>
                <a:gd name="connsiteX42" fmla="*/ 680 w 10437"/>
                <a:gd name="connsiteY42" fmla="*/ 10000 h 10000"/>
                <a:gd name="connsiteX43" fmla="*/ 1866 w 10437"/>
                <a:gd name="connsiteY43" fmla="*/ 9453 h 10000"/>
                <a:gd name="connsiteX44" fmla="*/ 2549 w 10437"/>
                <a:gd name="connsiteY44" fmla="*/ 8972 h 10000"/>
                <a:gd name="connsiteX45" fmla="*/ 3370 w 10437"/>
                <a:gd name="connsiteY45" fmla="*/ 8981 h 10000"/>
                <a:gd name="connsiteX46" fmla="*/ 4245 w 10437"/>
                <a:gd name="connsiteY46" fmla="*/ 8695 h 10000"/>
                <a:gd name="connsiteX47" fmla="*/ 5331 w 10437"/>
                <a:gd name="connsiteY47" fmla="*/ 8242 h 10000"/>
                <a:gd name="connsiteX48" fmla="*/ 5687 w 10437"/>
                <a:gd name="connsiteY48" fmla="*/ 7896 h 10000"/>
                <a:gd name="connsiteX49" fmla="*/ 6425 w 10437"/>
                <a:gd name="connsiteY49" fmla="*/ 7230 h 10000"/>
                <a:gd name="connsiteX50" fmla="*/ 7632 w 10437"/>
                <a:gd name="connsiteY50" fmla="*/ 7695 h 10000"/>
                <a:gd name="connsiteX51" fmla="*/ 8151 w 10437"/>
                <a:gd name="connsiteY51" fmla="*/ 7665 h 10000"/>
                <a:gd name="connsiteX52" fmla="*/ 8045 w 10437"/>
                <a:gd name="connsiteY52" fmla="*/ 7091 h 10000"/>
                <a:gd name="connsiteX53" fmla="*/ 8120 w 10437"/>
                <a:gd name="connsiteY53" fmla="*/ 6356 h 10000"/>
                <a:gd name="connsiteX54" fmla="*/ 9289 w 10437"/>
                <a:gd name="connsiteY54" fmla="*/ 6191 h 10000"/>
                <a:gd name="connsiteX55" fmla="*/ 10437 w 10437"/>
                <a:gd name="connsiteY55" fmla="*/ 6825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794 h 10000"/>
                <a:gd name="connsiteX0" fmla="*/ 10000 w 10000"/>
                <a:gd name="connsiteY0" fmla="*/ 5579 h 10000"/>
                <a:gd name="connsiteX1" fmla="*/ 9826 w 10000"/>
                <a:gd name="connsiteY1" fmla="*/ 5142 h 10000"/>
                <a:gd name="connsiteX2" fmla="*/ 9562 w 10000"/>
                <a:gd name="connsiteY2" fmla="*/ 4861 h 10000"/>
                <a:gd name="connsiteX3" fmla="*/ 9653 w 10000"/>
                <a:gd name="connsiteY3" fmla="*/ 4542 h 10000"/>
                <a:gd name="connsiteX4" fmla="*/ 9385 w 10000"/>
                <a:gd name="connsiteY4" fmla="*/ 4225 h 10000"/>
                <a:gd name="connsiteX5" fmla="*/ 8996 w 10000"/>
                <a:gd name="connsiteY5" fmla="*/ 4185 h 10000"/>
                <a:gd name="connsiteX6" fmla="*/ 9084 w 10000"/>
                <a:gd name="connsiteY6" fmla="*/ 3748 h 10000"/>
                <a:gd name="connsiteX7" fmla="*/ 8779 w 10000"/>
                <a:gd name="connsiteY7" fmla="*/ 3587 h 10000"/>
                <a:gd name="connsiteX8" fmla="*/ 8474 w 10000"/>
                <a:gd name="connsiteY8" fmla="*/ 3032 h 10000"/>
                <a:gd name="connsiteX9" fmla="*/ 8080 w 10000"/>
                <a:gd name="connsiteY9" fmla="*/ 3032 h 10000"/>
                <a:gd name="connsiteX10" fmla="*/ 7691 w 10000"/>
                <a:gd name="connsiteY10" fmla="*/ 2751 h 10000"/>
                <a:gd name="connsiteX11" fmla="*/ 7691 w 10000"/>
                <a:gd name="connsiteY11" fmla="*/ 2631 h 10000"/>
                <a:gd name="connsiteX12" fmla="*/ 7339 w 10000"/>
                <a:gd name="connsiteY12" fmla="*/ 2791 h 10000"/>
                <a:gd name="connsiteX13" fmla="*/ 6906 w 10000"/>
                <a:gd name="connsiteY13" fmla="*/ 2514 h 10000"/>
                <a:gd name="connsiteX14" fmla="*/ 7122 w 10000"/>
                <a:gd name="connsiteY14" fmla="*/ 2113 h 10000"/>
                <a:gd name="connsiteX15" fmla="*/ 6775 w 10000"/>
                <a:gd name="connsiteY15" fmla="*/ 1794 h 10000"/>
                <a:gd name="connsiteX16" fmla="*/ 7039 w 10000"/>
                <a:gd name="connsiteY16" fmla="*/ 1318 h 10000"/>
                <a:gd name="connsiteX17" fmla="*/ 6169 w 10000"/>
                <a:gd name="connsiteY17" fmla="*/ 679 h 10000"/>
                <a:gd name="connsiteX18" fmla="*/ 5643 w 10000"/>
                <a:gd name="connsiteY18" fmla="*/ 879 h 10000"/>
                <a:gd name="connsiteX19" fmla="*/ 4639 w 10000"/>
                <a:gd name="connsiteY19" fmla="*/ 521 h 10000"/>
                <a:gd name="connsiteX20" fmla="*/ 4245 w 10000"/>
                <a:gd name="connsiteY20" fmla="*/ 756 h 10000"/>
                <a:gd name="connsiteX21" fmla="*/ 3287 w 10000"/>
                <a:gd name="connsiteY21" fmla="*/ 42 h 10000"/>
                <a:gd name="connsiteX22" fmla="*/ 2507 w 10000"/>
                <a:gd name="connsiteY22" fmla="*/ 1038 h 10000"/>
                <a:gd name="connsiteX23" fmla="*/ 2507 w 10000"/>
                <a:gd name="connsiteY23" fmla="*/ 1634 h 10000"/>
                <a:gd name="connsiteX24" fmla="*/ 1940 w 10000"/>
                <a:gd name="connsiteY24" fmla="*/ 1159 h 10000"/>
                <a:gd name="connsiteX25" fmla="*/ 1293 w 10000"/>
                <a:gd name="connsiteY25" fmla="*/ 1953 h 10000"/>
                <a:gd name="connsiteX26" fmla="*/ 1771 w 10000"/>
                <a:gd name="connsiteY26" fmla="*/ 2590 h 10000"/>
                <a:gd name="connsiteX27" fmla="*/ 898 w 10000"/>
                <a:gd name="connsiteY27" fmla="*/ 3347 h 10000"/>
                <a:gd name="connsiteX28" fmla="*/ 814 w 10000"/>
                <a:gd name="connsiteY28" fmla="*/ 3347 h 10000"/>
                <a:gd name="connsiteX29" fmla="*/ 1156 w 10000"/>
                <a:gd name="connsiteY29" fmla="*/ 3789 h 10000"/>
                <a:gd name="connsiteX30" fmla="*/ 718 w 10000"/>
                <a:gd name="connsiteY30" fmla="*/ 4225 h 10000"/>
                <a:gd name="connsiteX31" fmla="*/ 1025 w 10000"/>
                <a:gd name="connsiteY31" fmla="*/ 4503 h 10000"/>
                <a:gd name="connsiteX32" fmla="*/ 898 w 10000"/>
                <a:gd name="connsiteY32" fmla="*/ 4941 h 10000"/>
                <a:gd name="connsiteX33" fmla="*/ 718 w 10000"/>
                <a:gd name="connsiteY33" fmla="*/ 5184 h 10000"/>
                <a:gd name="connsiteX34" fmla="*/ 1025 w 10000"/>
                <a:gd name="connsiteY34" fmla="*/ 5662 h 10000"/>
                <a:gd name="connsiteX35" fmla="*/ 505 w 10000"/>
                <a:gd name="connsiteY35" fmla="*/ 6414 h 10000"/>
                <a:gd name="connsiteX36" fmla="*/ 898 w 10000"/>
                <a:gd name="connsiteY36" fmla="*/ 6856 h 10000"/>
                <a:gd name="connsiteX37" fmla="*/ 201 w 10000"/>
                <a:gd name="connsiteY37" fmla="*/ 7609 h 10000"/>
                <a:gd name="connsiteX38" fmla="*/ 547 w 10000"/>
                <a:gd name="connsiteY38" fmla="*/ 8008 h 10000"/>
                <a:gd name="connsiteX39" fmla="*/ 22 w 10000"/>
                <a:gd name="connsiteY39" fmla="*/ 8649 h 10000"/>
                <a:gd name="connsiteX40" fmla="*/ 718 w 10000"/>
                <a:gd name="connsiteY40" fmla="*/ 8883 h 10000"/>
                <a:gd name="connsiteX41" fmla="*/ 505 w 10000"/>
                <a:gd name="connsiteY41" fmla="*/ 9404 h 10000"/>
                <a:gd name="connsiteX42" fmla="*/ 680 w 10000"/>
                <a:gd name="connsiteY42" fmla="*/ 10000 h 10000"/>
                <a:gd name="connsiteX43" fmla="*/ 1866 w 10000"/>
                <a:gd name="connsiteY43" fmla="*/ 9453 h 10000"/>
                <a:gd name="connsiteX44" fmla="*/ 2549 w 10000"/>
                <a:gd name="connsiteY44" fmla="*/ 8972 h 10000"/>
                <a:gd name="connsiteX45" fmla="*/ 3370 w 10000"/>
                <a:gd name="connsiteY45" fmla="*/ 8981 h 10000"/>
                <a:gd name="connsiteX46" fmla="*/ 4245 w 10000"/>
                <a:gd name="connsiteY46" fmla="*/ 8695 h 10000"/>
                <a:gd name="connsiteX47" fmla="*/ 5331 w 10000"/>
                <a:gd name="connsiteY47" fmla="*/ 8242 h 10000"/>
                <a:gd name="connsiteX48" fmla="*/ 5687 w 10000"/>
                <a:gd name="connsiteY48" fmla="*/ 7896 h 10000"/>
                <a:gd name="connsiteX49" fmla="*/ 6425 w 10000"/>
                <a:gd name="connsiteY49" fmla="*/ 7230 h 10000"/>
                <a:gd name="connsiteX50" fmla="*/ 7632 w 10000"/>
                <a:gd name="connsiteY50" fmla="*/ 7695 h 10000"/>
                <a:gd name="connsiteX51" fmla="*/ 8151 w 10000"/>
                <a:gd name="connsiteY51" fmla="*/ 7665 h 10000"/>
                <a:gd name="connsiteX52" fmla="*/ 8045 w 10000"/>
                <a:gd name="connsiteY52" fmla="*/ 7091 h 10000"/>
                <a:gd name="connsiteX53" fmla="*/ 8120 w 10000"/>
                <a:gd name="connsiteY53" fmla="*/ 6356 h 10000"/>
                <a:gd name="connsiteX54" fmla="*/ 9289 w 10000"/>
                <a:gd name="connsiteY54" fmla="*/ 6191 h 10000"/>
                <a:gd name="connsiteX55" fmla="*/ 9940 w 10000"/>
                <a:gd name="connsiteY55" fmla="*/ 551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000" h="10000">
                  <a:moveTo>
                    <a:pt x="10000" y="5579"/>
                  </a:moveTo>
                  <a:cubicBezTo>
                    <a:pt x="9826" y="5579"/>
                    <a:pt x="9826" y="5142"/>
                    <a:pt x="9826" y="5142"/>
                  </a:cubicBezTo>
                  <a:cubicBezTo>
                    <a:pt x="9735" y="5047"/>
                    <a:pt x="9651" y="4956"/>
                    <a:pt x="9562" y="4861"/>
                  </a:cubicBezTo>
                  <a:cubicBezTo>
                    <a:pt x="9591" y="4754"/>
                    <a:pt x="9622" y="4652"/>
                    <a:pt x="9653" y="4542"/>
                  </a:cubicBezTo>
                  <a:cubicBezTo>
                    <a:pt x="9653" y="4542"/>
                    <a:pt x="9431" y="4263"/>
                    <a:pt x="9385" y="4225"/>
                  </a:cubicBezTo>
                  <a:cubicBezTo>
                    <a:pt x="9347" y="4185"/>
                    <a:pt x="9168" y="4225"/>
                    <a:pt x="8996" y="4185"/>
                  </a:cubicBezTo>
                  <a:cubicBezTo>
                    <a:pt x="8779" y="4146"/>
                    <a:pt x="9038" y="3789"/>
                    <a:pt x="9084" y="3748"/>
                  </a:cubicBezTo>
                  <a:cubicBezTo>
                    <a:pt x="9126" y="3710"/>
                    <a:pt x="8821" y="3629"/>
                    <a:pt x="8779" y="3587"/>
                  </a:cubicBezTo>
                  <a:cubicBezTo>
                    <a:pt x="8739" y="3549"/>
                    <a:pt x="8474" y="3032"/>
                    <a:pt x="8474" y="3032"/>
                  </a:cubicBezTo>
                  <a:cubicBezTo>
                    <a:pt x="8474" y="3032"/>
                    <a:pt x="8123" y="3072"/>
                    <a:pt x="8080" y="3032"/>
                  </a:cubicBezTo>
                  <a:lnTo>
                    <a:pt x="7691" y="2751"/>
                  </a:lnTo>
                  <a:lnTo>
                    <a:pt x="7691" y="2631"/>
                  </a:lnTo>
                  <a:cubicBezTo>
                    <a:pt x="7516" y="2751"/>
                    <a:pt x="7381" y="2791"/>
                    <a:pt x="7339" y="2791"/>
                  </a:cubicBezTo>
                  <a:cubicBezTo>
                    <a:pt x="7252" y="2791"/>
                    <a:pt x="6952" y="2514"/>
                    <a:pt x="6906" y="2514"/>
                  </a:cubicBezTo>
                  <a:cubicBezTo>
                    <a:pt x="6860" y="2474"/>
                    <a:pt x="7080" y="2151"/>
                    <a:pt x="7122" y="2113"/>
                  </a:cubicBezTo>
                  <a:cubicBezTo>
                    <a:pt x="7122" y="2036"/>
                    <a:pt x="6860" y="1953"/>
                    <a:pt x="6775" y="1794"/>
                  </a:cubicBezTo>
                  <a:cubicBezTo>
                    <a:pt x="6691" y="1634"/>
                    <a:pt x="6952" y="1595"/>
                    <a:pt x="7039" y="1318"/>
                  </a:cubicBezTo>
                  <a:cubicBezTo>
                    <a:pt x="7122" y="1000"/>
                    <a:pt x="6339" y="756"/>
                    <a:pt x="6169" y="679"/>
                  </a:cubicBezTo>
                  <a:cubicBezTo>
                    <a:pt x="5989" y="638"/>
                    <a:pt x="5945" y="799"/>
                    <a:pt x="5643" y="879"/>
                  </a:cubicBezTo>
                  <a:cubicBezTo>
                    <a:pt x="5382" y="918"/>
                    <a:pt x="5123" y="638"/>
                    <a:pt x="4639" y="521"/>
                  </a:cubicBezTo>
                  <a:cubicBezTo>
                    <a:pt x="4207" y="439"/>
                    <a:pt x="4517" y="679"/>
                    <a:pt x="4245" y="756"/>
                  </a:cubicBezTo>
                  <a:cubicBezTo>
                    <a:pt x="4034" y="840"/>
                    <a:pt x="4075" y="322"/>
                    <a:pt x="3287" y="42"/>
                  </a:cubicBezTo>
                  <a:cubicBezTo>
                    <a:pt x="2551" y="-234"/>
                    <a:pt x="2770" y="918"/>
                    <a:pt x="2507" y="1038"/>
                  </a:cubicBezTo>
                  <a:cubicBezTo>
                    <a:pt x="2206" y="1159"/>
                    <a:pt x="2770" y="1401"/>
                    <a:pt x="2507" y="1634"/>
                  </a:cubicBezTo>
                  <a:cubicBezTo>
                    <a:pt x="2288" y="1915"/>
                    <a:pt x="2206" y="1359"/>
                    <a:pt x="1940" y="1159"/>
                  </a:cubicBezTo>
                  <a:cubicBezTo>
                    <a:pt x="1722" y="958"/>
                    <a:pt x="1508" y="1836"/>
                    <a:pt x="1293" y="1953"/>
                  </a:cubicBezTo>
                  <a:cubicBezTo>
                    <a:pt x="1073" y="2113"/>
                    <a:pt x="1508" y="2195"/>
                    <a:pt x="1771" y="2590"/>
                  </a:cubicBezTo>
                  <a:cubicBezTo>
                    <a:pt x="2029" y="2953"/>
                    <a:pt x="1202" y="3347"/>
                    <a:pt x="898" y="3347"/>
                  </a:cubicBezTo>
                  <a:lnTo>
                    <a:pt x="814" y="3347"/>
                  </a:lnTo>
                  <a:cubicBezTo>
                    <a:pt x="941" y="3467"/>
                    <a:pt x="1111" y="3669"/>
                    <a:pt x="1156" y="3789"/>
                  </a:cubicBezTo>
                  <a:cubicBezTo>
                    <a:pt x="1244" y="3942"/>
                    <a:pt x="814" y="4185"/>
                    <a:pt x="718" y="4225"/>
                  </a:cubicBezTo>
                  <a:cubicBezTo>
                    <a:pt x="824" y="4316"/>
                    <a:pt x="927" y="4410"/>
                    <a:pt x="1025" y="4503"/>
                  </a:cubicBezTo>
                  <a:cubicBezTo>
                    <a:pt x="1025" y="4503"/>
                    <a:pt x="988" y="4822"/>
                    <a:pt x="898" y="4941"/>
                  </a:cubicBezTo>
                  <a:cubicBezTo>
                    <a:pt x="854" y="5066"/>
                    <a:pt x="854" y="5025"/>
                    <a:pt x="718" y="5184"/>
                  </a:cubicBezTo>
                  <a:cubicBezTo>
                    <a:pt x="633" y="5343"/>
                    <a:pt x="1025" y="5579"/>
                    <a:pt x="1025" y="5662"/>
                  </a:cubicBezTo>
                  <a:cubicBezTo>
                    <a:pt x="1073" y="5739"/>
                    <a:pt x="547" y="6295"/>
                    <a:pt x="505" y="6414"/>
                  </a:cubicBezTo>
                  <a:cubicBezTo>
                    <a:pt x="415" y="6537"/>
                    <a:pt x="764" y="6732"/>
                    <a:pt x="898" y="6856"/>
                  </a:cubicBezTo>
                  <a:cubicBezTo>
                    <a:pt x="988" y="7012"/>
                    <a:pt x="328" y="7411"/>
                    <a:pt x="201" y="7609"/>
                  </a:cubicBezTo>
                  <a:cubicBezTo>
                    <a:pt x="71" y="7849"/>
                    <a:pt x="459" y="7969"/>
                    <a:pt x="547" y="8008"/>
                  </a:cubicBezTo>
                  <a:cubicBezTo>
                    <a:pt x="593" y="8048"/>
                    <a:pt x="201" y="8364"/>
                    <a:pt x="22" y="8649"/>
                  </a:cubicBezTo>
                  <a:cubicBezTo>
                    <a:pt x="-148" y="8966"/>
                    <a:pt x="718" y="8883"/>
                    <a:pt x="718" y="8883"/>
                  </a:cubicBezTo>
                  <a:cubicBezTo>
                    <a:pt x="718" y="8883"/>
                    <a:pt x="633" y="9284"/>
                    <a:pt x="505" y="9404"/>
                  </a:cubicBezTo>
                  <a:cubicBezTo>
                    <a:pt x="376" y="9523"/>
                    <a:pt x="449" y="9990"/>
                    <a:pt x="680" y="10000"/>
                  </a:cubicBezTo>
                  <a:cubicBezTo>
                    <a:pt x="905" y="10009"/>
                    <a:pt x="2003" y="9414"/>
                    <a:pt x="1866" y="9453"/>
                  </a:cubicBezTo>
                  <a:cubicBezTo>
                    <a:pt x="1733" y="9453"/>
                    <a:pt x="2299" y="9049"/>
                    <a:pt x="2549" y="8972"/>
                  </a:cubicBezTo>
                  <a:cubicBezTo>
                    <a:pt x="2796" y="8888"/>
                    <a:pt x="3329" y="8824"/>
                    <a:pt x="3370" y="8981"/>
                  </a:cubicBezTo>
                  <a:cubicBezTo>
                    <a:pt x="3410" y="9179"/>
                    <a:pt x="3922" y="8821"/>
                    <a:pt x="4245" y="8695"/>
                  </a:cubicBezTo>
                  <a:cubicBezTo>
                    <a:pt x="4573" y="8570"/>
                    <a:pt x="5091" y="8377"/>
                    <a:pt x="5331" y="8242"/>
                  </a:cubicBezTo>
                  <a:cubicBezTo>
                    <a:pt x="5570" y="8112"/>
                    <a:pt x="5505" y="8069"/>
                    <a:pt x="5687" y="7896"/>
                  </a:cubicBezTo>
                  <a:cubicBezTo>
                    <a:pt x="5866" y="7728"/>
                    <a:pt x="6558" y="7346"/>
                    <a:pt x="6425" y="7230"/>
                  </a:cubicBezTo>
                  <a:cubicBezTo>
                    <a:pt x="6253" y="7150"/>
                    <a:pt x="7720" y="7695"/>
                    <a:pt x="7632" y="7695"/>
                  </a:cubicBezTo>
                  <a:cubicBezTo>
                    <a:pt x="7498" y="7732"/>
                    <a:pt x="8061" y="7577"/>
                    <a:pt x="8151" y="7665"/>
                  </a:cubicBezTo>
                  <a:cubicBezTo>
                    <a:pt x="8276" y="7739"/>
                    <a:pt x="8227" y="6537"/>
                    <a:pt x="8045" y="7091"/>
                  </a:cubicBezTo>
                  <a:cubicBezTo>
                    <a:pt x="7919" y="7687"/>
                    <a:pt x="7995" y="6161"/>
                    <a:pt x="8120" y="6356"/>
                  </a:cubicBezTo>
                  <a:cubicBezTo>
                    <a:pt x="8253" y="6599"/>
                    <a:pt x="9027" y="6233"/>
                    <a:pt x="9289" y="6191"/>
                  </a:cubicBezTo>
                  <a:cubicBezTo>
                    <a:pt x="9551" y="6191"/>
                    <a:pt x="9397" y="5905"/>
                    <a:pt x="9940" y="5519"/>
                  </a:cubicBezTo>
                </a:path>
              </a:pathLst>
            </a:custGeom>
            <a:solidFill>
              <a:srgbClr val="FF0000"/>
            </a:solidFill>
            <a:ln w="6350">
              <a:solidFill>
                <a:schemeClr val="tx1"/>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lstStyle/>
            <a:p>
              <a:pPr algn="ctr" defTabSz="761909">
                <a:defRPr/>
              </a:pPr>
              <a:r>
                <a:rPr lang="en-US" sz="347" dirty="0">
                  <a:solidFill>
                    <a:prstClr val="white">
                      <a:lumMod val="85000"/>
                    </a:prstClr>
                  </a:solidFill>
                  <a:latin typeface="Arial" pitchFamily="34" charset="0"/>
                  <a:cs typeface="Arial" pitchFamily="34" charset="0"/>
                </a:rPr>
                <a:t>+</a:t>
              </a:r>
            </a:p>
          </p:txBody>
        </p:sp>
      </p:grpSp>
      <p:graphicFrame>
        <p:nvGraphicFramePr>
          <p:cNvPr id="8" name="Table 7"/>
          <p:cNvGraphicFramePr>
            <a:graphicFrameLocks noGrp="1"/>
          </p:cNvGraphicFramePr>
          <p:nvPr/>
        </p:nvGraphicFramePr>
        <p:xfrm>
          <a:off x="9338456" y="4531540"/>
          <a:ext cx="2442405" cy="1709568"/>
        </p:xfrm>
        <a:graphic>
          <a:graphicData uri="http://schemas.openxmlformats.org/drawingml/2006/table">
            <a:tbl>
              <a:tblPr/>
              <a:tblGrid>
                <a:gridCol w="834947">
                  <a:extLst>
                    <a:ext uri="{9D8B030D-6E8A-4147-A177-3AD203B41FA5}">
                      <a16:colId xmlns:a16="http://schemas.microsoft.com/office/drawing/2014/main" val="20000"/>
                    </a:ext>
                  </a:extLst>
                </a:gridCol>
                <a:gridCol w="1607458">
                  <a:extLst>
                    <a:ext uri="{9D8B030D-6E8A-4147-A177-3AD203B41FA5}">
                      <a16:colId xmlns:a16="http://schemas.microsoft.com/office/drawing/2014/main" val="20001"/>
                    </a:ext>
                  </a:extLst>
                </a:gridCol>
              </a:tblGrid>
              <a:tr h="312738">
                <a:tc gridSpan="2">
                  <a:txBody>
                    <a:bodyPr/>
                    <a:lstStyle/>
                    <a:p>
                      <a:pPr marL="0" marR="0" lvl="0" indent="0" algn="ctr" defTabSz="1097280" rtl="0" eaLnBrk="1" fontAlgn="b" latinLnBrk="0" hangingPunct="1">
                        <a:lnSpc>
                          <a:spcPct val="100000"/>
                        </a:lnSpc>
                        <a:spcBef>
                          <a:spcPts val="0"/>
                        </a:spcBef>
                        <a:spcAft>
                          <a:spcPts val="0"/>
                        </a:spcAft>
                        <a:buClrTx/>
                        <a:buSzTx/>
                        <a:buFontTx/>
                        <a:buNone/>
                        <a:tabLst/>
                        <a:defRPr/>
                      </a:pPr>
                      <a:r>
                        <a:rPr lang="en-IN" sz="2000" b="1" i="0" u="none" strike="noStrike" dirty="0">
                          <a:solidFill>
                            <a:srgbClr val="FFFFFF"/>
                          </a:solidFill>
                          <a:effectLst/>
                          <a:latin typeface="Arial" panose="020B0604020202020204" pitchFamily="34" charset="0"/>
                          <a:cs typeface="Arial" panose="020B0604020202020204" pitchFamily="34" charset="0"/>
                        </a:rPr>
                        <a:t>LEGEND</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44546A"/>
                    </a:solidFill>
                  </a:tcPr>
                </a:tc>
                <a:tc hMerge="1">
                  <a:txBody>
                    <a:bodyPr/>
                    <a:lstStyle/>
                    <a:p>
                      <a:pPr algn="ctr" fontAlgn="b"/>
                      <a:endParaRPr lang="en-IN" sz="1400" b="1"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44546A"/>
                    </a:solidFill>
                  </a:tcPr>
                </a:tc>
                <a:extLst>
                  <a:ext uri="{0D108BD9-81ED-4DB2-BD59-A6C34878D82A}">
                    <a16:rowId xmlns:a16="http://schemas.microsoft.com/office/drawing/2014/main" val="10000"/>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B05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gt; 15% growth</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1"/>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5% to 15% growth</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2"/>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FFC00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0 to 5% growth</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3"/>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FF000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0 to (25)% decline</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4"/>
                  </a:ext>
                </a:extLst>
              </a:tr>
              <a:tr h="279366">
                <a:tc>
                  <a:txBody>
                    <a:bodyPr/>
                    <a:lstStyle/>
                    <a:p>
                      <a:endParaRPr lang="en-IN" sz="1500" dirty="0"/>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C00000"/>
                    </a:solidFill>
                  </a:tcPr>
                </a:tc>
                <a:tc>
                  <a:txBody>
                    <a:bodyPr/>
                    <a:lstStyle/>
                    <a:p>
                      <a:pPr algn="l" fontAlgn="b"/>
                      <a:r>
                        <a:rPr lang="en-IN" sz="1000" b="1" i="1" u="none" strike="noStrike" dirty="0">
                          <a:solidFill>
                            <a:srgbClr val="000000"/>
                          </a:solidFill>
                          <a:effectLst/>
                          <a:latin typeface="Arial" panose="020B0604020202020204" pitchFamily="34" charset="0"/>
                          <a:cs typeface="Arial" panose="020B0604020202020204" pitchFamily="34" charset="0"/>
                        </a:rPr>
                        <a:t>&lt; (25) % decline</a:t>
                      </a:r>
                    </a:p>
                  </a:txBody>
                  <a:tcPr marL="7938" marR="7938" marT="7938"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5"/>
                  </a:ext>
                </a:extLst>
              </a:tr>
            </a:tbl>
          </a:graphicData>
        </a:graphic>
      </p:graphicFrame>
      <p:sp>
        <p:nvSpPr>
          <p:cNvPr id="60" name="Rectangle 59"/>
          <p:cNvSpPr/>
          <p:nvPr/>
        </p:nvSpPr>
        <p:spPr>
          <a:xfrm>
            <a:off x="9074620" y="1353307"/>
            <a:ext cx="2706241" cy="1155552"/>
          </a:xfrm>
          <a:prstGeom prst="rect">
            <a:avLst/>
          </a:prstGeom>
          <a:noFill/>
          <a:ln>
            <a:no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a:r>
              <a:rPr lang="en-IN" sz="1000" b="1" dirty="0">
                <a:latin typeface="Arial" panose="020B0604020202020204" pitchFamily="34" charset="0"/>
                <a:cs typeface="Arial" panose="020B0604020202020204" pitchFamily="34" charset="0"/>
              </a:rPr>
              <a:t>Northern has seen relatively higher decrease y-o-y in MNRRGA expenditure.</a:t>
            </a:r>
          </a:p>
        </p:txBody>
      </p:sp>
      <p:sp>
        <p:nvSpPr>
          <p:cNvPr id="6" name="Slide Number Placeholder 5"/>
          <p:cNvSpPr>
            <a:spLocks noGrp="1"/>
          </p:cNvSpPr>
          <p:nvPr>
            <p:ph type="sldNum" sz="quarter" idx="4"/>
          </p:nvPr>
        </p:nvSpPr>
        <p:spPr/>
        <p:txBody>
          <a:bodyPr/>
          <a:lstStyle/>
          <a:p>
            <a:fld id="{47FC1E78-8A1D-4B7B-BB49-A01A2C07F035}" type="slidenum">
              <a:rPr lang="en-US" smtClean="0"/>
              <a:t>76</a:t>
            </a:fld>
            <a:endParaRPr lang="en-US" dirty="0"/>
          </a:p>
        </p:txBody>
      </p:sp>
      <p:sp>
        <p:nvSpPr>
          <p:cNvPr id="62" name="Text Placeholder 11">
            <a:extLst>
              <a:ext uri="{FF2B5EF4-FFF2-40B4-BE49-F238E27FC236}">
                <a16:creationId xmlns:a16="http://schemas.microsoft.com/office/drawing/2014/main" id="{2763471E-2988-4506-888A-B130E795A6F8}"/>
              </a:ext>
            </a:extLst>
          </p:cNvPr>
          <p:cNvSpPr txBox="1">
            <a:spLocks/>
          </p:cNvSpPr>
          <p:nvPr/>
        </p:nvSpPr>
        <p:spPr>
          <a:xfrm>
            <a:off x="321276" y="3560788"/>
            <a:ext cx="6009014" cy="243833"/>
          </a:xfrm>
          <a:prstGeom prst="rect">
            <a:avLst/>
          </a:prstGeom>
          <a:solidFill>
            <a:schemeClr val="tx2"/>
          </a:solidFill>
        </p:spPr>
        <p:txBody>
          <a:bodyPr vert="horz" lIns="76200" tIns="38100" rIns="76200" bIns="38100" rtlCol="0" anchor="ctr">
            <a:normAutofit/>
          </a:bodyPr>
          <a:lstStyle>
            <a:defPPr>
              <a:defRPr lang="en-US"/>
            </a:defPPr>
            <a:lvl1pPr indent="0" algn="ctr" defTabSz="914400">
              <a:lnSpc>
                <a:spcPts val="1320"/>
              </a:lnSpc>
              <a:spcBef>
                <a:spcPts val="0"/>
              </a:spcBef>
              <a:buFont typeface="Arial" panose="020B0604020202020204" pitchFamily="34" charset="0"/>
              <a:buNone/>
              <a:defRPr sz="1600" b="1">
                <a:solidFill>
                  <a:prstClr val="white"/>
                </a:solidFill>
                <a:latin typeface="Arial" panose="020B0604020202020204" pitchFamily="34" charset="0"/>
                <a:ea typeface="MS PGothic"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lvl2pPr>
            <a:lvl3pPr marL="1371600" indent="-274320">
              <a:lnSpc>
                <a:spcPct val="90000"/>
              </a:lnSpc>
              <a:spcBef>
                <a:spcPts val="600"/>
              </a:spcBef>
              <a:buFont typeface="Arial" panose="020B0604020202020204" pitchFamily="34" charset="0"/>
              <a:buChar char="•"/>
              <a:defRPr sz="2400"/>
            </a:lvl3pPr>
            <a:lvl4pPr marL="1920240" indent="-274320">
              <a:lnSpc>
                <a:spcPct val="90000"/>
              </a:lnSpc>
              <a:spcBef>
                <a:spcPts val="600"/>
              </a:spcBef>
              <a:buFont typeface="Arial" panose="020B0604020202020204" pitchFamily="34" charset="0"/>
              <a:buChar char="•"/>
            </a:lvl4pPr>
            <a:lvl5pPr marL="2468880" indent="-274320">
              <a:lnSpc>
                <a:spcPct val="90000"/>
              </a:lnSpc>
              <a:spcBef>
                <a:spcPts val="600"/>
              </a:spcBef>
              <a:buFont typeface="Arial" panose="020B0604020202020204" pitchFamily="34" charset="0"/>
              <a:buChar char="•"/>
            </a:lvl5pPr>
            <a:lvl6pPr marL="3017520" indent="-274320">
              <a:lnSpc>
                <a:spcPct val="90000"/>
              </a:lnSpc>
              <a:spcBef>
                <a:spcPts val="600"/>
              </a:spcBef>
              <a:buFont typeface="Arial" panose="020B0604020202020204" pitchFamily="34" charset="0"/>
              <a:buChar char="•"/>
            </a:lvl6pPr>
            <a:lvl7pPr marL="3566160" indent="-274320">
              <a:lnSpc>
                <a:spcPct val="90000"/>
              </a:lnSpc>
              <a:spcBef>
                <a:spcPts val="600"/>
              </a:spcBef>
              <a:buFont typeface="Arial" panose="020B0604020202020204" pitchFamily="34" charset="0"/>
              <a:buChar char="•"/>
            </a:lvl7pPr>
            <a:lvl8pPr marL="4114800" indent="-274320">
              <a:lnSpc>
                <a:spcPct val="90000"/>
              </a:lnSpc>
              <a:spcBef>
                <a:spcPts val="600"/>
              </a:spcBef>
              <a:buFont typeface="Arial" panose="020B0604020202020204" pitchFamily="34" charset="0"/>
              <a:buChar char="•"/>
            </a:lvl8pPr>
            <a:lvl9pPr marL="4663440" indent="-274320">
              <a:lnSpc>
                <a:spcPct val="90000"/>
              </a:lnSpc>
              <a:spcBef>
                <a:spcPts val="600"/>
              </a:spcBef>
              <a:buFont typeface="Arial" panose="020B0604020202020204" pitchFamily="34" charset="0"/>
              <a:buChar char="•"/>
            </a:lvl9pPr>
          </a:lstStyle>
          <a:p>
            <a:r>
              <a:rPr lang="en-US" sz="1333" dirty="0"/>
              <a:t>The MNREGA scheme has a history of overshooting budget</a:t>
            </a:r>
          </a:p>
        </p:txBody>
      </p:sp>
      <p:graphicFrame>
        <p:nvGraphicFramePr>
          <p:cNvPr id="61" name="Chart 60">
            <a:extLst>
              <a:ext uri="{FF2B5EF4-FFF2-40B4-BE49-F238E27FC236}">
                <a16:creationId xmlns:a16="http://schemas.microsoft.com/office/drawing/2014/main" id="{00000000-0008-0000-0200-000002000000}"/>
              </a:ext>
            </a:extLst>
          </p:cNvPr>
          <p:cNvGraphicFramePr>
            <a:graphicFrameLocks/>
          </p:cNvGraphicFramePr>
          <p:nvPr/>
        </p:nvGraphicFramePr>
        <p:xfrm>
          <a:off x="283511" y="1243849"/>
          <a:ext cx="6044161" cy="21537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5" name="Chart 64">
            <a:extLst>
              <a:ext uri="{FF2B5EF4-FFF2-40B4-BE49-F238E27FC236}">
                <a16:creationId xmlns:a16="http://schemas.microsoft.com/office/drawing/2014/main" id="{00000000-0008-0000-0100-000002000000}"/>
              </a:ext>
            </a:extLst>
          </p:cNvPr>
          <p:cNvGraphicFramePr>
            <a:graphicFrameLocks/>
          </p:cNvGraphicFramePr>
          <p:nvPr/>
        </p:nvGraphicFramePr>
        <p:xfrm>
          <a:off x="309941" y="3831238"/>
          <a:ext cx="6056384" cy="223930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23678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1000" y="115083"/>
            <a:ext cx="11715206" cy="646203"/>
          </a:xfrm>
        </p:spPr>
        <p:txBody>
          <a:bodyPr/>
          <a:lstStyle/>
          <a:p>
            <a:pPr algn="l"/>
            <a:r>
              <a:rPr lang="en-US" sz="2333" dirty="0">
                <a:solidFill>
                  <a:srgbClr val="000000"/>
                </a:solidFill>
              </a:rPr>
              <a:t>Demand for household appliances industry to rise by 8-13% in FY23 to be propelled by low penetration and rising affordability</a:t>
            </a:r>
          </a:p>
        </p:txBody>
      </p:sp>
      <p:sp>
        <p:nvSpPr>
          <p:cNvPr id="17" name="Rounded Rectangle 44">
            <a:extLst>
              <a:ext uri="{FF2B5EF4-FFF2-40B4-BE49-F238E27FC236}">
                <a16:creationId xmlns:a16="http://schemas.microsoft.com/office/drawing/2014/main" id="{633DC844-80B1-4F69-94FB-CC5F50DC6B45}"/>
              </a:ext>
            </a:extLst>
          </p:cNvPr>
          <p:cNvSpPr/>
          <p:nvPr/>
        </p:nvSpPr>
        <p:spPr>
          <a:xfrm>
            <a:off x="380999" y="751776"/>
            <a:ext cx="11620502" cy="353125"/>
          </a:xfrm>
          <a:prstGeom prst="roundRect">
            <a:avLst>
              <a:gd name="adj" fmla="val 0"/>
            </a:avLst>
          </a:prstGeom>
          <a:solidFill>
            <a:schemeClr val="accent6">
              <a:lumMod val="50000"/>
            </a:schemeClr>
          </a:solidFill>
        </p:spPr>
        <p:txBody>
          <a:bodyPr anchor="ctr"/>
          <a:lstStyle/>
          <a:p>
            <a:pPr marL="285717" indent="-285717" algn="ctr" defTabSz="380955" eaLnBrk="0" fontAlgn="base" hangingPunct="0">
              <a:lnSpc>
                <a:spcPts val="1100"/>
              </a:lnSpc>
              <a:spcBef>
                <a:spcPct val="0"/>
              </a:spcBef>
              <a:spcAft>
                <a:spcPct val="0"/>
              </a:spcAft>
              <a:defRPr/>
            </a:pPr>
            <a:r>
              <a:rPr lang="en-US" sz="1333" b="1" dirty="0">
                <a:solidFill>
                  <a:prstClr val="white"/>
                </a:solidFill>
                <a:latin typeface="Arial" panose="020B0604020202020204" pitchFamily="34" charset="0"/>
                <a:ea typeface="MS PGothic" charset="0"/>
                <a:cs typeface="Arial" panose="020B0604020202020204" pitchFamily="34" charset="0"/>
              </a:rPr>
              <a:t>Trend in annual volume growth across consumer durables and automobiles </a:t>
            </a:r>
          </a:p>
        </p:txBody>
      </p:sp>
      <p:sp>
        <p:nvSpPr>
          <p:cNvPr id="8" name="TextBox 7">
            <a:extLst>
              <a:ext uri="{FF2B5EF4-FFF2-40B4-BE49-F238E27FC236}">
                <a16:creationId xmlns:a16="http://schemas.microsoft.com/office/drawing/2014/main" id="{964E2DD5-511D-4D27-8661-7AA8B9EE48DC}"/>
              </a:ext>
            </a:extLst>
          </p:cNvPr>
          <p:cNvSpPr txBox="1"/>
          <p:nvPr/>
        </p:nvSpPr>
        <p:spPr>
          <a:xfrm>
            <a:off x="380999" y="4896404"/>
            <a:ext cx="11468100" cy="141129"/>
          </a:xfrm>
          <a:prstGeom prst="rect">
            <a:avLst/>
          </a:prstGeom>
        </p:spPr>
        <p:txBody>
          <a:bodyPr wrap="square" lIns="0" tIns="0" rIns="0" bIns="0" rtlCol="0">
            <a:spAutoFit/>
          </a:bodyPr>
          <a:lstStyle/>
          <a:p>
            <a:pPr defTabSz="914363" fontAlgn="base">
              <a:spcBef>
                <a:spcPct val="0"/>
              </a:spcBef>
              <a:spcAft>
                <a:spcPct val="0"/>
              </a:spcAft>
            </a:pPr>
            <a:r>
              <a:rPr lang="en-US" sz="917" dirty="0">
                <a:solidFill>
                  <a:prstClr val="black"/>
                </a:solidFill>
                <a:latin typeface="Arial" panose="020B0604020202020204" pitchFamily="34" charset="0"/>
                <a:cs typeface="Arial" panose="020B0604020202020204" pitchFamily="34" charset="0"/>
              </a:rPr>
              <a:t>Source: CRISIL Research</a:t>
            </a:r>
          </a:p>
        </p:txBody>
      </p:sp>
      <p:sp>
        <p:nvSpPr>
          <p:cNvPr id="27" name="Rounded Rectangle 26"/>
          <p:cNvSpPr/>
          <p:nvPr/>
        </p:nvSpPr>
        <p:spPr>
          <a:xfrm>
            <a:off x="381001" y="5146110"/>
            <a:ext cx="11620500" cy="1125737"/>
          </a:xfrm>
          <a:prstGeom prst="roundRect">
            <a:avLst/>
          </a:prstGeom>
          <a:ln>
            <a:prstDash val="dash"/>
          </a:ln>
        </p:spPr>
        <p:style>
          <a:lnRef idx="2">
            <a:schemeClr val="dk1"/>
          </a:lnRef>
          <a:fillRef idx="1">
            <a:schemeClr val="lt1"/>
          </a:fillRef>
          <a:effectRef idx="0">
            <a:schemeClr val="dk1"/>
          </a:effectRef>
          <a:fontRef idx="minor">
            <a:schemeClr val="dk1"/>
          </a:fontRef>
        </p:style>
        <p:txBody>
          <a:bodyPr lIns="91440" rIns="91440" anchor="ctr"/>
          <a:lstStyle/>
          <a:p>
            <a:pPr marL="171443" lvl="1" indent="-171443" algn="just" defTabSz="914363">
              <a:lnSpc>
                <a:spcPct val="150000"/>
              </a:lnSpc>
              <a:buSzPct val="140000"/>
              <a:buFont typeface="Arial" panose="020B0604020202020204" pitchFamily="34" charset="0"/>
              <a:buChar char="•"/>
            </a:pPr>
            <a:r>
              <a:rPr lang="en-IN" sz="917" dirty="0">
                <a:solidFill>
                  <a:prstClr val="black"/>
                </a:solidFill>
                <a:latin typeface="Arial" panose="020B0604020202020204" pitchFamily="34" charset="0"/>
                <a:cs typeface="Arial" panose="020B0604020202020204" pitchFamily="34" charset="0"/>
              </a:rPr>
              <a:t>The household appliances sector is expected to witness 8-13% growth in fiscal 2022 on a low base of previous fiscal, expected increase in discretionary spend and waning impact of pandemic.</a:t>
            </a:r>
          </a:p>
          <a:p>
            <a:pPr marL="171443" lvl="1" indent="-171443" algn="just" defTabSz="914363">
              <a:lnSpc>
                <a:spcPct val="150000"/>
              </a:lnSpc>
              <a:buSzPct val="140000"/>
              <a:buFont typeface="Arial" panose="020B0604020202020204" pitchFamily="34" charset="0"/>
              <a:buChar char="•"/>
            </a:pPr>
            <a:r>
              <a:rPr lang="en-IN" sz="917" dirty="0">
                <a:solidFill>
                  <a:prstClr val="black"/>
                </a:solidFill>
                <a:latin typeface="Arial" panose="020B0604020202020204" pitchFamily="34" charset="0"/>
                <a:cs typeface="Arial" panose="020B0604020202020204" pitchFamily="34" charset="0"/>
              </a:rPr>
              <a:t>The CTV segment is expected to witness 6-7% growth in fiscal 2023 on account of preference for larger screen sizes, higher discretionary spending and waning impact of the pandemic.</a:t>
            </a:r>
          </a:p>
          <a:p>
            <a:pPr marL="171443" lvl="1" indent="-171443" algn="just" defTabSz="914363">
              <a:lnSpc>
                <a:spcPct val="150000"/>
              </a:lnSpc>
              <a:buSzPct val="140000"/>
              <a:buFont typeface="Arial" panose="020B0604020202020204" pitchFamily="34" charset="0"/>
              <a:buChar char="•"/>
            </a:pPr>
            <a:r>
              <a:rPr lang="en-IN" sz="917" dirty="0">
                <a:solidFill>
                  <a:prstClr val="black"/>
                </a:solidFill>
                <a:latin typeface="Arial" panose="020B0604020202020204" pitchFamily="34" charset="0"/>
                <a:cs typeface="Arial" panose="020B0604020202020204" pitchFamily="34" charset="0"/>
              </a:rPr>
              <a:t>The Washing Machine segment is expected to witness 9-10% growth in fiscal 2023 on account of  people's focus on hygiene and a higher discretionary spending.</a:t>
            </a:r>
          </a:p>
          <a:p>
            <a:pPr marL="171443" lvl="1" indent="-171443" algn="just" defTabSz="914363">
              <a:lnSpc>
                <a:spcPct val="150000"/>
              </a:lnSpc>
              <a:buSzPct val="140000"/>
              <a:buFont typeface="Arial" panose="020B0604020202020204" pitchFamily="34" charset="0"/>
              <a:buChar char="•"/>
            </a:pPr>
            <a:r>
              <a:rPr lang="en-IN" sz="917" dirty="0">
                <a:solidFill>
                  <a:prstClr val="black"/>
                </a:solidFill>
                <a:latin typeface="Arial" panose="020B0604020202020204" pitchFamily="34" charset="0"/>
                <a:cs typeface="Arial" panose="020B0604020202020204" pitchFamily="34" charset="0"/>
              </a:rPr>
              <a:t>Higher discretionary spending, no rating revision and waning impact of the pandemic, will help refrigerator demand grow by 12-13% in fiscal 2023.</a:t>
            </a:r>
          </a:p>
          <a:p>
            <a:pPr marL="171443" lvl="1" indent="-171443" algn="just" defTabSz="914363">
              <a:lnSpc>
                <a:spcPct val="150000"/>
              </a:lnSpc>
              <a:buSzPct val="140000"/>
              <a:buFont typeface="Arial" panose="020B0604020202020204" pitchFamily="34" charset="0"/>
              <a:buChar char="•"/>
            </a:pPr>
            <a:r>
              <a:rPr lang="en-US" sz="917" dirty="0">
                <a:solidFill>
                  <a:prstClr val="black"/>
                </a:solidFill>
                <a:latin typeface="Arial" panose="020B0604020202020204" pitchFamily="34" charset="0"/>
                <a:cs typeface="Arial" panose="020B0604020202020204" pitchFamily="34" charset="0"/>
              </a:rPr>
              <a:t>AC demand is expected to rise by 15-17%. </a:t>
            </a:r>
            <a:endParaRPr lang="en-IN" sz="917" dirty="0">
              <a:solidFill>
                <a:prstClr val="black"/>
              </a:solidFill>
              <a:latin typeface="Arial" panose="020B0604020202020204" pitchFamily="34" charset="0"/>
              <a:cs typeface="Arial" panose="020B0604020202020204" pitchFamily="34" charset="0"/>
            </a:endParaRPr>
          </a:p>
        </p:txBody>
      </p:sp>
      <p:sp>
        <p:nvSpPr>
          <p:cNvPr id="15" name="Down Arrow 14">
            <a:hlinkClick r:id="" action="ppaction://noaction"/>
          </p:cNvPr>
          <p:cNvSpPr/>
          <p:nvPr/>
        </p:nvSpPr>
        <p:spPr>
          <a:xfrm rot="5400000">
            <a:off x="9794950" y="6230489"/>
            <a:ext cx="450000" cy="750000"/>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4363"/>
            <a:r>
              <a:rPr lang="en-US" sz="1167" dirty="0">
                <a:solidFill>
                  <a:prstClr val="black"/>
                </a:solidFill>
                <a:latin typeface="Arial" panose="020B0604020202020204" pitchFamily="34" charset="0"/>
                <a:cs typeface="Arial" panose="020B0604020202020204" pitchFamily="34" charset="0"/>
              </a:rPr>
              <a:t>Back</a:t>
            </a:r>
          </a:p>
        </p:txBody>
      </p:sp>
      <p:graphicFrame>
        <p:nvGraphicFramePr>
          <p:cNvPr id="9" name="Chart 8">
            <a:extLst>
              <a:ext uri="{FF2B5EF4-FFF2-40B4-BE49-F238E27FC236}">
                <a16:creationId xmlns:a16="http://schemas.microsoft.com/office/drawing/2014/main" id="{34EA03A5-3E69-4A10-9A7E-9B4D9626B8EF}"/>
              </a:ext>
            </a:extLst>
          </p:cNvPr>
          <p:cNvGraphicFramePr>
            <a:graphicFrameLocks/>
          </p:cNvGraphicFramePr>
          <p:nvPr/>
        </p:nvGraphicFramePr>
        <p:xfrm>
          <a:off x="380997" y="1104900"/>
          <a:ext cx="11620499" cy="368286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135966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3858" y="151578"/>
            <a:ext cx="11402505" cy="369332"/>
          </a:xfrm>
        </p:spPr>
        <p:txBody>
          <a:bodyPr vert="horz" lIns="0" tIns="0" rIns="0" bIns="0" rtlCol="0" anchor="ctr">
            <a:normAutofit/>
          </a:bodyPr>
          <a:lstStyle/>
          <a:p>
            <a:r>
              <a:rPr lang="en-US" sz="2333" dirty="0"/>
              <a:t>Buses demand to rise with economy opening up</a:t>
            </a:r>
          </a:p>
        </p:txBody>
      </p:sp>
      <p:sp>
        <p:nvSpPr>
          <p:cNvPr id="79" name="Slide Number Placeholder 1"/>
          <p:cNvSpPr txBox="1">
            <a:spLocks/>
          </p:cNvSpPr>
          <p:nvPr/>
        </p:nvSpPr>
        <p:spPr>
          <a:xfrm>
            <a:off x="373859" y="6493755"/>
            <a:ext cx="5321089" cy="223469"/>
          </a:xfrm>
          <a:prstGeom prst="rect">
            <a:avLst/>
          </a:prstGeom>
        </p:spPr>
        <p:txBody>
          <a:bodyPr vert="horz" lIns="76200" tIns="38100" rIns="76200" bIns="38100" rtlCol="0" anchor="ctr"/>
          <a:lstStyle>
            <a:defPPr>
              <a:defRPr lang="en-US"/>
            </a:defPPr>
            <a:lvl1pPr marL="0" algn="r" defTabSz="1097280" rtl="0" eaLnBrk="1" latinLnBrk="0" hangingPunct="1">
              <a:defRPr sz="1440" kern="1200">
                <a:solidFill>
                  <a:schemeClr val="tx1">
                    <a:tint val="75000"/>
                  </a:schemeClr>
                </a:solidFill>
                <a:latin typeface="Arial" panose="020B0604020202020204" pitchFamily="34" charset="0"/>
                <a:ea typeface="+mn-ea"/>
                <a:cs typeface="Arial" panose="020B0604020202020204" pitchFamily="34" charset="0"/>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a:lstStyle>
          <a:p>
            <a:pPr algn="l"/>
            <a:r>
              <a:rPr lang="en-US" sz="1000" i="1" dirty="0">
                <a:solidFill>
                  <a:prstClr val="black"/>
                </a:solidFill>
              </a:rPr>
              <a:t>Source: CSO, RBI, SIAM and CRISIL estimates E: Estimated; P: Projected </a:t>
            </a:r>
          </a:p>
        </p:txBody>
      </p:sp>
      <p:sp>
        <p:nvSpPr>
          <p:cNvPr id="8" name="Rectangle 7"/>
          <p:cNvSpPr/>
          <p:nvPr/>
        </p:nvSpPr>
        <p:spPr>
          <a:xfrm>
            <a:off x="373858" y="1722142"/>
            <a:ext cx="11535080" cy="624727"/>
          </a:xfrm>
          <a:prstGeom prst="rect">
            <a:avLst/>
          </a:prstGeom>
          <a:ln>
            <a:solidFill>
              <a:schemeClr val="tx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marL="285739" indent="-285739">
              <a:buFont typeface="Arial" panose="020B0604020202020204" pitchFamily="34" charset="0"/>
              <a:buChar char="•"/>
            </a:pPr>
            <a:r>
              <a:rPr lang="en-US" sz="1333" dirty="0">
                <a:latin typeface="Arial" panose="020B0604020202020204" pitchFamily="34" charset="0"/>
                <a:cs typeface="Arial" panose="020B0604020202020204" pitchFamily="34" charset="0"/>
              </a:rPr>
              <a:t>Covid wave 2 and Omicron impacted school /college reopening for academic year 2021-22</a:t>
            </a:r>
            <a:r>
              <a:rPr lang="en-IN" sz="1333" dirty="0">
                <a:latin typeface="Arial" panose="020B0604020202020204" pitchFamily="34" charset="0"/>
                <a:cs typeface="Arial" panose="020B0604020202020204" pitchFamily="34" charset="0"/>
              </a:rPr>
              <a:t>; School bus demand might come in fiscal 2023 with improvement in number of K-12 institutions and gross enrolment ratio</a:t>
            </a:r>
          </a:p>
        </p:txBody>
      </p:sp>
      <p:sp>
        <p:nvSpPr>
          <p:cNvPr id="14" name="Rectangle 13"/>
          <p:cNvSpPr/>
          <p:nvPr/>
        </p:nvSpPr>
        <p:spPr>
          <a:xfrm>
            <a:off x="439137" y="3508663"/>
            <a:ext cx="11535080" cy="564835"/>
          </a:xfrm>
          <a:prstGeom prst="rect">
            <a:avLst/>
          </a:prstGeom>
          <a:ln>
            <a:solidFill>
              <a:schemeClr val="tx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marL="238115" indent="-238115">
              <a:buFont typeface="Arial" panose="020B0604020202020204" pitchFamily="34" charset="0"/>
              <a:buChar char="•"/>
            </a:pPr>
            <a:r>
              <a:rPr lang="en-IN" sz="1333" dirty="0">
                <a:latin typeface="Arial" panose="020B0604020202020204" pitchFamily="34" charset="0"/>
                <a:cs typeface="Arial" panose="020B0604020202020204" pitchFamily="34" charset="0"/>
              </a:rPr>
              <a:t>The IT industry's employee base has grown in line with revenue growth in the past. However, higher adoption of non-linear services such as automation and artificial intelligence, which will improve with time, is likely to lead to lower hiring in the future.</a:t>
            </a:r>
          </a:p>
        </p:txBody>
      </p:sp>
      <p:sp>
        <p:nvSpPr>
          <p:cNvPr id="10" name="Rectangle 9"/>
          <p:cNvSpPr/>
          <p:nvPr/>
        </p:nvSpPr>
        <p:spPr>
          <a:xfrm>
            <a:off x="373858" y="5228493"/>
            <a:ext cx="11535080" cy="1050000"/>
          </a:xfrm>
          <a:prstGeom prst="rect">
            <a:avLst/>
          </a:prstGeom>
          <a:ln>
            <a:solidFill>
              <a:schemeClr val="tx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marL="285739" indent="-285739">
              <a:buFont typeface="Arial" panose="020B0604020202020204" pitchFamily="34" charset="0"/>
              <a:buChar char="•"/>
            </a:pPr>
            <a:r>
              <a:rPr lang="en-US" sz="1333" dirty="0">
                <a:solidFill>
                  <a:srgbClr val="272727"/>
                </a:solidFill>
                <a:latin typeface="Arial" panose="020B0604020202020204" pitchFamily="34" charset="0"/>
                <a:cs typeface="Arial" panose="020B0604020202020204" pitchFamily="34" charset="0"/>
              </a:rPr>
              <a:t>The hotels sector is expected to witness strong growth is fiscal 2023, on the back of a recovery in major demand drivers as the economy picks up. The sector will likely reach pre-pandemic levels in absolute terms, as it emerges from the shadows of the pandemic.   </a:t>
            </a:r>
          </a:p>
          <a:p>
            <a:pPr marL="285739" indent="-285739">
              <a:buFont typeface="Arial" panose="020B0604020202020204" pitchFamily="34" charset="0"/>
              <a:buChar char="•"/>
            </a:pPr>
            <a:r>
              <a:rPr lang="en-US" sz="1333" dirty="0">
                <a:solidFill>
                  <a:srgbClr val="272727"/>
                </a:solidFill>
                <a:latin typeface="Arial" panose="020B0604020202020204" pitchFamily="34" charset="0"/>
                <a:cs typeface="Arial" panose="020B0604020202020204" pitchFamily="34" charset="0"/>
              </a:rPr>
              <a:t>Premium hotels saw a sharp recovery in fiscal 2022 on a low base, driven by staycations and leisure demand. A revival in corporate travel and MICE segments, coupled with restarting of inbound international travel, should help the sector regain pre-pandemic levels in fiscal 2023.</a:t>
            </a:r>
            <a:endParaRPr lang="en-IN" sz="1333" dirty="0">
              <a:latin typeface="Arial" panose="020B0604020202020204" pitchFamily="34" charset="0"/>
              <a:cs typeface="Arial" panose="020B0604020202020204" pitchFamily="34" charset="0"/>
            </a:endParaRPr>
          </a:p>
        </p:txBody>
      </p:sp>
      <p:graphicFrame>
        <p:nvGraphicFramePr>
          <p:cNvPr id="19" name="Table 18"/>
          <p:cNvGraphicFramePr>
            <a:graphicFrameLocks noGrp="1"/>
          </p:cNvGraphicFramePr>
          <p:nvPr/>
        </p:nvGraphicFramePr>
        <p:xfrm>
          <a:off x="3208938" y="2562131"/>
          <a:ext cx="8700000" cy="774338"/>
        </p:xfrm>
        <a:graphic>
          <a:graphicData uri="http://schemas.openxmlformats.org/drawingml/2006/table">
            <a:tbl>
              <a:tblPr>
                <a:tableStyleId>{073A0DAA-6AF3-43AB-8588-CEC1D06C72B9}</a:tableStyleId>
              </a:tblPr>
              <a:tblGrid>
                <a:gridCol w="3300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4"/>
                    </a:ext>
                  </a:extLst>
                </a:gridCol>
                <a:gridCol w="900000">
                  <a:extLst>
                    <a:ext uri="{9D8B030D-6E8A-4147-A177-3AD203B41FA5}">
                      <a16:colId xmlns:a16="http://schemas.microsoft.com/office/drawing/2014/main" val="20005"/>
                    </a:ext>
                  </a:extLst>
                </a:gridCol>
                <a:gridCol w="900000">
                  <a:extLst>
                    <a:ext uri="{9D8B030D-6E8A-4147-A177-3AD203B41FA5}">
                      <a16:colId xmlns:a16="http://schemas.microsoft.com/office/drawing/2014/main" val="20006"/>
                    </a:ext>
                  </a:extLst>
                </a:gridCol>
              </a:tblGrid>
              <a:tr h="414338">
                <a:tc>
                  <a:txBody>
                    <a:bodyPr/>
                    <a:lstStyle/>
                    <a:p>
                      <a:pPr algn="ctr"/>
                      <a:r>
                        <a:rPr lang="en-US" sz="1300" b="1" u="none" strike="noStrike" kern="1200" dirty="0">
                          <a:solidFill>
                            <a:schemeClr val="bg1"/>
                          </a:solidFill>
                          <a:effectLst/>
                          <a:latin typeface="Arial" panose="020B0604020202020204" pitchFamily="34" charset="0"/>
                          <a:cs typeface="Arial" panose="020B0604020202020204" pitchFamily="34" charset="0"/>
                        </a:rPr>
                        <a:t>Segments</a:t>
                      </a:r>
                    </a:p>
                    <a:p>
                      <a:pPr marL="0" marR="0" indent="0" algn="ctr" defTabSz="1097280" rtl="0" eaLnBrk="1" fontAlgn="auto" latinLnBrk="0" hangingPunct="1">
                        <a:lnSpc>
                          <a:spcPct val="100000"/>
                        </a:lnSpc>
                        <a:spcBef>
                          <a:spcPts val="0"/>
                        </a:spcBef>
                        <a:spcAft>
                          <a:spcPts val="0"/>
                        </a:spcAft>
                        <a:buClrTx/>
                        <a:buSzTx/>
                        <a:buFontTx/>
                        <a:buNone/>
                        <a:tabLst/>
                        <a:defRPr/>
                      </a:pPr>
                      <a:r>
                        <a:rPr lang="en-US" sz="1300" b="1" u="none" strike="noStrike" kern="1200" dirty="0">
                          <a:solidFill>
                            <a:schemeClr val="bg1"/>
                          </a:solidFill>
                          <a:effectLst/>
                          <a:latin typeface="Arial" panose="020B0604020202020204" pitchFamily="34" charset="0"/>
                          <a:cs typeface="Arial" panose="020B0604020202020204" pitchFamily="34" charset="0"/>
                        </a:rPr>
                        <a:t> (% Growth Y-o-Y) </a:t>
                      </a:r>
                      <a:r>
                        <a:rPr lang="en-GB" sz="1300" b="1" u="none" strike="noStrike" dirty="0">
                          <a:solidFill>
                            <a:schemeClr val="bg1"/>
                          </a:solidFill>
                          <a:effectLst/>
                          <a:latin typeface="Arial" panose="020B0604020202020204" pitchFamily="34" charset="0"/>
                          <a:cs typeface="Arial" panose="020B0604020202020204" pitchFamily="34" charset="0"/>
                        </a:rPr>
                        <a:t> </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18</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19</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0</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1 </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2 P</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a:t>
                      </a:r>
                      <a:r>
                        <a:rPr lang="en-GB" sz="1300" b="1" u="none" strike="noStrike" baseline="0" dirty="0">
                          <a:solidFill>
                            <a:schemeClr val="bg1"/>
                          </a:solidFill>
                          <a:effectLst/>
                          <a:latin typeface="Arial" panose="020B0604020202020204" pitchFamily="34" charset="0"/>
                          <a:cs typeface="Arial" panose="020B0604020202020204" pitchFamily="34" charset="0"/>
                        </a:rPr>
                        <a:t> 23 P</a:t>
                      </a:r>
                      <a:endParaRPr lang="en-GB" sz="1300" b="1"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360000">
                <a:tc>
                  <a:txBody>
                    <a:bodyPr/>
                    <a:lstStyle/>
                    <a:p>
                      <a:pPr marL="0" algn="l" defTabSz="1097280" rtl="0" eaLnBrk="1" fontAlgn="ctr" latinLnBrk="0" hangingPunct="1"/>
                      <a:r>
                        <a:rPr lang="en-US" sz="1300" b="1" i="0" u="none" strike="noStrike" kern="1200" dirty="0">
                          <a:solidFill>
                            <a:schemeClr val="tx1"/>
                          </a:solidFill>
                          <a:effectLst/>
                          <a:latin typeface="Arial" panose="020B0604020202020204" pitchFamily="34" charset="0"/>
                          <a:ea typeface="+mn-ea"/>
                          <a:cs typeface="Arial" panose="020B0604020202020204" pitchFamily="34" charset="0"/>
                        </a:rPr>
                        <a:t>Growth in number of IT employees</a:t>
                      </a:r>
                    </a:p>
                  </a:txBody>
                  <a:tcPr marL="44450" marR="44450" marT="44450" marB="4445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3</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4</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4</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i="0" u="none" strike="noStrike" kern="1200" dirty="0">
                          <a:solidFill>
                            <a:srgbClr val="00B050"/>
                          </a:solidFill>
                          <a:effectLst/>
                          <a:latin typeface="Arial" panose="020B0604020202020204" pitchFamily="34" charset="0"/>
                          <a:ea typeface="+mn-ea"/>
                          <a:cs typeface="Arial" panose="020B0604020202020204" pitchFamily="34" charset="0"/>
                        </a:rPr>
                        <a:t>9</a:t>
                      </a:r>
                      <a:endParaRPr lang="en-GB" sz="1500" b="1" i="0" u="none" strike="noStrike" kern="1200" dirty="0">
                        <a:solidFill>
                          <a:srgbClr val="00B050"/>
                        </a:solidFill>
                        <a:effectLst/>
                        <a:latin typeface="Arial" panose="020B0604020202020204" pitchFamily="34" charset="0"/>
                        <a:ea typeface="+mn-ea"/>
                        <a:cs typeface="Arial" panose="020B0604020202020204" pitchFamily="34" charset="0"/>
                      </a:endParaRP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32BF72"/>
                          </a:solidFill>
                          <a:effectLst/>
                          <a:latin typeface="Arial" panose="020B0604020202020204" pitchFamily="34" charset="0"/>
                          <a:ea typeface="+mn-ea"/>
                          <a:cs typeface="Arial" panose="020B0604020202020204" pitchFamily="34" charset="0"/>
                        </a:rPr>
                        <a:t>13</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kern="1200" dirty="0">
                          <a:solidFill>
                            <a:srgbClr val="32BF72"/>
                          </a:solidFill>
                          <a:effectLst/>
                          <a:latin typeface="Arial" panose="020B0604020202020204" pitchFamily="34" charset="0"/>
                          <a:ea typeface="+mn-ea"/>
                          <a:cs typeface="Arial" panose="020B0604020202020204" pitchFamily="34" charset="0"/>
                        </a:rPr>
                        <a:t>5-7</a:t>
                      </a:r>
                    </a:p>
                  </a:txBody>
                  <a:tcPr marL="6615" marR="6615" marT="661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20" name="Table 19"/>
          <p:cNvGraphicFramePr>
            <a:graphicFrameLocks noGrp="1"/>
          </p:cNvGraphicFramePr>
          <p:nvPr/>
        </p:nvGraphicFramePr>
        <p:xfrm>
          <a:off x="3208938" y="636828"/>
          <a:ext cx="8700000" cy="1080000"/>
        </p:xfrm>
        <a:graphic>
          <a:graphicData uri="http://schemas.openxmlformats.org/drawingml/2006/table">
            <a:tbl>
              <a:tblPr>
                <a:tableStyleId>{073A0DAA-6AF3-43AB-8588-CEC1D06C72B9}</a:tableStyleId>
              </a:tblPr>
              <a:tblGrid>
                <a:gridCol w="3300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4"/>
                    </a:ext>
                  </a:extLst>
                </a:gridCol>
                <a:gridCol w="900000">
                  <a:extLst>
                    <a:ext uri="{9D8B030D-6E8A-4147-A177-3AD203B41FA5}">
                      <a16:colId xmlns:a16="http://schemas.microsoft.com/office/drawing/2014/main" val="20005"/>
                    </a:ext>
                  </a:extLst>
                </a:gridCol>
                <a:gridCol w="900000">
                  <a:extLst>
                    <a:ext uri="{9D8B030D-6E8A-4147-A177-3AD203B41FA5}">
                      <a16:colId xmlns:a16="http://schemas.microsoft.com/office/drawing/2014/main" val="20006"/>
                    </a:ext>
                  </a:extLst>
                </a:gridCol>
              </a:tblGrid>
              <a:tr h="360000">
                <a:tc>
                  <a:txBody>
                    <a:bodyPr/>
                    <a:lstStyle/>
                    <a:p>
                      <a:pPr algn="ctr"/>
                      <a:r>
                        <a:rPr lang="en-US" sz="1300" b="1" u="none" strike="noStrike" kern="1200" dirty="0">
                          <a:solidFill>
                            <a:schemeClr val="bg1"/>
                          </a:solidFill>
                          <a:effectLst/>
                          <a:latin typeface="Arial" panose="020B0604020202020204" pitchFamily="34" charset="0"/>
                          <a:cs typeface="Arial" panose="020B0604020202020204" pitchFamily="34" charset="0"/>
                        </a:rPr>
                        <a:t>Segments</a:t>
                      </a:r>
                    </a:p>
                  </a:txBody>
                  <a:tcPr marL="7938" marR="7938" marT="793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18</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19</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0</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1 </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2 P</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a:t>
                      </a:r>
                      <a:r>
                        <a:rPr lang="en-GB" sz="1300" b="1" u="none" strike="noStrike" baseline="0" dirty="0">
                          <a:solidFill>
                            <a:schemeClr val="bg1"/>
                          </a:solidFill>
                          <a:effectLst/>
                          <a:latin typeface="Arial" panose="020B0604020202020204" pitchFamily="34" charset="0"/>
                          <a:cs typeface="Arial" panose="020B0604020202020204" pitchFamily="34" charset="0"/>
                        </a:rPr>
                        <a:t> 23 P</a:t>
                      </a:r>
                      <a:endParaRPr lang="en-GB" sz="1300" b="1"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360000">
                <a:tc>
                  <a:txBody>
                    <a:bodyPr/>
                    <a:lstStyle/>
                    <a:p>
                      <a:pPr marL="0" algn="l" defTabSz="1097280" rtl="0" eaLnBrk="1" fontAlgn="ctr" latinLnBrk="0" hangingPunct="1"/>
                      <a:r>
                        <a:rPr lang="en-US" sz="1300" b="1" u="none" strike="noStrike" kern="1200" dirty="0">
                          <a:effectLst/>
                          <a:latin typeface="Arial" panose="020B0604020202020204" pitchFamily="34" charset="0"/>
                          <a:cs typeface="Arial" panose="020B0604020202020204" pitchFamily="34" charset="0"/>
                        </a:rPr>
                        <a:t>No of K-12 institutions (million)</a:t>
                      </a:r>
                      <a:endParaRPr lang="en-US" sz="13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GB" sz="1500" b="1" u="none" strike="noStrike" dirty="0">
                          <a:solidFill>
                            <a:srgbClr val="00B050"/>
                          </a:solidFill>
                          <a:effectLst/>
                          <a:latin typeface="Arial" panose="020B0604020202020204" pitchFamily="34" charset="0"/>
                          <a:cs typeface="Arial" panose="020B0604020202020204" pitchFamily="34" charset="0"/>
                        </a:rPr>
                        <a:t>1.56</a:t>
                      </a:r>
                      <a:endParaRPr lang="en-GB" sz="1500" b="1" i="0" u="none" strike="noStrike" dirty="0">
                        <a:solidFill>
                          <a:srgbClr val="00B050"/>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1.56</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1.6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i="0" u="none" strike="noStrike" kern="1200" dirty="0">
                          <a:solidFill>
                            <a:srgbClr val="FFC000"/>
                          </a:solidFill>
                          <a:effectLst/>
                          <a:latin typeface="Arial" panose="020B0604020202020204" pitchFamily="34" charset="0"/>
                          <a:ea typeface="+mn-ea"/>
                          <a:cs typeface="Arial" panose="020B0604020202020204" pitchFamily="34" charset="0"/>
                        </a:rPr>
                        <a:t>1.62</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1.6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1.69</a:t>
                      </a:r>
                    </a:p>
                  </a:txBody>
                  <a:tcPr marL="7938" marR="7938" marT="79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60000">
                <a:tc>
                  <a:txBody>
                    <a:bodyPr/>
                    <a:lstStyle/>
                    <a:p>
                      <a:pPr marL="0" algn="l" defTabSz="1097280" rtl="0" eaLnBrk="1" fontAlgn="ctr" latinLnBrk="0" hangingPunct="1"/>
                      <a:r>
                        <a:rPr lang="en-US" sz="1300" b="1" i="0" u="none" strike="noStrike" kern="1200" dirty="0">
                          <a:solidFill>
                            <a:srgbClr val="000000"/>
                          </a:solidFill>
                          <a:effectLst/>
                          <a:latin typeface="Arial" panose="020B0604020202020204" pitchFamily="34" charset="0"/>
                          <a:ea typeface="+mn-ea"/>
                          <a:cs typeface="Arial" panose="020B0604020202020204" pitchFamily="34" charset="0"/>
                        </a:rPr>
                        <a:t>Gross enrolment ration (GER) (%)</a:t>
                      </a:r>
                    </a:p>
                  </a:txBody>
                  <a:tcPr marL="44450" marR="44450" marT="44450" marB="4445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3.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73.4</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u="none" strike="noStrike" kern="1200" dirty="0">
                          <a:solidFill>
                            <a:srgbClr val="00B050"/>
                          </a:solidFill>
                          <a:effectLst/>
                          <a:latin typeface="Arial" panose="020B0604020202020204" pitchFamily="34" charset="0"/>
                          <a:ea typeface="+mn-ea"/>
                          <a:cs typeface="Arial" panose="020B0604020202020204" pitchFamily="34" charset="0"/>
                        </a:rPr>
                        <a:t>78</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097280" rtl="0" eaLnBrk="1" fontAlgn="ctr" latinLnBrk="0" hangingPunct="1"/>
                      <a:r>
                        <a:rPr lang="en-GB" sz="1500" b="1" i="0" u="none" strike="noStrike" kern="1200" dirty="0">
                          <a:solidFill>
                            <a:srgbClr val="FFC000"/>
                          </a:solidFill>
                          <a:effectLst/>
                          <a:latin typeface="Arial" panose="020B0604020202020204" pitchFamily="34" charset="0"/>
                          <a:ea typeface="+mn-ea"/>
                          <a:cs typeface="Arial" panose="020B0604020202020204" pitchFamily="34" charset="0"/>
                        </a:rPr>
                        <a:t>74.5</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74.8</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5.1</a:t>
                      </a:r>
                    </a:p>
                  </a:txBody>
                  <a:tcPr marL="7938" marR="7938" marT="79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7715775"/>
                  </a:ext>
                </a:extLst>
              </a:tr>
            </a:tbl>
          </a:graphicData>
        </a:graphic>
      </p:graphicFrame>
      <p:graphicFrame>
        <p:nvGraphicFramePr>
          <p:cNvPr id="21" name="Table 20"/>
          <p:cNvGraphicFramePr>
            <a:graphicFrameLocks noGrp="1"/>
          </p:cNvGraphicFramePr>
          <p:nvPr/>
        </p:nvGraphicFramePr>
        <p:xfrm>
          <a:off x="3274217" y="4138704"/>
          <a:ext cx="8700000" cy="1031452"/>
        </p:xfrm>
        <a:graphic>
          <a:graphicData uri="http://schemas.openxmlformats.org/drawingml/2006/table">
            <a:tbl>
              <a:tblPr>
                <a:tableStyleId>{073A0DAA-6AF3-43AB-8588-CEC1D06C72B9}</a:tableStyleId>
              </a:tblPr>
              <a:tblGrid>
                <a:gridCol w="3300000">
                  <a:extLst>
                    <a:ext uri="{9D8B030D-6E8A-4147-A177-3AD203B41FA5}">
                      <a16:colId xmlns:a16="http://schemas.microsoft.com/office/drawing/2014/main" val="20000"/>
                    </a:ext>
                  </a:extLst>
                </a:gridCol>
                <a:gridCol w="900000">
                  <a:extLst>
                    <a:ext uri="{9D8B030D-6E8A-4147-A177-3AD203B41FA5}">
                      <a16:colId xmlns:a16="http://schemas.microsoft.com/office/drawing/2014/main" val="20001"/>
                    </a:ext>
                  </a:extLst>
                </a:gridCol>
                <a:gridCol w="900000">
                  <a:extLst>
                    <a:ext uri="{9D8B030D-6E8A-4147-A177-3AD203B41FA5}">
                      <a16:colId xmlns:a16="http://schemas.microsoft.com/office/drawing/2014/main" val="20002"/>
                    </a:ext>
                  </a:extLst>
                </a:gridCol>
                <a:gridCol w="900000">
                  <a:extLst>
                    <a:ext uri="{9D8B030D-6E8A-4147-A177-3AD203B41FA5}">
                      <a16:colId xmlns:a16="http://schemas.microsoft.com/office/drawing/2014/main" val="20003"/>
                    </a:ext>
                  </a:extLst>
                </a:gridCol>
                <a:gridCol w="900000">
                  <a:extLst>
                    <a:ext uri="{9D8B030D-6E8A-4147-A177-3AD203B41FA5}">
                      <a16:colId xmlns:a16="http://schemas.microsoft.com/office/drawing/2014/main" val="20004"/>
                    </a:ext>
                  </a:extLst>
                </a:gridCol>
                <a:gridCol w="900000">
                  <a:extLst>
                    <a:ext uri="{9D8B030D-6E8A-4147-A177-3AD203B41FA5}">
                      <a16:colId xmlns:a16="http://schemas.microsoft.com/office/drawing/2014/main" val="20005"/>
                    </a:ext>
                  </a:extLst>
                </a:gridCol>
                <a:gridCol w="900000">
                  <a:extLst>
                    <a:ext uri="{9D8B030D-6E8A-4147-A177-3AD203B41FA5}">
                      <a16:colId xmlns:a16="http://schemas.microsoft.com/office/drawing/2014/main" val="20006"/>
                    </a:ext>
                  </a:extLst>
                </a:gridCol>
              </a:tblGrid>
              <a:tr h="311786">
                <a:tc>
                  <a:txBody>
                    <a:bodyPr/>
                    <a:lstStyle/>
                    <a:p>
                      <a:pPr algn="ctr"/>
                      <a:r>
                        <a:rPr lang="en-US" sz="1300" b="1" u="none" strike="noStrike" kern="1200" dirty="0">
                          <a:solidFill>
                            <a:schemeClr val="bg1"/>
                          </a:solidFill>
                          <a:effectLst/>
                          <a:latin typeface="Arial" panose="020B0604020202020204" pitchFamily="34" charset="0"/>
                          <a:cs typeface="Arial" panose="020B0604020202020204" pitchFamily="34" charset="0"/>
                        </a:rPr>
                        <a:t>Segment</a:t>
                      </a:r>
                    </a:p>
                  </a:txBody>
                  <a:tcPr marL="7938" marR="7938" marT="7938"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18</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19</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0</a:t>
                      </a:r>
                      <a:endParaRPr lang="en-GB" sz="1300" b="1" i="0"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1 </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 22 P</a:t>
                      </a:r>
                    </a:p>
                  </a:txBody>
                  <a:tcPr marL="7938" marR="7938" marT="79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fontAlgn="ctr"/>
                      <a:r>
                        <a:rPr lang="en-GB" sz="1300" b="1" u="none" strike="noStrike" dirty="0">
                          <a:solidFill>
                            <a:schemeClr val="bg1"/>
                          </a:solidFill>
                          <a:effectLst/>
                          <a:latin typeface="Arial" panose="020B0604020202020204" pitchFamily="34" charset="0"/>
                          <a:cs typeface="Arial" panose="020B0604020202020204" pitchFamily="34" charset="0"/>
                        </a:rPr>
                        <a:t>FY</a:t>
                      </a:r>
                      <a:r>
                        <a:rPr lang="en-GB" sz="1300" b="1" u="none" strike="noStrike" baseline="0" dirty="0">
                          <a:solidFill>
                            <a:schemeClr val="bg1"/>
                          </a:solidFill>
                          <a:effectLst/>
                          <a:latin typeface="Arial" panose="020B0604020202020204" pitchFamily="34" charset="0"/>
                          <a:cs typeface="Arial" panose="020B0604020202020204" pitchFamily="34" charset="0"/>
                        </a:rPr>
                        <a:t> 23 P</a:t>
                      </a:r>
                      <a:endParaRPr lang="en-GB" sz="1300" b="1" u="none" strike="noStrike" dirty="0">
                        <a:solidFill>
                          <a:schemeClr val="bg1"/>
                        </a:solidFill>
                        <a:effectLst/>
                        <a:latin typeface="Arial" panose="020B0604020202020204" pitchFamily="34" charset="0"/>
                        <a:cs typeface="Arial" panose="020B0604020202020204" pitchFamily="34" charset="0"/>
                      </a:endParaRPr>
                    </a:p>
                  </a:txBody>
                  <a:tcPr marL="7938" marR="7938" marT="7938"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359833">
                <a:tc>
                  <a:txBody>
                    <a:bodyPr/>
                    <a:lstStyle/>
                    <a:p>
                      <a:pPr marL="0" algn="l" defTabSz="1097280" rtl="0" eaLnBrk="1" fontAlgn="ctr" latinLnBrk="0" hangingPunct="1"/>
                      <a:r>
                        <a:rPr lang="en-US" sz="1300" b="1" dirty="0">
                          <a:solidFill>
                            <a:schemeClr val="tx1"/>
                          </a:solidFill>
                          <a:latin typeface="Arial" panose="020B0604020202020204" pitchFamily="34" charset="0"/>
                          <a:cs typeface="Arial" panose="020B0604020202020204" pitchFamily="34" charset="0"/>
                        </a:rPr>
                        <a:t>Pan India hotel rooms supply</a:t>
                      </a:r>
                      <a:endParaRPr lang="en-US" sz="1300" b="1"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2028</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5250</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7410</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79051</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83617</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91162</a:t>
                      </a:r>
                    </a:p>
                  </a:txBody>
                  <a:tcPr marL="6615" marR="6615" marT="661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359833">
                <a:tc>
                  <a:txBody>
                    <a:bodyPr/>
                    <a:lstStyle/>
                    <a:p>
                      <a:pPr marL="0" algn="l" defTabSz="1097280" rtl="0" eaLnBrk="1" fontAlgn="ctr" latinLnBrk="0" hangingPunct="1"/>
                      <a:r>
                        <a:rPr lang="en-US" sz="1300" b="1" i="0" u="none" strike="noStrike" kern="1200" dirty="0">
                          <a:solidFill>
                            <a:schemeClr val="tx1"/>
                          </a:solidFill>
                          <a:effectLst/>
                          <a:latin typeface="Arial" panose="020B0604020202020204" pitchFamily="34" charset="0"/>
                          <a:ea typeface="+mn-ea"/>
                          <a:cs typeface="Arial" panose="020B0604020202020204" pitchFamily="34" charset="0"/>
                        </a:rPr>
                        <a:t>Occupancy rates (%)</a:t>
                      </a:r>
                    </a:p>
                  </a:txBody>
                  <a:tcPr marL="44450" marR="44450" marT="44450" marB="4445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65</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65</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FFC000"/>
                          </a:solidFill>
                          <a:effectLst/>
                          <a:latin typeface="Arial" panose="020B0604020202020204" pitchFamily="34" charset="0"/>
                          <a:cs typeface="Arial" panose="020B0604020202020204" pitchFamily="34" charset="0"/>
                        </a:rPr>
                        <a:t>64</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C00000"/>
                          </a:solidFill>
                          <a:effectLst/>
                          <a:latin typeface="Arial" panose="020B0604020202020204" pitchFamily="34" charset="0"/>
                          <a:cs typeface="Arial" panose="020B0604020202020204" pitchFamily="34" charset="0"/>
                        </a:rPr>
                        <a:t>31</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51</a:t>
                      </a:r>
                    </a:p>
                  </a:txBody>
                  <a:tcPr marL="6615" marR="6615" marT="661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1500" b="1" i="0" u="none" strike="noStrike" dirty="0">
                          <a:solidFill>
                            <a:srgbClr val="00B050"/>
                          </a:solidFill>
                          <a:effectLst/>
                          <a:latin typeface="Arial" panose="020B0604020202020204" pitchFamily="34" charset="0"/>
                          <a:cs typeface="Arial" panose="020B0604020202020204" pitchFamily="34" charset="0"/>
                        </a:rPr>
                        <a:t>60</a:t>
                      </a:r>
                    </a:p>
                  </a:txBody>
                  <a:tcPr marL="6615" marR="6615" marT="661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583452"/>
                  </a:ext>
                </a:extLst>
              </a:tr>
            </a:tbl>
          </a:graphicData>
        </a:graphic>
      </p:graphicFrame>
      <p:pic>
        <p:nvPicPr>
          <p:cNvPr id="4" name="Picture 3">
            <a:extLst>
              <a:ext uri="{FF2B5EF4-FFF2-40B4-BE49-F238E27FC236}">
                <a16:creationId xmlns:a16="http://schemas.microsoft.com/office/drawing/2014/main" id="{C7CBDB8A-A41F-4589-A7C8-8E1E3D4BD1EC}"/>
              </a:ext>
            </a:extLst>
          </p:cNvPr>
          <p:cNvPicPr>
            <a:picLocks noChangeAspect="1"/>
          </p:cNvPicPr>
          <p:nvPr/>
        </p:nvPicPr>
        <p:blipFill>
          <a:blip r:embed="rId3"/>
          <a:stretch>
            <a:fillRect/>
          </a:stretch>
        </p:blipFill>
        <p:spPr>
          <a:xfrm>
            <a:off x="1187490" y="585755"/>
            <a:ext cx="1308275" cy="1016001"/>
          </a:xfrm>
          <a:prstGeom prst="rect">
            <a:avLst/>
          </a:prstGeom>
        </p:spPr>
      </p:pic>
      <p:pic>
        <p:nvPicPr>
          <p:cNvPr id="6" name="Picture 5">
            <a:extLst>
              <a:ext uri="{FF2B5EF4-FFF2-40B4-BE49-F238E27FC236}">
                <a16:creationId xmlns:a16="http://schemas.microsoft.com/office/drawing/2014/main" id="{3559EA15-3646-49E5-88BA-989DEB204FFB}"/>
              </a:ext>
            </a:extLst>
          </p:cNvPr>
          <p:cNvPicPr>
            <a:picLocks noChangeAspect="1"/>
          </p:cNvPicPr>
          <p:nvPr/>
        </p:nvPicPr>
        <p:blipFill>
          <a:blip r:embed="rId4"/>
          <a:stretch>
            <a:fillRect/>
          </a:stretch>
        </p:blipFill>
        <p:spPr>
          <a:xfrm>
            <a:off x="1447199" y="2499624"/>
            <a:ext cx="974290" cy="1002240"/>
          </a:xfrm>
          <a:prstGeom prst="rect">
            <a:avLst/>
          </a:prstGeom>
        </p:spPr>
      </p:pic>
      <p:pic>
        <p:nvPicPr>
          <p:cNvPr id="9" name="Picture 8">
            <a:extLst>
              <a:ext uri="{FF2B5EF4-FFF2-40B4-BE49-F238E27FC236}">
                <a16:creationId xmlns:a16="http://schemas.microsoft.com/office/drawing/2014/main" id="{55CF6C33-1E85-4C0A-9667-A97882DC2EE9}"/>
              </a:ext>
            </a:extLst>
          </p:cNvPr>
          <p:cNvPicPr>
            <a:picLocks noChangeAspect="1"/>
          </p:cNvPicPr>
          <p:nvPr/>
        </p:nvPicPr>
        <p:blipFill>
          <a:blip r:embed="rId5"/>
          <a:stretch>
            <a:fillRect/>
          </a:stretch>
        </p:blipFill>
        <p:spPr>
          <a:xfrm>
            <a:off x="1303653" y="4138704"/>
            <a:ext cx="1192113" cy="1067707"/>
          </a:xfrm>
          <a:prstGeom prst="rect">
            <a:avLst/>
          </a:prstGeom>
        </p:spPr>
      </p:pic>
    </p:spTree>
    <p:extLst>
      <p:ext uri="{BB962C8B-B14F-4D97-AF65-F5344CB8AC3E}">
        <p14:creationId xmlns:p14="http://schemas.microsoft.com/office/powerpoint/2010/main" val="269624849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7" y="160882"/>
            <a:ext cx="11631238" cy="664797"/>
          </a:xfrm>
        </p:spPr>
        <p:txBody>
          <a:bodyPr/>
          <a:lstStyle/>
          <a:p>
            <a:r>
              <a:rPr lang="en-US" altLang="en-US" sz="2400" dirty="0">
                <a:solidFill>
                  <a:schemeClr val="tx1"/>
                </a:solidFill>
                <a:ea typeface="MS PGothic" pitchFamily="34" charset="-128"/>
              </a:rPr>
              <a:t>While railways was losing share to road and air based modes earlier, with the COVID-19 effect waning passenger movement across modes to be better</a:t>
            </a:r>
            <a:endParaRPr lang="en-US" sz="2400" dirty="0">
              <a:solidFill>
                <a:schemeClr val="tx1"/>
              </a:solidFill>
            </a:endParaRPr>
          </a:p>
        </p:txBody>
      </p:sp>
      <p:sp>
        <p:nvSpPr>
          <p:cNvPr id="4" name="Text Box 141"/>
          <p:cNvSpPr txBox="1">
            <a:spLocks noChangeArrowheads="1"/>
          </p:cNvSpPr>
          <p:nvPr/>
        </p:nvSpPr>
        <p:spPr bwMode="auto">
          <a:xfrm>
            <a:off x="344968" y="1099546"/>
            <a:ext cx="5400000" cy="270000"/>
          </a:xfrm>
          <a:prstGeom prst="rect">
            <a:avLst/>
          </a:prstGeom>
          <a:solidFill>
            <a:schemeClr val="accent6">
              <a:lumMod val="50000"/>
            </a:schemeClr>
          </a:solidFill>
          <a:ln>
            <a:no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76197" tIns="38098" rIns="76197" bIns="38098" anchor="ctr"/>
          <a:lstStyle/>
          <a:p>
            <a:pPr algn="ctr" defTabSz="914327">
              <a:spcBef>
                <a:spcPct val="50000"/>
              </a:spcBef>
              <a:defRPr/>
            </a:pPr>
            <a:r>
              <a:rPr lang="en-US" sz="1200" b="1" dirty="0">
                <a:solidFill>
                  <a:prstClr val="white"/>
                </a:solidFill>
                <a:latin typeface="Arial" panose="020B0604020202020204" pitchFamily="34" charset="0"/>
                <a:cs typeface="Arial" panose="020B0604020202020204" pitchFamily="34" charset="0"/>
              </a:rPr>
              <a:t>Railway Passenger Traffic growth (%)-Non suburban-Reservation</a:t>
            </a:r>
          </a:p>
        </p:txBody>
      </p:sp>
      <p:sp>
        <p:nvSpPr>
          <p:cNvPr id="6" name="Text Box 141"/>
          <p:cNvSpPr txBox="1">
            <a:spLocks noChangeArrowheads="1"/>
          </p:cNvSpPr>
          <p:nvPr/>
        </p:nvSpPr>
        <p:spPr bwMode="auto">
          <a:xfrm>
            <a:off x="6449099" y="1099546"/>
            <a:ext cx="5400000" cy="270000"/>
          </a:xfrm>
          <a:prstGeom prst="rect">
            <a:avLst/>
          </a:prstGeom>
          <a:solidFill>
            <a:schemeClr val="accent6">
              <a:lumMod val="50000"/>
            </a:schemeClr>
          </a:solidFill>
          <a:ln>
            <a:noFill/>
            <a:headEnd/>
            <a:tailEnd/>
          </a:ln>
          <a:effectLst/>
          <a:scene3d>
            <a:camera prst="orthographicFront">
              <a:rot lat="0" lon="0" rev="0"/>
            </a:camera>
            <a:lightRig rig="threePt" dir="t">
              <a:rot lat="0" lon="0" rev="1200000"/>
            </a:lightRig>
          </a:scene3d>
          <a:sp3d/>
        </p:spPr>
        <p:style>
          <a:lnRef idx="0">
            <a:schemeClr val="accent5"/>
          </a:lnRef>
          <a:fillRef idx="3">
            <a:schemeClr val="accent5"/>
          </a:fillRef>
          <a:effectRef idx="3">
            <a:schemeClr val="accent5"/>
          </a:effectRef>
          <a:fontRef idx="minor">
            <a:schemeClr val="lt1"/>
          </a:fontRef>
        </p:style>
        <p:txBody>
          <a:bodyPr lIns="76197" tIns="38098" rIns="76197" bIns="38098" anchor="ctr"/>
          <a:lstStyle/>
          <a:p>
            <a:pPr algn="ctr" defTabSz="914327">
              <a:spcBef>
                <a:spcPct val="50000"/>
              </a:spcBef>
              <a:defRPr/>
            </a:pPr>
            <a:r>
              <a:rPr lang="en-US" sz="1200" b="1" dirty="0">
                <a:solidFill>
                  <a:prstClr val="white"/>
                </a:solidFill>
                <a:latin typeface="Arial" panose="020B0604020202020204" pitchFamily="34" charset="0"/>
                <a:cs typeface="Arial" panose="020B0604020202020204" pitchFamily="34" charset="0"/>
              </a:rPr>
              <a:t>Railway Passenger Traffic growth (%)-Non suburban-Unreserved</a:t>
            </a:r>
          </a:p>
        </p:txBody>
      </p:sp>
      <p:graphicFrame>
        <p:nvGraphicFramePr>
          <p:cNvPr id="7" name="Chart 6">
            <a:extLst>
              <a:ext uri="{FF2B5EF4-FFF2-40B4-BE49-F238E27FC236}">
                <a16:creationId xmlns:a16="http://schemas.microsoft.com/office/drawing/2014/main" id="{1556378F-8999-47D6-80F5-CC8D7B6C9C66}"/>
              </a:ext>
            </a:extLst>
          </p:cNvPr>
          <p:cNvGraphicFramePr>
            <a:graphicFrameLocks/>
          </p:cNvGraphicFramePr>
          <p:nvPr/>
        </p:nvGraphicFramePr>
        <p:xfrm>
          <a:off x="373857" y="1465727"/>
          <a:ext cx="5400000" cy="43472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346C5EDD-494A-49EB-9193-76C54F5B3B32}"/>
              </a:ext>
            </a:extLst>
          </p:cNvPr>
          <p:cNvGraphicFramePr>
            <a:graphicFrameLocks/>
          </p:cNvGraphicFramePr>
          <p:nvPr/>
        </p:nvGraphicFramePr>
        <p:xfrm>
          <a:off x="6449099" y="1369546"/>
          <a:ext cx="5369044" cy="42401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945642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3796273" y="1470278"/>
            <a:ext cx="8046478" cy="4649915"/>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IN" sz="2160" dirty="0">
              <a:solidFill>
                <a:prstClr val="white"/>
              </a:solidFill>
            </a:endParaRPr>
          </a:p>
        </p:txBody>
      </p:sp>
      <p:sp>
        <p:nvSpPr>
          <p:cNvPr id="6" name="Rectangle 5"/>
          <p:cNvSpPr/>
          <p:nvPr/>
        </p:nvSpPr>
        <p:spPr>
          <a:xfrm>
            <a:off x="373858" y="1470278"/>
            <a:ext cx="3418053" cy="46499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27"/>
            <a:endParaRPr lang="en-IN" sz="2160" dirty="0">
              <a:solidFill>
                <a:prstClr val="white"/>
              </a:solidFill>
            </a:endParaRPr>
          </a:p>
        </p:txBody>
      </p:sp>
      <p:graphicFrame>
        <p:nvGraphicFramePr>
          <p:cNvPr id="5" name="Object 4" hidden="1"/>
          <p:cNvGraphicFramePr>
            <a:graphicFrameLocks noChangeAspect="1"/>
          </p:cNvGraphicFramePr>
          <p:nvPr>
            <p:custDataLst>
              <p:tags r:id="rId2"/>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1044" name="think-cell Slide" r:id="rId5" imgW="444" imgH="446" progId="TCLayout.ActiveDocument.1">
                  <p:embed/>
                </p:oleObj>
              </mc:Choice>
              <mc:Fallback>
                <p:oleObj name="think-cell Slide" r:id="rId5" imgW="444" imgH="446" progId="TCLayout.ActiveDocument.1">
                  <p:embed/>
                  <p:pic>
                    <p:nvPicPr>
                      <p:cNvPr id="5" name="Object 4" hidden="1"/>
                      <p:cNvPicPr/>
                      <p:nvPr/>
                    </p:nvPicPr>
                    <p:blipFill>
                      <a:blip r:embed="rId6"/>
                      <a:stretch>
                        <a:fillRect/>
                      </a:stretch>
                    </p:blipFill>
                    <p:spPr>
                      <a:xfrm>
                        <a:off x="1324" y="1324"/>
                        <a:ext cx="1323" cy="1323"/>
                      </a:xfrm>
                      <a:prstGeom prst="rect">
                        <a:avLst/>
                      </a:prstGeom>
                    </p:spPr>
                  </p:pic>
                </p:oleObj>
              </mc:Fallback>
            </mc:AlternateContent>
          </a:graphicData>
        </a:graphic>
      </p:graphicFrame>
      <p:sp>
        <p:nvSpPr>
          <p:cNvPr id="25" name="Title 1"/>
          <p:cNvSpPr txBox="1">
            <a:spLocks/>
          </p:cNvSpPr>
          <p:nvPr/>
        </p:nvSpPr>
        <p:spPr>
          <a:xfrm>
            <a:off x="373858" y="408215"/>
            <a:ext cx="4113476" cy="830997"/>
          </a:xfrm>
          <a:prstGeom prst="rect">
            <a:avLst/>
          </a:prstGeom>
        </p:spPr>
        <p:txBody>
          <a:bodyPr vert="horz" wrap="square" lIns="0" tIns="0" rIns="0" bIns="0" rtlCol="0" anchor="t" anchorCtr="0">
            <a:spAutoFit/>
          </a:bodyPr>
          <a:lstStyle>
            <a:lvl1pPr algn="l" defTabSz="1097280" rtl="0" eaLnBrk="1" latinLnBrk="0" hangingPunct="1">
              <a:lnSpc>
                <a:spcPct val="90000"/>
              </a:lnSpc>
              <a:spcBef>
                <a:spcPct val="0"/>
              </a:spcBef>
              <a:buNone/>
              <a:defRPr lang="en-US" sz="3400" b="1" kern="1200" dirty="0">
                <a:solidFill>
                  <a:schemeClr val="tx1"/>
                </a:solidFill>
                <a:latin typeface="Arial" panose="020B0604020202020204" pitchFamily="34" charset="0"/>
                <a:ea typeface="+mj-ea"/>
                <a:cs typeface="Arial" panose="020B0604020202020204" pitchFamily="34" charset="0"/>
              </a:defRPr>
            </a:lvl1pPr>
          </a:lstStyle>
          <a:p>
            <a:r>
              <a:rPr lang="en-IN" sz="3000" b="0" dirty="0">
                <a:solidFill>
                  <a:srgbClr val="D53814"/>
                </a:solidFill>
              </a:rPr>
              <a:t>Hi-Frequency indicators </a:t>
            </a:r>
          </a:p>
          <a:p>
            <a:r>
              <a:rPr lang="en-IN" sz="3000" b="0" dirty="0">
                <a:solidFill>
                  <a:prstClr val="black"/>
                </a:solidFill>
              </a:rPr>
              <a:t>How are they shaping?</a:t>
            </a:r>
          </a:p>
        </p:txBody>
      </p:sp>
      <p:cxnSp>
        <p:nvCxnSpPr>
          <p:cNvPr id="26" name="Straight Connector 25"/>
          <p:cNvCxnSpPr/>
          <p:nvPr/>
        </p:nvCxnSpPr>
        <p:spPr>
          <a:xfrm>
            <a:off x="4482499" y="408216"/>
            <a:ext cx="0" cy="8309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9" name="TextBox 38">
            <a:hlinkClick r:id="" action="ppaction://noaction"/>
          </p:cNvPr>
          <p:cNvSpPr txBox="1"/>
          <p:nvPr/>
        </p:nvSpPr>
        <p:spPr>
          <a:xfrm>
            <a:off x="746580" y="1615336"/>
            <a:ext cx="2670412" cy="251544"/>
          </a:xfrm>
          <a:prstGeom prst="rect">
            <a:avLst/>
          </a:prstGeom>
          <a:noFill/>
        </p:spPr>
        <p:txBody>
          <a:bodyPr vert="horz" wrap="square" lIns="0" tIns="0" rIns="0" bIns="0" rtlCol="0">
            <a:spAutoFit/>
          </a:bodyPr>
          <a:lstStyle/>
          <a:p>
            <a:pPr>
              <a:lnSpc>
                <a:spcPct val="120000"/>
              </a:lnSpc>
              <a:tabLst>
                <a:tab pos="1121743" algn="l"/>
              </a:tabLst>
              <a:defRPr/>
            </a:pPr>
            <a:r>
              <a:rPr lang="en-US" sz="1500" b="1" dirty="0">
                <a:solidFill>
                  <a:srgbClr val="7B1E29"/>
                </a:solidFill>
                <a:latin typeface="Arial" panose="020B0604020202020204" pitchFamily="34" charset="0"/>
              </a:rPr>
              <a:t>Mobility indicators and</a:t>
            </a:r>
          </a:p>
        </p:txBody>
      </p:sp>
      <p:sp>
        <p:nvSpPr>
          <p:cNvPr id="40" name="TextBox 39">
            <a:hlinkClick r:id="" action="ppaction://noaction"/>
          </p:cNvPr>
          <p:cNvSpPr txBox="1"/>
          <p:nvPr/>
        </p:nvSpPr>
        <p:spPr>
          <a:xfrm>
            <a:off x="757792" y="3903784"/>
            <a:ext cx="2222888" cy="257058"/>
          </a:xfrm>
          <a:prstGeom prst="rect">
            <a:avLst/>
          </a:prstGeom>
          <a:noFill/>
        </p:spPr>
        <p:txBody>
          <a:bodyPr vert="horz" wrap="square" lIns="0" tIns="0" rIns="0" bIns="0" rtlCol="0">
            <a:spAutoFit/>
          </a:bodyPr>
          <a:lstStyle/>
          <a:p>
            <a:pPr defTabSz="914327">
              <a:lnSpc>
                <a:spcPct val="120000"/>
              </a:lnSpc>
            </a:pPr>
            <a:r>
              <a:rPr lang="en-US" sz="1500" b="1" dirty="0">
                <a:solidFill>
                  <a:srgbClr val="7B1E29"/>
                </a:solidFill>
                <a:latin typeface="Arial" panose="020B0604020202020204" pitchFamily="34" charset="0"/>
              </a:rPr>
              <a:t>Freight movement &amp;</a:t>
            </a:r>
            <a:endParaRPr lang="en-US" sz="1500" dirty="0">
              <a:solidFill>
                <a:srgbClr val="7B1E29"/>
              </a:solidFill>
            </a:endParaRPr>
          </a:p>
        </p:txBody>
      </p:sp>
      <p:sp>
        <p:nvSpPr>
          <p:cNvPr id="41" name="TextBox 40">
            <a:hlinkClick r:id="" action="ppaction://noaction"/>
          </p:cNvPr>
          <p:cNvSpPr txBox="1"/>
          <p:nvPr/>
        </p:nvSpPr>
        <p:spPr>
          <a:xfrm>
            <a:off x="746580" y="2837363"/>
            <a:ext cx="3512882" cy="251544"/>
          </a:xfrm>
          <a:prstGeom prst="rect">
            <a:avLst/>
          </a:prstGeom>
          <a:noFill/>
        </p:spPr>
        <p:txBody>
          <a:bodyPr vert="horz" wrap="square" lIns="0" tIns="0" rIns="0" bIns="0" rtlCol="0">
            <a:spAutoFit/>
          </a:bodyPr>
          <a:lstStyle/>
          <a:p>
            <a:pPr defTabSz="914327">
              <a:lnSpc>
                <a:spcPct val="120000"/>
              </a:lnSpc>
            </a:pPr>
            <a:r>
              <a:rPr lang="en-US" sz="1500" b="1" dirty="0">
                <a:solidFill>
                  <a:srgbClr val="7B1E29"/>
                </a:solidFill>
                <a:latin typeface="Arial" panose="020B0604020202020204" pitchFamily="34" charset="0"/>
              </a:rPr>
              <a:t>Fuel and </a:t>
            </a:r>
          </a:p>
        </p:txBody>
      </p:sp>
      <p:sp>
        <p:nvSpPr>
          <p:cNvPr id="42" name="TextBox 41"/>
          <p:cNvSpPr txBox="1"/>
          <p:nvPr/>
        </p:nvSpPr>
        <p:spPr>
          <a:xfrm>
            <a:off x="746580" y="5308323"/>
            <a:ext cx="1956793" cy="528543"/>
          </a:xfrm>
          <a:prstGeom prst="rect">
            <a:avLst/>
          </a:prstGeom>
          <a:noFill/>
        </p:spPr>
        <p:txBody>
          <a:bodyPr vert="horz" wrap="square" lIns="0" tIns="0" rIns="0" bIns="0" rtlCol="0">
            <a:spAutoFit/>
          </a:bodyPr>
          <a:lstStyle>
            <a:defPPr>
              <a:defRPr lang="en-US"/>
            </a:defPPr>
            <a:lvl1pPr>
              <a:lnSpc>
                <a:spcPct val="120000"/>
              </a:lnSpc>
              <a:defRPr sz="2400" b="1">
                <a:latin typeface="Arial" panose="020B0604020202020204" pitchFamily="34" charset="0"/>
              </a:defRPr>
            </a:lvl1pPr>
          </a:lstStyle>
          <a:p>
            <a:pPr defTabSz="914327"/>
            <a:r>
              <a:rPr lang="en-US" sz="1500" dirty="0">
                <a:solidFill>
                  <a:srgbClr val="7B1E29"/>
                </a:solidFill>
              </a:rPr>
              <a:t>STU Tendering Tracker</a:t>
            </a:r>
          </a:p>
        </p:txBody>
      </p:sp>
      <p:sp>
        <p:nvSpPr>
          <p:cNvPr id="43" name="TextBox 42"/>
          <p:cNvSpPr txBox="1"/>
          <p:nvPr/>
        </p:nvSpPr>
        <p:spPr>
          <a:xfrm>
            <a:off x="4606580" y="1719116"/>
            <a:ext cx="7026029" cy="505651"/>
          </a:xfrm>
          <a:prstGeom prst="rect">
            <a:avLst/>
          </a:prstGeom>
          <a:noFill/>
        </p:spPr>
        <p:txBody>
          <a:bodyPr vert="horz" wrap="square" lIns="0" tIns="0" rIns="0" bIns="0" rtlCol="0">
            <a:spAutoFit/>
          </a:bodyPr>
          <a:lstStyle/>
          <a:p>
            <a:pPr>
              <a:lnSpc>
                <a:spcPct val="150000"/>
              </a:lnSpc>
              <a:tabLst>
                <a:tab pos="645533" algn="l"/>
              </a:tabLst>
              <a:defRPr/>
            </a:pPr>
            <a:r>
              <a:rPr lang="en-US" sz="1167" dirty="0">
                <a:solidFill>
                  <a:prstClr val="black"/>
                </a:solidFill>
                <a:latin typeface="Arial" panose="020B0604020202020204" pitchFamily="34" charset="0"/>
              </a:rPr>
              <a:t>Mobility Indicators in March month indicate that most segments such as grocery and pharmacy, parks, workplaces, retail and recreation and transit stations have surpassed pre covid levels </a:t>
            </a:r>
          </a:p>
        </p:txBody>
      </p:sp>
      <p:sp>
        <p:nvSpPr>
          <p:cNvPr id="44" name="TextBox 43"/>
          <p:cNvSpPr txBox="1"/>
          <p:nvPr/>
        </p:nvSpPr>
        <p:spPr>
          <a:xfrm>
            <a:off x="4560736" y="2490888"/>
            <a:ext cx="7026029" cy="775084"/>
          </a:xfrm>
          <a:prstGeom prst="rect">
            <a:avLst/>
          </a:prstGeom>
          <a:noFill/>
        </p:spPr>
        <p:txBody>
          <a:bodyPr vert="horz" wrap="square" lIns="0" tIns="0" rIns="0" bIns="0" rtlCol="0">
            <a:spAutoFit/>
          </a:bodyPr>
          <a:lstStyle>
            <a:defPPr>
              <a:defRPr lang="en-US"/>
            </a:defPPr>
            <a:lvl1pPr>
              <a:lnSpc>
                <a:spcPct val="150000"/>
              </a:lnSpc>
              <a:tabLst>
                <a:tab pos="774670" algn="l"/>
              </a:tabLst>
              <a:defRPr sz="1200">
                <a:solidFill>
                  <a:prstClr val="black"/>
                </a:solidFill>
                <a:latin typeface="Arial" panose="020B0604020202020204" pitchFamily="34" charset="0"/>
              </a:defRPr>
            </a:lvl1pPr>
          </a:lstStyle>
          <a:p>
            <a:r>
              <a:rPr lang="en-US" sz="1167" dirty="0"/>
              <a:t>Power consumption growth saw a 5% and 18% growth in March 2022 on y-o-y and m-o-m basis respectively. Diesel consumption witnessed drop of -0.6% in February 2022 on y-o-y basis while petrol consumption saw a growth of 3.5% for the same </a:t>
            </a:r>
          </a:p>
        </p:txBody>
      </p:sp>
      <p:sp>
        <p:nvSpPr>
          <p:cNvPr id="45" name="TextBox 44"/>
          <p:cNvSpPr txBox="1"/>
          <p:nvPr/>
        </p:nvSpPr>
        <p:spPr>
          <a:xfrm>
            <a:off x="4674337" y="5099828"/>
            <a:ext cx="6989469" cy="505651"/>
          </a:xfrm>
          <a:prstGeom prst="rect">
            <a:avLst/>
          </a:prstGeom>
          <a:noFill/>
        </p:spPr>
        <p:txBody>
          <a:bodyPr vert="horz" wrap="square" lIns="0" tIns="0" rIns="0" bIns="0" rtlCol="0">
            <a:spAutoFit/>
          </a:bodyPr>
          <a:lstStyle/>
          <a:p>
            <a:pPr>
              <a:lnSpc>
                <a:spcPct val="150000"/>
              </a:lnSpc>
              <a:tabLst>
                <a:tab pos="645533" algn="l"/>
              </a:tabLst>
              <a:defRPr/>
            </a:pPr>
            <a:r>
              <a:rPr lang="en-US" sz="1167" dirty="0">
                <a:solidFill>
                  <a:prstClr val="black"/>
                </a:solidFill>
                <a:latin typeface="Arial" panose="020B0604020202020204" pitchFamily="34" charset="0"/>
              </a:rPr>
              <a:t>Interactions indicate fresh tenders from southern states like Tamil Nadu in addition with already released tenders from states like Kerala and Karnataka</a:t>
            </a:r>
          </a:p>
        </p:txBody>
      </p:sp>
      <p:sp>
        <p:nvSpPr>
          <p:cNvPr id="46" name="TextBox 45"/>
          <p:cNvSpPr txBox="1"/>
          <p:nvPr/>
        </p:nvSpPr>
        <p:spPr>
          <a:xfrm>
            <a:off x="4665196" y="3644694"/>
            <a:ext cx="7007749" cy="1313949"/>
          </a:xfrm>
          <a:prstGeom prst="rect">
            <a:avLst/>
          </a:prstGeom>
          <a:noFill/>
        </p:spPr>
        <p:txBody>
          <a:bodyPr vert="horz" wrap="square" lIns="0" tIns="0" rIns="0" bIns="0" rtlCol="0">
            <a:spAutoFit/>
          </a:bodyPr>
          <a:lstStyle>
            <a:defPPr>
              <a:defRPr lang="en-US"/>
            </a:defPPr>
            <a:lvl1pPr>
              <a:lnSpc>
                <a:spcPct val="150000"/>
              </a:lnSpc>
              <a:tabLst>
                <a:tab pos="774670" algn="l"/>
              </a:tabLst>
              <a:defRPr sz="1200">
                <a:solidFill>
                  <a:prstClr val="black"/>
                </a:solidFill>
                <a:latin typeface="Arial" panose="020B0604020202020204" pitchFamily="34" charset="0"/>
              </a:defRPr>
            </a:lvl1pPr>
          </a:lstStyle>
          <a:p>
            <a:r>
              <a:rPr lang="en-US" sz="1167" dirty="0"/>
              <a:t>E-waybill generation has been at daily average of 1.49mn in February 2022 compared to January 2022 daily average of 1.36mn for intra-city while for inter-city the same has been about daily average of 0.95mn in February 2022 compared with daily average of 0.86mn in January 2022 reflecting an uptick in commerce</a:t>
            </a:r>
          </a:p>
          <a:p>
            <a:r>
              <a:rPr lang="en-US" sz="1167" dirty="0"/>
              <a:t>Freight rates edged up on higher diesel prices.</a:t>
            </a:r>
          </a:p>
        </p:txBody>
      </p:sp>
      <p:cxnSp>
        <p:nvCxnSpPr>
          <p:cNvPr id="21" name="Straight Connector 20"/>
          <p:cNvCxnSpPr/>
          <p:nvPr/>
        </p:nvCxnSpPr>
        <p:spPr>
          <a:xfrm flipV="1">
            <a:off x="4606580" y="2458012"/>
            <a:ext cx="6482829" cy="898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4654608" y="3287410"/>
            <a:ext cx="6482829" cy="898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4661422" y="4954603"/>
            <a:ext cx="6482829" cy="898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757792" y="2624461"/>
            <a:ext cx="22352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786858" y="3418603"/>
            <a:ext cx="22352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57792" y="4959092"/>
            <a:ext cx="22352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496393" y="6545705"/>
            <a:ext cx="1211705" cy="258982"/>
          </a:xfrm>
          <a:prstGeom prst="rect">
            <a:avLst/>
          </a:prstGeom>
          <a:noFill/>
        </p:spPr>
        <p:txBody>
          <a:bodyPr wrap="square" rtlCol="0">
            <a:spAutoFit/>
          </a:bodyPr>
          <a:lstStyle/>
          <a:p>
            <a:pPr algn="ctr" defTabSz="914327"/>
            <a:r>
              <a:rPr lang="en-US" sz="1083" dirty="0">
                <a:solidFill>
                  <a:prstClr val="black">
                    <a:lumMod val="50000"/>
                    <a:lumOff val="50000"/>
                  </a:prstClr>
                </a:solidFill>
                <a:latin typeface="Arial" panose="020B0604020202020204" pitchFamily="34" charset="0"/>
                <a:cs typeface="Arial" panose="020B0604020202020204" pitchFamily="34" charset="0"/>
              </a:rPr>
              <a:t>5</a:t>
            </a:r>
            <a:endParaRPr lang="en-IN" sz="1083" dirty="0">
              <a:solidFill>
                <a:prstClr val="black">
                  <a:lumMod val="50000"/>
                  <a:lumOff val="50000"/>
                </a:prstClr>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7"/>
          <a:stretch>
            <a:fillRect/>
          </a:stretch>
        </p:blipFill>
        <p:spPr>
          <a:xfrm>
            <a:off x="3428394" y="1596662"/>
            <a:ext cx="762000" cy="762000"/>
          </a:xfrm>
          <a:prstGeom prst="rect">
            <a:avLst/>
          </a:prstGeom>
        </p:spPr>
      </p:pic>
      <p:pic>
        <p:nvPicPr>
          <p:cNvPr id="4" name="Picture 3"/>
          <p:cNvPicPr>
            <a:picLocks noChangeAspect="1"/>
          </p:cNvPicPr>
          <p:nvPr/>
        </p:nvPicPr>
        <p:blipFill>
          <a:blip r:embed="rId8"/>
          <a:stretch>
            <a:fillRect/>
          </a:stretch>
        </p:blipFill>
        <p:spPr>
          <a:xfrm>
            <a:off x="3452175" y="2656253"/>
            <a:ext cx="762000" cy="762000"/>
          </a:xfrm>
          <a:prstGeom prst="rect">
            <a:avLst/>
          </a:prstGeom>
        </p:spPr>
      </p:pic>
      <p:pic>
        <p:nvPicPr>
          <p:cNvPr id="9" name="Picture 8"/>
          <p:cNvPicPr>
            <a:picLocks noChangeAspect="1"/>
          </p:cNvPicPr>
          <p:nvPr/>
        </p:nvPicPr>
        <p:blipFill>
          <a:blip r:embed="rId9"/>
          <a:stretch>
            <a:fillRect/>
          </a:stretch>
        </p:blipFill>
        <p:spPr>
          <a:xfrm>
            <a:off x="3462723" y="3768624"/>
            <a:ext cx="762000" cy="762000"/>
          </a:xfrm>
          <a:prstGeom prst="rect">
            <a:avLst/>
          </a:prstGeom>
        </p:spPr>
      </p:pic>
      <p:pic>
        <p:nvPicPr>
          <p:cNvPr id="10" name="Picture 9"/>
          <p:cNvPicPr>
            <a:picLocks noChangeAspect="1"/>
          </p:cNvPicPr>
          <p:nvPr/>
        </p:nvPicPr>
        <p:blipFill>
          <a:blip r:embed="rId10"/>
          <a:stretch>
            <a:fillRect/>
          </a:stretch>
        </p:blipFill>
        <p:spPr>
          <a:xfrm>
            <a:off x="3417951" y="5099828"/>
            <a:ext cx="762000" cy="762000"/>
          </a:xfrm>
          <a:prstGeom prst="rect">
            <a:avLst/>
          </a:prstGeom>
        </p:spPr>
      </p:pic>
      <p:sp>
        <p:nvSpPr>
          <p:cNvPr id="27" name="TextBox 26">
            <a:hlinkClick r:id="" action="ppaction://noaction"/>
          </p:cNvPr>
          <p:cNvSpPr txBox="1"/>
          <p:nvPr/>
        </p:nvSpPr>
        <p:spPr>
          <a:xfrm>
            <a:off x="746580" y="1921164"/>
            <a:ext cx="2670412" cy="251544"/>
          </a:xfrm>
          <a:prstGeom prst="rect">
            <a:avLst/>
          </a:prstGeom>
          <a:noFill/>
        </p:spPr>
        <p:txBody>
          <a:bodyPr vert="horz" wrap="square" lIns="0" tIns="0" rIns="0" bIns="0" rtlCol="0">
            <a:spAutoFit/>
          </a:bodyPr>
          <a:lstStyle/>
          <a:p>
            <a:pPr>
              <a:lnSpc>
                <a:spcPct val="120000"/>
              </a:lnSpc>
              <a:tabLst>
                <a:tab pos="1121743" algn="l"/>
              </a:tabLst>
              <a:defRPr/>
            </a:pPr>
            <a:r>
              <a:rPr lang="en-US" sz="1500" b="1" dirty="0">
                <a:solidFill>
                  <a:srgbClr val="7B1E29"/>
                </a:solidFill>
                <a:latin typeface="Arial" panose="020B0604020202020204" pitchFamily="34" charset="0"/>
              </a:rPr>
              <a:t>Vaccination progress</a:t>
            </a:r>
          </a:p>
        </p:txBody>
      </p:sp>
      <p:sp>
        <p:nvSpPr>
          <p:cNvPr id="28" name="TextBox 27">
            <a:hlinkClick r:id="" action="ppaction://noaction"/>
          </p:cNvPr>
          <p:cNvSpPr txBox="1"/>
          <p:nvPr/>
        </p:nvSpPr>
        <p:spPr>
          <a:xfrm>
            <a:off x="757792" y="3050955"/>
            <a:ext cx="3512882" cy="257058"/>
          </a:xfrm>
          <a:prstGeom prst="rect">
            <a:avLst/>
          </a:prstGeom>
          <a:noFill/>
        </p:spPr>
        <p:txBody>
          <a:bodyPr vert="horz" wrap="square" lIns="0" tIns="0" rIns="0" bIns="0" rtlCol="0">
            <a:spAutoFit/>
          </a:bodyPr>
          <a:lstStyle/>
          <a:p>
            <a:pPr defTabSz="914327">
              <a:lnSpc>
                <a:spcPct val="120000"/>
              </a:lnSpc>
            </a:pPr>
            <a:r>
              <a:rPr lang="en-US" sz="1500" b="1" dirty="0">
                <a:solidFill>
                  <a:srgbClr val="7B1E29"/>
                </a:solidFill>
                <a:latin typeface="Arial" panose="020B0604020202020204" pitchFamily="34" charset="0"/>
              </a:rPr>
              <a:t>Power consumption</a:t>
            </a:r>
            <a:endParaRPr lang="en-US" sz="1500" dirty="0">
              <a:solidFill>
                <a:srgbClr val="7B1E29"/>
              </a:solidFill>
            </a:endParaRPr>
          </a:p>
        </p:txBody>
      </p:sp>
      <p:sp>
        <p:nvSpPr>
          <p:cNvPr id="29" name="TextBox 28">
            <a:hlinkClick r:id="" action="ppaction://noaction"/>
          </p:cNvPr>
          <p:cNvSpPr txBox="1"/>
          <p:nvPr/>
        </p:nvSpPr>
        <p:spPr>
          <a:xfrm>
            <a:off x="695851" y="4218039"/>
            <a:ext cx="2222888" cy="257058"/>
          </a:xfrm>
          <a:prstGeom prst="rect">
            <a:avLst/>
          </a:prstGeom>
          <a:noFill/>
        </p:spPr>
        <p:txBody>
          <a:bodyPr vert="horz" wrap="square" lIns="0" tIns="0" rIns="0" bIns="0" rtlCol="0">
            <a:spAutoFit/>
          </a:bodyPr>
          <a:lstStyle/>
          <a:p>
            <a:pPr defTabSz="914327">
              <a:lnSpc>
                <a:spcPct val="120000"/>
              </a:lnSpc>
            </a:pPr>
            <a:r>
              <a:rPr lang="en-US" sz="1500" b="1" dirty="0">
                <a:solidFill>
                  <a:srgbClr val="7B1E29"/>
                </a:solidFill>
                <a:latin typeface="Arial" panose="020B0604020202020204" pitchFamily="34" charset="0"/>
              </a:rPr>
              <a:t>Transporter Profitability</a:t>
            </a:r>
            <a:endParaRPr lang="en-US" sz="1500" dirty="0">
              <a:solidFill>
                <a:srgbClr val="7B1E29"/>
              </a:solidFill>
            </a:endParaRPr>
          </a:p>
        </p:txBody>
      </p:sp>
    </p:spTree>
    <p:extLst>
      <p:ext uri="{BB962C8B-B14F-4D97-AF65-F5344CB8AC3E}">
        <p14:creationId xmlns:p14="http://schemas.microsoft.com/office/powerpoint/2010/main" val="8736859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7" y="105482"/>
            <a:ext cx="11631238" cy="775597"/>
          </a:xfrm>
        </p:spPr>
        <p:txBody>
          <a:bodyPr/>
          <a:lstStyle/>
          <a:p>
            <a:pPr algn="l"/>
            <a:r>
              <a:rPr lang="en-US" i="0" dirty="0">
                <a:solidFill>
                  <a:srgbClr val="000000"/>
                </a:solidFill>
                <a:effectLst/>
                <a:latin typeface="Akkurat-Bold"/>
              </a:rPr>
              <a:t>Airlines sector expected to fly out of turbulence in FY23 in absence of further waves of pandemic</a:t>
            </a:r>
          </a:p>
        </p:txBody>
      </p:sp>
      <p:sp>
        <p:nvSpPr>
          <p:cNvPr id="5" name="Slide Number Placeholder 4"/>
          <p:cNvSpPr>
            <a:spLocks noGrp="1"/>
          </p:cNvSpPr>
          <p:nvPr>
            <p:ph type="sldNum" sz="quarter" idx="4"/>
          </p:nvPr>
        </p:nvSpPr>
        <p:spPr/>
        <p:txBody>
          <a:bodyPr/>
          <a:lstStyle/>
          <a:p>
            <a:pPr defTabSz="914363"/>
            <a:fld id="{47FC1E78-8A1D-4B7B-BB49-A01A2C07F035}" type="slidenum">
              <a:rPr lang="en-US">
                <a:solidFill>
                  <a:prstClr val="black">
                    <a:tint val="75000"/>
                  </a:prstClr>
                </a:solidFill>
                <a:latin typeface="Calibri" panose="020F0502020204030204"/>
              </a:rPr>
              <a:pPr defTabSz="914363"/>
              <a:t>80</a:t>
            </a:fld>
            <a:endParaRPr lang="en-US" dirty="0">
              <a:solidFill>
                <a:prstClr val="black">
                  <a:tint val="75000"/>
                </a:prstClr>
              </a:solidFill>
              <a:latin typeface="Calibri" panose="020F0502020204030204"/>
            </a:endParaRPr>
          </a:p>
        </p:txBody>
      </p:sp>
      <p:sp>
        <p:nvSpPr>
          <p:cNvPr id="6" name="Text Box 141"/>
          <p:cNvSpPr txBox="1">
            <a:spLocks noChangeArrowheads="1"/>
          </p:cNvSpPr>
          <p:nvPr/>
        </p:nvSpPr>
        <p:spPr bwMode="auto">
          <a:xfrm>
            <a:off x="381000" y="1052817"/>
            <a:ext cx="5638800" cy="342900"/>
          </a:xfrm>
          <a:prstGeom prst="rect">
            <a:avLst/>
          </a:prstGeom>
          <a:solidFill>
            <a:schemeClr val="accent6">
              <a:lumMod val="50000"/>
            </a:schemeClr>
          </a:solidFill>
        </p:spPr>
        <p:txBody>
          <a:bodyPr vert="horz" lIns="76200" tIns="38100" rIns="76200" bIns="38100" rtlCol="0" anchor="ctr" anchorCtr="1">
            <a:normAutofit/>
          </a:bodyPr>
          <a:lstStyle>
            <a:lvl1pPr indent="0" algn="ctr">
              <a:lnSpc>
                <a:spcPct val="90000"/>
              </a:lnSpc>
              <a:spcBef>
                <a:spcPct val="50000"/>
              </a:spcBef>
              <a:buFont typeface="Arial" panose="020B0604020202020204" pitchFamily="34" charset="0"/>
              <a:buNone/>
              <a:defRPr sz="16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solidFill>
                  <a:schemeClr val="tx1"/>
                </a:solidFill>
              </a:defRPr>
            </a:lvl2pPr>
            <a:lvl3pPr marL="1371600" indent="-274320">
              <a:lnSpc>
                <a:spcPct val="90000"/>
              </a:lnSpc>
              <a:spcBef>
                <a:spcPts val="600"/>
              </a:spcBef>
              <a:buFont typeface="Arial" panose="020B0604020202020204" pitchFamily="34" charset="0"/>
              <a:buChar char="•"/>
              <a:defRPr sz="2400">
                <a:solidFill>
                  <a:schemeClr val="tx1"/>
                </a:solidFill>
              </a:defRPr>
            </a:lvl3pPr>
            <a:lvl4pPr marL="1920240" indent="-274320">
              <a:lnSpc>
                <a:spcPct val="90000"/>
              </a:lnSpc>
              <a:spcBef>
                <a:spcPts val="600"/>
              </a:spcBef>
              <a:buFont typeface="Arial" panose="020B0604020202020204" pitchFamily="34" charset="0"/>
              <a:buChar char="•"/>
              <a:defRPr>
                <a:solidFill>
                  <a:schemeClr val="tx1"/>
                </a:solidFill>
              </a:defRPr>
            </a:lvl4pPr>
            <a:lvl5pPr marL="2468880" indent="-274320">
              <a:lnSpc>
                <a:spcPct val="90000"/>
              </a:lnSpc>
              <a:spcBef>
                <a:spcPts val="600"/>
              </a:spcBef>
              <a:buFont typeface="Arial" panose="020B0604020202020204" pitchFamily="34" charset="0"/>
              <a:buChar char="•"/>
              <a:defRPr>
                <a:solidFill>
                  <a:schemeClr val="tx1"/>
                </a:solidFill>
              </a:defRPr>
            </a:lvl5pPr>
            <a:lvl6pPr marL="3017520" indent="-274320">
              <a:lnSpc>
                <a:spcPct val="90000"/>
              </a:lnSpc>
              <a:spcBef>
                <a:spcPts val="600"/>
              </a:spcBef>
              <a:buFont typeface="Arial" panose="020B0604020202020204" pitchFamily="34" charset="0"/>
              <a:buChar char="•"/>
              <a:defRPr>
                <a:solidFill>
                  <a:schemeClr val="tx1"/>
                </a:solidFill>
              </a:defRPr>
            </a:lvl6pPr>
            <a:lvl7pPr marL="3566160" indent="-274320">
              <a:lnSpc>
                <a:spcPct val="90000"/>
              </a:lnSpc>
              <a:spcBef>
                <a:spcPts val="600"/>
              </a:spcBef>
              <a:buFont typeface="Arial" panose="020B0604020202020204" pitchFamily="34" charset="0"/>
              <a:buChar char="•"/>
              <a:defRPr>
                <a:solidFill>
                  <a:schemeClr val="tx1"/>
                </a:solidFill>
              </a:defRPr>
            </a:lvl7pPr>
            <a:lvl8pPr marL="4114800" indent="-274320">
              <a:lnSpc>
                <a:spcPct val="90000"/>
              </a:lnSpc>
              <a:spcBef>
                <a:spcPts val="600"/>
              </a:spcBef>
              <a:buFont typeface="Arial" panose="020B0604020202020204" pitchFamily="34" charset="0"/>
              <a:buChar char="•"/>
              <a:defRPr>
                <a:solidFill>
                  <a:schemeClr val="tx1"/>
                </a:solidFill>
              </a:defRPr>
            </a:lvl8pPr>
            <a:lvl9pPr marL="4663440" indent="-274320">
              <a:lnSpc>
                <a:spcPct val="90000"/>
              </a:lnSpc>
              <a:spcBef>
                <a:spcPts val="600"/>
              </a:spcBef>
              <a:buFont typeface="Arial" panose="020B0604020202020204" pitchFamily="34" charset="0"/>
              <a:buChar char="•"/>
              <a:defRPr>
                <a:solidFill>
                  <a:schemeClr val="tx1"/>
                </a:solidFill>
              </a:defRPr>
            </a:lvl9pPr>
          </a:lstStyle>
          <a:p>
            <a:pPr defTabSz="914327"/>
            <a:r>
              <a:rPr lang="en-US" sz="1333" dirty="0">
                <a:solidFill>
                  <a:prstClr val="white"/>
                </a:solidFill>
              </a:rPr>
              <a:t>Air passenger traffic- Annual (Domestic &amp; International) </a:t>
            </a:r>
          </a:p>
        </p:txBody>
      </p:sp>
      <p:sp>
        <p:nvSpPr>
          <p:cNvPr id="7" name="TextBox 34"/>
          <p:cNvSpPr txBox="1">
            <a:spLocks noChangeArrowheads="1"/>
          </p:cNvSpPr>
          <p:nvPr/>
        </p:nvSpPr>
        <p:spPr bwMode="auto">
          <a:xfrm>
            <a:off x="1189823" y="6130421"/>
            <a:ext cx="5638800" cy="51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defTabSz="914327"/>
            <a:r>
              <a:rPr lang="en-US" altLang="en-US" sz="917" i="1" dirty="0">
                <a:solidFill>
                  <a:prstClr val="black"/>
                </a:solidFill>
                <a:latin typeface="Arial" charset="0"/>
                <a:cs typeface="Arial" charset="0"/>
              </a:rPr>
              <a:t>Source: Directorate General of Civil Aviation (DGCA), CRISIL Research</a:t>
            </a:r>
          </a:p>
          <a:p>
            <a:pPr defTabSz="914327"/>
            <a:r>
              <a:rPr lang="en-IN" sz="917" dirty="0">
                <a:solidFill>
                  <a:prstClr val="black"/>
                </a:solidFill>
              </a:rPr>
              <a:t>Note: E: Expected P: Projected </a:t>
            </a:r>
          </a:p>
          <a:p>
            <a:pPr defTabSz="914327"/>
            <a:endParaRPr lang="en-US" altLang="en-US" sz="917" i="1" dirty="0">
              <a:solidFill>
                <a:prstClr val="black"/>
              </a:solidFill>
              <a:latin typeface="Arial" charset="0"/>
              <a:cs typeface="Arial" charset="0"/>
            </a:endParaRPr>
          </a:p>
        </p:txBody>
      </p:sp>
      <p:sp>
        <p:nvSpPr>
          <p:cNvPr id="8" name="Text Box 141"/>
          <p:cNvSpPr txBox="1">
            <a:spLocks noChangeArrowheads="1"/>
          </p:cNvSpPr>
          <p:nvPr/>
        </p:nvSpPr>
        <p:spPr bwMode="auto">
          <a:xfrm>
            <a:off x="6212018" y="1052817"/>
            <a:ext cx="5638800" cy="342900"/>
          </a:xfrm>
          <a:prstGeom prst="rect">
            <a:avLst/>
          </a:prstGeom>
          <a:solidFill>
            <a:schemeClr val="accent6">
              <a:lumMod val="50000"/>
            </a:schemeClr>
          </a:solidFill>
        </p:spPr>
        <p:txBody>
          <a:bodyPr vert="horz" lIns="76200" tIns="38100" rIns="76200" bIns="38100" rtlCol="0" anchor="ctr" anchorCtr="1">
            <a:normAutofit/>
          </a:bodyPr>
          <a:lstStyle>
            <a:lvl1pPr indent="0" algn="ctr">
              <a:lnSpc>
                <a:spcPct val="90000"/>
              </a:lnSpc>
              <a:spcBef>
                <a:spcPct val="50000"/>
              </a:spcBef>
              <a:buFont typeface="Arial" panose="020B0604020202020204" pitchFamily="34" charset="0"/>
              <a:buNone/>
              <a:defRPr sz="1600" b="1">
                <a:solidFill>
                  <a:schemeClr val="bg1"/>
                </a:solidFill>
                <a:latin typeface="Arial" panose="020B0604020202020204" pitchFamily="34" charset="0"/>
                <a:cs typeface="Arial" panose="020B0604020202020204" pitchFamily="34" charset="0"/>
              </a:defRPr>
            </a:lvl1pPr>
            <a:lvl2pPr marL="822960" indent="-274320">
              <a:lnSpc>
                <a:spcPct val="90000"/>
              </a:lnSpc>
              <a:spcBef>
                <a:spcPts val="600"/>
              </a:spcBef>
              <a:buFont typeface="Arial" panose="020B0604020202020204" pitchFamily="34" charset="0"/>
              <a:buChar char="•"/>
              <a:defRPr sz="2880">
                <a:solidFill>
                  <a:schemeClr val="tx1"/>
                </a:solidFill>
              </a:defRPr>
            </a:lvl2pPr>
            <a:lvl3pPr marL="1371600" indent="-274320">
              <a:lnSpc>
                <a:spcPct val="90000"/>
              </a:lnSpc>
              <a:spcBef>
                <a:spcPts val="600"/>
              </a:spcBef>
              <a:buFont typeface="Arial" panose="020B0604020202020204" pitchFamily="34" charset="0"/>
              <a:buChar char="•"/>
              <a:defRPr sz="2400">
                <a:solidFill>
                  <a:schemeClr val="tx1"/>
                </a:solidFill>
              </a:defRPr>
            </a:lvl3pPr>
            <a:lvl4pPr marL="1920240" indent="-274320">
              <a:lnSpc>
                <a:spcPct val="90000"/>
              </a:lnSpc>
              <a:spcBef>
                <a:spcPts val="600"/>
              </a:spcBef>
              <a:buFont typeface="Arial" panose="020B0604020202020204" pitchFamily="34" charset="0"/>
              <a:buChar char="•"/>
              <a:defRPr>
                <a:solidFill>
                  <a:schemeClr val="tx1"/>
                </a:solidFill>
              </a:defRPr>
            </a:lvl4pPr>
            <a:lvl5pPr marL="2468880" indent="-274320">
              <a:lnSpc>
                <a:spcPct val="90000"/>
              </a:lnSpc>
              <a:spcBef>
                <a:spcPts val="600"/>
              </a:spcBef>
              <a:buFont typeface="Arial" panose="020B0604020202020204" pitchFamily="34" charset="0"/>
              <a:buChar char="•"/>
              <a:defRPr>
                <a:solidFill>
                  <a:schemeClr val="tx1"/>
                </a:solidFill>
              </a:defRPr>
            </a:lvl5pPr>
            <a:lvl6pPr marL="3017520" indent="-274320">
              <a:lnSpc>
                <a:spcPct val="90000"/>
              </a:lnSpc>
              <a:spcBef>
                <a:spcPts val="600"/>
              </a:spcBef>
              <a:buFont typeface="Arial" panose="020B0604020202020204" pitchFamily="34" charset="0"/>
              <a:buChar char="•"/>
              <a:defRPr>
                <a:solidFill>
                  <a:schemeClr val="tx1"/>
                </a:solidFill>
              </a:defRPr>
            </a:lvl6pPr>
            <a:lvl7pPr marL="3566160" indent="-274320">
              <a:lnSpc>
                <a:spcPct val="90000"/>
              </a:lnSpc>
              <a:spcBef>
                <a:spcPts val="600"/>
              </a:spcBef>
              <a:buFont typeface="Arial" panose="020B0604020202020204" pitchFamily="34" charset="0"/>
              <a:buChar char="•"/>
              <a:defRPr>
                <a:solidFill>
                  <a:schemeClr val="tx1"/>
                </a:solidFill>
              </a:defRPr>
            </a:lvl7pPr>
            <a:lvl8pPr marL="4114800" indent="-274320">
              <a:lnSpc>
                <a:spcPct val="90000"/>
              </a:lnSpc>
              <a:spcBef>
                <a:spcPts val="600"/>
              </a:spcBef>
              <a:buFont typeface="Arial" panose="020B0604020202020204" pitchFamily="34" charset="0"/>
              <a:buChar char="•"/>
              <a:defRPr>
                <a:solidFill>
                  <a:schemeClr val="tx1"/>
                </a:solidFill>
              </a:defRPr>
            </a:lvl8pPr>
            <a:lvl9pPr marL="4663440" indent="-274320">
              <a:lnSpc>
                <a:spcPct val="90000"/>
              </a:lnSpc>
              <a:spcBef>
                <a:spcPts val="600"/>
              </a:spcBef>
              <a:buFont typeface="Arial" panose="020B0604020202020204" pitchFamily="34" charset="0"/>
              <a:buChar char="•"/>
              <a:defRPr>
                <a:solidFill>
                  <a:schemeClr val="tx1"/>
                </a:solidFill>
              </a:defRPr>
            </a:lvl9pPr>
          </a:lstStyle>
          <a:p>
            <a:pPr defTabSz="914327"/>
            <a:r>
              <a:rPr lang="en-US" sz="1333" dirty="0">
                <a:solidFill>
                  <a:prstClr val="white"/>
                </a:solidFill>
              </a:rPr>
              <a:t>Domestic Air passenger traffic- Monthly</a:t>
            </a:r>
          </a:p>
        </p:txBody>
      </p:sp>
      <p:sp>
        <p:nvSpPr>
          <p:cNvPr id="12" name="Down Arrow 11">
            <a:hlinkClick r:id="rId3" action="ppaction://hlinksldjump"/>
          </p:cNvPr>
          <p:cNvSpPr/>
          <p:nvPr/>
        </p:nvSpPr>
        <p:spPr>
          <a:xfrm rot="5400000">
            <a:off x="9794950" y="6230489"/>
            <a:ext cx="450000" cy="750000"/>
          </a:xfrm>
          <a:prstGeom prst="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14363"/>
            <a:r>
              <a:rPr lang="en-US" sz="1167" dirty="0">
                <a:solidFill>
                  <a:prstClr val="black"/>
                </a:solidFill>
                <a:latin typeface="Arial" panose="020B0604020202020204" pitchFamily="34" charset="0"/>
                <a:cs typeface="Arial" panose="020B0604020202020204" pitchFamily="34" charset="0"/>
              </a:rPr>
              <a:t>Back</a:t>
            </a:r>
          </a:p>
        </p:txBody>
      </p:sp>
      <p:graphicFrame>
        <p:nvGraphicFramePr>
          <p:cNvPr id="14" name="Chart 13">
            <a:extLst>
              <a:ext uri="{FF2B5EF4-FFF2-40B4-BE49-F238E27FC236}">
                <a16:creationId xmlns:a16="http://schemas.microsoft.com/office/drawing/2014/main" id="{38836BC8-9C88-487D-BED7-6533ABBEE6C1}"/>
              </a:ext>
            </a:extLst>
          </p:cNvPr>
          <p:cNvGraphicFramePr>
            <a:graphicFrameLocks/>
          </p:cNvGraphicFramePr>
          <p:nvPr/>
        </p:nvGraphicFramePr>
        <p:xfrm>
          <a:off x="6236053" y="1435786"/>
          <a:ext cx="5614765" cy="48115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id="{3CF084A5-0513-4613-AD52-6152008A1F75}"/>
              </a:ext>
            </a:extLst>
          </p:cNvPr>
          <p:cNvGraphicFramePr>
            <a:graphicFrameLocks/>
          </p:cNvGraphicFramePr>
          <p:nvPr/>
        </p:nvGraphicFramePr>
        <p:xfrm>
          <a:off x="373857" y="1435786"/>
          <a:ext cx="5645943" cy="465456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70335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632" y="288857"/>
            <a:ext cx="11526163" cy="323102"/>
          </a:xfrm>
        </p:spPr>
        <p:txBody>
          <a:bodyPr vert="horz" wrap="square" lIns="0" tIns="0" rIns="0" bIns="0" rtlCol="0" anchor="b">
            <a:spAutoFit/>
          </a:bodyPr>
          <a:lstStyle/>
          <a:p>
            <a:pPr defTabSz="914363"/>
            <a:r>
              <a:rPr lang="en-US" sz="2333" b="1" dirty="0"/>
              <a:t>Enquiries to travel by bus and rail remains popular, air travel has seen an uptick</a:t>
            </a:r>
          </a:p>
        </p:txBody>
      </p:sp>
      <p:sp>
        <p:nvSpPr>
          <p:cNvPr id="18" name="TextBox 17"/>
          <p:cNvSpPr txBox="1"/>
          <p:nvPr/>
        </p:nvSpPr>
        <p:spPr>
          <a:xfrm>
            <a:off x="232427" y="6514905"/>
            <a:ext cx="2666114" cy="246221"/>
          </a:xfrm>
          <a:prstGeom prst="rect">
            <a:avLst/>
          </a:prstGeom>
          <a:noFill/>
        </p:spPr>
        <p:txBody>
          <a:bodyPr wrap="none" rtlCol="0">
            <a:spAutoFit/>
          </a:bodyPr>
          <a:lstStyle/>
          <a:p>
            <a:pPr defTabSz="914363"/>
            <a:r>
              <a:rPr lang="en-IN" sz="1000" i="1" dirty="0">
                <a:solidFill>
                  <a:prstClr val="black"/>
                </a:solidFill>
                <a:latin typeface="Arial" panose="020B0604020202020204" pitchFamily="34" charset="0"/>
                <a:cs typeface="Arial" panose="020B0604020202020204" pitchFamily="34" charset="0"/>
              </a:rPr>
              <a:t>Source: CRISIL Research, Google analytics</a:t>
            </a:r>
          </a:p>
        </p:txBody>
      </p:sp>
      <p:graphicFrame>
        <p:nvGraphicFramePr>
          <p:cNvPr id="27" name="Chart 26">
            <a:extLst>
              <a:ext uri="{FF2B5EF4-FFF2-40B4-BE49-F238E27FC236}">
                <a16:creationId xmlns:a16="http://schemas.microsoft.com/office/drawing/2014/main" id="{00000000-0008-0000-0000-00000B000000}"/>
              </a:ext>
            </a:extLst>
          </p:cNvPr>
          <p:cNvGraphicFramePr>
            <a:graphicFrameLocks/>
          </p:cNvGraphicFramePr>
          <p:nvPr/>
        </p:nvGraphicFramePr>
        <p:xfrm>
          <a:off x="342900" y="923925"/>
          <a:ext cx="11182350" cy="5057775"/>
        </p:xfrm>
        <a:graphic>
          <a:graphicData uri="http://schemas.openxmlformats.org/drawingml/2006/chart">
            <c:chart xmlns:c="http://schemas.openxmlformats.org/drawingml/2006/chart" xmlns:r="http://schemas.openxmlformats.org/officeDocument/2006/relationships" r:id="rId3"/>
          </a:graphicData>
        </a:graphic>
      </p:graphicFrame>
      <p:grpSp>
        <p:nvGrpSpPr>
          <p:cNvPr id="28" name="Group 27">
            <a:extLst>
              <a:ext uri="{FF2B5EF4-FFF2-40B4-BE49-F238E27FC236}">
                <a16:creationId xmlns:a16="http://schemas.microsoft.com/office/drawing/2014/main" id="{819FE0C2-0DB8-4EAC-A35C-12B69B53FF66}"/>
              </a:ext>
            </a:extLst>
          </p:cNvPr>
          <p:cNvGrpSpPr/>
          <p:nvPr/>
        </p:nvGrpSpPr>
        <p:grpSpPr>
          <a:xfrm>
            <a:off x="1418177" y="1040711"/>
            <a:ext cx="5578555" cy="4664763"/>
            <a:chOff x="2332039" y="1146362"/>
            <a:chExt cx="6694266" cy="5564466"/>
          </a:xfrm>
        </p:grpSpPr>
        <p:cxnSp>
          <p:nvCxnSpPr>
            <p:cNvPr id="29" name="Straight Connector 28">
              <a:extLst>
                <a:ext uri="{FF2B5EF4-FFF2-40B4-BE49-F238E27FC236}">
                  <a16:creationId xmlns:a16="http://schemas.microsoft.com/office/drawing/2014/main" id="{760D14A0-33EF-4626-A20E-CB8CED24B0BE}"/>
                </a:ext>
              </a:extLst>
            </p:cNvPr>
            <p:cNvCxnSpPr/>
            <p:nvPr/>
          </p:nvCxnSpPr>
          <p:spPr>
            <a:xfrm>
              <a:off x="2332039" y="1163441"/>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447933B-A83D-44DA-8A58-F10EAFF7ECD7}"/>
                </a:ext>
              </a:extLst>
            </p:cNvPr>
            <p:cNvCxnSpPr/>
            <p:nvPr/>
          </p:nvCxnSpPr>
          <p:spPr>
            <a:xfrm>
              <a:off x="2992085" y="1146362"/>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061C86B-BC0C-4B11-9159-6C78738AF3C8}"/>
                </a:ext>
              </a:extLst>
            </p:cNvPr>
            <p:cNvCxnSpPr/>
            <p:nvPr/>
          </p:nvCxnSpPr>
          <p:spPr>
            <a:xfrm>
              <a:off x="3583734" y="1161539"/>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A411BC3-EECF-4E94-816D-6D56D6BCA938}"/>
                </a:ext>
              </a:extLst>
            </p:cNvPr>
            <p:cNvCxnSpPr/>
            <p:nvPr/>
          </p:nvCxnSpPr>
          <p:spPr>
            <a:xfrm>
              <a:off x="3985835" y="1147942"/>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B4FE177-0AF8-4756-8248-288A33EDEDD8}"/>
                </a:ext>
              </a:extLst>
            </p:cNvPr>
            <p:cNvCxnSpPr/>
            <p:nvPr/>
          </p:nvCxnSpPr>
          <p:spPr>
            <a:xfrm>
              <a:off x="4564569" y="1149844"/>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67E5D07-8213-4D17-BFEC-E18B41530FF4}"/>
                </a:ext>
              </a:extLst>
            </p:cNvPr>
            <p:cNvCxnSpPr/>
            <p:nvPr/>
          </p:nvCxnSpPr>
          <p:spPr>
            <a:xfrm>
              <a:off x="5519622" y="1153558"/>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CBF0B8-6EDF-4634-8FC4-D3FEF35044D4}"/>
                </a:ext>
              </a:extLst>
            </p:cNvPr>
            <p:cNvCxnSpPr/>
            <p:nvPr/>
          </p:nvCxnSpPr>
          <p:spPr>
            <a:xfrm>
              <a:off x="6455486" y="1158235"/>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4671EDB-64DE-4DE4-8B4F-D480FB792135}"/>
                </a:ext>
              </a:extLst>
            </p:cNvPr>
            <p:cNvCxnSpPr/>
            <p:nvPr/>
          </p:nvCxnSpPr>
          <p:spPr>
            <a:xfrm>
              <a:off x="7418289" y="1155522"/>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B17ACE2-332F-440C-B75A-CA8B25AEAB49}"/>
                </a:ext>
              </a:extLst>
            </p:cNvPr>
            <p:cNvCxnSpPr/>
            <p:nvPr/>
          </p:nvCxnSpPr>
          <p:spPr>
            <a:xfrm>
              <a:off x="8754283" y="1146363"/>
              <a:ext cx="0" cy="5547387"/>
            </a:xfrm>
            <a:prstGeom prst="line">
              <a:avLst/>
            </a:prstGeom>
            <a:ln w="12700">
              <a:solidFill>
                <a:schemeClr val="accent1">
                  <a:lumMod val="7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0B39D48D-9356-437F-B200-03BB374E0305}"/>
                </a:ext>
              </a:extLst>
            </p:cNvPr>
            <p:cNvSpPr txBox="1"/>
            <p:nvPr/>
          </p:nvSpPr>
          <p:spPr>
            <a:xfrm rot="16200000">
              <a:off x="3951277" y="3735563"/>
              <a:ext cx="2171346"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Lockdown 1.0</a:t>
              </a:r>
            </a:p>
          </p:txBody>
        </p:sp>
        <p:sp>
          <p:nvSpPr>
            <p:cNvPr id="39" name="TextBox 38">
              <a:extLst>
                <a:ext uri="{FF2B5EF4-FFF2-40B4-BE49-F238E27FC236}">
                  <a16:creationId xmlns:a16="http://schemas.microsoft.com/office/drawing/2014/main" id="{C2ABD881-79A6-43BA-930E-661253418C7B}"/>
                </a:ext>
              </a:extLst>
            </p:cNvPr>
            <p:cNvSpPr txBox="1"/>
            <p:nvPr/>
          </p:nvSpPr>
          <p:spPr>
            <a:xfrm rot="16200000">
              <a:off x="2251210" y="3750934"/>
              <a:ext cx="2171345"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Lockdown 2.0</a:t>
              </a:r>
            </a:p>
          </p:txBody>
        </p:sp>
        <p:sp>
          <p:nvSpPr>
            <p:cNvPr id="40" name="TextBox 39">
              <a:extLst>
                <a:ext uri="{FF2B5EF4-FFF2-40B4-BE49-F238E27FC236}">
                  <a16:creationId xmlns:a16="http://schemas.microsoft.com/office/drawing/2014/main" id="{ED08BE7D-AB05-458C-938E-7144198C54DA}"/>
                </a:ext>
              </a:extLst>
            </p:cNvPr>
            <p:cNvSpPr txBox="1"/>
            <p:nvPr/>
          </p:nvSpPr>
          <p:spPr>
            <a:xfrm rot="16200000">
              <a:off x="2698333" y="3750935"/>
              <a:ext cx="2171345"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Lockdown 3.0</a:t>
              </a:r>
            </a:p>
          </p:txBody>
        </p:sp>
        <p:sp>
          <p:nvSpPr>
            <p:cNvPr id="41" name="TextBox 40">
              <a:extLst>
                <a:ext uri="{FF2B5EF4-FFF2-40B4-BE49-F238E27FC236}">
                  <a16:creationId xmlns:a16="http://schemas.microsoft.com/office/drawing/2014/main" id="{17ECBD86-F328-42EE-BB55-99D00B486BD6}"/>
                </a:ext>
              </a:extLst>
            </p:cNvPr>
            <p:cNvSpPr txBox="1"/>
            <p:nvPr/>
          </p:nvSpPr>
          <p:spPr>
            <a:xfrm rot="16200000">
              <a:off x="3125355" y="3797672"/>
              <a:ext cx="2171345"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Lockdown 4.0</a:t>
              </a:r>
            </a:p>
          </p:txBody>
        </p:sp>
        <p:sp>
          <p:nvSpPr>
            <p:cNvPr id="42" name="TextBox 41">
              <a:extLst>
                <a:ext uri="{FF2B5EF4-FFF2-40B4-BE49-F238E27FC236}">
                  <a16:creationId xmlns:a16="http://schemas.microsoft.com/office/drawing/2014/main" id="{5F7C387C-6BFB-44EA-B1FA-3ACBF2B0728A}"/>
                </a:ext>
              </a:extLst>
            </p:cNvPr>
            <p:cNvSpPr txBox="1"/>
            <p:nvPr/>
          </p:nvSpPr>
          <p:spPr>
            <a:xfrm rot="16200000">
              <a:off x="4017347" y="3817516"/>
              <a:ext cx="1976490"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Unlock 1.0</a:t>
              </a:r>
            </a:p>
          </p:txBody>
        </p:sp>
        <p:sp>
          <p:nvSpPr>
            <p:cNvPr id="43" name="TextBox 42">
              <a:extLst>
                <a:ext uri="{FF2B5EF4-FFF2-40B4-BE49-F238E27FC236}">
                  <a16:creationId xmlns:a16="http://schemas.microsoft.com/office/drawing/2014/main" id="{BB887623-1783-4374-B193-39E40CF12E59}"/>
                </a:ext>
              </a:extLst>
            </p:cNvPr>
            <p:cNvSpPr txBox="1"/>
            <p:nvPr/>
          </p:nvSpPr>
          <p:spPr>
            <a:xfrm rot="16200000">
              <a:off x="5029272" y="3944807"/>
              <a:ext cx="1976490"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Unlock 2.0</a:t>
              </a:r>
            </a:p>
          </p:txBody>
        </p:sp>
        <p:sp>
          <p:nvSpPr>
            <p:cNvPr id="44" name="TextBox 43">
              <a:extLst>
                <a:ext uri="{FF2B5EF4-FFF2-40B4-BE49-F238E27FC236}">
                  <a16:creationId xmlns:a16="http://schemas.microsoft.com/office/drawing/2014/main" id="{BDB87E61-1ACA-4C0F-B004-DE57F36FF562}"/>
                </a:ext>
              </a:extLst>
            </p:cNvPr>
            <p:cNvSpPr txBox="1"/>
            <p:nvPr/>
          </p:nvSpPr>
          <p:spPr>
            <a:xfrm rot="16200000">
              <a:off x="6323444" y="3908918"/>
              <a:ext cx="1976490"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Unlock 3.0</a:t>
              </a:r>
            </a:p>
          </p:txBody>
        </p:sp>
        <p:sp>
          <p:nvSpPr>
            <p:cNvPr id="45" name="TextBox 44">
              <a:extLst>
                <a:ext uri="{FF2B5EF4-FFF2-40B4-BE49-F238E27FC236}">
                  <a16:creationId xmlns:a16="http://schemas.microsoft.com/office/drawing/2014/main" id="{605B4710-3BB5-49A7-BE6B-D013C14D9B90}"/>
                </a:ext>
              </a:extLst>
            </p:cNvPr>
            <p:cNvSpPr txBox="1"/>
            <p:nvPr/>
          </p:nvSpPr>
          <p:spPr>
            <a:xfrm rot="16200000">
              <a:off x="6798110" y="3894721"/>
              <a:ext cx="1976490"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Unlock 4.0</a:t>
              </a:r>
            </a:p>
          </p:txBody>
        </p:sp>
        <p:sp>
          <p:nvSpPr>
            <p:cNvPr id="46" name="TextBox 45">
              <a:extLst>
                <a:ext uri="{FF2B5EF4-FFF2-40B4-BE49-F238E27FC236}">
                  <a16:creationId xmlns:a16="http://schemas.microsoft.com/office/drawing/2014/main" id="{B4F8A740-6777-43E9-BAFC-A42FA4D5991D}"/>
                </a:ext>
              </a:extLst>
            </p:cNvPr>
            <p:cNvSpPr txBox="1"/>
            <p:nvPr/>
          </p:nvSpPr>
          <p:spPr>
            <a:xfrm rot="16200000">
              <a:off x="7874900" y="3784269"/>
              <a:ext cx="1976490" cy="326321"/>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Unlock 5.0</a:t>
              </a:r>
            </a:p>
          </p:txBody>
        </p:sp>
      </p:grpSp>
      <p:sp>
        <p:nvSpPr>
          <p:cNvPr id="47" name="TextBox 46">
            <a:extLst>
              <a:ext uri="{FF2B5EF4-FFF2-40B4-BE49-F238E27FC236}">
                <a16:creationId xmlns:a16="http://schemas.microsoft.com/office/drawing/2014/main" id="{85C9C99B-8D8C-4D3D-8568-5391B1D8521F}"/>
              </a:ext>
            </a:extLst>
          </p:cNvPr>
          <p:cNvSpPr txBox="1"/>
          <p:nvPr/>
        </p:nvSpPr>
        <p:spPr>
          <a:xfrm rot="16200000">
            <a:off x="659364" y="3388852"/>
            <a:ext cx="1789561" cy="271934"/>
          </a:xfrm>
          <a:prstGeom prst="rect">
            <a:avLst/>
          </a:prstGeom>
          <a:noFill/>
        </p:spPr>
        <p:txBody>
          <a:bodyPr wrap="square" rtlCol="0">
            <a:spAutoFit/>
          </a:bodyPr>
          <a:lstStyle/>
          <a:p>
            <a:pPr algn="ctr" defTabSz="914363"/>
            <a:r>
              <a:rPr lang="en-US" sz="1167" b="1" dirty="0">
                <a:solidFill>
                  <a:prstClr val="black"/>
                </a:solidFill>
                <a:latin typeface="Arial" panose="020B0604020202020204" pitchFamily="34" charset="0"/>
                <a:cs typeface="Arial" panose="020B0604020202020204" pitchFamily="34" charset="0"/>
              </a:rPr>
              <a:t>Lockdown 1.0</a:t>
            </a:r>
          </a:p>
        </p:txBody>
      </p:sp>
    </p:spTree>
    <p:extLst>
      <p:ext uri="{BB962C8B-B14F-4D97-AF65-F5344CB8AC3E}">
        <p14:creationId xmlns:p14="http://schemas.microsoft.com/office/powerpoint/2010/main" val="72711408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1504" y="175032"/>
            <a:ext cx="11562328" cy="331152"/>
          </a:xfrm>
        </p:spPr>
        <p:txBody>
          <a:bodyPr vert="horz" lIns="0" tIns="0" rIns="0" bIns="0" rtlCol="0" anchor="ctr">
            <a:noAutofit/>
          </a:bodyPr>
          <a:lstStyle/>
          <a:p>
            <a:pPr defTabSz="914400"/>
            <a:r>
              <a:rPr lang="en-US" sz="2400" b="1" dirty="0">
                <a:solidFill>
                  <a:schemeClr val="tx1"/>
                </a:solidFill>
                <a:latin typeface="Arial" panose="020B0604020202020204" pitchFamily="34" charset="0"/>
                <a:cs typeface="Arial" panose="020B0604020202020204" pitchFamily="34" charset="0"/>
              </a:rPr>
              <a:t>Capacity </a:t>
            </a:r>
            <a:r>
              <a:rPr lang="en-US" sz="2400" b="1" dirty="0" err="1">
                <a:solidFill>
                  <a:schemeClr val="tx1"/>
                </a:solidFill>
                <a:latin typeface="Arial" panose="020B0604020202020204" pitchFamily="34" charset="0"/>
                <a:cs typeface="Arial" panose="020B0604020202020204" pitchFamily="34" charset="0"/>
              </a:rPr>
              <a:t>utilisation</a:t>
            </a:r>
            <a:r>
              <a:rPr lang="en-US" sz="2400" b="1" dirty="0">
                <a:solidFill>
                  <a:schemeClr val="tx1"/>
                </a:solidFill>
                <a:latin typeface="Arial" panose="020B0604020202020204" pitchFamily="34" charset="0"/>
                <a:cs typeface="Arial" panose="020B0604020202020204" pitchFamily="34" charset="0"/>
              </a:rPr>
              <a:t> showed improvement in FY22</a:t>
            </a:r>
          </a:p>
        </p:txBody>
      </p:sp>
      <p:sp>
        <p:nvSpPr>
          <p:cNvPr id="6" name="Rectangle 5"/>
          <p:cNvSpPr/>
          <p:nvPr/>
        </p:nvSpPr>
        <p:spPr>
          <a:xfrm rot="5400000">
            <a:off x="3043526" y="-1824321"/>
            <a:ext cx="356616" cy="560546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76" tIns="45692" rIns="91376" bIns="45692" rtlCol="0" anchor="ctr"/>
          <a:lstStyle/>
          <a:p>
            <a:pPr algn="ctr" defTabSz="913520"/>
            <a:r>
              <a:rPr lang="en-US" sz="1600" b="1" dirty="0">
                <a:solidFill>
                  <a:srgbClr val="FFFFFF"/>
                </a:solidFill>
                <a:latin typeface="Arial" panose="020B0604020202020204" pitchFamily="34" charset="0"/>
              </a:rPr>
              <a:t>Decline in capacity utilization level</a:t>
            </a:r>
            <a:endParaRPr lang="en-GB" sz="1600" b="1" dirty="0">
              <a:solidFill>
                <a:srgbClr val="FFFFFF"/>
              </a:solidFill>
              <a:latin typeface="Arial" panose="020B0604020202020204" pitchFamily="34" charset="0"/>
            </a:endParaRPr>
          </a:p>
        </p:txBody>
      </p:sp>
      <p:sp>
        <p:nvSpPr>
          <p:cNvPr id="18" name="Rectangle 17"/>
          <p:cNvSpPr/>
          <p:nvPr/>
        </p:nvSpPr>
        <p:spPr>
          <a:xfrm rot="5400000">
            <a:off x="8965695" y="-1925522"/>
            <a:ext cx="356616" cy="5807075"/>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76" tIns="45692" rIns="91376" bIns="45692" rtlCol="0" anchor="ctr"/>
          <a:lstStyle/>
          <a:p>
            <a:pPr algn="ctr" defTabSz="913520"/>
            <a:r>
              <a:rPr lang="en-IN" sz="1600" b="1" dirty="0">
                <a:solidFill>
                  <a:srgbClr val="FFFFFF"/>
                </a:solidFill>
                <a:latin typeface="Arial" panose="020B0604020202020204" pitchFamily="34" charset="0"/>
              </a:rPr>
              <a:t>Player-wise capacity utilisation</a:t>
            </a:r>
          </a:p>
        </p:txBody>
      </p:sp>
      <p:sp>
        <p:nvSpPr>
          <p:cNvPr id="23" name="Rectangle 22">
            <a:extLst>
              <a:ext uri="{FF2B5EF4-FFF2-40B4-BE49-F238E27FC236}">
                <a16:creationId xmlns:a16="http://schemas.microsoft.com/office/drawing/2014/main" id="{CEBB9B0E-1C91-4B5C-8C70-00F417720F8E}"/>
              </a:ext>
            </a:extLst>
          </p:cNvPr>
          <p:cNvSpPr/>
          <p:nvPr/>
        </p:nvSpPr>
        <p:spPr>
          <a:xfrm>
            <a:off x="283108" y="5779308"/>
            <a:ext cx="5555594" cy="553998"/>
          </a:xfrm>
          <a:prstGeom prst="rect">
            <a:avLst/>
          </a:prstGeom>
        </p:spPr>
        <p:txBody>
          <a:bodyPr wrap="square" lIns="91376" tIns="45692" rIns="91376" bIns="45692">
            <a:spAutoFit/>
          </a:bodyPr>
          <a:lstStyle/>
          <a:p>
            <a:pPr defTabSz="913520"/>
            <a:r>
              <a:rPr lang="en-US" sz="1000" i="1" dirty="0">
                <a:solidFill>
                  <a:srgbClr val="000000"/>
                </a:solidFill>
                <a:latin typeface="Arial" panose="020B0604020202020204" pitchFamily="34" charset="0"/>
                <a:cs typeface="Arial" panose="020B0604020202020204" pitchFamily="34" charset="0"/>
              </a:rPr>
              <a:t>Note : Capacity utilization is that of Tata Motors, Ashok Leyland, Eicher Motors and Mahindra &amp; Mahindra representing ˜ 90% of domestic sales </a:t>
            </a:r>
          </a:p>
          <a:p>
            <a:pPr defTabSz="913520"/>
            <a:r>
              <a:rPr lang="en-US" sz="1000" i="1" dirty="0">
                <a:solidFill>
                  <a:srgbClr val="000000"/>
                </a:solidFill>
                <a:latin typeface="Arial" panose="020B0604020202020204" pitchFamily="34" charset="0"/>
                <a:cs typeface="Arial" panose="020B0604020202020204" pitchFamily="34" charset="0"/>
              </a:rPr>
              <a:t>Source: CRISIL Research</a:t>
            </a:r>
          </a:p>
        </p:txBody>
      </p:sp>
      <p:sp>
        <p:nvSpPr>
          <p:cNvPr id="12" name="TextBox 11">
            <a:extLst>
              <a:ext uri="{FF2B5EF4-FFF2-40B4-BE49-F238E27FC236}">
                <a16:creationId xmlns:a16="http://schemas.microsoft.com/office/drawing/2014/main" id="{60DCFE4C-4E13-4F0D-B909-737FC9FE7713}"/>
              </a:ext>
            </a:extLst>
          </p:cNvPr>
          <p:cNvSpPr txBox="1"/>
          <p:nvPr/>
        </p:nvSpPr>
        <p:spPr>
          <a:xfrm>
            <a:off x="6116515" y="6210195"/>
            <a:ext cx="5683881" cy="246221"/>
          </a:xfrm>
          <a:prstGeom prst="rect">
            <a:avLst/>
          </a:prstGeom>
          <a:noFill/>
        </p:spPr>
        <p:txBody>
          <a:bodyPr wrap="square" lIns="91376" tIns="45692" rIns="91376" bIns="45692" rtlCol="0">
            <a:spAutoFit/>
          </a:bodyPr>
          <a:lstStyle/>
          <a:p>
            <a:pPr defTabSz="913520"/>
            <a:r>
              <a:rPr lang="en-IN" sz="1000" i="1" dirty="0">
                <a:solidFill>
                  <a:srgbClr val="000000"/>
                </a:solidFill>
                <a:latin typeface="Arial" panose="020B0604020202020204" pitchFamily="34" charset="0"/>
                <a:cs typeface="Arial" panose="020B0604020202020204" pitchFamily="34" charset="0"/>
              </a:rPr>
              <a:t>Source: Industry, </a:t>
            </a:r>
            <a:r>
              <a:rPr lang="en-US" sz="1000" i="1" dirty="0">
                <a:solidFill>
                  <a:prstClr val="black"/>
                </a:solidFill>
                <a:latin typeface="Arial" panose="020B0604020202020204" pitchFamily="34" charset="0"/>
                <a:cs typeface="Arial" panose="020B0604020202020204" pitchFamily="34" charset="0"/>
              </a:rPr>
              <a:t>CRISIL Research</a:t>
            </a:r>
            <a:endParaRPr lang="en-IN" sz="1000" i="1" dirty="0">
              <a:solidFill>
                <a:srgbClr val="000000"/>
              </a:solidFill>
              <a:latin typeface="Arial" panose="020B0604020202020204" pitchFamily="34" charset="0"/>
              <a:cs typeface="Arial" panose="020B0604020202020204" pitchFamily="34" charset="0"/>
            </a:endParaRPr>
          </a:p>
        </p:txBody>
      </p:sp>
      <p:graphicFrame>
        <p:nvGraphicFramePr>
          <p:cNvPr id="14" name="Table 13">
            <a:extLst>
              <a:ext uri="{FF2B5EF4-FFF2-40B4-BE49-F238E27FC236}">
                <a16:creationId xmlns:a16="http://schemas.microsoft.com/office/drawing/2014/main" id="{82839A5D-01F4-425B-9031-2763408CBE1C}"/>
              </a:ext>
            </a:extLst>
          </p:cNvPr>
          <p:cNvGraphicFramePr>
            <a:graphicFrameLocks noGrp="1"/>
          </p:cNvGraphicFramePr>
          <p:nvPr/>
        </p:nvGraphicFramePr>
        <p:xfrm>
          <a:off x="6240463" y="1182365"/>
          <a:ext cx="5807078" cy="2164726"/>
        </p:xfrm>
        <a:graphic>
          <a:graphicData uri="http://schemas.openxmlformats.org/drawingml/2006/table">
            <a:tbl>
              <a:tblPr firstRow="1" bandRow="1">
                <a:tableStyleId>{74C1A8A3-306A-4EB7-A6B1-4F7E0EB9C5D6}</a:tableStyleId>
              </a:tblPr>
              <a:tblGrid>
                <a:gridCol w="1282275">
                  <a:extLst>
                    <a:ext uri="{9D8B030D-6E8A-4147-A177-3AD203B41FA5}">
                      <a16:colId xmlns:a16="http://schemas.microsoft.com/office/drawing/2014/main" val="20000"/>
                    </a:ext>
                  </a:extLst>
                </a:gridCol>
                <a:gridCol w="1677147">
                  <a:extLst>
                    <a:ext uri="{9D8B030D-6E8A-4147-A177-3AD203B41FA5}">
                      <a16:colId xmlns:a16="http://schemas.microsoft.com/office/drawing/2014/main" val="20001"/>
                    </a:ext>
                  </a:extLst>
                </a:gridCol>
                <a:gridCol w="1432564">
                  <a:extLst>
                    <a:ext uri="{9D8B030D-6E8A-4147-A177-3AD203B41FA5}">
                      <a16:colId xmlns:a16="http://schemas.microsoft.com/office/drawing/2014/main" val="20002"/>
                    </a:ext>
                  </a:extLst>
                </a:gridCol>
                <a:gridCol w="1415092">
                  <a:extLst>
                    <a:ext uri="{9D8B030D-6E8A-4147-A177-3AD203B41FA5}">
                      <a16:colId xmlns:a16="http://schemas.microsoft.com/office/drawing/2014/main" val="20003"/>
                    </a:ext>
                  </a:extLst>
                </a:gridCol>
              </a:tblGrid>
              <a:tr h="755513">
                <a:tc>
                  <a:txBody>
                    <a:bodyPr/>
                    <a:lstStyle/>
                    <a:p>
                      <a:pPr algn="ctr" rtl="0" fontAlgn="ctr"/>
                      <a:r>
                        <a:rPr lang="en-US" sz="1100" u="none" strike="noStrike" dirty="0">
                          <a:solidFill>
                            <a:schemeClr val="bg1"/>
                          </a:solidFill>
                          <a:effectLst/>
                          <a:latin typeface="Arial" panose="020B0604020202020204" pitchFamily="34" charset="0"/>
                          <a:cs typeface="Arial" panose="020B0604020202020204" pitchFamily="34" charset="0"/>
                        </a:rPr>
                        <a:t>Player</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u="none" strike="noStrike" dirty="0">
                          <a:solidFill>
                            <a:schemeClr val="bg1"/>
                          </a:solidFill>
                          <a:effectLst/>
                          <a:latin typeface="Arial" panose="020B0604020202020204" pitchFamily="34" charset="0"/>
                          <a:cs typeface="Arial" panose="020B0604020202020204" pitchFamily="34" charset="0"/>
                        </a:rPr>
                        <a:t>Effective Capacity estimate (as on 31st Mar 2020)</a:t>
                      </a: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u="none" strike="noStrike" dirty="0">
                          <a:effectLst/>
                          <a:latin typeface="Arial" panose="020B0604020202020204" pitchFamily="34" charset="0"/>
                          <a:cs typeface="Arial" panose="020B0604020202020204" pitchFamily="34" charset="0"/>
                        </a:rPr>
                        <a:t>Production Apr-Mar FY22 (in ‘000)</a:t>
                      </a:r>
                    </a:p>
                    <a:p>
                      <a:pPr algn="ctr" rtl="0" fontAlgn="ctr"/>
                      <a:endParaRPr lang="en-US" sz="1100" b="1" i="0" u="none" strike="noStrike" dirty="0">
                        <a:solidFill>
                          <a:schemeClr val="bg1"/>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rtl="0" fontAlgn="ctr"/>
                      <a:r>
                        <a:rPr lang="en-US" sz="1100" u="none" strike="noStrike" dirty="0">
                          <a:effectLst/>
                          <a:latin typeface="Arial" panose="020B0604020202020204" pitchFamily="34" charset="0"/>
                          <a:cs typeface="Arial" panose="020B0604020202020204" pitchFamily="34" charset="0"/>
                        </a:rPr>
                        <a:t>Capacity utilization in FY22</a:t>
                      </a:r>
                    </a:p>
                  </a:txBody>
                  <a:tcPr marL="9525" marR="9525" marT="9525"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345673">
                <a:tc>
                  <a:txBody>
                    <a:bodyPr/>
                    <a:lstStyle/>
                    <a:p>
                      <a:pPr algn="ctr" rtl="0" fontAlgn="ctr"/>
                      <a:r>
                        <a:rPr lang="en-US" sz="1100" u="none" strike="noStrike" dirty="0">
                          <a:solidFill>
                            <a:srgbClr val="282828"/>
                          </a:solidFill>
                          <a:effectLst/>
                          <a:latin typeface="Arial" panose="020B0604020202020204" pitchFamily="34" charset="0"/>
                          <a:cs typeface="Arial" panose="020B0604020202020204" pitchFamily="34" charset="0"/>
                        </a:rPr>
                        <a:t>  Ashok</a:t>
                      </a:r>
                      <a:r>
                        <a:rPr lang="en-US" sz="1100" u="none" strike="noStrike" baseline="0" dirty="0">
                          <a:solidFill>
                            <a:srgbClr val="282828"/>
                          </a:solidFill>
                          <a:effectLst/>
                          <a:latin typeface="Arial" panose="020B0604020202020204" pitchFamily="34" charset="0"/>
                          <a:cs typeface="Arial" panose="020B0604020202020204" pitchFamily="34" charset="0"/>
                        </a:rPr>
                        <a:t> Leyland</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2,22,300</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128,395</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58%</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1"/>
                  </a:ext>
                </a:extLst>
              </a:tr>
              <a:tr h="298488">
                <a:tc>
                  <a:txBody>
                    <a:bodyPr/>
                    <a:lstStyle/>
                    <a:p>
                      <a:pPr algn="ctr" rtl="0" fontAlgn="ctr"/>
                      <a:r>
                        <a:rPr lang="en-US" sz="1100" u="none" strike="noStrike" dirty="0">
                          <a:solidFill>
                            <a:srgbClr val="282828"/>
                          </a:solidFill>
                          <a:effectLst/>
                          <a:latin typeface="Arial" panose="020B0604020202020204" pitchFamily="34" charset="0"/>
                          <a:cs typeface="Arial" panose="020B0604020202020204" pitchFamily="34" charset="0"/>
                        </a:rPr>
                        <a:t>  Eicher Motors</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97,500</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56,409</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58%</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98488">
                <a:tc>
                  <a:txBody>
                    <a:bodyPr/>
                    <a:lstStyle/>
                    <a:p>
                      <a:pPr algn="ctr" rtl="0" fontAlgn="ctr"/>
                      <a:r>
                        <a:rPr lang="en-US" sz="1100" u="none" strike="noStrike" dirty="0">
                          <a:solidFill>
                            <a:srgbClr val="282828"/>
                          </a:solidFill>
                          <a:effectLst/>
                          <a:latin typeface="Arial" panose="020B0604020202020204" pitchFamily="34" charset="0"/>
                          <a:cs typeface="Arial" panose="020B0604020202020204" pitchFamily="34" charset="0"/>
                        </a:rPr>
                        <a:t>  Tata Motors</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7,62,000</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357,847</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47%</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3"/>
                  </a:ext>
                </a:extLst>
              </a:tr>
              <a:tr h="466564">
                <a:tc>
                  <a:txBody>
                    <a:bodyPr/>
                    <a:lstStyle/>
                    <a:p>
                      <a:pPr algn="ctr" rtl="0" fontAlgn="ctr"/>
                      <a:r>
                        <a:rPr lang="en-US" sz="1100" u="none" strike="noStrike" dirty="0">
                          <a:solidFill>
                            <a:srgbClr val="282828"/>
                          </a:solidFill>
                          <a:effectLst/>
                          <a:latin typeface="Arial" panose="020B0604020202020204" pitchFamily="34" charset="0"/>
                          <a:cs typeface="Arial" panose="020B0604020202020204" pitchFamily="34" charset="0"/>
                        </a:rPr>
                        <a:t>  Mahindra</a:t>
                      </a:r>
                      <a:r>
                        <a:rPr lang="en-US" sz="1100" u="none" strike="noStrike" baseline="0" dirty="0">
                          <a:solidFill>
                            <a:srgbClr val="282828"/>
                          </a:solidFill>
                          <a:effectLst/>
                          <a:latin typeface="Arial" panose="020B0604020202020204" pitchFamily="34" charset="0"/>
                          <a:cs typeface="Arial" panose="020B0604020202020204" pitchFamily="34" charset="0"/>
                        </a:rPr>
                        <a:t> &amp; Mahindra</a:t>
                      </a:r>
                      <a:endParaRPr lang="en-US" sz="11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2,92,000</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192,571</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a:r>
                        <a:rPr lang="en-US" sz="1100" dirty="0">
                          <a:solidFill>
                            <a:srgbClr val="282828"/>
                          </a:solidFill>
                          <a:latin typeface="Arial" panose="020B0604020202020204" pitchFamily="34" charset="0"/>
                          <a:cs typeface="Arial" panose="020B0604020202020204" pitchFamily="34" charset="0"/>
                        </a:rPr>
                        <a:t>66%</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Rectangle 9"/>
          <p:cNvSpPr/>
          <p:nvPr/>
        </p:nvSpPr>
        <p:spPr>
          <a:xfrm rot="5400000">
            <a:off x="8978425" y="633762"/>
            <a:ext cx="331153" cy="5807078"/>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76" tIns="45692" rIns="91376" bIns="45692"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apacity additions</a:t>
            </a:r>
            <a:endPar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aphicFrame>
        <p:nvGraphicFramePr>
          <p:cNvPr id="11" name="Table 10"/>
          <p:cNvGraphicFramePr>
            <a:graphicFrameLocks noGrp="1"/>
          </p:cNvGraphicFramePr>
          <p:nvPr/>
        </p:nvGraphicFramePr>
        <p:xfrm>
          <a:off x="6240462" y="3727509"/>
          <a:ext cx="5807079" cy="2485122"/>
        </p:xfrm>
        <a:graphic>
          <a:graphicData uri="http://schemas.openxmlformats.org/drawingml/2006/table">
            <a:tbl>
              <a:tblPr firstRow="1" bandRow="1">
                <a:tableStyleId>{74C1A8A3-306A-4EB7-A6B1-4F7E0EB9C5D6}</a:tableStyleId>
              </a:tblPr>
              <a:tblGrid>
                <a:gridCol w="1505539">
                  <a:extLst>
                    <a:ext uri="{9D8B030D-6E8A-4147-A177-3AD203B41FA5}">
                      <a16:colId xmlns:a16="http://schemas.microsoft.com/office/drawing/2014/main" val="20000"/>
                    </a:ext>
                  </a:extLst>
                </a:gridCol>
                <a:gridCol w="1306107">
                  <a:extLst>
                    <a:ext uri="{9D8B030D-6E8A-4147-A177-3AD203B41FA5}">
                      <a16:colId xmlns:a16="http://schemas.microsoft.com/office/drawing/2014/main" val="20001"/>
                    </a:ext>
                  </a:extLst>
                </a:gridCol>
                <a:gridCol w="842111">
                  <a:extLst>
                    <a:ext uri="{9D8B030D-6E8A-4147-A177-3AD203B41FA5}">
                      <a16:colId xmlns:a16="http://schemas.microsoft.com/office/drawing/2014/main" val="20002"/>
                    </a:ext>
                  </a:extLst>
                </a:gridCol>
                <a:gridCol w="869512">
                  <a:extLst>
                    <a:ext uri="{9D8B030D-6E8A-4147-A177-3AD203B41FA5}">
                      <a16:colId xmlns:a16="http://schemas.microsoft.com/office/drawing/2014/main" val="20003"/>
                    </a:ext>
                  </a:extLst>
                </a:gridCol>
                <a:gridCol w="1283810">
                  <a:extLst>
                    <a:ext uri="{9D8B030D-6E8A-4147-A177-3AD203B41FA5}">
                      <a16:colId xmlns:a16="http://schemas.microsoft.com/office/drawing/2014/main" val="20004"/>
                    </a:ext>
                  </a:extLst>
                </a:gridCol>
              </a:tblGrid>
              <a:tr h="450978">
                <a:tc>
                  <a:txBody>
                    <a:bodyPr/>
                    <a:lstStyle/>
                    <a:p>
                      <a:pPr algn="l" fontAlgn="b"/>
                      <a:r>
                        <a:rPr lang="en-IN" sz="1100" u="none" strike="noStrike" kern="1200" dirty="0">
                          <a:solidFill>
                            <a:schemeClr val="bg1"/>
                          </a:solidFill>
                          <a:effectLst/>
                          <a:latin typeface="Arial" panose="020B0604020202020204" pitchFamily="34" charset="0"/>
                          <a:cs typeface="Arial" panose="020B0604020202020204" pitchFamily="34" charset="0"/>
                        </a:rPr>
                        <a:t>Player</a:t>
                      </a:r>
                      <a:endParaRPr lang="en-IN"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fontAlgn="b"/>
                      <a:r>
                        <a:rPr lang="en-IN" sz="1100" u="none" strike="noStrike" kern="1200" dirty="0">
                          <a:solidFill>
                            <a:schemeClr val="bg1"/>
                          </a:solidFill>
                          <a:effectLst/>
                          <a:latin typeface="Arial" panose="020B0604020202020204" pitchFamily="34" charset="0"/>
                          <a:cs typeface="Arial" panose="020B0604020202020204" pitchFamily="34" charset="0"/>
                        </a:rPr>
                        <a:t>Location</a:t>
                      </a:r>
                      <a:endParaRPr lang="en-IN"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fontAlgn="b"/>
                      <a:r>
                        <a:rPr lang="en-IN" sz="1100" u="none" strike="noStrike" kern="1200" dirty="0">
                          <a:solidFill>
                            <a:schemeClr val="bg1"/>
                          </a:solidFill>
                          <a:effectLst/>
                          <a:latin typeface="Arial" panose="020B0604020202020204" pitchFamily="34" charset="0"/>
                          <a:cs typeface="Arial" panose="020B0604020202020204" pitchFamily="34" charset="0"/>
                        </a:rPr>
                        <a:t>Capacity ‘000 units</a:t>
                      </a:r>
                      <a:endParaRPr lang="en-IN"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fontAlgn="b"/>
                      <a:r>
                        <a:rPr lang="en-IN" sz="1100" u="none" strike="noStrike" kern="1200" dirty="0">
                          <a:solidFill>
                            <a:schemeClr val="bg1"/>
                          </a:solidFill>
                          <a:effectLst/>
                          <a:latin typeface="Arial" panose="020B0604020202020204" pitchFamily="34" charset="0"/>
                          <a:cs typeface="Arial" panose="020B0604020202020204" pitchFamily="34" charset="0"/>
                        </a:rPr>
                        <a:t>Investment</a:t>
                      </a:r>
                      <a:endParaRPr lang="en-IN"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tc>
                  <a:txBody>
                    <a:bodyPr/>
                    <a:lstStyle/>
                    <a:p>
                      <a:pPr algn="ctr" fontAlgn="b"/>
                      <a:r>
                        <a:rPr lang="en-IN" sz="1100" u="none" strike="noStrike" kern="1200" dirty="0">
                          <a:solidFill>
                            <a:schemeClr val="bg1"/>
                          </a:solidFill>
                          <a:effectLst/>
                          <a:latin typeface="Arial" panose="020B0604020202020204" pitchFamily="34" charset="0"/>
                          <a:cs typeface="Arial" panose="020B0604020202020204" pitchFamily="34" charset="0"/>
                        </a:rPr>
                        <a:t>Status</a:t>
                      </a:r>
                      <a:endParaRPr lang="en-IN" sz="11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418573">
                <a:tc>
                  <a:txBody>
                    <a:bodyPr/>
                    <a:lstStyle/>
                    <a:p>
                      <a:pPr algn="l" fontAlgn="b"/>
                      <a:r>
                        <a:rPr lang="en-IN" sz="1000" u="none" strike="noStrike" dirty="0">
                          <a:solidFill>
                            <a:srgbClr val="282828"/>
                          </a:solidFill>
                          <a:effectLst/>
                          <a:latin typeface="Arial" panose="020B0604020202020204" pitchFamily="34" charset="0"/>
                          <a:cs typeface="Arial" panose="020B0604020202020204" pitchFamily="34" charset="0"/>
                        </a:rPr>
                        <a:t>Ashok Leyland Ltd. </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1000" u="none" strike="noStrike" dirty="0">
                          <a:solidFill>
                            <a:srgbClr val="282828"/>
                          </a:solidFill>
                          <a:effectLst/>
                          <a:latin typeface="Arial" panose="020B0604020202020204" pitchFamily="34" charset="0"/>
                          <a:cs typeface="Arial" panose="020B0604020202020204" pitchFamily="34" charset="0"/>
                        </a:rPr>
                        <a:t>Medak, Telangana</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20</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err="1">
                          <a:solidFill>
                            <a:srgbClr val="282828"/>
                          </a:solidFill>
                          <a:effectLst/>
                          <a:latin typeface="Arial" panose="020B0604020202020204" pitchFamily="34" charset="0"/>
                          <a:cs typeface="Arial" panose="020B0604020202020204" pitchFamily="34" charset="0"/>
                        </a:rPr>
                        <a:t>Rs</a:t>
                      </a:r>
                      <a:r>
                        <a:rPr lang="en-IN" sz="1000" u="none" strike="noStrike" dirty="0">
                          <a:solidFill>
                            <a:srgbClr val="282828"/>
                          </a:solidFill>
                          <a:effectLst/>
                          <a:latin typeface="Arial" panose="020B0604020202020204" pitchFamily="34" charset="0"/>
                          <a:cs typeface="Arial" panose="020B0604020202020204" pitchFamily="34" charset="0"/>
                        </a:rPr>
                        <a:t> 5 billion</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marL="0" algn="ctr" defTabSz="457200" rtl="0" eaLnBrk="1" fontAlgn="b" latinLnBrk="0" hangingPunct="1"/>
                      <a:r>
                        <a:rPr lang="en-IN" sz="1000" u="none" strike="noStrike" kern="1200" dirty="0">
                          <a:solidFill>
                            <a:srgbClr val="282828"/>
                          </a:solidFill>
                          <a:effectLst/>
                          <a:latin typeface="Arial" panose="020B0604020202020204" pitchFamily="34" charset="0"/>
                          <a:cs typeface="Arial" panose="020B0604020202020204" pitchFamily="34" charset="0"/>
                        </a:rPr>
                        <a:t>Under implementation</a:t>
                      </a:r>
                      <a:endParaRPr lang="en-IN" sz="1000" b="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1"/>
                  </a:ext>
                </a:extLst>
              </a:tr>
              <a:tr h="327447">
                <a:tc>
                  <a:txBody>
                    <a:bodyPr/>
                    <a:lstStyle/>
                    <a:p>
                      <a:pPr algn="l" fontAlgn="b"/>
                      <a:r>
                        <a:rPr lang="en-IN" sz="1000" u="none" strike="noStrike" dirty="0">
                          <a:solidFill>
                            <a:srgbClr val="282828"/>
                          </a:solidFill>
                          <a:effectLst/>
                          <a:latin typeface="Arial" panose="020B0604020202020204" pitchFamily="34" charset="0"/>
                          <a:cs typeface="Arial" panose="020B0604020202020204" pitchFamily="34" charset="0"/>
                        </a:rPr>
                        <a:t>Ashok Leyland </a:t>
                      </a:r>
                      <a:r>
                        <a:rPr lang="en-IN" sz="1000" u="none" strike="noStrike" baseline="0" dirty="0">
                          <a:solidFill>
                            <a:srgbClr val="282828"/>
                          </a:solidFill>
                          <a:effectLst/>
                          <a:latin typeface="Arial" panose="020B0604020202020204" pitchFamily="34" charset="0"/>
                          <a:cs typeface="Arial" panose="020B0604020202020204" pitchFamily="34" charset="0"/>
                        </a:rPr>
                        <a:t> Ltd.</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1000" u="none" strike="noStrike" kern="1200" dirty="0" err="1">
                          <a:solidFill>
                            <a:srgbClr val="282828"/>
                          </a:solidFill>
                          <a:effectLst/>
                          <a:latin typeface="Arial" panose="020B0604020202020204" pitchFamily="34" charset="0"/>
                          <a:cs typeface="Arial" panose="020B0604020202020204" pitchFamily="34" charset="0"/>
                        </a:rPr>
                        <a:t>Alwar</a:t>
                      </a:r>
                      <a:r>
                        <a:rPr lang="en-IN" sz="1000" u="none" strike="noStrike" kern="1200" dirty="0">
                          <a:solidFill>
                            <a:srgbClr val="282828"/>
                          </a:solidFill>
                          <a:effectLst/>
                          <a:latin typeface="Arial" panose="020B0604020202020204" pitchFamily="34" charset="0"/>
                          <a:cs typeface="Arial" panose="020B0604020202020204" pitchFamily="34" charset="0"/>
                        </a:rPr>
                        <a:t>, Rajasthan</a:t>
                      </a:r>
                      <a:endParaRPr lang="en-IN" sz="1000" b="0" i="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IN" sz="1000" b="0" i="0" u="none" strike="noStrike" dirty="0">
                          <a:solidFill>
                            <a:srgbClr val="282828"/>
                          </a:solidFill>
                          <a:effectLst/>
                          <a:latin typeface="Arial" panose="020B0604020202020204" pitchFamily="34" charset="0"/>
                          <a:cs typeface="Arial" panose="020B0604020202020204" pitchFamily="34" charset="0"/>
                        </a:rPr>
                        <a:t>1</a:t>
                      </a: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IN" sz="1000" u="none" strike="noStrike" dirty="0" err="1">
                          <a:solidFill>
                            <a:srgbClr val="282828"/>
                          </a:solidFill>
                          <a:effectLst/>
                          <a:latin typeface="Arial" panose="020B0604020202020204" pitchFamily="34" charset="0"/>
                          <a:cs typeface="Arial" panose="020B0604020202020204" pitchFamily="34" charset="0"/>
                        </a:rPr>
                        <a:t>Rs</a:t>
                      </a:r>
                      <a:r>
                        <a:rPr lang="en-IN" sz="1000" u="none" strike="noStrike" dirty="0">
                          <a:solidFill>
                            <a:srgbClr val="282828"/>
                          </a:solidFill>
                          <a:effectLst/>
                          <a:latin typeface="Arial" panose="020B0604020202020204" pitchFamily="34" charset="0"/>
                          <a:cs typeface="Arial" panose="020B0604020202020204" pitchFamily="34" charset="0"/>
                        </a:rPr>
                        <a:t> 2</a:t>
                      </a:r>
                      <a:r>
                        <a:rPr lang="en-IN" sz="1000" u="none" strike="noStrike" baseline="0" dirty="0">
                          <a:solidFill>
                            <a:srgbClr val="282828"/>
                          </a:solidFill>
                          <a:effectLst/>
                          <a:latin typeface="Arial" panose="020B0604020202020204" pitchFamily="34" charset="0"/>
                          <a:cs typeface="Arial" panose="020B0604020202020204" pitchFamily="34" charset="0"/>
                        </a:rPr>
                        <a:t> </a:t>
                      </a:r>
                      <a:r>
                        <a:rPr lang="en-IN" sz="1000" u="none" strike="noStrike" dirty="0">
                          <a:solidFill>
                            <a:srgbClr val="282828"/>
                          </a:solidFill>
                          <a:effectLst/>
                          <a:latin typeface="Arial" panose="020B0604020202020204" pitchFamily="34" charset="0"/>
                          <a:cs typeface="Arial" panose="020B0604020202020204" pitchFamily="34" charset="0"/>
                        </a:rPr>
                        <a:t>billion</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marL="0" algn="ctr" defTabSz="457200" rtl="0" eaLnBrk="1" fontAlgn="b" latinLnBrk="0" hangingPunct="1"/>
                      <a:r>
                        <a:rPr lang="en-IN" sz="1000" u="none" strike="noStrike" kern="1200" dirty="0">
                          <a:solidFill>
                            <a:srgbClr val="282828"/>
                          </a:solidFill>
                          <a:effectLst/>
                          <a:latin typeface="Arial" panose="020B0604020202020204" pitchFamily="34" charset="0"/>
                          <a:cs typeface="Arial" panose="020B0604020202020204" pitchFamily="34" charset="0"/>
                        </a:rPr>
                        <a:t>Planning</a:t>
                      </a:r>
                      <a:endParaRPr lang="en-IN" sz="1000" b="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18573">
                <a:tc>
                  <a:txBody>
                    <a:bodyPr/>
                    <a:lstStyle/>
                    <a:p>
                      <a:pPr algn="l" fontAlgn="b"/>
                      <a:r>
                        <a:rPr lang="en-IN" sz="1000" u="none" strike="noStrike" dirty="0">
                          <a:solidFill>
                            <a:srgbClr val="282828"/>
                          </a:solidFill>
                          <a:effectLst/>
                          <a:latin typeface="Arial" panose="020B0604020202020204" pitchFamily="34" charset="0"/>
                          <a:cs typeface="Arial" panose="020B0604020202020204" pitchFamily="34" charset="0"/>
                        </a:rPr>
                        <a:t>VE</a:t>
                      </a:r>
                      <a:r>
                        <a:rPr lang="en-IN" sz="1000" u="none" strike="noStrike" baseline="0" dirty="0">
                          <a:solidFill>
                            <a:srgbClr val="282828"/>
                          </a:solidFill>
                          <a:effectLst/>
                          <a:latin typeface="Arial" panose="020B0604020202020204" pitchFamily="34" charset="0"/>
                          <a:cs typeface="Arial" panose="020B0604020202020204" pitchFamily="34" charset="0"/>
                        </a:rPr>
                        <a:t>CV Ltd.</a:t>
                      </a:r>
                      <a:r>
                        <a:rPr lang="en-IN" sz="1000" u="none" strike="noStrike" dirty="0">
                          <a:solidFill>
                            <a:srgbClr val="282828"/>
                          </a:solidFill>
                          <a:effectLst/>
                          <a:latin typeface="Arial" panose="020B0604020202020204" pitchFamily="34" charset="0"/>
                          <a:cs typeface="Arial" panose="020B0604020202020204" pitchFamily="34" charset="0"/>
                        </a:rPr>
                        <a:t> </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Bhopal, MP</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40</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err="1">
                          <a:solidFill>
                            <a:srgbClr val="282828"/>
                          </a:solidFill>
                          <a:effectLst/>
                          <a:latin typeface="Arial" panose="020B0604020202020204" pitchFamily="34" charset="0"/>
                          <a:cs typeface="Arial" panose="020B0604020202020204" pitchFamily="34" charset="0"/>
                        </a:rPr>
                        <a:t>Rs</a:t>
                      </a:r>
                      <a:r>
                        <a:rPr lang="en-IN" sz="1000" u="none" strike="noStrike" baseline="0" dirty="0">
                          <a:solidFill>
                            <a:srgbClr val="282828"/>
                          </a:solidFill>
                          <a:effectLst/>
                          <a:latin typeface="Arial" panose="020B0604020202020204" pitchFamily="34" charset="0"/>
                          <a:cs typeface="Arial" panose="020B0604020202020204" pitchFamily="34" charset="0"/>
                        </a:rPr>
                        <a:t> 4 billion</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b="0" i="0" u="none" strike="noStrike" dirty="0">
                          <a:solidFill>
                            <a:srgbClr val="282828"/>
                          </a:solidFill>
                          <a:effectLst/>
                          <a:latin typeface="Arial" panose="020B0604020202020204" pitchFamily="34" charset="0"/>
                          <a:cs typeface="Arial" panose="020B0604020202020204" pitchFamily="34" charset="0"/>
                        </a:rPr>
                        <a:t>Under</a:t>
                      </a:r>
                      <a:r>
                        <a:rPr lang="en-IN" sz="1000" b="0" i="0" u="none" strike="noStrike" baseline="0" dirty="0">
                          <a:solidFill>
                            <a:srgbClr val="282828"/>
                          </a:solidFill>
                          <a:effectLst/>
                          <a:latin typeface="Arial" panose="020B0604020202020204" pitchFamily="34" charset="0"/>
                          <a:cs typeface="Arial" panose="020B0604020202020204" pitchFamily="34" charset="0"/>
                        </a:rPr>
                        <a:t> implementation</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3"/>
                  </a:ext>
                </a:extLst>
              </a:tr>
              <a:tr h="450978">
                <a:tc>
                  <a:txBody>
                    <a:bodyPr/>
                    <a:lstStyle/>
                    <a:p>
                      <a:pPr algn="l" fontAlgn="b"/>
                      <a:r>
                        <a:rPr lang="en-IN" sz="1000" u="none" strike="noStrike" dirty="0">
                          <a:solidFill>
                            <a:srgbClr val="282828"/>
                          </a:solidFill>
                          <a:effectLst/>
                          <a:latin typeface="Arial" panose="020B0604020202020204" pitchFamily="34" charset="0"/>
                          <a:cs typeface="Arial" panose="020B0604020202020204" pitchFamily="34" charset="0"/>
                        </a:rPr>
                        <a:t>Volvo Buses India </a:t>
                      </a:r>
                      <a:r>
                        <a:rPr lang="en-IN" sz="1000" u="none" strike="noStrike" dirty="0" err="1">
                          <a:solidFill>
                            <a:srgbClr val="282828"/>
                          </a:solidFill>
                          <a:effectLst/>
                          <a:latin typeface="Arial" panose="020B0604020202020204" pitchFamily="34" charset="0"/>
                          <a:cs typeface="Arial" panose="020B0604020202020204" pitchFamily="34" charset="0"/>
                        </a:rPr>
                        <a:t>Pvt.</a:t>
                      </a:r>
                      <a:r>
                        <a:rPr lang="en-IN" sz="1000" u="none" strike="noStrike" dirty="0">
                          <a:solidFill>
                            <a:srgbClr val="282828"/>
                          </a:solidFill>
                          <a:effectLst/>
                          <a:latin typeface="Arial" panose="020B0604020202020204" pitchFamily="34" charset="0"/>
                          <a:cs typeface="Arial" panose="020B0604020202020204" pitchFamily="34" charset="0"/>
                        </a:rPr>
                        <a:t> Ltd.</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1000" u="none" strike="noStrike" kern="1200" dirty="0">
                          <a:solidFill>
                            <a:srgbClr val="282828"/>
                          </a:solidFill>
                          <a:effectLst/>
                          <a:latin typeface="Arial" panose="020B0604020202020204" pitchFamily="34" charset="0"/>
                          <a:cs typeface="Arial" panose="020B0604020202020204" pitchFamily="34" charset="0"/>
                        </a:rPr>
                        <a:t>Bengaluru, Karnataka</a:t>
                      </a:r>
                      <a:endParaRPr lang="en-IN" sz="1000" b="0" i="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1.5</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IN" sz="1000" u="none" strike="noStrike" dirty="0" err="1">
                          <a:solidFill>
                            <a:srgbClr val="282828"/>
                          </a:solidFill>
                          <a:effectLst/>
                          <a:latin typeface="Arial" panose="020B0604020202020204" pitchFamily="34" charset="0"/>
                          <a:cs typeface="Arial" panose="020B0604020202020204" pitchFamily="34" charset="0"/>
                        </a:rPr>
                        <a:t>Rs</a:t>
                      </a:r>
                      <a:r>
                        <a:rPr lang="en-IN" sz="1000" u="none" strike="noStrike" dirty="0">
                          <a:solidFill>
                            <a:srgbClr val="282828"/>
                          </a:solidFill>
                          <a:effectLst/>
                          <a:latin typeface="Arial" panose="020B0604020202020204" pitchFamily="34" charset="0"/>
                          <a:cs typeface="Arial" panose="020B0604020202020204" pitchFamily="34" charset="0"/>
                        </a:rPr>
                        <a:t> 3 billion</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Planning</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18573">
                <a:tc>
                  <a:txBody>
                    <a:bodyPr/>
                    <a:lstStyle/>
                    <a:p>
                      <a:pPr algn="l" fontAlgn="b"/>
                      <a:r>
                        <a:rPr lang="en-IN" sz="1000" u="none" strike="noStrike" dirty="0">
                          <a:solidFill>
                            <a:srgbClr val="282828"/>
                          </a:solidFill>
                          <a:effectLst/>
                          <a:latin typeface="Arial" panose="020B0604020202020204" pitchFamily="34" charset="0"/>
                          <a:cs typeface="Arial" panose="020B0604020202020204" pitchFamily="34" charset="0"/>
                        </a:rPr>
                        <a:t>Veera </a:t>
                      </a:r>
                      <a:r>
                        <a:rPr lang="en-IN" sz="1000" u="none" strike="noStrike" dirty="0" err="1">
                          <a:solidFill>
                            <a:srgbClr val="282828"/>
                          </a:solidFill>
                          <a:effectLst/>
                          <a:latin typeface="Arial" panose="020B0604020202020204" pitchFamily="34" charset="0"/>
                          <a:cs typeface="Arial" panose="020B0604020202020204" pitchFamily="34" charset="0"/>
                        </a:rPr>
                        <a:t>Vahana</a:t>
                      </a:r>
                      <a:r>
                        <a:rPr lang="en-IN" sz="1000" u="none" strike="noStrike" dirty="0">
                          <a:solidFill>
                            <a:srgbClr val="282828"/>
                          </a:solidFill>
                          <a:effectLst/>
                          <a:latin typeface="Arial" panose="020B0604020202020204" pitchFamily="34" charset="0"/>
                          <a:cs typeface="Arial" panose="020B0604020202020204" pitchFamily="34" charset="0"/>
                        </a:rPr>
                        <a:t> </a:t>
                      </a:r>
                      <a:r>
                        <a:rPr lang="en-IN" sz="1000" u="none" strike="noStrike" dirty="0" err="1">
                          <a:solidFill>
                            <a:srgbClr val="282828"/>
                          </a:solidFill>
                          <a:effectLst/>
                          <a:latin typeface="Arial" panose="020B0604020202020204" pitchFamily="34" charset="0"/>
                          <a:cs typeface="Arial" panose="020B0604020202020204" pitchFamily="34" charset="0"/>
                        </a:rPr>
                        <a:t>Udyog</a:t>
                      </a:r>
                      <a:r>
                        <a:rPr lang="en-IN" sz="1000" u="none" strike="noStrike" dirty="0">
                          <a:solidFill>
                            <a:srgbClr val="282828"/>
                          </a:solidFill>
                          <a:effectLst/>
                          <a:latin typeface="Arial" panose="020B0604020202020204" pitchFamily="34" charset="0"/>
                          <a:cs typeface="Arial" panose="020B0604020202020204" pitchFamily="34" charset="0"/>
                        </a:rPr>
                        <a:t>  </a:t>
                      </a:r>
                      <a:r>
                        <a:rPr lang="en-IN" sz="1000" u="none" strike="noStrike" dirty="0" err="1">
                          <a:solidFill>
                            <a:srgbClr val="282828"/>
                          </a:solidFill>
                          <a:effectLst/>
                          <a:latin typeface="Arial" panose="020B0604020202020204" pitchFamily="34" charset="0"/>
                          <a:cs typeface="Arial" panose="020B0604020202020204" pitchFamily="34" charset="0"/>
                        </a:rPr>
                        <a:t>Pvt.</a:t>
                      </a:r>
                      <a:r>
                        <a:rPr lang="en-IN" sz="1000" u="none" strike="noStrike" dirty="0">
                          <a:solidFill>
                            <a:srgbClr val="282828"/>
                          </a:solidFill>
                          <a:effectLst/>
                          <a:latin typeface="Arial" panose="020B0604020202020204" pitchFamily="34" charset="0"/>
                          <a:cs typeface="Arial" panose="020B0604020202020204" pitchFamily="34" charset="0"/>
                        </a:rPr>
                        <a:t> Ltd.</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1000" u="none" strike="noStrike" kern="1200" dirty="0" err="1">
                          <a:solidFill>
                            <a:srgbClr val="282828"/>
                          </a:solidFill>
                          <a:effectLst/>
                          <a:latin typeface="Arial" panose="020B0604020202020204" pitchFamily="34" charset="0"/>
                          <a:cs typeface="Arial" panose="020B0604020202020204" pitchFamily="34" charset="0"/>
                        </a:rPr>
                        <a:t>Anantapur</a:t>
                      </a:r>
                      <a:r>
                        <a:rPr lang="en-IN" sz="1000" u="none" strike="noStrike" kern="1200" baseline="0" dirty="0">
                          <a:solidFill>
                            <a:srgbClr val="282828"/>
                          </a:solidFill>
                          <a:effectLst/>
                          <a:latin typeface="Arial" panose="020B0604020202020204" pitchFamily="34" charset="0"/>
                          <a:cs typeface="Arial" panose="020B0604020202020204" pitchFamily="34" charset="0"/>
                        </a:rPr>
                        <a:t>, Andhra Pradesh</a:t>
                      </a:r>
                      <a:endParaRPr lang="en-IN" sz="1000" b="0" i="0" u="none" strike="noStrike" kern="1200" dirty="0">
                        <a:solidFill>
                          <a:srgbClr val="282828"/>
                        </a:solidFill>
                        <a:effectLst/>
                        <a:latin typeface="Arial" panose="020B0604020202020204" pitchFamily="34" charset="0"/>
                        <a:ea typeface="+mn-ea"/>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3</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err="1">
                          <a:solidFill>
                            <a:srgbClr val="282828"/>
                          </a:solidFill>
                          <a:effectLst/>
                          <a:latin typeface="Arial" panose="020B0604020202020204" pitchFamily="34" charset="0"/>
                          <a:cs typeface="Arial" panose="020B0604020202020204" pitchFamily="34" charset="0"/>
                        </a:rPr>
                        <a:t>Rs</a:t>
                      </a:r>
                      <a:r>
                        <a:rPr lang="en-IN" sz="1000" u="none" strike="noStrike" dirty="0">
                          <a:solidFill>
                            <a:srgbClr val="282828"/>
                          </a:solidFill>
                          <a:effectLst/>
                          <a:latin typeface="Arial" panose="020B0604020202020204" pitchFamily="34" charset="0"/>
                          <a:cs typeface="Arial" panose="020B0604020202020204" pitchFamily="34" charset="0"/>
                        </a:rPr>
                        <a:t> 1 billion</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tc>
                  <a:txBody>
                    <a:bodyPr/>
                    <a:lstStyle/>
                    <a:p>
                      <a:pPr algn="ctr" fontAlgn="b"/>
                      <a:r>
                        <a:rPr lang="en-IN" sz="1000" u="none" strike="noStrike" dirty="0">
                          <a:solidFill>
                            <a:srgbClr val="282828"/>
                          </a:solidFill>
                          <a:effectLst/>
                          <a:latin typeface="Arial" panose="020B0604020202020204" pitchFamily="34" charset="0"/>
                          <a:cs typeface="Arial" panose="020B0604020202020204" pitchFamily="34" charset="0"/>
                        </a:rPr>
                        <a:t>Planning</a:t>
                      </a:r>
                      <a:endParaRPr lang="en-IN" sz="1000" b="0" i="0" u="none" strike="noStrike" dirty="0">
                        <a:solidFill>
                          <a:srgbClr val="282828"/>
                        </a:solidFill>
                        <a:effectLst/>
                        <a:latin typeface="Arial" panose="020B0604020202020204" pitchFamily="34" charset="0"/>
                        <a:cs typeface="Arial" panose="020B0604020202020204" pitchFamily="34" charset="0"/>
                      </a:endParaRPr>
                    </a:p>
                  </a:txBody>
                  <a:tcPr marL="44450" marR="44450" marT="44450" marB="44450" anchor="ctr">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solidFill>
                      <a:srgbClr val="D7D7D7"/>
                    </a:solidFill>
                  </a:tcPr>
                </a:tc>
                <a:extLst>
                  <a:ext uri="{0D108BD9-81ED-4DB2-BD59-A6C34878D82A}">
                    <a16:rowId xmlns:a16="http://schemas.microsoft.com/office/drawing/2014/main" val="10005"/>
                  </a:ext>
                </a:extLst>
              </a:tr>
            </a:tbl>
          </a:graphicData>
        </a:graphic>
      </p:graphicFrame>
      <p:graphicFrame>
        <p:nvGraphicFramePr>
          <p:cNvPr id="13" name="Chart 12">
            <a:extLst>
              <a:ext uri="{FF2B5EF4-FFF2-40B4-BE49-F238E27FC236}">
                <a16:creationId xmlns:a16="http://schemas.microsoft.com/office/drawing/2014/main" id="{00000000-0008-0000-0300-000003000000}"/>
              </a:ext>
            </a:extLst>
          </p:cNvPr>
          <p:cNvGraphicFramePr>
            <a:graphicFrameLocks/>
          </p:cNvGraphicFramePr>
          <p:nvPr/>
        </p:nvGraphicFramePr>
        <p:xfrm>
          <a:off x="407988" y="1182365"/>
          <a:ext cx="5616578" cy="446842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2813697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591" y="232404"/>
            <a:ext cx="11419964" cy="545551"/>
          </a:xfrm>
        </p:spPr>
        <p:txBody>
          <a:bodyPr vert="horz" lIns="0" tIns="0" rIns="0" bIns="0" rtlCol="0" anchor="ctr">
            <a:noAutofit/>
          </a:bodyPr>
          <a:lstStyle/>
          <a:p>
            <a:r>
              <a:rPr lang="en-US" sz="2400" b="1" dirty="0">
                <a:solidFill>
                  <a:schemeClr val="tx1"/>
                </a:solidFill>
                <a:latin typeface="Arial" panose="020B0604020202020204" pitchFamily="34" charset="0"/>
                <a:cs typeface="Arial" panose="020B0604020202020204" pitchFamily="34" charset="0"/>
              </a:rPr>
              <a:t>Cautious lending by banks; more focus on collections</a:t>
            </a:r>
          </a:p>
        </p:txBody>
      </p:sp>
      <p:sp>
        <p:nvSpPr>
          <p:cNvPr id="16" name="TextBox 15"/>
          <p:cNvSpPr txBox="1"/>
          <p:nvPr/>
        </p:nvSpPr>
        <p:spPr>
          <a:xfrm>
            <a:off x="287195" y="5359179"/>
            <a:ext cx="5683881" cy="246221"/>
          </a:xfrm>
          <a:prstGeom prst="rect">
            <a:avLst/>
          </a:prstGeom>
          <a:noFill/>
        </p:spPr>
        <p:txBody>
          <a:bodyPr wrap="square" lIns="91350" tIns="45680" rIns="91350" bIns="45680" rtlCol="0">
            <a:spAutoFit/>
          </a:bodyPr>
          <a:lstStyle/>
          <a:p>
            <a:pPr defTabSz="913520"/>
            <a:r>
              <a:rPr lang="en-IN" sz="1000" i="1" dirty="0">
                <a:solidFill>
                  <a:srgbClr val="000000"/>
                </a:solidFill>
                <a:latin typeface="Arial" panose="020B0604020202020204" pitchFamily="34" charset="0"/>
                <a:cs typeface="Arial" panose="020B0604020202020204" pitchFamily="34" charset="0"/>
              </a:rPr>
              <a:t>Source: Company Reports, Industry, </a:t>
            </a:r>
            <a:r>
              <a:rPr lang="en-US" sz="1000" i="1" dirty="0">
                <a:solidFill>
                  <a:prstClr val="black"/>
                </a:solidFill>
                <a:latin typeface="Arial" panose="020B0604020202020204" pitchFamily="34" charset="0"/>
                <a:cs typeface="Arial" panose="020B0604020202020204" pitchFamily="34" charset="0"/>
              </a:rPr>
              <a:t>Crisil Research</a:t>
            </a:r>
            <a:endParaRPr lang="en-IN" sz="1000" i="1" dirty="0">
              <a:solidFill>
                <a:srgbClr val="000000"/>
              </a:solidFill>
              <a:latin typeface="Arial" panose="020B0604020202020204" pitchFamily="34" charset="0"/>
              <a:cs typeface="Arial" panose="020B0604020202020204" pitchFamily="34" charset="0"/>
            </a:endParaRPr>
          </a:p>
        </p:txBody>
      </p:sp>
      <p:sp>
        <p:nvSpPr>
          <p:cNvPr id="14" name="Rectangle 13"/>
          <p:cNvSpPr/>
          <p:nvPr/>
        </p:nvSpPr>
        <p:spPr>
          <a:xfrm rot="5400000">
            <a:off x="9760403" y="-726252"/>
            <a:ext cx="356616" cy="3986855"/>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50" tIns="45680" rIns="91350" bIns="45680" rtlCol="0" anchor="ctr"/>
          <a:lstStyle/>
          <a:p>
            <a:pPr marL="12699" algn="ctr" defTabSz="913520"/>
            <a:r>
              <a:rPr lang="en-US" sz="1600" b="1" dirty="0">
                <a:solidFill>
                  <a:srgbClr val="FFFFFF"/>
                </a:solidFill>
                <a:latin typeface="Arial" panose="020B0604020202020204" pitchFamily="34" charset="0"/>
                <a:cs typeface="Arial" panose="020B0604020202020204" pitchFamily="34" charset="0"/>
              </a:rPr>
              <a:t>CV finance penetration</a:t>
            </a:r>
          </a:p>
        </p:txBody>
      </p:sp>
      <p:sp>
        <p:nvSpPr>
          <p:cNvPr id="12" name="Text Placeholder 47"/>
          <p:cNvSpPr txBox="1">
            <a:spLocks/>
          </p:cNvSpPr>
          <p:nvPr/>
        </p:nvSpPr>
        <p:spPr>
          <a:xfrm>
            <a:off x="4069445" y="1088867"/>
            <a:ext cx="3803264" cy="356617"/>
          </a:xfrm>
          <a:prstGeom prst="rect">
            <a:avLst/>
          </a:prstGeom>
          <a:solidFill>
            <a:schemeClr val="accent6">
              <a:lumMod val="50000"/>
            </a:schemeClr>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anchor="ctr">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lt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lt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0" indent="0" algn="ctr">
              <a:buFont typeface="Arial" panose="020B0604020202020204" pitchFamily="34" charset="0"/>
              <a:buNone/>
            </a:pPr>
            <a:r>
              <a:rPr lang="en-IN" sz="1600" b="1" dirty="0">
                <a:solidFill>
                  <a:srgbClr val="FFFFFF"/>
                </a:solidFill>
                <a:latin typeface="Arial" panose="020B0604020202020204" pitchFamily="34" charset="0"/>
                <a:cs typeface="Arial" panose="020B0604020202020204" pitchFamily="34" charset="0"/>
              </a:rPr>
              <a:t>Loan-to-value for CV</a:t>
            </a:r>
          </a:p>
        </p:txBody>
      </p:sp>
      <p:sp>
        <p:nvSpPr>
          <p:cNvPr id="11" name="Text Placeholder 47"/>
          <p:cNvSpPr txBox="1">
            <a:spLocks/>
          </p:cNvSpPr>
          <p:nvPr/>
        </p:nvSpPr>
        <p:spPr>
          <a:xfrm>
            <a:off x="267232" y="1088867"/>
            <a:ext cx="3730011" cy="356617"/>
          </a:xfrm>
          <a:prstGeom prst="rect">
            <a:avLst/>
          </a:prstGeom>
          <a:solidFill>
            <a:schemeClr val="accent6">
              <a:lumMod val="50000"/>
            </a:schemeClr>
          </a:solidFill>
          <a:ln w="635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anchor="ctr">
            <a:noAutofit/>
          </a:bodyPr>
          <a:lstStyle>
            <a:lvl1pPr marL="274320" indent="-274320" algn="l" defTabSz="1097280" rtl="0" eaLnBrk="1" latinLnBrk="0" hangingPunct="1">
              <a:lnSpc>
                <a:spcPct val="90000"/>
              </a:lnSpc>
              <a:spcBef>
                <a:spcPts val="1200"/>
              </a:spcBef>
              <a:buFont typeface="Arial" panose="020B0604020202020204" pitchFamily="34" charset="0"/>
              <a:buChar char="•"/>
              <a:defRPr sz="3360" kern="1200">
                <a:solidFill>
                  <a:schemeClr val="lt1"/>
                </a:solidFill>
                <a:latin typeface="+mn-lt"/>
                <a:ea typeface="+mn-ea"/>
                <a:cs typeface="+mn-cs"/>
              </a:defRPr>
            </a:lvl1pPr>
            <a:lvl2pPr marL="822960" indent="-274320" algn="l" defTabSz="1097280" rtl="0" eaLnBrk="1" latinLnBrk="0" hangingPunct="1">
              <a:lnSpc>
                <a:spcPct val="90000"/>
              </a:lnSpc>
              <a:spcBef>
                <a:spcPts val="600"/>
              </a:spcBef>
              <a:buFont typeface="Arial" panose="020B0604020202020204" pitchFamily="34" charset="0"/>
              <a:buChar char="•"/>
              <a:defRPr sz="2880" kern="1200">
                <a:solidFill>
                  <a:schemeClr val="lt1"/>
                </a:solidFill>
                <a:latin typeface="+mn-lt"/>
                <a:ea typeface="+mn-ea"/>
                <a:cs typeface="+mn-cs"/>
              </a:defRPr>
            </a:lvl2pPr>
            <a:lvl3pPr marL="1371600" indent="-274320" algn="l" defTabSz="1097280" rtl="0" eaLnBrk="1" latinLnBrk="0" hangingPunct="1">
              <a:lnSpc>
                <a:spcPct val="90000"/>
              </a:lnSpc>
              <a:spcBef>
                <a:spcPts val="600"/>
              </a:spcBef>
              <a:buFont typeface="Arial" panose="020B0604020202020204" pitchFamily="34" charset="0"/>
              <a:buChar char="•"/>
              <a:defRPr sz="2400" kern="1200">
                <a:solidFill>
                  <a:schemeClr val="lt1"/>
                </a:solidFill>
                <a:latin typeface="+mn-lt"/>
                <a:ea typeface="+mn-ea"/>
                <a:cs typeface="+mn-cs"/>
              </a:defRPr>
            </a:lvl3pPr>
            <a:lvl4pPr marL="19202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4pPr>
            <a:lvl5pPr marL="246888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lt1"/>
                </a:solidFill>
                <a:latin typeface="+mn-lt"/>
                <a:ea typeface="+mn-ea"/>
                <a:cs typeface="+mn-cs"/>
              </a:defRPr>
            </a:lvl9pPr>
          </a:lstStyle>
          <a:p>
            <a:pPr marL="0" indent="0" algn="ctr">
              <a:buFont typeface="Arial" panose="020B0604020202020204" pitchFamily="34" charset="0"/>
              <a:buNone/>
            </a:pPr>
            <a:r>
              <a:rPr lang="en-IN" sz="1600" b="1" dirty="0">
                <a:solidFill>
                  <a:srgbClr val="FFFFFF"/>
                </a:solidFill>
                <a:latin typeface="Arial" panose="020B0604020202020204" pitchFamily="34" charset="0"/>
                <a:cs typeface="Arial" panose="020B0604020202020204" pitchFamily="34" charset="0"/>
              </a:rPr>
              <a:t>CV finance rates (%)</a:t>
            </a:r>
          </a:p>
        </p:txBody>
      </p:sp>
      <p:sp>
        <p:nvSpPr>
          <p:cNvPr id="3" name="Rectangle 2">
            <a:extLst>
              <a:ext uri="{FF2B5EF4-FFF2-40B4-BE49-F238E27FC236}">
                <a16:creationId xmlns:a16="http://schemas.microsoft.com/office/drawing/2014/main" id="{92D1DCCC-E339-4D60-93CC-1196622AA6B0}"/>
              </a:ext>
            </a:extLst>
          </p:cNvPr>
          <p:cNvSpPr/>
          <p:nvPr/>
        </p:nvSpPr>
        <p:spPr>
          <a:xfrm>
            <a:off x="287196" y="5140534"/>
            <a:ext cx="4532819" cy="246221"/>
          </a:xfrm>
          <a:prstGeom prst="rect">
            <a:avLst/>
          </a:prstGeom>
          <a:ln>
            <a:noFill/>
          </a:ln>
        </p:spPr>
        <p:txBody>
          <a:bodyPr wrap="square" lIns="91350" tIns="45680" rIns="91350" bIns="45680">
            <a:spAutoFit/>
          </a:bodyPr>
          <a:lstStyle/>
          <a:p>
            <a:pPr defTabSz="913520"/>
            <a:r>
              <a:rPr lang="en-IN" sz="1000" i="1" dirty="0">
                <a:solidFill>
                  <a:srgbClr val="000000"/>
                </a:solidFill>
                <a:latin typeface="Arial" panose="020B0604020202020204" pitchFamily="34" charset="0"/>
                <a:cs typeface="Arial" panose="020B0604020202020204" pitchFamily="34" charset="0"/>
              </a:rPr>
              <a:t>NOTE - Interest rates are an indicative rates charged by Banks</a:t>
            </a:r>
            <a:endParaRPr lang="en-US" sz="1000" i="1" dirty="0">
              <a:solidFill>
                <a:srgbClr val="000000"/>
              </a:solidFill>
            </a:endParaRPr>
          </a:p>
        </p:txBody>
      </p:sp>
      <p:graphicFrame>
        <p:nvGraphicFramePr>
          <p:cNvPr id="19" name="Chart 18">
            <a:extLst>
              <a:ext uri="{FF2B5EF4-FFF2-40B4-BE49-F238E27FC236}">
                <a16:creationId xmlns:a16="http://schemas.microsoft.com/office/drawing/2014/main" id="{00000000-0008-0000-0000-000009000000}"/>
              </a:ext>
            </a:extLst>
          </p:cNvPr>
          <p:cNvGraphicFramePr>
            <a:graphicFrameLocks/>
          </p:cNvGraphicFramePr>
          <p:nvPr/>
        </p:nvGraphicFramePr>
        <p:xfrm>
          <a:off x="7959470" y="1445483"/>
          <a:ext cx="3972668" cy="33730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00000000-0008-0000-0000-000008000000}"/>
              </a:ext>
            </a:extLst>
          </p:cNvPr>
          <p:cNvGraphicFramePr>
            <a:graphicFrameLocks/>
          </p:cNvGraphicFramePr>
          <p:nvPr/>
        </p:nvGraphicFramePr>
        <p:xfrm>
          <a:off x="4069444" y="1494262"/>
          <a:ext cx="3803264" cy="3536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00000000-0008-0000-0000-000002000000}"/>
              </a:ext>
            </a:extLst>
          </p:cNvPr>
          <p:cNvGraphicFramePr>
            <a:graphicFrameLocks/>
          </p:cNvGraphicFramePr>
          <p:nvPr/>
        </p:nvGraphicFramePr>
        <p:xfrm>
          <a:off x="216265" y="1524152"/>
          <a:ext cx="3803264" cy="303757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542597881"/>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62" y="276999"/>
            <a:ext cx="11589070" cy="332399"/>
          </a:xfrm>
        </p:spPr>
        <p:txBody>
          <a:bodyPr>
            <a:noAutofit/>
          </a:bodyPr>
          <a:lstStyle/>
          <a:p>
            <a:pPr defTabSz="914400"/>
            <a:r>
              <a:rPr lang="en-US" sz="2400" b="1" dirty="0">
                <a:solidFill>
                  <a:schemeClr val="tx1"/>
                </a:solidFill>
                <a:latin typeface="Arial" panose="020B0604020202020204" pitchFamily="34" charset="0"/>
                <a:cs typeface="Arial" panose="020B0604020202020204" pitchFamily="34" charset="0"/>
              </a:rPr>
              <a:t>Retail &amp; offtake showing recovery on sequential basis</a:t>
            </a:r>
          </a:p>
        </p:txBody>
      </p:sp>
      <p:sp>
        <p:nvSpPr>
          <p:cNvPr id="58" name="TextBox 57">
            <a:extLst>
              <a:ext uri="{FF2B5EF4-FFF2-40B4-BE49-F238E27FC236}">
                <a16:creationId xmlns:a16="http://schemas.microsoft.com/office/drawing/2014/main" id="{367E58AB-A4EF-42DA-BBB8-E897BC5B5F05}"/>
              </a:ext>
            </a:extLst>
          </p:cNvPr>
          <p:cNvSpPr txBox="1"/>
          <p:nvPr/>
        </p:nvSpPr>
        <p:spPr>
          <a:xfrm>
            <a:off x="314015" y="4798226"/>
            <a:ext cx="3093438" cy="246221"/>
          </a:xfrm>
          <a:prstGeom prst="rect">
            <a:avLst/>
          </a:prstGeom>
          <a:noFill/>
        </p:spPr>
        <p:txBody>
          <a:bodyPr wrap="square" lIns="91350" tIns="45680" rIns="91350" bIns="45680" rtlCol="0">
            <a:spAutoFit/>
          </a:bodyPr>
          <a:lstStyle/>
          <a:p>
            <a:pPr defTabSz="913520">
              <a:defRPr/>
            </a:pPr>
            <a:r>
              <a:rPr lang="en-US" sz="1000" i="1" dirty="0">
                <a:solidFill>
                  <a:prstClr val="black"/>
                </a:solidFill>
                <a:latin typeface="Arial" panose="020B0604020202020204" pitchFamily="34" charset="0"/>
                <a:cs typeface="Arial" panose="020B0604020202020204" pitchFamily="34" charset="0"/>
              </a:rPr>
              <a:t>Source: SIAM, </a:t>
            </a:r>
            <a:r>
              <a:rPr lang="en-US" sz="1000" i="1" dirty="0" err="1">
                <a:solidFill>
                  <a:prstClr val="black"/>
                </a:solidFill>
                <a:latin typeface="Arial" panose="020B0604020202020204" pitchFamily="34" charset="0"/>
                <a:cs typeface="Arial" panose="020B0604020202020204" pitchFamily="34" charset="0"/>
              </a:rPr>
              <a:t>MoRTH</a:t>
            </a:r>
            <a:r>
              <a:rPr lang="en-US" sz="1000" i="1" dirty="0">
                <a:solidFill>
                  <a:prstClr val="black"/>
                </a:solidFill>
                <a:latin typeface="Arial" panose="020B0604020202020204" pitchFamily="34" charset="0"/>
                <a:cs typeface="Arial" panose="020B0604020202020204" pitchFamily="34" charset="0"/>
              </a:rPr>
              <a:t>, CRISIL Research</a:t>
            </a:r>
          </a:p>
        </p:txBody>
      </p:sp>
      <p:sp>
        <p:nvSpPr>
          <p:cNvPr id="8" name="Rectangle 7">
            <a:extLst>
              <a:ext uri="{FF2B5EF4-FFF2-40B4-BE49-F238E27FC236}">
                <a16:creationId xmlns:a16="http://schemas.microsoft.com/office/drawing/2014/main" id="{E647EED1-754F-47FA-BD7C-6421D3F7AEEC}"/>
              </a:ext>
            </a:extLst>
          </p:cNvPr>
          <p:cNvSpPr/>
          <p:nvPr/>
        </p:nvSpPr>
        <p:spPr>
          <a:xfrm rot="5400000">
            <a:off x="5917695" y="-4781389"/>
            <a:ext cx="356616" cy="11454064"/>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50" tIns="45680" rIns="91350" bIns="45680" rtlCol="0" anchor="ctr"/>
          <a:lstStyle/>
          <a:p>
            <a:pPr algn="ctr" defTabSz="913520">
              <a:defRPr/>
            </a:pPr>
            <a:r>
              <a:rPr lang="en-GB" sz="1600" b="1" dirty="0">
                <a:solidFill>
                  <a:prstClr val="white"/>
                </a:solidFill>
                <a:latin typeface="Arial" panose="020B0604020202020204" pitchFamily="34" charset="0"/>
              </a:rPr>
              <a:t>Retail vs off-take (Growth y-o-y)</a:t>
            </a:r>
          </a:p>
        </p:txBody>
      </p:sp>
      <p:graphicFrame>
        <p:nvGraphicFramePr>
          <p:cNvPr id="9" name="Chart 8">
            <a:extLst>
              <a:ext uri="{FF2B5EF4-FFF2-40B4-BE49-F238E27FC236}">
                <a16:creationId xmlns:a16="http://schemas.microsoft.com/office/drawing/2014/main" id="{00000000-0008-0000-0A00-000005000000}"/>
              </a:ext>
            </a:extLst>
          </p:cNvPr>
          <p:cNvGraphicFramePr>
            <a:graphicFrameLocks/>
          </p:cNvGraphicFramePr>
          <p:nvPr/>
        </p:nvGraphicFramePr>
        <p:xfrm>
          <a:off x="368964" y="1133046"/>
          <a:ext cx="11454063" cy="36651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94412496"/>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922" y="211708"/>
            <a:ext cx="11675778" cy="736602"/>
          </a:xfrm>
        </p:spPr>
        <p:txBody>
          <a:bodyPr vert="horz" lIns="0" tIns="0" rIns="0" bIns="0" rtlCol="0" anchor="ctr">
            <a:noAutofit/>
          </a:bodyPr>
          <a:lstStyle/>
          <a:p>
            <a:pPr defTabSz="914400"/>
            <a:r>
              <a:rPr lang="en-US" sz="2400" b="1" dirty="0">
                <a:solidFill>
                  <a:schemeClr val="tx1"/>
                </a:solidFill>
                <a:latin typeface="Arial" panose="020B0604020202020204" pitchFamily="34" charset="0"/>
                <a:cs typeface="Arial" panose="020B0604020202020204" pitchFamily="34" charset="0"/>
              </a:rPr>
              <a:t>Production of LCV and MHCVs in Q4 FY22</a:t>
            </a:r>
          </a:p>
        </p:txBody>
      </p:sp>
      <p:sp>
        <p:nvSpPr>
          <p:cNvPr id="10" name="Rectangle 9">
            <a:extLst>
              <a:ext uri="{FF2B5EF4-FFF2-40B4-BE49-F238E27FC236}">
                <a16:creationId xmlns:a16="http://schemas.microsoft.com/office/drawing/2014/main" id="{DEEBDB18-9B8A-46A4-9EC7-E3F5D72A3DE3}"/>
              </a:ext>
            </a:extLst>
          </p:cNvPr>
          <p:cNvSpPr/>
          <p:nvPr/>
        </p:nvSpPr>
        <p:spPr>
          <a:xfrm rot="5400000">
            <a:off x="2962880" y="-1444653"/>
            <a:ext cx="384592" cy="545885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50" tIns="45680" rIns="91350" bIns="45680" rtlCol="0" anchor="ctr"/>
          <a:lstStyle/>
          <a:p>
            <a:pPr algn="ctr" defTabSz="913520"/>
            <a:r>
              <a:rPr lang="en-US" sz="1600" b="1" dirty="0">
                <a:solidFill>
                  <a:srgbClr val="FFFFFF"/>
                </a:solidFill>
                <a:latin typeface="Arial" panose="020B0604020202020204" pitchFamily="34" charset="0"/>
              </a:rPr>
              <a:t>LCV production levels </a:t>
            </a:r>
          </a:p>
        </p:txBody>
      </p:sp>
      <p:sp>
        <p:nvSpPr>
          <p:cNvPr id="14" name="TextBox 13">
            <a:extLst>
              <a:ext uri="{FF2B5EF4-FFF2-40B4-BE49-F238E27FC236}">
                <a16:creationId xmlns:a16="http://schemas.microsoft.com/office/drawing/2014/main" id="{071AF4A1-F40F-4503-8D62-A7238486F81B}"/>
              </a:ext>
            </a:extLst>
          </p:cNvPr>
          <p:cNvSpPr txBox="1"/>
          <p:nvPr/>
        </p:nvSpPr>
        <p:spPr>
          <a:xfrm>
            <a:off x="425750" y="5355637"/>
            <a:ext cx="11635620" cy="276918"/>
          </a:xfrm>
          <a:prstGeom prst="rect">
            <a:avLst/>
          </a:prstGeom>
          <a:solidFill>
            <a:schemeClr val="bg1">
              <a:lumMod val="85000"/>
            </a:schemeClr>
          </a:solidFill>
        </p:spPr>
        <p:txBody>
          <a:bodyPr wrap="square" lIns="91350" tIns="45680" rIns="91350" bIns="45680" rtlCol="0" anchor="ctr">
            <a:spAutoFit/>
          </a:bodyPr>
          <a:lstStyle/>
          <a:p>
            <a:pPr marL="171282" indent="-171282" defTabSz="913520">
              <a:buSzPct val="150000"/>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LCV production witnessed growth of 17% </a:t>
            </a:r>
            <a:r>
              <a:rPr lang="en-US" sz="1200" dirty="0" err="1">
                <a:solidFill>
                  <a:srgbClr val="000000"/>
                </a:solidFill>
                <a:latin typeface="Arial" panose="020B0604020202020204" pitchFamily="34" charset="0"/>
                <a:cs typeface="Arial" panose="020B0604020202020204" pitchFamily="34" charset="0"/>
              </a:rPr>
              <a:t>yoy</a:t>
            </a:r>
            <a:r>
              <a:rPr lang="en-US" sz="1200" dirty="0">
                <a:solidFill>
                  <a:srgbClr val="000000"/>
                </a:solidFill>
                <a:latin typeface="Arial" panose="020B0604020202020204" pitchFamily="34" charset="0"/>
                <a:cs typeface="Arial" panose="020B0604020202020204" pitchFamily="34" charset="0"/>
              </a:rPr>
              <a:t> and MHCV of 12% </a:t>
            </a:r>
            <a:r>
              <a:rPr lang="en-US" sz="1200" dirty="0" err="1">
                <a:solidFill>
                  <a:srgbClr val="000000"/>
                </a:solidFill>
                <a:latin typeface="Arial" panose="020B0604020202020204" pitchFamily="34" charset="0"/>
                <a:cs typeface="Arial" panose="020B0604020202020204" pitchFamily="34" charset="0"/>
              </a:rPr>
              <a:t>yoy</a:t>
            </a:r>
            <a:r>
              <a:rPr lang="en-US" sz="1200" dirty="0">
                <a:solidFill>
                  <a:srgbClr val="000000"/>
                </a:solidFill>
                <a:latin typeface="Arial" panose="020B0604020202020204" pitchFamily="34" charset="0"/>
                <a:cs typeface="Arial" panose="020B0604020202020204" pitchFamily="34" charset="0"/>
              </a:rPr>
              <a:t> in Q4 FY22. </a:t>
            </a:r>
          </a:p>
        </p:txBody>
      </p:sp>
      <p:sp>
        <p:nvSpPr>
          <p:cNvPr id="8" name="Rectangle 7">
            <a:extLst>
              <a:ext uri="{FF2B5EF4-FFF2-40B4-BE49-F238E27FC236}">
                <a16:creationId xmlns:a16="http://schemas.microsoft.com/office/drawing/2014/main" id="{DEEBDB18-9B8A-46A4-9EC7-E3F5D72A3DE3}"/>
              </a:ext>
            </a:extLst>
          </p:cNvPr>
          <p:cNvSpPr/>
          <p:nvPr/>
        </p:nvSpPr>
        <p:spPr>
          <a:xfrm rot="5400000">
            <a:off x="8973900" y="-1626752"/>
            <a:ext cx="400111" cy="5807531"/>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50" tIns="45680" rIns="91350" bIns="45680" rtlCol="0" anchor="ctr"/>
          <a:lstStyle/>
          <a:p>
            <a:pPr algn="ctr" defTabSz="913520"/>
            <a:r>
              <a:rPr lang="en-US" sz="1600" b="1" dirty="0">
                <a:solidFill>
                  <a:srgbClr val="FFFFFF"/>
                </a:solidFill>
                <a:latin typeface="Arial" panose="020B0604020202020204" pitchFamily="34" charset="0"/>
              </a:rPr>
              <a:t>M&amp;HCV production levels</a:t>
            </a:r>
          </a:p>
        </p:txBody>
      </p:sp>
      <p:sp>
        <p:nvSpPr>
          <p:cNvPr id="15" name="TextBox 14">
            <a:extLst>
              <a:ext uri="{FF2B5EF4-FFF2-40B4-BE49-F238E27FC236}">
                <a16:creationId xmlns:a16="http://schemas.microsoft.com/office/drawing/2014/main" id="{A93C4987-7090-4EDF-964F-518DEFD2650E}"/>
              </a:ext>
            </a:extLst>
          </p:cNvPr>
          <p:cNvSpPr txBox="1"/>
          <p:nvPr/>
        </p:nvSpPr>
        <p:spPr>
          <a:xfrm>
            <a:off x="320679" y="5931656"/>
            <a:ext cx="5683881" cy="400110"/>
          </a:xfrm>
          <a:prstGeom prst="rect">
            <a:avLst/>
          </a:prstGeom>
          <a:noFill/>
        </p:spPr>
        <p:txBody>
          <a:bodyPr wrap="square" lIns="91350" tIns="45680" rIns="91350" bIns="45680" rtlCol="0">
            <a:spAutoFit/>
          </a:bodyPr>
          <a:lstStyle/>
          <a:p>
            <a:pPr defTabSz="913520"/>
            <a:r>
              <a:rPr lang="en-IN" sz="1000" i="1" dirty="0">
                <a:solidFill>
                  <a:srgbClr val="000000"/>
                </a:solidFill>
                <a:latin typeface="Arial" panose="020B0604020202020204" pitchFamily="34" charset="0"/>
                <a:cs typeface="Arial" panose="020B0604020202020204" pitchFamily="34" charset="0"/>
              </a:rPr>
              <a:t>NOTE: Figures in thousands</a:t>
            </a:r>
          </a:p>
          <a:p>
            <a:pPr defTabSz="913520"/>
            <a:r>
              <a:rPr lang="en-IN" sz="1000" i="1" dirty="0">
                <a:solidFill>
                  <a:srgbClr val="000000"/>
                </a:solidFill>
                <a:latin typeface="Arial" panose="020B0604020202020204" pitchFamily="34" charset="0"/>
                <a:cs typeface="Arial" panose="020B0604020202020204" pitchFamily="34" charset="0"/>
              </a:rPr>
              <a:t>Source: SIAM, </a:t>
            </a:r>
            <a:r>
              <a:rPr lang="en-US" sz="1000" i="1" dirty="0">
                <a:solidFill>
                  <a:prstClr val="black"/>
                </a:solidFill>
                <a:latin typeface="Arial" panose="020B0604020202020204" pitchFamily="34" charset="0"/>
                <a:cs typeface="Arial" panose="020B0604020202020204" pitchFamily="34" charset="0"/>
              </a:rPr>
              <a:t>CRISIL Research</a:t>
            </a:r>
            <a:endParaRPr lang="en-IN" sz="1000" i="1" dirty="0">
              <a:solidFill>
                <a:srgbClr val="000000"/>
              </a:solidFill>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00000000-0008-0000-0C00-000002000000}"/>
              </a:ext>
            </a:extLst>
          </p:cNvPr>
          <p:cNvGraphicFramePr>
            <a:graphicFrameLocks/>
          </p:cNvGraphicFramePr>
          <p:nvPr/>
        </p:nvGraphicFramePr>
        <p:xfrm>
          <a:off x="425749" y="1532394"/>
          <a:ext cx="5458854" cy="34505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00000000-0008-0000-0C00-000003000000}"/>
              </a:ext>
            </a:extLst>
          </p:cNvPr>
          <p:cNvGraphicFramePr>
            <a:graphicFrameLocks/>
          </p:cNvGraphicFramePr>
          <p:nvPr/>
        </p:nvGraphicFramePr>
        <p:xfrm>
          <a:off x="6270190" y="1533939"/>
          <a:ext cx="5791180" cy="344902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834703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276" y="215312"/>
            <a:ext cx="11562328" cy="736602"/>
          </a:xfrm>
        </p:spPr>
        <p:txBody>
          <a:bodyPr vert="horz" lIns="0" tIns="0" rIns="0" bIns="0" rtlCol="0" anchor="ctr">
            <a:noAutofit/>
          </a:bodyPr>
          <a:lstStyle/>
          <a:p>
            <a:pPr defTabSz="914400"/>
            <a:r>
              <a:rPr lang="en-US" sz="2400" b="1" dirty="0">
                <a:solidFill>
                  <a:schemeClr val="tx1"/>
                </a:solidFill>
                <a:latin typeface="Arial" panose="020B0604020202020204" pitchFamily="34" charset="0"/>
                <a:cs typeface="Arial" panose="020B0604020202020204" pitchFamily="34" charset="0"/>
              </a:rPr>
              <a:t>Bus demand is still subdued</a:t>
            </a:r>
          </a:p>
        </p:txBody>
      </p:sp>
      <p:sp>
        <p:nvSpPr>
          <p:cNvPr id="10" name="Rectangle 9">
            <a:extLst>
              <a:ext uri="{FF2B5EF4-FFF2-40B4-BE49-F238E27FC236}">
                <a16:creationId xmlns:a16="http://schemas.microsoft.com/office/drawing/2014/main" id="{DEEBDB18-9B8A-46A4-9EC7-E3F5D72A3DE3}"/>
              </a:ext>
            </a:extLst>
          </p:cNvPr>
          <p:cNvSpPr/>
          <p:nvPr/>
        </p:nvSpPr>
        <p:spPr>
          <a:xfrm rot="5400000">
            <a:off x="6044850" y="-4446266"/>
            <a:ext cx="400110" cy="11447403"/>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350" tIns="45680" rIns="91350" bIns="45680" rtlCol="0" anchor="ctr"/>
          <a:lstStyle/>
          <a:p>
            <a:pPr algn="ctr" defTabSz="913520"/>
            <a:r>
              <a:rPr lang="en-US" sz="1600" b="1" dirty="0">
                <a:solidFill>
                  <a:srgbClr val="FFFFFF"/>
                </a:solidFill>
                <a:latin typeface="Arial" panose="020B0604020202020204" pitchFamily="34" charset="0"/>
                <a:cs typeface="Arial" panose="020B0604020202020204" pitchFamily="34" charset="0"/>
              </a:rPr>
              <a:t>Buses production levels </a:t>
            </a:r>
          </a:p>
        </p:txBody>
      </p:sp>
      <p:sp>
        <p:nvSpPr>
          <p:cNvPr id="14" name="TextBox 13">
            <a:extLst>
              <a:ext uri="{FF2B5EF4-FFF2-40B4-BE49-F238E27FC236}">
                <a16:creationId xmlns:a16="http://schemas.microsoft.com/office/drawing/2014/main" id="{071AF4A1-F40F-4503-8D62-A7238486F81B}"/>
              </a:ext>
            </a:extLst>
          </p:cNvPr>
          <p:cNvSpPr txBox="1"/>
          <p:nvPr/>
        </p:nvSpPr>
        <p:spPr>
          <a:xfrm>
            <a:off x="513582" y="5126210"/>
            <a:ext cx="11455022" cy="761659"/>
          </a:xfrm>
          <a:prstGeom prst="rect">
            <a:avLst/>
          </a:prstGeom>
          <a:solidFill>
            <a:schemeClr val="bg1">
              <a:lumMod val="85000"/>
            </a:schemeClr>
          </a:solidFill>
        </p:spPr>
        <p:txBody>
          <a:bodyPr wrap="square" lIns="91350" tIns="45680" rIns="91350" bIns="45680" rtlCol="0" anchor="ctr">
            <a:noAutofit/>
          </a:bodyPr>
          <a:lstStyle/>
          <a:p>
            <a:pPr marL="285480" indent="-285480" defTabSz="913520">
              <a:buSzPct val="140000"/>
              <a:buFont typeface="Arial" panose="020B0604020202020204" pitchFamily="34" charset="0"/>
              <a:buChar char="•"/>
              <a:defRPr/>
            </a:pPr>
            <a:r>
              <a:rPr lang="en-US" sz="1300" dirty="0">
                <a:solidFill>
                  <a:srgbClr val="000000"/>
                </a:solidFill>
                <a:latin typeface="Arial" panose="020B0604020202020204" pitchFamily="34" charset="0"/>
                <a:cs typeface="Arial" panose="020B0604020202020204" pitchFamily="34" charset="0"/>
              </a:rPr>
              <a:t>Demand for buses has been depressed even in Q4 FY22. Though Production saw a growth of 26% in Q4 FY22 compared to same quarter last year. </a:t>
            </a:r>
          </a:p>
        </p:txBody>
      </p:sp>
      <p:sp>
        <p:nvSpPr>
          <p:cNvPr id="9" name="TextBox 8">
            <a:extLst>
              <a:ext uri="{FF2B5EF4-FFF2-40B4-BE49-F238E27FC236}">
                <a16:creationId xmlns:a16="http://schemas.microsoft.com/office/drawing/2014/main" id="{A93C4987-7090-4EDF-964F-518DEFD2650E}"/>
              </a:ext>
            </a:extLst>
          </p:cNvPr>
          <p:cNvSpPr txBox="1"/>
          <p:nvPr/>
        </p:nvSpPr>
        <p:spPr>
          <a:xfrm>
            <a:off x="342454" y="5957782"/>
            <a:ext cx="5683881" cy="400110"/>
          </a:xfrm>
          <a:prstGeom prst="rect">
            <a:avLst/>
          </a:prstGeom>
          <a:noFill/>
        </p:spPr>
        <p:txBody>
          <a:bodyPr wrap="square" lIns="91350" tIns="45680" rIns="91350" bIns="45680" rtlCol="0">
            <a:spAutoFit/>
          </a:bodyPr>
          <a:lstStyle/>
          <a:p>
            <a:pPr defTabSz="913520"/>
            <a:r>
              <a:rPr lang="en-IN" sz="1000" i="1" dirty="0">
                <a:solidFill>
                  <a:srgbClr val="000000"/>
                </a:solidFill>
                <a:latin typeface="Arial" panose="020B0604020202020204" pitchFamily="34" charset="0"/>
                <a:cs typeface="Arial" panose="020B0604020202020204" pitchFamily="34" charset="0"/>
              </a:rPr>
              <a:t>NOTE: Figures in thousands</a:t>
            </a:r>
          </a:p>
          <a:p>
            <a:pPr defTabSz="913520"/>
            <a:r>
              <a:rPr lang="en-IN" sz="1000" i="1" dirty="0">
                <a:solidFill>
                  <a:srgbClr val="000000"/>
                </a:solidFill>
                <a:latin typeface="Arial" panose="020B0604020202020204" pitchFamily="34" charset="0"/>
                <a:cs typeface="Arial" panose="020B0604020202020204" pitchFamily="34" charset="0"/>
              </a:rPr>
              <a:t>Source: SIAM, </a:t>
            </a:r>
            <a:r>
              <a:rPr lang="en-US" sz="1000" i="1" dirty="0">
                <a:solidFill>
                  <a:prstClr val="black"/>
                </a:solidFill>
                <a:latin typeface="Arial" panose="020B0604020202020204" pitchFamily="34" charset="0"/>
                <a:cs typeface="Arial" panose="020B0604020202020204" pitchFamily="34" charset="0"/>
              </a:rPr>
              <a:t>CRISIL Research</a:t>
            </a:r>
            <a:endParaRPr lang="en-IN" sz="1000" i="1" dirty="0">
              <a:solidFill>
                <a:srgbClr val="000000"/>
              </a:solidFill>
              <a:latin typeface="Arial" panose="020B0604020202020204" pitchFamily="34" charset="0"/>
              <a:cs typeface="Arial" panose="020B0604020202020204" pitchFamily="34" charset="0"/>
            </a:endParaRPr>
          </a:p>
        </p:txBody>
      </p:sp>
      <p:graphicFrame>
        <p:nvGraphicFramePr>
          <p:cNvPr id="8" name="Chart 7">
            <a:extLst>
              <a:ext uri="{FF2B5EF4-FFF2-40B4-BE49-F238E27FC236}">
                <a16:creationId xmlns:a16="http://schemas.microsoft.com/office/drawing/2014/main" id="{00000000-0008-0000-0C00-000004000000}"/>
              </a:ext>
            </a:extLst>
          </p:cNvPr>
          <p:cNvGraphicFramePr>
            <a:graphicFrameLocks/>
          </p:cNvGraphicFramePr>
          <p:nvPr/>
        </p:nvGraphicFramePr>
        <p:xfrm>
          <a:off x="475615" y="1547403"/>
          <a:ext cx="11492989" cy="337391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4368918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276" y="215312"/>
            <a:ext cx="11562328" cy="736602"/>
          </a:xfrm>
        </p:spPr>
        <p:txBody>
          <a:bodyPr vert="horz" lIns="0" tIns="0" rIns="0" bIns="0" rtlCol="0" anchor="ctr">
            <a:noAutofit/>
          </a:bodyPr>
          <a:lstStyle/>
          <a:p>
            <a:pPr>
              <a:defRPr/>
            </a:pPr>
            <a:r>
              <a:rPr lang="en-US" sz="2800" b="1" dirty="0">
                <a:solidFill>
                  <a:schemeClr val="tx1"/>
                </a:solidFill>
                <a:latin typeface="Arial" panose="020B0604020202020204" pitchFamily="34" charset="0"/>
                <a:cs typeface="Arial" panose="020B0604020202020204" pitchFamily="34" charset="0"/>
              </a:rPr>
              <a:t>Domestic – Annual Forecast (Base case)</a:t>
            </a:r>
          </a:p>
        </p:txBody>
      </p:sp>
      <p:grpSp>
        <p:nvGrpSpPr>
          <p:cNvPr id="8" name="Group 7"/>
          <p:cNvGrpSpPr/>
          <p:nvPr/>
        </p:nvGrpSpPr>
        <p:grpSpPr>
          <a:xfrm>
            <a:off x="1380010" y="1391515"/>
            <a:ext cx="9513071" cy="2548028"/>
            <a:chOff x="2427163" y="1237140"/>
            <a:chExt cx="9513071" cy="2548028"/>
          </a:xfrm>
        </p:grpSpPr>
        <p:sp>
          <p:nvSpPr>
            <p:cNvPr id="12" name="Rounded Rectangle 2"/>
            <p:cNvSpPr/>
            <p:nvPr/>
          </p:nvSpPr>
          <p:spPr>
            <a:xfrm>
              <a:off x="2427163" y="1975320"/>
              <a:ext cx="169200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1 volumes</a:t>
              </a:r>
            </a:p>
          </p:txBody>
        </p:sp>
        <p:sp>
          <p:nvSpPr>
            <p:cNvPr id="13" name="Rectangle 12"/>
            <p:cNvSpPr/>
            <p:nvPr/>
          </p:nvSpPr>
          <p:spPr>
            <a:xfrm>
              <a:off x="4145362" y="1254725"/>
              <a:ext cx="1737360" cy="5486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V</a:t>
              </a:r>
            </a:p>
          </p:txBody>
        </p:sp>
        <p:sp>
          <p:nvSpPr>
            <p:cNvPr id="15" name="Rectangle 14"/>
            <p:cNvSpPr/>
            <p:nvPr/>
          </p:nvSpPr>
          <p:spPr>
            <a:xfrm>
              <a:off x="6154472" y="1254725"/>
              <a:ext cx="1737360" cy="5486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CV cargo</a:t>
              </a:r>
            </a:p>
          </p:txBody>
        </p:sp>
        <p:sp>
          <p:nvSpPr>
            <p:cNvPr id="16" name="Rectangle 15"/>
            <p:cNvSpPr/>
            <p:nvPr/>
          </p:nvSpPr>
          <p:spPr>
            <a:xfrm>
              <a:off x="8155664" y="1237140"/>
              <a:ext cx="1737360" cy="5486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HCV cargo</a:t>
              </a:r>
            </a:p>
          </p:txBody>
        </p:sp>
        <p:sp>
          <p:nvSpPr>
            <p:cNvPr id="24" name="Rectangle 23"/>
            <p:cNvSpPr/>
            <p:nvPr/>
          </p:nvSpPr>
          <p:spPr>
            <a:xfrm>
              <a:off x="6332801" y="1975320"/>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95</a:t>
              </a:r>
            </a:p>
          </p:txBody>
        </p:sp>
        <p:sp>
          <p:nvSpPr>
            <p:cNvPr id="25" name="Rectangle 24"/>
            <p:cNvSpPr/>
            <p:nvPr/>
          </p:nvSpPr>
          <p:spPr>
            <a:xfrm>
              <a:off x="8338544" y="1961452"/>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4</a:t>
              </a:r>
            </a:p>
          </p:txBody>
        </p:sp>
        <p:sp>
          <p:nvSpPr>
            <p:cNvPr id="26" name="Rectangle 25"/>
            <p:cNvSpPr/>
            <p:nvPr/>
          </p:nvSpPr>
          <p:spPr>
            <a:xfrm>
              <a:off x="4340309" y="1961452"/>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66</a:t>
              </a:r>
            </a:p>
          </p:txBody>
        </p:sp>
        <p:sp>
          <p:nvSpPr>
            <p:cNvPr id="27" name="Rectangle 26"/>
            <p:cNvSpPr/>
            <p:nvPr/>
          </p:nvSpPr>
          <p:spPr>
            <a:xfrm>
              <a:off x="6332801" y="2393536"/>
              <a:ext cx="1554480" cy="3657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2%</a:t>
              </a:r>
            </a:p>
          </p:txBody>
        </p:sp>
        <p:sp>
          <p:nvSpPr>
            <p:cNvPr id="28" name="Rectangle 27"/>
            <p:cNvSpPr/>
            <p:nvPr/>
          </p:nvSpPr>
          <p:spPr>
            <a:xfrm>
              <a:off x="8338544" y="2393536"/>
              <a:ext cx="1554480" cy="3657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7%</a:t>
              </a:r>
            </a:p>
          </p:txBody>
        </p:sp>
        <p:sp>
          <p:nvSpPr>
            <p:cNvPr id="29" name="Rectangle 28"/>
            <p:cNvSpPr/>
            <p:nvPr/>
          </p:nvSpPr>
          <p:spPr>
            <a:xfrm>
              <a:off x="4340309" y="2375627"/>
              <a:ext cx="1554480" cy="3657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1%</a:t>
              </a:r>
            </a:p>
          </p:txBody>
        </p:sp>
        <p:sp>
          <p:nvSpPr>
            <p:cNvPr id="30" name="Rounded Rectangle 35"/>
            <p:cNvSpPr/>
            <p:nvPr/>
          </p:nvSpPr>
          <p:spPr>
            <a:xfrm>
              <a:off x="2427163" y="2402035"/>
              <a:ext cx="169200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1</a:t>
              </a:r>
            </a:p>
          </p:txBody>
        </p:sp>
        <p:sp>
          <p:nvSpPr>
            <p:cNvPr id="31" name="Rounded Rectangle 2">
              <a:extLst>
                <a:ext uri="{FF2B5EF4-FFF2-40B4-BE49-F238E27FC236}">
                  <a16:creationId xmlns:a16="http://schemas.microsoft.com/office/drawing/2014/main" id="{F940DDEC-566B-43EC-A331-15E9BFF2C6B1}"/>
                </a:ext>
              </a:extLst>
            </p:cNvPr>
            <p:cNvSpPr/>
            <p:nvPr/>
          </p:nvSpPr>
          <p:spPr>
            <a:xfrm>
              <a:off x="2427163" y="2977582"/>
              <a:ext cx="1692000" cy="36576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2E volumes</a:t>
              </a:r>
            </a:p>
          </p:txBody>
        </p:sp>
        <p:sp>
          <p:nvSpPr>
            <p:cNvPr id="32" name="Rectangle 31">
              <a:extLst>
                <a:ext uri="{FF2B5EF4-FFF2-40B4-BE49-F238E27FC236}">
                  <a16:creationId xmlns:a16="http://schemas.microsoft.com/office/drawing/2014/main" id="{EC7500AC-E0E9-4780-B021-D450A9CA7E28}"/>
                </a:ext>
              </a:extLst>
            </p:cNvPr>
            <p:cNvSpPr/>
            <p:nvPr/>
          </p:nvSpPr>
          <p:spPr>
            <a:xfrm>
              <a:off x="6332801" y="2977582"/>
              <a:ext cx="1554480" cy="36576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58</a:t>
              </a:r>
            </a:p>
          </p:txBody>
        </p:sp>
        <p:sp>
          <p:nvSpPr>
            <p:cNvPr id="33" name="Rectangle 32">
              <a:extLst>
                <a:ext uri="{FF2B5EF4-FFF2-40B4-BE49-F238E27FC236}">
                  <a16:creationId xmlns:a16="http://schemas.microsoft.com/office/drawing/2014/main" id="{11F3ABA0-AD3B-44E0-BED4-40CE6F3FB3A8}"/>
                </a:ext>
              </a:extLst>
            </p:cNvPr>
            <p:cNvSpPr/>
            <p:nvPr/>
          </p:nvSpPr>
          <p:spPr>
            <a:xfrm>
              <a:off x="8338544" y="2963714"/>
              <a:ext cx="1554480" cy="36576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7</a:t>
              </a:r>
            </a:p>
          </p:txBody>
        </p:sp>
        <p:sp>
          <p:nvSpPr>
            <p:cNvPr id="34" name="Rectangle 33">
              <a:extLst>
                <a:ext uri="{FF2B5EF4-FFF2-40B4-BE49-F238E27FC236}">
                  <a16:creationId xmlns:a16="http://schemas.microsoft.com/office/drawing/2014/main" id="{0FD79363-1830-4A49-8D26-BC41F41767DD}"/>
                </a:ext>
              </a:extLst>
            </p:cNvPr>
            <p:cNvSpPr/>
            <p:nvPr/>
          </p:nvSpPr>
          <p:spPr>
            <a:xfrm>
              <a:off x="4340309" y="2963714"/>
              <a:ext cx="1554480" cy="36576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21</a:t>
              </a:r>
            </a:p>
          </p:txBody>
        </p:sp>
        <p:sp>
          <p:nvSpPr>
            <p:cNvPr id="35" name="Rectangle 34">
              <a:extLst>
                <a:ext uri="{FF2B5EF4-FFF2-40B4-BE49-F238E27FC236}">
                  <a16:creationId xmlns:a16="http://schemas.microsoft.com/office/drawing/2014/main" id="{E36B3314-59CD-4EE2-98C8-593F7362463B}"/>
                </a:ext>
              </a:extLst>
            </p:cNvPr>
            <p:cNvSpPr/>
            <p:nvPr/>
          </p:nvSpPr>
          <p:spPr>
            <a:xfrm>
              <a:off x="6332801" y="3395798"/>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6%</a:t>
              </a:r>
            </a:p>
          </p:txBody>
        </p:sp>
        <p:sp>
          <p:nvSpPr>
            <p:cNvPr id="36" name="Rectangle 35">
              <a:extLst>
                <a:ext uri="{FF2B5EF4-FFF2-40B4-BE49-F238E27FC236}">
                  <a16:creationId xmlns:a16="http://schemas.microsoft.com/office/drawing/2014/main" id="{68426FAA-A716-4871-9319-FC8B3CAA5F72}"/>
                </a:ext>
              </a:extLst>
            </p:cNvPr>
            <p:cNvSpPr/>
            <p:nvPr/>
          </p:nvSpPr>
          <p:spPr>
            <a:xfrm>
              <a:off x="8338544" y="3395798"/>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47</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37" name="Rectangle 36">
              <a:extLst>
                <a:ext uri="{FF2B5EF4-FFF2-40B4-BE49-F238E27FC236}">
                  <a16:creationId xmlns:a16="http://schemas.microsoft.com/office/drawing/2014/main" id="{4497DB71-CB65-4FA8-8692-A35840066D68}"/>
                </a:ext>
              </a:extLst>
            </p:cNvPr>
            <p:cNvSpPr/>
            <p:nvPr/>
          </p:nvSpPr>
          <p:spPr>
            <a:xfrm>
              <a:off x="4340309" y="3377889"/>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26%</a:t>
              </a: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8" name="Rounded Rectangle 35">
              <a:extLst>
                <a:ext uri="{FF2B5EF4-FFF2-40B4-BE49-F238E27FC236}">
                  <a16:creationId xmlns:a16="http://schemas.microsoft.com/office/drawing/2014/main" id="{D56680F8-C910-4979-8362-0AA3C17B6161}"/>
                </a:ext>
              </a:extLst>
            </p:cNvPr>
            <p:cNvSpPr/>
            <p:nvPr/>
          </p:nvSpPr>
          <p:spPr>
            <a:xfrm>
              <a:off x="2427163" y="3404297"/>
              <a:ext cx="1692000" cy="36576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2E</a:t>
              </a:r>
            </a:p>
          </p:txBody>
        </p:sp>
        <p:sp>
          <p:nvSpPr>
            <p:cNvPr id="39" name="Rectangle: Rounded Corners 7"/>
            <p:cNvSpPr/>
            <p:nvPr/>
          </p:nvSpPr>
          <p:spPr>
            <a:xfrm>
              <a:off x="10202874" y="1260750"/>
              <a:ext cx="1737360" cy="54864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uses</a:t>
              </a:r>
            </a:p>
          </p:txBody>
        </p:sp>
        <p:sp>
          <p:nvSpPr>
            <p:cNvPr id="42" name="Rectangle 41"/>
            <p:cNvSpPr/>
            <p:nvPr/>
          </p:nvSpPr>
          <p:spPr>
            <a:xfrm>
              <a:off x="10385754" y="1985062"/>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a:t>
              </a:r>
            </a:p>
          </p:txBody>
        </p:sp>
        <p:sp>
          <p:nvSpPr>
            <p:cNvPr id="43" name="Rectangle 42"/>
            <p:cNvSpPr/>
            <p:nvPr/>
          </p:nvSpPr>
          <p:spPr>
            <a:xfrm>
              <a:off x="10385754" y="2417146"/>
              <a:ext cx="1554480" cy="365760"/>
            </a:xfrm>
            <a:prstGeom prst="rect">
              <a:avLst/>
            </a:prstGeom>
            <a:solidFill>
              <a:srgbClr val="D5381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80%</a:t>
              </a:r>
            </a:p>
          </p:txBody>
        </p:sp>
        <p:sp>
          <p:nvSpPr>
            <p:cNvPr id="44" name="Rectangle 43">
              <a:extLst>
                <a:ext uri="{FF2B5EF4-FFF2-40B4-BE49-F238E27FC236}">
                  <a16:creationId xmlns:a16="http://schemas.microsoft.com/office/drawing/2014/main" id="{11F3ABA0-AD3B-44E0-BED4-40CE6F3FB3A8}"/>
                </a:ext>
              </a:extLst>
            </p:cNvPr>
            <p:cNvSpPr/>
            <p:nvPr/>
          </p:nvSpPr>
          <p:spPr>
            <a:xfrm>
              <a:off x="10385754" y="2987324"/>
              <a:ext cx="1554480" cy="36576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7</a:t>
              </a:r>
            </a:p>
          </p:txBody>
        </p:sp>
        <p:sp>
          <p:nvSpPr>
            <p:cNvPr id="45" name="Rectangle 44">
              <a:extLst>
                <a:ext uri="{FF2B5EF4-FFF2-40B4-BE49-F238E27FC236}">
                  <a16:creationId xmlns:a16="http://schemas.microsoft.com/office/drawing/2014/main" id="{68426FAA-A716-4871-9319-FC8B3CAA5F72}"/>
                </a:ext>
              </a:extLst>
            </p:cNvPr>
            <p:cNvSpPr/>
            <p:nvPr/>
          </p:nvSpPr>
          <p:spPr>
            <a:xfrm>
              <a:off x="10385754" y="3419408"/>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9%</a:t>
              </a:r>
            </a:p>
          </p:txBody>
        </p:sp>
      </p:grpSp>
      <p:sp>
        <p:nvSpPr>
          <p:cNvPr id="46" name="TextBox 45"/>
          <p:cNvSpPr txBox="1"/>
          <p:nvPr/>
        </p:nvSpPr>
        <p:spPr>
          <a:xfrm>
            <a:off x="792235" y="6076246"/>
            <a:ext cx="4117226" cy="553998"/>
          </a:xfrm>
          <a:prstGeom prst="rect">
            <a:avLst/>
          </a:prstGeom>
          <a:noFill/>
        </p:spPr>
        <p:txBody>
          <a:bodyPr wrap="square" lIns="91350" tIns="45680" rIns="91350" bIns="45680" rtlCol="0">
            <a:spAutoFit/>
          </a:bodyPr>
          <a:lstStyle/>
          <a:p>
            <a:pPr marL="0" marR="0" lvl="0" indent="0" algn="l" defTabSz="91352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Volumes in thousands units; </a:t>
            </a:r>
          </a:p>
          <a:p>
            <a:pPr marL="0" marR="0" lvl="0" indent="0" algn="l" defTabSz="91352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YoY Growth in red indicates a negative growth</a:t>
            </a:r>
          </a:p>
          <a:p>
            <a:pPr marL="0" marR="0" lvl="0" indent="0" algn="l" defTabSz="91352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YoY Growth in green indicates a positive growth</a:t>
            </a:r>
          </a:p>
        </p:txBody>
      </p:sp>
      <p:sp>
        <p:nvSpPr>
          <p:cNvPr id="47" name="TextBox 46"/>
          <p:cNvSpPr txBox="1"/>
          <p:nvPr/>
        </p:nvSpPr>
        <p:spPr>
          <a:xfrm>
            <a:off x="1583436" y="6613961"/>
            <a:ext cx="2738346" cy="246221"/>
          </a:xfrm>
          <a:prstGeom prst="rect">
            <a:avLst/>
          </a:prstGeom>
          <a:noFill/>
        </p:spPr>
        <p:txBody>
          <a:bodyPr wrap="square" lIns="91350" tIns="45680" rIns="91350" bIns="45680" rtlCol="0">
            <a:spAutoFit/>
          </a:bodyPr>
          <a:lstStyle/>
          <a:p>
            <a:pPr marL="0" marR="0" lvl="0" indent="0" algn="l" defTabSz="91352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48" name="Rounded Rectangle 2">
            <a:extLst>
              <a:ext uri="{FF2B5EF4-FFF2-40B4-BE49-F238E27FC236}">
                <a16:creationId xmlns:a16="http://schemas.microsoft.com/office/drawing/2014/main" id="{4FB32831-EDB7-46A1-B6C1-A9B23541BF51}"/>
              </a:ext>
            </a:extLst>
          </p:cNvPr>
          <p:cNvSpPr/>
          <p:nvPr/>
        </p:nvSpPr>
        <p:spPr>
          <a:xfrm>
            <a:off x="1380010" y="4007741"/>
            <a:ext cx="169200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3 volumes</a:t>
            </a:r>
          </a:p>
        </p:txBody>
      </p:sp>
      <p:sp>
        <p:nvSpPr>
          <p:cNvPr id="49" name="Rectangle 48">
            <a:extLst>
              <a:ext uri="{FF2B5EF4-FFF2-40B4-BE49-F238E27FC236}">
                <a16:creationId xmlns:a16="http://schemas.microsoft.com/office/drawing/2014/main" id="{B9C80D98-A44C-4DFF-9CC2-1BA4918286FF}"/>
              </a:ext>
            </a:extLst>
          </p:cNvPr>
          <p:cNvSpPr/>
          <p:nvPr/>
        </p:nvSpPr>
        <p:spPr>
          <a:xfrm>
            <a:off x="5285648" y="4007741"/>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07-517</a:t>
            </a:r>
          </a:p>
        </p:txBody>
      </p:sp>
      <p:sp>
        <p:nvSpPr>
          <p:cNvPr id="50" name="Rectangle 49">
            <a:extLst>
              <a:ext uri="{FF2B5EF4-FFF2-40B4-BE49-F238E27FC236}">
                <a16:creationId xmlns:a16="http://schemas.microsoft.com/office/drawing/2014/main" id="{C2A560C3-ACB5-494D-8026-AE4353C9F31A}"/>
              </a:ext>
            </a:extLst>
          </p:cNvPr>
          <p:cNvSpPr/>
          <p:nvPr/>
        </p:nvSpPr>
        <p:spPr>
          <a:xfrm>
            <a:off x="7291391" y="3993873"/>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5-279</a:t>
            </a:r>
          </a:p>
        </p:txBody>
      </p:sp>
      <p:sp>
        <p:nvSpPr>
          <p:cNvPr id="51" name="Rectangle 50">
            <a:extLst>
              <a:ext uri="{FF2B5EF4-FFF2-40B4-BE49-F238E27FC236}">
                <a16:creationId xmlns:a16="http://schemas.microsoft.com/office/drawing/2014/main" id="{18C3AEC1-BE6B-4F35-8602-EB6DF441406E}"/>
              </a:ext>
            </a:extLst>
          </p:cNvPr>
          <p:cNvSpPr/>
          <p:nvPr/>
        </p:nvSpPr>
        <p:spPr>
          <a:xfrm>
            <a:off x="3293156" y="3993873"/>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27-844</a:t>
            </a:r>
          </a:p>
        </p:txBody>
      </p:sp>
      <p:sp>
        <p:nvSpPr>
          <p:cNvPr id="52" name="Rectangle 51">
            <a:extLst>
              <a:ext uri="{FF2B5EF4-FFF2-40B4-BE49-F238E27FC236}">
                <a16:creationId xmlns:a16="http://schemas.microsoft.com/office/drawing/2014/main" id="{E01F1729-9E77-4BD7-A35E-4F930DAC5A44}"/>
              </a:ext>
            </a:extLst>
          </p:cNvPr>
          <p:cNvSpPr/>
          <p:nvPr/>
        </p:nvSpPr>
        <p:spPr>
          <a:xfrm>
            <a:off x="5285648" y="4425957"/>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11-13</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3" name="Rectangle 52">
            <a:extLst>
              <a:ext uri="{FF2B5EF4-FFF2-40B4-BE49-F238E27FC236}">
                <a16:creationId xmlns:a16="http://schemas.microsoft.com/office/drawing/2014/main" id="{C6914280-587F-4762-9263-416E0DF98988}"/>
              </a:ext>
            </a:extLst>
          </p:cNvPr>
          <p:cNvSpPr/>
          <p:nvPr/>
        </p:nvSpPr>
        <p:spPr>
          <a:xfrm>
            <a:off x="7291391" y="4425957"/>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1-23%</a:t>
            </a:r>
          </a:p>
        </p:txBody>
      </p:sp>
      <p:sp>
        <p:nvSpPr>
          <p:cNvPr id="54" name="Rectangle 53">
            <a:extLst>
              <a:ext uri="{FF2B5EF4-FFF2-40B4-BE49-F238E27FC236}">
                <a16:creationId xmlns:a16="http://schemas.microsoft.com/office/drawing/2014/main" id="{B0CE4AB5-3A6D-403B-991F-A1F59EFC49E4}"/>
              </a:ext>
            </a:extLst>
          </p:cNvPr>
          <p:cNvSpPr/>
          <p:nvPr/>
        </p:nvSpPr>
        <p:spPr>
          <a:xfrm>
            <a:off x="3293156" y="4408048"/>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5-17%</a:t>
            </a:r>
          </a:p>
        </p:txBody>
      </p:sp>
      <p:sp>
        <p:nvSpPr>
          <p:cNvPr id="55" name="Rounded Rectangle 35">
            <a:extLst>
              <a:ext uri="{FF2B5EF4-FFF2-40B4-BE49-F238E27FC236}">
                <a16:creationId xmlns:a16="http://schemas.microsoft.com/office/drawing/2014/main" id="{B46E1B63-6BB8-49D1-92E9-4301CBB3E29F}"/>
              </a:ext>
            </a:extLst>
          </p:cNvPr>
          <p:cNvSpPr/>
          <p:nvPr/>
        </p:nvSpPr>
        <p:spPr>
          <a:xfrm>
            <a:off x="1380010" y="4434456"/>
            <a:ext cx="169200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3P</a:t>
            </a:r>
          </a:p>
        </p:txBody>
      </p:sp>
      <p:sp>
        <p:nvSpPr>
          <p:cNvPr id="64" name="Rectangle 63">
            <a:extLst>
              <a:ext uri="{FF2B5EF4-FFF2-40B4-BE49-F238E27FC236}">
                <a16:creationId xmlns:a16="http://schemas.microsoft.com/office/drawing/2014/main" id="{0EB975AB-C699-48A0-8876-E6A605606F5B}"/>
              </a:ext>
            </a:extLst>
          </p:cNvPr>
          <p:cNvSpPr/>
          <p:nvPr/>
        </p:nvSpPr>
        <p:spPr>
          <a:xfrm>
            <a:off x="9338601" y="4017483"/>
            <a:ext cx="1554480"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1.1-41.9</a:t>
            </a:r>
          </a:p>
        </p:txBody>
      </p:sp>
      <p:sp>
        <p:nvSpPr>
          <p:cNvPr id="65" name="Rectangle 64">
            <a:extLst>
              <a:ext uri="{FF2B5EF4-FFF2-40B4-BE49-F238E27FC236}">
                <a16:creationId xmlns:a16="http://schemas.microsoft.com/office/drawing/2014/main" id="{7EA1AC77-5732-467D-997F-C9E2253C30F5}"/>
              </a:ext>
            </a:extLst>
          </p:cNvPr>
          <p:cNvSpPr/>
          <p:nvPr/>
        </p:nvSpPr>
        <p:spPr>
          <a:xfrm>
            <a:off x="9338601" y="4449567"/>
            <a:ext cx="1554480" cy="365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marL="0" marR="0" lvl="0" indent="0" algn="ctr" defTabSz="91352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4-36%</a:t>
            </a:r>
          </a:p>
        </p:txBody>
      </p:sp>
    </p:spTree>
    <p:extLst>
      <p:ext uri="{BB962C8B-B14F-4D97-AF65-F5344CB8AC3E}">
        <p14:creationId xmlns:p14="http://schemas.microsoft.com/office/powerpoint/2010/main" val="277882249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907" y="69824"/>
            <a:ext cx="11562328" cy="736602"/>
          </a:xfrm>
        </p:spPr>
        <p:txBody>
          <a:bodyPr vert="horz" lIns="0" tIns="0" rIns="0" bIns="0" rtlCol="0" anchor="ctr">
            <a:noAutofit/>
          </a:bodyPr>
          <a:lstStyle/>
          <a:p>
            <a:r>
              <a:rPr lang="en-US" sz="2800" b="1" dirty="0">
                <a:solidFill>
                  <a:srgbClr val="000000"/>
                </a:solidFill>
                <a:latin typeface="Arial" panose="020B0604020202020204" pitchFamily="34" charset="0"/>
                <a:cs typeface="Arial" panose="020B0604020202020204" pitchFamily="34" charset="0"/>
              </a:rPr>
              <a:t>Domestic</a:t>
            </a:r>
            <a:r>
              <a:rPr lang="en-US" sz="3200" dirty="0">
                <a:solidFill>
                  <a:srgbClr val="000000"/>
                </a:solidFill>
              </a:rPr>
              <a:t> </a:t>
            </a:r>
            <a:r>
              <a:rPr lang="en-US" sz="2800" b="1" dirty="0">
                <a:solidFill>
                  <a:srgbClr val="000000"/>
                </a:solidFill>
                <a:latin typeface="Arial" panose="020B0604020202020204" pitchFamily="34" charset="0"/>
                <a:cs typeface="Arial" panose="020B0604020202020204" pitchFamily="34" charset="0"/>
              </a:rPr>
              <a:t>– Quarterly Forecast (Base case)</a:t>
            </a:r>
          </a:p>
        </p:txBody>
      </p:sp>
      <p:sp>
        <p:nvSpPr>
          <p:cNvPr id="48" name="TextBox 47"/>
          <p:cNvSpPr txBox="1"/>
          <p:nvPr/>
        </p:nvSpPr>
        <p:spPr>
          <a:xfrm>
            <a:off x="467465" y="4386700"/>
            <a:ext cx="11094068" cy="2351782"/>
          </a:xfrm>
          <a:prstGeom prst="rect">
            <a:avLst/>
          </a:prstGeom>
          <a:solidFill>
            <a:schemeClr val="bg1">
              <a:lumMod val="85000"/>
            </a:schemeClr>
          </a:solidFill>
        </p:spPr>
        <p:txBody>
          <a:bodyPr wrap="square" lIns="91350" tIns="45680" rIns="91350" bIns="45680" rtlCol="0" anchor="ctr">
            <a:spAutoFit/>
          </a:bodyPr>
          <a:lstStyle/>
          <a:p>
            <a:pPr marL="171450" marR="0" lvl="0" indent="-17145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900" b="1" dirty="0">
                <a:solidFill>
                  <a:srgbClr val="000000"/>
                </a:solidFill>
                <a:latin typeface="Arial" panose="020B0604020202020204" pitchFamily="34" charset="0"/>
                <a:cs typeface="Arial" panose="020B0604020202020204" pitchFamily="34" charset="0"/>
              </a:rPr>
              <a:t>SCV &amp; ULCV: </a:t>
            </a:r>
            <a:r>
              <a:rPr lang="en-IN" sz="900" b="0" kern="1200" dirty="0">
                <a:solidFill>
                  <a:schemeClr val="tx1"/>
                </a:solidFill>
                <a:latin typeface="Arial" panose="020B0604020202020204" pitchFamily="34" charset="0"/>
                <a:ea typeface="+mn-ea"/>
                <a:cs typeface="Arial" panose="020B0604020202020204" pitchFamily="34" charset="0"/>
              </a:rPr>
              <a:t>Healthy sentiments on the Agri crop for Kharif season may help volumes. E-commerce, FMCG and Agri to see continuation of the traction. </a:t>
            </a:r>
            <a:r>
              <a:rPr lang="en-US" sz="900" b="0" kern="1200" dirty="0">
                <a:solidFill>
                  <a:schemeClr val="tx1"/>
                </a:solidFill>
                <a:latin typeface="Arial" panose="020B0604020202020204" pitchFamily="34" charset="0"/>
                <a:ea typeface="+mn-ea"/>
                <a:cs typeface="Arial" panose="020B0604020202020204" pitchFamily="34" charset="0"/>
              </a:rPr>
              <a:t>Traction for CNG powered vehicles and  supply of CNG related components</a:t>
            </a:r>
            <a:r>
              <a:rPr lang="en-IN" sz="900" b="0" kern="1200" dirty="0">
                <a:solidFill>
                  <a:schemeClr val="tx1"/>
                </a:solidFill>
                <a:latin typeface="Arial" panose="020B0604020202020204" pitchFamily="34" charset="0"/>
                <a:ea typeface="+mn-ea"/>
                <a:cs typeface="Arial" panose="020B0604020202020204" pitchFamily="34" charset="0"/>
              </a:rPr>
              <a:t> to </a:t>
            </a:r>
            <a:r>
              <a:rPr lang="en-US" sz="900" b="0" kern="1200" dirty="0">
                <a:solidFill>
                  <a:schemeClr val="tx1"/>
                </a:solidFill>
                <a:latin typeface="Arial" panose="020B0604020202020204" pitchFamily="34" charset="0"/>
                <a:ea typeface="+mn-ea"/>
                <a:cs typeface="Arial" panose="020B0604020202020204" pitchFamily="34" charset="0"/>
              </a:rPr>
              <a:t>remain a key monitorable. Some OEM’s also planning to launch electric in this segment. </a:t>
            </a:r>
            <a:r>
              <a:rPr lang="en-IN" sz="900" b="0" kern="1200" dirty="0">
                <a:solidFill>
                  <a:schemeClr val="tx1"/>
                </a:solidFill>
                <a:latin typeface="Arial" panose="020B0604020202020204" pitchFamily="34" charset="0"/>
                <a:ea typeface="+mn-ea"/>
                <a:cs typeface="Arial" panose="020B0604020202020204" pitchFamily="34" charset="0"/>
              </a:rPr>
              <a:t>OEMs across might bring attractive schemes with discounts and easy financing to attract customers to offset the price hike. Demand from retail customers and MLO’s to gain some momentum. </a:t>
            </a:r>
            <a:r>
              <a:rPr lang="en-IN" sz="900" dirty="0">
                <a:solidFill>
                  <a:srgbClr val="000000"/>
                </a:solidFill>
                <a:effectLst/>
                <a:latin typeface="Arial" panose="020B0604020202020204" pitchFamily="34" charset="0"/>
                <a:ea typeface="Calibri" panose="020F0502020204030204" pitchFamily="34" charset="0"/>
                <a:cs typeface="Arial" panose="020B0604020202020204" pitchFamily="34" charset="0"/>
              </a:rPr>
              <a:t>SCV segment is expected to grow on account of record grain output</a:t>
            </a:r>
            <a:endParaRPr lang="en-IN" sz="900" b="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109728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900" b="1" dirty="0">
                <a:solidFill>
                  <a:srgbClr val="000000"/>
                </a:solidFill>
                <a:latin typeface="Arial" panose="020B0604020202020204" pitchFamily="34" charset="0"/>
                <a:cs typeface="Arial" panose="020B0604020202020204" pitchFamily="34" charset="0"/>
              </a:rPr>
              <a:t>MHCV</a:t>
            </a:r>
            <a:r>
              <a:rPr lang="en-IN" sz="900" dirty="0">
                <a:solidFill>
                  <a:srgbClr val="000000"/>
                </a:solidFill>
                <a:latin typeface="Arial" panose="020B0604020202020204" pitchFamily="34" charset="0"/>
                <a:cs typeface="Arial" panose="020B0604020202020204" pitchFamily="34" charset="0"/>
              </a:rPr>
              <a:t>: </a:t>
            </a:r>
            <a:r>
              <a:rPr lang="en-US" sz="900" b="0" kern="1200" dirty="0">
                <a:solidFill>
                  <a:schemeClr val="tx1"/>
                </a:solidFill>
                <a:latin typeface="Arial" panose="020B0604020202020204" pitchFamily="34" charset="0"/>
                <a:ea typeface="+mn-ea"/>
                <a:cs typeface="Arial" panose="020B0604020202020204" pitchFamily="34" charset="0"/>
              </a:rPr>
              <a:t>Replacement demand will spur growth which will be aided by construction projects</a:t>
            </a:r>
            <a:r>
              <a:rPr lang="en-IN" sz="900" b="0" kern="1200" dirty="0">
                <a:solidFill>
                  <a:schemeClr val="tx1"/>
                </a:solidFill>
                <a:latin typeface="Arial" panose="020B0604020202020204" pitchFamily="34" charset="0"/>
                <a:ea typeface="+mn-ea"/>
                <a:cs typeface="Arial" panose="020B0604020202020204" pitchFamily="34" charset="0"/>
              </a:rPr>
              <a:t>.</a:t>
            </a:r>
            <a:r>
              <a:rPr lang="en-IN" sz="900" b="0" kern="1200" baseline="0" dirty="0">
                <a:solidFill>
                  <a:schemeClr val="tx1"/>
                </a:solidFill>
                <a:latin typeface="Arial" panose="020B0604020202020204" pitchFamily="34" charset="0"/>
                <a:ea typeface="+mn-ea"/>
                <a:cs typeface="Arial" panose="020B0604020202020204" pitchFamily="34" charset="0"/>
              </a:rPr>
              <a:t> </a:t>
            </a:r>
            <a:r>
              <a:rPr lang="en-IN" sz="900" b="0" dirty="0">
                <a:latin typeface="Arial" panose="020B0604020202020204" pitchFamily="34" charset="0"/>
                <a:cs typeface="Arial" panose="020B0604020202020204" pitchFamily="34" charset="0"/>
              </a:rPr>
              <a:t>NIP projects to continue freight demand for goods</a:t>
            </a:r>
            <a:r>
              <a:rPr lang="en-IN" sz="900" b="0" baseline="0" dirty="0">
                <a:latin typeface="Arial" panose="020B0604020202020204" pitchFamily="34" charset="0"/>
                <a:cs typeface="Arial" panose="020B0604020202020204" pitchFamily="34" charset="0"/>
              </a:rPr>
              <a:t> such as cement and steel, production of these goods in turn, is expected to drive freight demand for minerals such as coal, iron ore, limestone/dolomite, etc. Aggregate transportation in some states positively affecting this segment to a extent. </a:t>
            </a:r>
            <a:r>
              <a:rPr lang="en-IN" sz="900" b="0" i="0" u="none" strike="noStrike" kern="1200" baseline="0" dirty="0">
                <a:solidFill>
                  <a:srgbClr val="000000"/>
                </a:solidFill>
                <a:effectLst/>
                <a:latin typeface="Arial" panose="020B0604020202020204" pitchFamily="34" charset="0"/>
                <a:ea typeface="+mn-ea"/>
                <a:cs typeface="Arial" panose="020B0604020202020204" pitchFamily="34" charset="0"/>
              </a:rPr>
              <a:t>Retail participation is seeing momentum after ease of funding conditions. Segment witnessing more demand from the higher tonnage vehicles which could dampen the overall numbers. </a:t>
            </a:r>
            <a:r>
              <a:rPr lang="en-IN" sz="900" b="0" baseline="0" dirty="0">
                <a:latin typeface="Arial" panose="020B0604020202020204" pitchFamily="34" charset="0"/>
                <a:cs typeface="Arial" panose="020B0604020202020204" pitchFamily="34" charset="0"/>
              </a:rPr>
              <a:t>Car carrier could see improvement with the PV segment witnessing great demand on account of personal mobility. </a:t>
            </a:r>
            <a:r>
              <a:rPr lang="en-US" sz="900" b="0" baseline="0" dirty="0">
                <a:latin typeface="Arial" panose="020B0604020202020204" pitchFamily="34" charset="0"/>
                <a:cs typeface="Arial" panose="020B0604020202020204" pitchFamily="34" charset="0"/>
              </a:rPr>
              <a:t>Big private players are making investments to transport cargo via railways impacting trailers market</a:t>
            </a:r>
          </a:p>
          <a:p>
            <a:pPr marL="285750" indent="-285750">
              <a:lnSpc>
                <a:spcPct val="150000"/>
              </a:lnSpc>
              <a:buFont typeface="Arial" panose="020B0604020202020204" pitchFamily="34" charset="0"/>
              <a:buChar char="•"/>
            </a:pPr>
            <a:r>
              <a:rPr lang="en-IN" sz="900" b="1" dirty="0">
                <a:solidFill>
                  <a:srgbClr val="000000"/>
                </a:solidFill>
                <a:latin typeface="Arial" panose="020B0604020202020204" pitchFamily="34" charset="0"/>
                <a:cs typeface="Arial" panose="020B0604020202020204" pitchFamily="34" charset="0"/>
              </a:rPr>
              <a:t>Buses</a:t>
            </a:r>
            <a:r>
              <a:rPr lang="en-IN" sz="900" dirty="0">
                <a:solidFill>
                  <a:srgbClr val="000000"/>
                </a:solidFill>
                <a:latin typeface="Arial" panose="020B0604020202020204" pitchFamily="34" charset="0"/>
                <a:cs typeface="Arial" panose="020B0604020202020204" pitchFamily="34" charset="0"/>
              </a:rPr>
              <a:t>: </a:t>
            </a:r>
            <a:r>
              <a:rPr lang="en-IN" sz="900" b="0" dirty="0">
                <a:latin typeface="Arial" panose="020B0604020202020204" pitchFamily="34" charset="0"/>
                <a:cs typeface="Arial" panose="020B0604020202020204" pitchFamily="34" charset="0"/>
              </a:rPr>
              <a:t>Most of the schools</a:t>
            </a:r>
            <a:r>
              <a:rPr lang="en-IN" sz="900" b="0" baseline="0" dirty="0">
                <a:latin typeface="Arial" panose="020B0604020202020204" pitchFamily="34" charset="0"/>
                <a:cs typeface="Arial" panose="020B0604020202020204" pitchFamily="34" charset="0"/>
              </a:rPr>
              <a:t> have resumed full fledged operations or might do so from Q1 FY23. However, some parents are still not sure of sending their children's to school which can have some effect on LCV buses side. Some demand for buses coming from schools side but not that great it should be after remaining negligible for almost 2 years. Staff transport which was earlier focused only towards MFG and saw some demand from IT/ITES and service based companies might see some demand coming in</a:t>
            </a:r>
            <a:r>
              <a:rPr lang="en-IN" sz="900" dirty="0">
                <a:latin typeface="Arial" panose="020B0604020202020204" pitchFamily="34" charset="0"/>
                <a:cs typeface="Arial" panose="020B0604020202020204" pitchFamily="34" charset="0"/>
              </a:rPr>
              <a:t>. </a:t>
            </a:r>
            <a:r>
              <a:rPr lang="en-IN" sz="900" b="0" dirty="0">
                <a:latin typeface="Arial" panose="020B0604020202020204" pitchFamily="34" charset="0"/>
                <a:cs typeface="Arial" panose="020B0604020202020204" pitchFamily="34" charset="0"/>
              </a:rPr>
              <a:t>FY23 may see a</a:t>
            </a:r>
            <a:r>
              <a:rPr lang="en-IN" sz="900" b="0" baseline="0" dirty="0">
                <a:latin typeface="Arial" panose="020B0604020202020204" pitchFamily="34" charset="0"/>
                <a:cs typeface="Arial" panose="020B0604020202020204" pitchFamily="34" charset="0"/>
              </a:rPr>
              <a:t> continuation of the high dependence on STU-PPP orders seen in FY22 especially from the southern and northern states. </a:t>
            </a:r>
          </a:p>
        </p:txBody>
      </p:sp>
      <p:sp>
        <p:nvSpPr>
          <p:cNvPr id="49" name="Rectangle: Rounded Corners 72">
            <a:extLst>
              <a:ext uri="{FF2B5EF4-FFF2-40B4-BE49-F238E27FC236}">
                <a16:creationId xmlns:a16="http://schemas.microsoft.com/office/drawing/2014/main" id="{A738871E-9F78-4346-A0D4-4AA58AA59FED}"/>
              </a:ext>
            </a:extLst>
          </p:cNvPr>
          <p:cNvSpPr/>
          <p:nvPr/>
        </p:nvSpPr>
        <p:spPr>
          <a:xfrm>
            <a:off x="538567" y="828769"/>
            <a:ext cx="1919463" cy="81558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100" dirty="0">
                <a:solidFill>
                  <a:srgbClr val="FFFFFF"/>
                </a:solidFill>
                <a:latin typeface="Arial" panose="020B0604020202020204" pitchFamily="34" charset="0"/>
                <a:cs typeface="Arial" panose="020B0604020202020204" pitchFamily="34" charset="0"/>
              </a:rPr>
              <a:t>Period</a:t>
            </a:r>
          </a:p>
        </p:txBody>
      </p:sp>
      <p:sp>
        <p:nvSpPr>
          <p:cNvPr id="55" name="Rectangle: Rounded Corners 157">
            <a:extLst>
              <a:ext uri="{FF2B5EF4-FFF2-40B4-BE49-F238E27FC236}">
                <a16:creationId xmlns:a16="http://schemas.microsoft.com/office/drawing/2014/main" id="{715A8F26-4A7A-4685-A004-FB0603859007}"/>
              </a:ext>
            </a:extLst>
          </p:cNvPr>
          <p:cNvSpPr/>
          <p:nvPr/>
        </p:nvSpPr>
        <p:spPr>
          <a:xfrm>
            <a:off x="7110527" y="1214762"/>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Volume (‘000)</a:t>
            </a:r>
          </a:p>
        </p:txBody>
      </p:sp>
      <p:sp>
        <p:nvSpPr>
          <p:cNvPr id="56" name="Rectangle: Rounded Corners 158">
            <a:extLst>
              <a:ext uri="{FF2B5EF4-FFF2-40B4-BE49-F238E27FC236}">
                <a16:creationId xmlns:a16="http://schemas.microsoft.com/office/drawing/2014/main" id="{44A46C80-5A88-4EAB-ADB6-FA569F11B069}"/>
              </a:ext>
            </a:extLst>
          </p:cNvPr>
          <p:cNvSpPr/>
          <p:nvPr/>
        </p:nvSpPr>
        <p:spPr>
          <a:xfrm>
            <a:off x="8246422" y="1209982"/>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YoY Growth</a:t>
            </a:r>
          </a:p>
        </p:txBody>
      </p:sp>
      <p:sp>
        <p:nvSpPr>
          <p:cNvPr id="65" name="Rectangle 64"/>
          <p:cNvSpPr/>
          <p:nvPr/>
        </p:nvSpPr>
        <p:spPr>
          <a:xfrm>
            <a:off x="7082381" y="838467"/>
            <a:ext cx="2217938" cy="3048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MHCV Cargo</a:t>
            </a:r>
          </a:p>
        </p:txBody>
      </p:sp>
      <p:sp>
        <p:nvSpPr>
          <p:cNvPr id="66" name="Rectangle: Rounded Corners 157">
            <a:extLst>
              <a:ext uri="{FF2B5EF4-FFF2-40B4-BE49-F238E27FC236}">
                <a16:creationId xmlns:a16="http://schemas.microsoft.com/office/drawing/2014/main" id="{715A8F26-4A7A-4685-A004-FB0603859007}"/>
              </a:ext>
            </a:extLst>
          </p:cNvPr>
          <p:cNvSpPr/>
          <p:nvPr/>
        </p:nvSpPr>
        <p:spPr>
          <a:xfrm>
            <a:off x="9403887" y="1215432"/>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Volume (‘000)</a:t>
            </a:r>
          </a:p>
        </p:txBody>
      </p:sp>
      <p:sp>
        <p:nvSpPr>
          <p:cNvPr id="67" name="Rectangle: Rounded Corners 158">
            <a:extLst>
              <a:ext uri="{FF2B5EF4-FFF2-40B4-BE49-F238E27FC236}">
                <a16:creationId xmlns:a16="http://schemas.microsoft.com/office/drawing/2014/main" id="{44A46C80-5A88-4EAB-ADB6-FA569F11B069}"/>
              </a:ext>
            </a:extLst>
          </p:cNvPr>
          <p:cNvSpPr/>
          <p:nvPr/>
        </p:nvSpPr>
        <p:spPr>
          <a:xfrm>
            <a:off x="10507553" y="1210652"/>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YoY Growth</a:t>
            </a:r>
          </a:p>
        </p:txBody>
      </p:sp>
      <p:sp>
        <p:nvSpPr>
          <p:cNvPr id="76" name="Rectangle 75"/>
          <p:cNvSpPr/>
          <p:nvPr/>
        </p:nvSpPr>
        <p:spPr>
          <a:xfrm>
            <a:off x="9403885" y="839136"/>
            <a:ext cx="2146286" cy="31178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Buses</a:t>
            </a:r>
          </a:p>
        </p:txBody>
      </p:sp>
      <p:sp>
        <p:nvSpPr>
          <p:cNvPr id="77" name="Rectangle: Rounded Corners 157">
            <a:extLst>
              <a:ext uri="{FF2B5EF4-FFF2-40B4-BE49-F238E27FC236}">
                <a16:creationId xmlns:a16="http://schemas.microsoft.com/office/drawing/2014/main" id="{715A8F26-4A7A-4685-A004-FB0603859007}"/>
              </a:ext>
            </a:extLst>
          </p:cNvPr>
          <p:cNvSpPr/>
          <p:nvPr/>
        </p:nvSpPr>
        <p:spPr>
          <a:xfrm>
            <a:off x="2533532" y="1218272"/>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100" dirty="0">
                <a:solidFill>
                  <a:srgbClr val="FFFFFF"/>
                </a:solidFill>
                <a:latin typeface="Arial" panose="020B0604020202020204" pitchFamily="34" charset="0"/>
                <a:cs typeface="Arial" panose="020B0604020202020204" pitchFamily="34" charset="0"/>
              </a:rPr>
              <a:t>Volume (‘000)</a:t>
            </a:r>
          </a:p>
        </p:txBody>
      </p:sp>
      <p:sp>
        <p:nvSpPr>
          <p:cNvPr id="78" name="Rectangle: Rounded Corners 158">
            <a:extLst>
              <a:ext uri="{FF2B5EF4-FFF2-40B4-BE49-F238E27FC236}">
                <a16:creationId xmlns:a16="http://schemas.microsoft.com/office/drawing/2014/main" id="{44A46C80-5A88-4EAB-ADB6-FA569F11B069}"/>
              </a:ext>
            </a:extLst>
          </p:cNvPr>
          <p:cNvSpPr/>
          <p:nvPr/>
        </p:nvSpPr>
        <p:spPr>
          <a:xfrm>
            <a:off x="3685752" y="1218272"/>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100" dirty="0">
                <a:solidFill>
                  <a:srgbClr val="FFFFFF"/>
                </a:solidFill>
                <a:latin typeface="Arial" panose="020B0604020202020204" pitchFamily="34" charset="0"/>
                <a:cs typeface="Arial" panose="020B0604020202020204" pitchFamily="34" charset="0"/>
              </a:rPr>
              <a:t>YoY Growth</a:t>
            </a:r>
          </a:p>
        </p:txBody>
      </p:sp>
      <p:sp>
        <p:nvSpPr>
          <p:cNvPr id="87" name="Rectangle 86"/>
          <p:cNvSpPr/>
          <p:nvPr/>
        </p:nvSpPr>
        <p:spPr>
          <a:xfrm>
            <a:off x="2536803" y="844367"/>
            <a:ext cx="2164270" cy="31178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100" dirty="0">
                <a:solidFill>
                  <a:srgbClr val="FFFFFF"/>
                </a:solidFill>
                <a:latin typeface="Arial" panose="020B0604020202020204" pitchFamily="34" charset="0"/>
                <a:cs typeface="Arial" panose="020B0604020202020204" pitchFamily="34" charset="0"/>
              </a:rPr>
              <a:t>CV</a:t>
            </a:r>
          </a:p>
        </p:txBody>
      </p:sp>
      <p:sp>
        <p:nvSpPr>
          <p:cNvPr id="88" name="Rectangle: Rounded Corners 157">
            <a:extLst>
              <a:ext uri="{FF2B5EF4-FFF2-40B4-BE49-F238E27FC236}">
                <a16:creationId xmlns:a16="http://schemas.microsoft.com/office/drawing/2014/main" id="{715A8F26-4A7A-4685-A004-FB0603859007}"/>
              </a:ext>
            </a:extLst>
          </p:cNvPr>
          <p:cNvSpPr/>
          <p:nvPr/>
        </p:nvSpPr>
        <p:spPr>
          <a:xfrm>
            <a:off x="4853193" y="1213027"/>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Volume (‘000)</a:t>
            </a:r>
          </a:p>
        </p:txBody>
      </p:sp>
      <p:sp>
        <p:nvSpPr>
          <p:cNvPr id="89" name="Rectangle: Rounded Corners 158">
            <a:extLst>
              <a:ext uri="{FF2B5EF4-FFF2-40B4-BE49-F238E27FC236}">
                <a16:creationId xmlns:a16="http://schemas.microsoft.com/office/drawing/2014/main" id="{44A46C80-5A88-4EAB-ADB6-FA569F11B069}"/>
              </a:ext>
            </a:extLst>
          </p:cNvPr>
          <p:cNvSpPr/>
          <p:nvPr/>
        </p:nvSpPr>
        <p:spPr>
          <a:xfrm>
            <a:off x="5971698" y="1208247"/>
            <a:ext cx="1053897" cy="41370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YoY Growth</a:t>
            </a:r>
          </a:p>
        </p:txBody>
      </p:sp>
      <p:sp>
        <p:nvSpPr>
          <p:cNvPr id="96" name="Rectangle 95"/>
          <p:cNvSpPr/>
          <p:nvPr/>
        </p:nvSpPr>
        <p:spPr>
          <a:xfrm>
            <a:off x="4852077" y="836732"/>
            <a:ext cx="2164270" cy="31178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100" dirty="0">
                <a:solidFill>
                  <a:srgbClr val="FFFFFF"/>
                </a:solidFill>
                <a:latin typeface="Arial" panose="020B0604020202020204" pitchFamily="34" charset="0"/>
                <a:cs typeface="Arial" panose="020B0604020202020204" pitchFamily="34" charset="0"/>
              </a:rPr>
              <a:t>LCV Cargo</a:t>
            </a:r>
          </a:p>
        </p:txBody>
      </p:sp>
      <p:sp>
        <p:nvSpPr>
          <p:cNvPr id="97" name="Rectangle: Rounded Corners 168">
            <a:extLst>
              <a:ext uri="{FF2B5EF4-FFF2-40B4-BE49-F238E27FC236}">
                <a16:creationId xmlns:a16="http://schemas.microsoft.com/office/drawing/2014/main" id="{29DF9AF3-A9C6-4EC2-8010-653D056EFE62}"/>
              </a:ext>
            </a:extLst>
          </p:cNvPr>
          <p:cNvSpPr/>
          <p:nvPr/>
        </p:nvSpPr>
        <p:spPr>
          <a:xfrm>
            <a:off x="563220" y="1735540"/>
            <a:ext cx="1027384" cy="12514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b="1" dirty="0">
                <a:solidFill>
                  <a:srgbClr val="000000"/>
                </a:solidFill>
                <a:latin typeface="Arial" panose="020B0604020202020204" pitchFamily="34" charset="0"/>
                <a:cs typeface="Arial" panose="020B0604020202020204" pitchFamily="34" charset="0"/>
              </a:rPr>
              <a:t>FY22P</a:t>
            </a:r>
          </a:p>
        </p:txBody>
      </p:sp>
      <p:sp>
        <p:nvSpPr>
          <p:cNvPr id="98" name="Rectangle: Rounded Corners 145">
            <a:extLst>
              <a:ext uri="{FF2B5EF4-FFF2-40B4-BE49-F238E27FC236}">
                <a16:creationId xmlns:a16="http://schemas.microsoft.com/office/drawing/2014/main" id="{DD7CFA8E-7CDC-4A6C-AB95-FCC0A15833EF}"/>
              </a:ext>
            </a:extLst>
          </p:cNvPr>
          <p:cNvSpPr/>
          <p:nvPr/>
        </p:nvSpPr>
        <p:spPr>
          <a:xfrm>
            <a:off x="1703496" y="1709788"/>
            <a:ext cx="766561"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1</a:t>
            </a:r>
          </a:p>
        </p:txBody>
      </p:sp>
      <p:sp>
        <p:nvSpPr>
          <p:cNvPr id="99" name="Rectangle: Rounded Corners 149">
            <a:extLst>
              <a:ext uri="{FF2B5EF4-FFF2-40B4-BE49-F238E27FC236}">
                <a16:creationId xmlns:a16="http://schemas.microsoft.com/office/drawing/2014/main" id="{D101FBB6-7D7E-483C-B6E3-AB9308D1F50F}"/>
              </a:ext>
            </a:extLst>
          </p:cNvPr>
          <p:cNvSpPr/>
          <p:nvPr/>
        </p:nvSpPr>
        <p:spPr>
          <a:xfrm>
            <a:off x="2559602"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07</a:t>
            </a:r>
          </a:p>
        </p:txBody>
      </p:sp>
      <p:sp>
        <p:nvSpPr>
          <p:cNvPr id="100" name="Rectangle: Rounded Corners 153">
            <a:extLst>
              <a:ext uri="{FF2B5EF4-FFF2-40B4-BE49-F238E27FC236}">
                <a16:creationId xmlns:a16="http://schemas.microsoft.com/office/drawing/2014/main" id="{670A388E-8574-483D-9CBA-C4807A34A062}"/>
              </a:ext>
            </a:extLst>
          </p:cNvPr>
          <p:cNvSpPr/>
          <p:nvPr/>
        </p:nvSpPr>
        <p:spPr>
          <a:xfrm>
            <a:off x="3711822"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38%</a:t>
            </a:r>
          </a:p>
        </p:txBody>
      </p:sp>
      <p:sp>
        <p:nvSpPr>
          <p:cNvPr id="101" name="Rectangle: Rounded Corners 149">
            <a:extLst>
              <a:ext uri="{FF2B5EF4-FFF2-40B4-BE49-F238E27FC236}">
                <a16:creationId xmlns:a16="http://schemas.microsoft.com/office/drawing/2014/main" id="{D101FBB6-7D7E-483C-B6E3-AB9308D1F50F}"/>
              </a:ext>
            </a:extLst>
          </p:cNvPr>
          <p:cNvSpPr/>
          <p:nvPr/>
        </p:nvSpPr>
        <p:spPr>
          <a:xfrm>
            <a:off x="4879263"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73.5</a:t>
            </a:r>
          </a:p>
        </p:txBody>
      </p:sp>
      <p:sp>
        <p:nvSpPr>
          <p:cNvPr id="102" name="Rectangle: Rounded Corners 149">
            <a:extLst>
              <a:ext uri="{FF2B5EF4-FFF2-40B4-BE49-F238E27FC236}">
                <a16:creationId xmlns:a16="http://schemas.microsoft.com/office/drawing/2014/main" id="{D101FBB6-7D7E-483C-B6E3-AB9308D1F50F}"/>
              </a:ext>
            </a:extLst>
          </p:cNvPr>
          <p:cNvSpPr/>
          <p:nvPr/>
        </p:nvSpPr>
        <p:spPr>
          <a:xfrm>
            <a:off x="7136597"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27.3</a:t>
            </a:r>
          </a:p>
        </p:txBody>
      </p:sp>
      <p:sp>
        <p:nvSpPr>
          <p:cNvPr id="103" name="Rectangle: Rounded Corners 153">
            <a:extLst>
              <a:ext uri="{FF2B5EF4-FFF2-40B4-BE49-F238E27FC236}">
                <a16:creationId xmlns:a16="http://schemas.microsoft.com/office/drawing/2014/main" id="{670A388E-8574-483D-9CBA-C4807A34A062}"/>
              </a:ext>
            </a:extLst>
          </p:cNvPr>
          <p:cNvSpPr/>
          <p:nvPr/>
        </p:nvSpPr>
        <p:spPr>
          <a:xfrm>
            <a:off x="8272492"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567%</a:t>
            </a:r>
          </a:p>
        </p:txBody>
      </p:sp>
      <p:sp>
        <p:nvSpPr>
          <p:cNvPr id="104" name="Rectangle: Rounded Corners 149">
            <a:extLst>
              <a:ext uri="{FF2B5EF4-FFF2-40B4-BE49-F238E27FC236}">
                <a16:creationId xmlns:a16="http://schemas.microsoft.com/office/drawing/2014/main" id="{D101FBB6-7D7E-483C-B6E3-AB9308D1F50F}"/>
              </a:ext>
            </a:extLst>
          </p:cNvPr>
          <p:cNvSpPr/>
          <p:nvPr/>
        </p:nvSpPr>
        <p:spPr>
          <a:xfrm>
            <a:off x="9429957"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5.4</a:t>
            </a:r>
          </a:p>
        </p:txBody>
      </p:sp>
      <p:sp>
        <p:nvSpPr>
          <p:cNvPr id="105" name="Rectangle: Rounded Corners 153">
            <a:extLst>
              <a:ext uri="{FF2B5EF4-FFF2-40B4-BE49-F238E27FC236}">
                <a16:creationId xmlns:a16="http://schemas.microsoft.com/office/drawing/2014/main" id="{670A388E-8574-483D-9CBA-C4807A34A062}"/>
              </a:ext>
            </a:extLst>
          </p:cNvPr>
          <p:cNvSpPr/>
          <p:nvPr/>
        </p:nvSpPr>
        <p:spPr>
          <a:xfrm>
            <a:off x="10533623"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389%</a:t>
            </a:r>
          </a:p>
        </p:txBody>
      </p:sp>
      <p:sp>
        <p:nvSpPr>
          <p:cNvPr id="106" name="Rectangle: Rounded Corners 171">
            <a:extLst>
              <a:ext uri="{FF2B5EF4-FFF2-40B4-BE49-F238E27FC236}">
                <a16:creationId xmlns:a16="http://schemas.microsoft.com/office/drawing/2014/main" id="{5B0C6A83-AA6E-4EF3-80B0-48EF80001513}"/>
              </a:ext>
            </a:extLst>
          </p:cNvPr>
          <p:cNvSpPr/>
          <p:nvPr/>
        </p:nvSpPr>
        <p:spPr>
          <a:xfrm>
            <a:off x="1703496" y="2040540"/>
            <a:ext cx="766561"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2</a:t>
            </a:r>
          </a:p>
        </p:txBody>
      </p:sp>
      <p:sp>
        <p:nvSpPr>
          <p:cNvPr id="107" name="Rectangle: Rounded Corners 175">
            <a:extLst>
              <a:ext uri="{FF2B5EF4-FFF2-40B4-BE49-F238E27FC236}">
                <a16:creationId xmlns:a16="http://schemas.microsoft.com/office/drawing/2014/main" id="{388EBF78-E031-474D-90CE-C3A53D5902D6}"/>
              </a:ext>
            </a:extLst>
          </p:cNvPr>
          <p:cNvSpPr/>
          <p:nvPr/>
        </p:nvSpPr>
        <p:spPr>
          <a:xfrm>
            <a:off x="7136597"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51.3</a:t>
            </a:r>
          </a:p>
        </p:txBody>
      </p:sp>
      <p:sp>
        <p:nvSpPr>
          <p:cNvPr id="108" name="Rectangle: Rounded Corners 179">
            <a:extLst>
              <a:ext uri="{FF2B5EF4-FFF2-40B4-BE49-F238E27FC236}">
                <a16:creationId xmlns:a16="http://schemas.microsoft.com/office/drawing/2014/main" id="{64FF5EEA-2412-47FC-8967-2592D2CF3F61}"/>
              </a:ext>
            </a:extLst>
          </p:cNvPr>
          <p:cNvSpPr/>
          <p:nvPr/>
        </p:nvSpPr>
        <p:spPr>
          <a:xfrm>
            <a:off x="8272492"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115%</a:t>
            </a:r>
          </a:p>
        </p:txBody>
      </p:sp>
      <p:sp>
        <p:nvSpPr>
          <p:cNvPr id="109" name="Rectangle: Rounded Corners 175">
            <a:extLst>
              <a:ext uri="{FF2B5EF4-FFF2-40B4-BE49-F238E27FC236}">
                <a16:creationId xmlns:a16="http://schemas.microsoft.com/office/drawing/2014/main" id="{388EBF78-E031-474D-90CE-C3A53D5902D6}"/>
              </a:ext>
            </a:extLst>
          </p:cNvPr>
          <p:cNvSpPr/>
          <p:nvPr/>
        </p:nvSpPr>
        <p:spPr>
          <a:xfrm>
            <a:off x="9429957"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6.3</a:t>
            </a:r>
          </a:p>
        </p:txBody>
      </p:sp>
      <p:sp>
        <p:nvSpPr>
          <p:cNvPr id="110" name="Rectangle: Rounded Corners 179">
            <a:extLst>
              <a:ext uri="{FF2B5EF4-FFF2-40B4-BE49-F238E27FC236}">
                <a16:creationId xmlns:a16="http://schemas.microsoft.com/office/drawing/2014/main" id="{64FF5EEA-2412-47FC-8967-2592D2CF3F61}"/>
              </a:ext>
            </a:extLst>
          </p:cNvPr>
          <p:cNvSpPr/>
          <p:nvPr/>
        </p:nvSpPr>
        <p:spPr>
          <a:xfrm>
            <a:off x="10533623"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57%</a:t>
            </a:r>
          </a:p>
        </p:txBody>
      </p:sp>
      <p:sp>
        <p:nvSpPr>
          <p:cNvPr id="111" name="Rectangle: Rounded Corners 175">
            <a:extLst>
              <a:ext uri="{FF2B5EF4-FFF2-40B4-BE49-F238E27FC236}">
                <a16:creationId xmlns:a16="http://schemas.microsoft.com/office/drawing/2014/main" id="{388EBF78-E031-474D-90CE-C3A53D5902D6}"/>
              </a:ext>
            </a:extLst>
          </p:cNvPr>
          <p:cNvSpPr/>
          <p:nvPr/>
        </p:nvSpPr>
        <p:spPr>
          <a:xfrm>
            <a:off x="2559602"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67</a:t>
            </a:r>
          </a:p>
        </p:txBody>
      </p:sp>
      <p:sp>
        <p:nvSpPr>
          <p:cNvPr id="112" name="Rectangle: Rounded Corners 179">
            <a:extLst>
              <a:ext uri="{FF2B5EF4-FFF2-40B4-BE49-F238E27FC236}">
                <a16:creationId xmlns:a16="http://schemas.microsoft.com/office/drawing/2014/main" id="{64FF5EEA-2412-47FC-8967-2592D2CF3F61}"/>
              </a:ext>
            </a:extLst>
          </p:cNvPr>
          <p:cNvSpPr/>
          <p:nvPr/>
        </p:nvSpPr>
        <p:spPr>
          <a:xfrm>
            <a:off x="3711822"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4%</a:t>
            </a:r>
          </a:p>
        </p:txBody>
      </p:sp>
      <p:sp>
        <p:nvSpPr>
          <p:cNvPr id="113" name="Rectangle: Rounded Corners 175">
            <a:extLst>
              <a:ext uri="{FF2B5EF4-FFF2-40B4-BE49-F238E27FC236}">
                <a16:creationId xmlns:a16="http://schemas.microsoft.com/office/drawing/2014/main" id="{388EBF78-E031-474D-90CE-C3A53D5902D6}"/>
              </a:ext>
            </a:extLst>
          </p:cNvPr>
          <p:cNvSpPr/>
          <p:nvPr/>
        </p:nvSpPr>
        <p:spPr>
          <a:xfrm>
            <a:off x="4879263"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08</a:t>
            </a:r>
          </a:p>
        </p:txBody>
      </p:sp>
      <p:sp>
        <p:nvSpPr>
          <p:cNvPr id="116" name="Rectangle: Rounded Corners 153">
            <a:extLst>
              <a:ext uri="{FF2B5EF4-FFF2-40B4-BE49-F238E27FC236}">
                <a16:creationId xmlns:a16="http://schemas.microsoft.com/office/drawing/2014/main" id="{8A1177C6-E1DA-4585-8CA0-A520ABD338DD}"/>
              </a:ext>
            </a:extLst>
          </p:cNvPr>
          <p:cNvSpPr/>
          <p:nvPr/>
        </p:nvSpPr>
        <p:spPr>
          <a:xfrm>
            <a:off x="6003223" y="1719101"/>
            <a:ext cx="1053897" cy="256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79%</a:t>
            </a:r>
          </a:p>
        </p:txBody>
      </p:sp>
      <p:sp>
        <p:nvSpPr>
          <p:cNvPr id="117" name="Rectangle: Rounded Corners 179">
            <a:extLst>
              <a:ext uri="{FF2B5EF4-FFF2-40B4-BE49-F238E27FC236}">
                <a16:creationId xmlns:a16="http://schemas.microsoft.com/office/drawing/2014/main" id="{767A02A5-6075-4395-B1A7-11F9344166AC}"/>
              </a:ext>
            </a:extLst>
          </p:cNvPr>
          <p:cNvSpPr/>
          <p:nvPr/>
        </p:nvSpPr>
        <p:spPr>
          <a:xfrm>
            <a:off x="6003223" y="203542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3%</a:t>
            </a:r>
          </a:p>
        </p:txBody>
      </p:sp>
      <p:sp>
        <p:nvSpPr>
          <p:cNvPr id="118" name="Rectangle: Rounded Corners 171">
            <a:extLst>
              <a:ext uri="{FF2B5EF4-FFF2-40B4-BE49-F238E27FC236}">
                <a16:creationId xmlns:a16="http://schemas.microsoft.com/office/drawing/2014/main" id="{5B0C6A83-AA6E-4EF3-80B0-48EF80001513}"/>
              </a:ext>
            </a:extLst>
          </p:cNvPr>
          <p:cNvSpPr/>
          <p:nvPr/>
        </p:nvSpPr>
        <p:spPr>
          <a:xfrm>
            <a:off x="1692224" y="2362027"/>
            <a:ext cx="766561"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3</a:t>
            </a:r>
          </a:p>
        </p:txBody>
      </p:sp>
      <p:sp>
        <p:nvSpPr>
          <p:cNvPr id="119" name="Rectangle: Rounded Corners 175">
            <a:extLst>
              <a:ext uri="{FF2B5EF4-FFF2-40B4-BE49-F238E27FC236}">
                <a16:creationId xmlns:a16="http://schemas.microsoft.com/office/drawing/2014/main" id="{388EBF78-E031-474D-90CE-C3A53D5902D6}"/>
              </a:ext>
            </a:extLst>
          </p:cNvPr>
          <p:cNvSpPr/>
          <p:nvPr/>
        </p:nvSpPr>
        <p:spPr>
          <a:xfrm>
            <a:off x="7136597"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60.4</a:t>
            </a:r>
          </a:p>
        </p:txBody>
      </p:sp>
      <p:sp>
        <p:nvSpPr>
          <p:cNvPr id="120" name="Rectangle: Rounded Corners 179">
            <a:extLst>
              <a:ext uri="{FF2B5EF4-FFF2-40B4-BE49-F238E27FC236}">
                <a16:creationId xmlns:a16="http://schemas.microsoft.com/office/drawing/2014/main" id="{64FF5EEA-2412-47FC-8967-2592D2CF3F61}"/>
              </a:ext>
            </a:extLst>
          </p:cNvPr>
          <p:cNvSpPr/>
          <p:nvPr/>
        </p:nvSpPr>
        <p:spPr>
          <a:xfrm>
            <a:off x="8272492"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21%</a:t>
            </a:r>
          </a:p>
        </p:txBody>
      </p:sp>
      <p:sp>
        <p:nvSpPr>
          <p:cNvPr id="121" name="Rectangle: Rounded Corners 175">
            <a:extLst>
              <a:ext uri="{FF2B5EF4-FFF2-40B4-BE49-F238E27FC236}">
                <a16:creationId xmlns:a16="http://schemas.microsoft.com/office/drawing/2014/main" id="{388EBF78-E031-474D-90CE-C3A53D5902D6}"/>
              </a:ext>
            </a:extLst>
          </p:cNvPr>
          <p:cNvSpPr/>
          <p:nvPr/>
        </p:nvSpPr>
        <p:spPr>
          <a:xfrm>
            <a:off x="9429957"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6.9</a:t>
            </a:r>
          </a:p>
        </p:txBody>
      </p:sp>
      <p:sp>
        <p:nvSpPr>
          <p:cNvPr id="122" name="Rectangle: Rounded Corners 179">
            <a:extLst>
              <a:ext uri="{FF2B5EF4-FFF2-40B4-BE49-F238E27FC236}">
                <a16:creationId xmlns:a16="http://schemas.microsoft.com/office/drawing/2014/main" id="{64FF5EEA-2412-47FC-8967-2592D2CF3F61}"/>
              </a:ext>
            </a:extLst>
          </p:cNvPr>
          <p:cNvSpPr/>
          <p:nvPr/>
        </p:nvSpPr>
        <p:spPr>
          <a:xfrm>
            <a:off x="10533623"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67%</a:t>
            </a:r>
          </a:p>
        </p:txBody>
      </p:sp>
      <p:sp>
        <p:nvSpPr>
          <p:cNvPr id="123" name="Rectangle: Rounded Corners 175">
            <a:extLst>
              <a:ext uri="{FF2B5EF4-FFF2-40B4-BE49-F238E27FC236}">
                <a16:creationId xmlns:a16="http://schemas.microsoft.com/office/drawing/2014/main" id="{388EBF78-E031-474D-90CE-C3A53D5902D6}"/>
              </a:ext>
            </a:extLst>
          </p:cNvPr>
          <p:cNvSpPr/>
          <p:nvPr/>
        </p:nvSpPr>
        <p:spPr>
          <a:xfrm>
            <a:off x="2559602"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96</a:t>
            </a:r>
          </a:p>
        </p:txBody>
      </p:sp>
      <p:sp>
        <p:nvSpPr>
          <p:cNvPr id="124" name="Rectangle: Rounded Corners 179">
            <a:extLst>
              <a:ext uri="{FF2B5EF4-FFF2-40B4-BE49-F238E27FC236}">
                <a16:creationId xmlns:a16="http://schemas.microsoft.com/office/drawing/2014/main" id="{64FF5EEA-2412-47FC-8967-2592D2CF3F61}"/>
              </a:ext>
            </a:extLst>
          </p:cNvPr>
          <p:cNvSpPr/>
          <p:nvPr/>
        </p:nvSpPr>
        <p:spPr>
          <a:xfrm>
            <a:off x="3711822"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a:t>
            </a:r>
          </a:p>
        </p:txBody>
      </p:sp>
      <p:sp>
        <p:nvSpPr>
          <p:cNvPr id="125" name="Rectangle: Rounded Corners 175">
            <a:extLst>
              <a:ext uri="{FF2B5EF4-FFF2-40B4-BE49-F238E27FC236}">
                <a16:creationId xmlns:a16="http://schemas.microsoft.com/office/drawing/2014/main" id="{388EBF78-E031-474D-90CE-C3A53D5902D6}"/>
              </a:ext>
            </a:extLst>
          </p:cNvPr>
          <p:cNvSpPr/>
          <p:nvPr/>
        </p:nvSpPr>
        <p:spPr>
          <a:xfrm>
            <a:off x="4879263"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27.6</a:t>
            </a:r>
          </a:p>
        </p:txBody>
      </p:sp>
      <p:sp>
        <p:nvSpPr>
          <p:cNvPr id="126" name="Rectangle: Rounded Corners 179">
            <a:extLst>
              <a:ext uri="{FF2B5EF4-FFF2-40B4-BE49-F238E27FC236}">
                <a16:creationId xmlns:a16="http://schemas.microsoft.com/office/drawing/2014/main" id="{767A02A5-6075-4395-B1A7-11F9344166AC}"/>
              </a:ext>
            </a:extLst>
          </p:cNvPr>
          <p:cNvSpPr/>
          <p:nvPr/>
        </p:nvSpPr>
        <p:spPr>
          <a:xfrm>
            <a:off x="6003223" y="2394172"/>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8)%</a:t>
            </a:r>
          </a:p>
        </p:txBody>
      </p:sp>
      <p:sp>
        <p:nvSpPr>
          <p:cNvPr id="127" name="Rectangle: Rounded Corners 171">
            <a:extLst>
              <a:ext uri="{FF2B5EF4-FFF2-40B4-BE49-F238E27FC236}">
                <a16:creationId xmlns:a16="http://schemas.microsoft.com/office/drawing/2014/main" id="{5B0C6A83-AA6E-4EF3-80B0-48EF80001513}"/>
              </a:ext>
            </a:extLst>
          </p:cNvPr>
          <p:cNvSpPr/>
          <p:nvPr/>
        </p:nvSpPr>
        <p:spPr>
          <a:xfrm>
            <a:off x="1703500" y="2730894"/>
            <a:ext cx="766561"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4</a:t>
            </a:r>
          </a:p>
        </p:txBody>
      </p:sp>
      <p:sp>
        <p:nvSpPr>
          <p:cNvPr id="128" name="Rectangle: Rounded Corners 175">
            <a:extLst>
              <a:ext uri="{FF2B5EF4-FFF2-40B4-BE49-F238E27FC236}">
                <a16:creationId xmlns:a16="http://schemas.microsoft.com/office/drawing/2014/main" id="{388EBF78-E031-474D-90CE-C3A53D5902D6}"/>
              </a:ext>
            </a:extLst>
          </p:cNvPr>
          <p:cNvSpPr/>
          <p:nvPr/>
        </p:nvSpPr>
        <p:spPr>
          <a:xfrm>
            <a:off x="7147873"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88.1</a:t>
            </a:r>
          </a:p>
        </p:txBody>
      </p:sp>
      <p:sp>
        <p:nvSpPr>
          <p:cNvPr id="129" name="Rectangle: Rounded Corners 179">
            <a:extLst>
              <a:ext uri="{FF2B5EF4-FFF2-40B4-BE49-F238E27FC236}">
                <a16:creationId xmlns:a16="http://schemas.microsoft.com/office/drawing/2014/main" id="{64FF5EEA-2412-47FC-8967-2592D2CF3F61}"/>
              </a:ext>
            </a:extLst>
          </p:cNvPr>
          <p:cNvSpPr/>
          <p:nvPr/>
        </p:nvSpPr>
        <p:spPr>
          <a:xfrm>
            <a:off x="8283768"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16%%</a:t>
            </a:r>
          </a:p>
        </p:txBody>
      </p:sp>
      <p:sp>
        <p:nvSpPr>
          <p:cNvPr id="130" name="Rectangle: Rounded Corners 175">
            <a:extLst>
              <a:ext uri="{FF2B5EF4-FFF2-40B4-BE49-F238E27FC236}">
                <a16:creationId xmlns:a16="http://schemas.microsoft.com/office/drawing/2014/main" id="{388EBF78-E031-474D-90CE-C3A53D5902D6}"/>
              </a:ext>
            </a:extLst>
          </p:cNvPr>
          <p:cNvSpPr/>
          <p:nvPr/>
        </p:nvSpPr>
        <p:spPr>
          <a:xfrm>
            <a:off x="9441233"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2.1</a:t>
            </a:r>
          </a:p>
        </p:txBody>
      </p:sp>
      <p:sp>
        <p:nvSpPr>
          <p:cNvPr id="131" name="Rectangle: Rounded Corners 179">
            <a:extLst>
              <a:ext uri="{FF2B5EF4-FFF2-40B4-BE49-F238E27FC236}">
                <a16:creationId xmlns:a16="http://schemas.microsoft.com/office/drawing/2014/main" id="{64FF5EEA-2412-47FC-8967-2592D2CF3F61}"/>
              </a:ext>
            </a:extLst>
          </p:cNvPr>
          <p:cNvSpPr/>
          <p:nvPr/>
        </p:nvSpPr>
        <p:spPr>
          <a:xfrm>
            <a:off x="10544899"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53%</a:t>
            </a:r>
          </a:p>
        </p:txBody>
      </p:sp>
      <p:sp>
        <p:nvSpPr>
          <p:cNvPr id="132" name="Rectangle: Rounded Corners 175">
            <a:extLst>
              <a:ext uri="{FF2B5EF4-FFF2-40B4-BE49-F238E27FC236}">
                <a16:creationId xmlns:a16="http://schemas.microsoft.com/office/drawing/2014/main" id="{388EBF78-E031-474D-90CE-C3A53D5902D6}"/>
              </a:ext>
            </a:extLst>
          </p:cNvPr>
          <p:cNvSpPr/>
          <p:nvPr/>
        </p:nvSpPr>
        <p:spPr>
          <a:xfrm>
            <a:off x="2570878"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50</a:t>
            </a:r>
          </a:p>
        </p:txBody>
      </p:sp>
      <p:sp>
        <p:nvSpPr>
          <p:cNvPr id="133" name="Rectangle: Rounded Corners 179">
            <a:extLst>
              <a:ext uri="{FF2B5EF4-FFF2-40B4-BE49-F238E27FC236}">
                <a16:creationId xmlns:a16="http://schemas.microsoft.com/office/drawing/2014/main" id="{64FF5EEA-2412-47FC-8967-2592D2CF3F61}"/>
              </a:ext>
            </a:extLst>
          </p:cNvPr>
          <p:cNvSpPr/>
          <p:nvPr/>
        </p:nvSpPr>
        <p:spPr>
          <a:xfrm>
            <a:off x="3723098"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9%</a:t>
            </a:r>
          </a:p>
        </p:txBody>
      </p:sp>
      <p:sp>
        <p:nvSpPr>
          <p:cNvPr id="134" name="Rectangle: Rounded Corners 175">
            <a:extLst>
              <a:ext uri="{FF2B5EF4-FFF2-40B4-BE49-F238E27FC236}">
                <a16:creationId xmlns:a16="http://schemas.microsoft.com/office/drawing/2014/main" id="{388EBF78-E031-474D-90CE-C3A53D5902D6}"/>
              </a:ext>
            </a:extLst>
          </p:cNvPr>
          <p:cNvSpPr/>
          <p:nvPr/>
        </p:nvSpPr>
        <p:spPr>
          <a:xfrm>
            <a:off x="4890539"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48.9</a:t>
            </a:r>
          </a:p>
        </p:txBody>
      </p:sp>
      <p:sp>
        <p:nvSpPr>
          <p:cNvPr id="135" name="Rectangle: Rounded Corners 179">
            <a:extLst>
              <a:ext uri="{FF2B5EF4-FFF2-40B4-BE49-F238E27FC236}">
                <a16:creationId xmlns:a16="http://schemas.microsoft.com/office/drawing/2014/main" id="{767A02A5-6075-4395-B1A7-11F9344166AC}"/>
              </a:ext>
            </a:extLst>
          </p:cNvPr>
          <p:cNvSpPr/>
          <p:nvPr/>
        </p:nvSpPr>
        <p:spPr>
          <a:xfrm>
            <a:off x="6014499" y="2763039"/>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9%</a:t>
            </a:r>
          </a:p>
        </p:txBody>
      </p:sp>
      <p:sp>
        <p:nvSpPr>
          <p:cNvPr id="136" name="Rectangle: Rounded Corners 171">
            <a:extLst>
              <a:ext uri="{FF2B5EF4-FFF2-40B4-BE49-F238E27FC236}">
                <a16:creationId xmlns:a16="http://schemas.microsoft.com/office/drawing/2014/main" id="{5B0C6A83-AA6E-4EF3-80B0-48EF80001513}"/>
              </a:ext>
            </a:extLst>
          </p:cNvPr>
          <p:cNvSpPr/>
          <p:nvPr/>
        </p:nvSpPr>
        <p:spPr>
          <a:xfrm>
            <a:off x="1692224" y="3113445"/>
            <a:ext cx="766561"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err="1">
                <a:solidFill>
                  <a:srgbClr val="000000"/>
                </a:solidFill>
                <a:latin typeface="Arial" panose="020B0604020202020204" pitchFamily="34" charset="0"/>
                <a:cs typeface="Arial" panose="020B0604020202020204" pitchFamily="34" charset="0"/>
              </a:rPr>
              <a:t>Q1</a:t>
            </a:r>
            <a:endParaRPr lang="en-US" sz="1200" dirty="0">
              <a:solidFill>
                <a:srgbClr val="000000"/>
              </a:solidFill>
              <a:latin typeface="Arial" panose="020B0604020202020204" pitchFamily="34" charset="0"/>
              <a:cs typeface="Arial" panose="020B0604020202020204" pitchFamily="34" charset="0"/>
            </a:endParaRPr>
          </a:p>
        </p:txBody>
      </p:sp>
      <p:sp>
        <p:nvSpPr>
          <p:cNvPr id="137" name="Rectangle: Rounded Corners 175">
            <a:extLst>
              <a:ext uri="{FF2B5EF4-FFF2-40B4-BE49-F238E27FC236}">
                <a16:creationId xmlns:a16="http://schemas.microsoft.com/office/drawing/2014/main" id="{388EBF78-E031-474D-90CE-C3A53D5902D6}"/>
              </a:ext>
            </a:extLst>
          </p:cNvPr>
          <p:cNvSpPr/>
          <p:nvPr/>
        </p:nvSpPr>
        <p:spPr>
          <a:xfrm>
            <a:off x="7136597"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68-68.5</a:t>
            </a:r>
          </a:p>
        </p:txBody>
      </p:sp>
      <p:sp>
        <p:nvSpPr>
          <p:cNvPr id="138" name="Rectangle: Rounded Corners 179">
            <a:extLst>
              <a:ext uri="{FF2B5EF4-FFF2-40B4-BE49-F238E27FC236}">
                <a16:creationId xmlns:a16="http://schemas.microsoft.com/office/drawing/2014/main" id="{64FF5EEA-2412-47FC-8967-2592D2CF3F61}"/>
              </a:ext>
            </a:extLst>
          </p:cNvPr>
          <p:cNvSpPr/>
          <p:nvPr/>
        </p:nvSpPr>
        <p:spPr>
          <a:xfrm>
            <a:off x="8272492"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149-151%</a:t>
            </a:r>
          </a:p>
        </p:txBody>
      </p:sp>
      <p:sp>
        <p:nvSpPr>
          <p:cNvPr id="139" name="Rectangle: Rounded Corners 175">
            <a:extLst>
              <a:ext uri="{FF2B5EF4-FFF2-40B4-BE49-F238E27FC236}">
                <a16:creationId xmlns:a16="http://schemas.microsoft.com/office/drawing/2014/main" id="{388EBF78-E031-474D-90CE-C3A53D5902D6}"/>
              </a:ext>
            </a:extLst>
          </p:cNvPr>
          <p:cNvSpPr/>
          <p:nvPr/>
        </p:nvSpPr>
        <p:spPr>
          <a:xfrm>
            <a:off x="9429957"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0.6-10.8</a:t>
            </a:r>
          </a:p>
        </p:txBody>
      </p:sp>
      <p:sp>
        <p:nvSpPr>
          <p:cNvPr id="140" name="Rectangle: Rounded Corners 179">
            <a:extLst>
              <a:ext uri="{FF2B5EF4-FFF2-40B4-BE49-F238E27FC236}">
                <a16:creationId xmlns:a16="http://schemas.microsoft.com/office/drawing/2014/main" id="{64FF5EEA-2412-47FC-8967-2592D2CF3F61}"/>
              </a:ext>
            </a:extLst>
          </p:cNvPr>
          <p:cNvSpPr/>
          <p:nvPr/>
        </p:nvSpPr>
        <p:spPr>
          <a:xfrm>
            <a:off x="10533623"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99-101%</a:t>
            </a:r>
          </a:p>
        </p:txBody>
      </p:sp>
      <p:sp>
        <p:nvSpPr>
          <p:cNvPr id="141" name="Rectangle: Rounded Corners 175">
            <a:extLst>
              <a:ext uri="{FF2B5EF4-FFF2-40B4-BE49-F238E27FC236}">
                <a16:creationId xmlns:a16="http://schemas.microsoft.com/office/drawing/2014/main" id="{388EBF78-E031-474D-90CE-C3A53D5902D6}"/>
              </a:ext>
            </a:extLst>
          </p:cNvPr>
          <p:cNvSpPr/>
          <p:nvPr/>
        </p:nvSpPr>
        <p:spPr>
          <a:xfrm>
            <a:off x="2559602"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04-208</a:t>
            </a:r>
          </a:p>
        </p:txBody>
      </p:sp>
      <p:sp>
        <p:nvSpPr>
          <p:cNvPr id="142" name="Rectangle: Rounded Corners 179">
            <a:extLst>
              <a:ext uri="{FF2B5EF4-FFF2-40B4-BE49-F238E27FC236}">
                <a16:creationId xmlns:a16="http://schemas.microsoft.com/office/drawing/2014/main" id="{64FF5EEA-2412-47FC-8967-2592D2CF3F61}"/>
              </a:ext>
            </a:extLst>
          </p:cNvPr>
          <p:cNvSpPr/>
          <p:nvPr/>
        </p:nvSpPr>
        <p:spPr>
          <a:xfrm>
            <a:off x="3711822"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91-93%</a:t>
            </a:r>
          </a:p>
        </p:txBody>
      </p:sp>
      <p:sp>
        <p:nvSpPr>
          <p:cNvPr id="143" name="Rectangle: Rounded Corners 175">
            <a:extLst>
              <a:ext uri="{FF2B5EF4-FFF2-40B4-BE49-F238E27FC236}">
                <a16:creationId xmlns:a16="http://schemas.microsoft.com/office/drawing/2014/main" id="{388EBF78-E031-474D-90CE-C3A53D5902D6}"/>
              </a:ext>
            </a:extLst>
          </p:cNvPr>
          <p:cNvSpPr/>
          <p:nvPr/>
        </p:nvSpPr>
        <p:spPr>
          <a:xfrm>
            <a:off x="4879263"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25-127</a:t>
            </a:r>
          </a:p>
        </p:txBody>
      </p:sp>
      <p:sp>
        <p:nvSpPr>
          <p:cNvPr id="144" name="Rectangle: Rounded Corners 179">
            <a:extLst>
              <a:ext uri="{FF2B5EF4-FFF2-40B4-BE49-F238E27FC236}">
                <a16:creationId xmlns:a16="http://schemas.microsoft.com/office/drawing/2014/main" id="{767A02A5-6075-4395-B1A7-11F9344166AC}"/>
              </a:ext>
            </a:extLst>
          </p:cNvPr>
          <p:cNvSpPr/>
          <p:nvPr/>
        </p:nvSpPr>
        <p:spPr>
          <a:xfrm>
            <a:off x="6003223" y="3145590"/>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70-72%</a:t>
            </a:r>
          </a:p>
        </p:txBody>
      </p:sp>
      <p:sp>
        <p:nvSpPr>
          <p:cNvPr id="145" name="Rectangle: Rounded Corners 168">
            <a:extLst>
              <a:ext uri="{FF2B5EF4-FFF2-40B4-BE49-F238E27FC236}">
                <a16:creationId xmlns:a16="http://schemas.microsoft.com/office/drawing/2014/main" id="{29DF9AF3-A9C6-4EC2-8010-653D056EFE62}"/>
              </a:ext>
            </a:extLst>
          </p:cNvPr>
          <p:cNvSpPr/>
          <p:nvPr/>
        </p:nvSpPr>
        <p:spPr>
          <a:xfrm>
            <a:off x="538567" y="3098264"/>
            <a:ext cx="1042778" cy="12820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b="1" dirty="0" err="1">
                <a:solidFill>
                  <a:srgbClr val="000000"/>
                </a:solidFill>
                <a:latin typeface="Arial" panose="020B0604020202020204" pitchFamily="34" charset="0"/>
                <a:cs typeface="Arial" panose="020B0604020202020204" pitchFamily="34" charset="0"/>
              </a:rPr>
              <a:t>FY23P</a:t>
            </a:r>
            <a:endParaRPr lang="en-US" sz="1200" b="1" dirty="0">
              <a:solidFill>
                <a:srgbClr val="000000"/>
              </a:solidFill>
              <a:latin typeface="Arial" panose="020B0604020202020204" pitchFamily="34" charset="0"/>
              <a:cs typeface="Arial" panose="020B0604020202020204" pitchFamily="34" charset="0"/>
            </a:endParaRPr>
          </a:p>
        </p:txBody>
      </p:sp>
      <p:sp>
        <p:nvSpPr>
          <p:cNvPr id="94" name="Rectangle: Rounded Corners 171">
            <a:extLst>
              <a:ext uri="{FF2B5EF4-FFF2-40B4-BE49-F238E27FC236}">
                <a16:creationId xmlns:a16="http://schemas.microsoft.com/office/drawing/2014/main" id="{5B0C6A83-AA6E-4EF3-80B0-48EF80001513}"/>
              </a:ext>
            </a:extLst>
          </p:cNvPr>
          <p:cNvSpPr/>
          <p:nvPr/>
        </p:nvSpPr>
        <p:spPr>
          <a:xfrm>
            <a:off x="1684678" y="3417459"/>
            <a:ext cx="766561"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2</a:t>
            </a:r>
          </a:p>
        </p:txBody>
      </p:sp>
      <p:sp>
        <p:nvSpPr>
          <p:cNvPr id="146" name="Rectangle: Rounded Corners 175">
            <a:extLst>
              <a:ext uri="{FF2B5EF4-FFF2-40B4-BE49-F238E27FC236}">
                <a16:creationId xmlns:a16="http://schemas.microsoft.com/office/drawing/2014/main" id="{388EBF78-E031-474D-90CE-C3A53D5902D6}"/>
              </a:ext>
            </a:extLst>
          </p:cNvPr>
          <p:cNvSpPr/>
          <p:nvPr/>
        </p:nvSpPr>
        <p:spPr>
          <a:xfrm>
            <a:off x="7129051"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70-71</a:t>
            </a:r>
          </a:p>
        </p:txBody>
      </p:sp>
      <p:sp>
        <p:nvSpPr>
          <p:cNvPr id="147" name="Rectangle: Rounded Corners 179">
            <a:extLst>
              <a:ext uri="{FF2B5EF4-FFF2-40B4-BE49-F238E27FC236}">
                <a16:creationId xmlns:a16="http://schemas.microsoft.com/office/drawing/2014/main" id="{64FF5EEA-2412-47FC-8967-2592D2CF3F61}"/>
              </a:ext>
            </a:extLst>
          </p:cNvPr>
          <p:cNvSpPr/>
          <p:nvPr/>
        </p:nvSpPr>
        <p:spPr>
          <a:xfrm>
            <a:off x="8264946"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36-38%</a:t>
            </a:r>
          </a:p>
        </p:txBody>
      </p:sp>
      <p:sp>
        <p:nvSpPr>
          <p:cNvPr id="148" name="Rectangle: Rounded Corners 175">
            <a:extLst>
              <a:ext uri="{FF2B5EF4-FFF2-40B4-BE49-F238E27FC236}">
                <a16:creationId xmlns:a16="http://schemas.microsoft.com/office/drawing/2014/main" id="{388EBF78-E031-474D-90CE-C3A53D5902D6}"/>
              </a:ext>
            </a:extLst>
          </p:cNvPr>
          <p:cNvSpPr/>
          <p:nvPr/>
        </p:nvSpPr>
        <p:spPr>
          <a:xfrm>
            <a:off x="9422411"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9.5-9.6</a:t>
            </a:r>
          </a:p>
        </p:txBody>
      </p:sp>
      <p:sp>
        <p:nvSpPr>
          <p:cNvPr id="149" name="Rectangle: Rounded Corners 179">
            <a:extLst>
              <a:ext uri="{FF2B5EF4-FFF2-40B4-BE49-F238E27FC236}">
                <a16:creationId xmlns:a16="http://schemas.microsoft.com/office/drawing/2014/main" id="{64FF5EEA-2412-47FC-8967-2592D2CF3F61}"/>
              </a:ext>
            </a:extLst>
          </p:cNvPr>
          <p:cNvSpPr/>
          <p:nvPr/>
        </p:nvSpPr>
        <p:spPr>
          <a:xfrm>
            <a:off x="10526077"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51-53%</a:t>
            </a:r>
          </a:p>
        </p:txBody>
      </p:sp>
      <p:sp>
        <p:nvSpPr>
          <p:cNvPr id="150" name="Rectangle: Rounded Corners 175">
            <a:extLst>
              <a:ext uri="{FF2B5EF4-FFF2-40B4-BE49-F238E27FC236}">
                <a16:creationId xmlns:a16="http://schemas.microsoft.com/office/drawing/2014/main" id="{388EBF78-E031-474D-90CE-C3A53D5902D6}"/>
              </a:ext>
            </a:extLst>
          </p:cNvPr>
          <p:cNvSpPr/>
          <p:nvPr/>
        </p:nvSpPr>
        <p:spPr>
          <a:xfrm>
            <a:off x="2552056"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17-221</a:t>
            </a:r>
          </a:p>
        </p:txBody>
      </p:sp>
      <p:sp>
        <p:nvSpPr>
          <p:cNvPr id="151" name="Rectangle: Rounded Corners 179">
            <a:extLst>
              <a:ext uri="{FF2B5EF4-FFF2-40B4-BE49-F238E27FC236}">
                <a16:creationId xmlns:a16="http://schemas.microsoft.com/office/drawing/2014/main" id="{64FF5EEA-2412-47FC-8967-2592D2CF3F61}"/>
              </a:ext>
            </a:extLst>
          </p:cNvPr>
          <p:cNvSpPr/>
          <p:nvPr/>
        </p:nvSpPr>
        <p:spPr>
          <a:xfrm>
            <a:off x="3704276"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30-32%</a:t>
            </a:r>
          </a:p>
        </p:txBody>
      </p:sp>
      <p:sp>
        <p:nvSpPr>
          <p:cNvPr id="152" name="Rectangle: Rounded Corners 175">
            <a:extLst>
              <a:ext uri="{FF2B5EF4-FFF2-40B4-BE49-F238E27FC236}">
                <a16:creationId xmlns:a16="http://schemas.microsoft.com/office/drawing/2014/main" id="{388EBF78-E031-474D-90CE-C3A53D5902D6}"/>
              </a:ext>
            </a:extLst>
          </p:cNvPr>
          <p:cNvSpPr/>
          <p:nvPr/>
        </p:nvSpPr>
        <p:spPr>
          <a:xfrm>
            <a:off x="4871717"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36-139</a:t>
            </a:r>
          </a:p>
        </p:txBody>
      </p:sp>
      <p:sp>
        <p:nvSpPr>
          <p:cNvPr id="153" name="Rectangle: Rounded Corners 179">
            <a:extLst>
              <a:ext uri="{FF2B5EF4-FFF2-40B4-BE49-F238E27FC236}">
                <a16:creationId xmlns:a16="http://schemas.microsoft.com/office/drawing/2014/main" id="{767A02A5-6075-4395-B1A7-11F9344166AC}"/>
              </a:ext>
            </a:extLst>
          </p:cNvPr>
          <p:cNvSpPr/>
          <p:nvPr/>
        </p:nvSpPr>
        <p:spPr>
          <a:xfrm>
            <a:off x="5995677" y="3449604"/>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6-28%</a:t>
            </a:r>
          </a:p>
        </p:txBody>
      </p:sp>
      <p:sp>
        <p:nvSpPr>
          <p:cNvPr id="92" name="Rectangle: Rounded Corners 172">
            <a:extLst>
              <a:ext uri="{FF2B5EF4-FFF2-40B4-BE49-F238E27FC236}">
                <a16:creationId xmlns:a16="http://schemas.microsoft.com/office/drawing/2014/main" id="{20355717-C3F1-432D-9C96-1112015F819E}"/>
              </a:ext>
            </a:extLst>
          </p:cNvPr>
          <p:cNvSpPr/>
          <p:nvPr/>
        </p:nvSpPr>
        <p:spPr>
          <a:xfrm>
            <a:off x="1692224" y="3785921"/>
            <a:ext cx="766561"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3</a:t>
            </a:r>
          </a:p>
        </p:txBody>
      </p:sp>
      <p:sp>
        <p:nvSpPr>
          <p:cNvPr id="95" name="Rectangle: Rounded Corners 176">
            <a:extLst>
              <a:ext uri="{FF2B5EF4-FFF2-40B4-BE49-F238E27FC236}">
                <a16:creationId xmlns:a16="http://schemas.microsoft.com/office/drawing/2014/main" id="{0B7D409A-70CE-462B-A058-C8F4BB5F5525}"/>
              </a:ext>
            </a:extLst>
          </p:cNvPr>
          <p:cNvSpPr/>
          <p:nvPr/>
        </p:nvSpPr>
        <p:spPr>
          <a:xfrm>
            <a:off x="7160606"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73-74</a:t>
            </a:r>
          </a:p>
        </p:txBody>
      </p:sp>
      <p:sp>
        <p:nvSpPr>
          <p:cNvPr id="154" name="Rectangle: Rounded Corners 180">
            <a:extLst>
              <a:ext uri="{FF2B5EF4-FFF2-40B4-BE49-F238E27FC236}">
                <a16:creationId xmlns:a16="http://schemas.microsoft.com/office/drawing/2014/main" id="{9EDA45BE-47E3-4767-8219-A604E2803A3E}"/>
              </a:ext>
            </a:extLst>
          </p:cNvPr>
          <p:cNvSpPr/>
          <p:nvPr/>
        </p:nvSpPr>
        <p:spPr>
          <a:xfrm>
            <a:off x="8296501"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21-23%</a:t>
            </a:r>
          </a:p>
        </p:txBody>
      </p:sp>
      <p:sp>
        <p:nvSpPr>
          <p:cNvPr id="155" name="Rectangle: Rounded Corners 176">
            <a:extLst>
              <a:ext uri="{FF2B5EF4-FFF2-40B4-BE49-F238E27FC236}">
                <a16:creationId xmlns:a16="http://schemas.microsoft.com/office/drawing/2014/main" id="{7D648451-A96F-4EB3-8E8C-0597E97F992D}"/>
              </a:ext>
            </a:extLst>
          </p:cNvPr>
          <p:cNvSpPr/>
          <p:nvPr/>
        </p:nvSpPr>
        <p:spPr>
          <a:xfrm>
            <a:off x="9453966"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9.8-10</a:t>
            </a:r>
          </a:p>
        </p:txBody>
      </p:sp>
      <p:sp>
        <p:nvSpPr>
          <p:cNvPr id="156" name="Rectangle: Rounded Corners 180">
            <a:extLst>
              <a:ext uri="{FF2B5EF4-FFF2-40B4-BE49-F238E27FC236}">
                <a16:creationId xmlns:a16="http://schemas.microsoft.com/office/drawing/2014/main" id="{B7A0AA2B-8CBB-4733-8C2E-1F1CB0655063}"/>
              </a:ext>
            </a:extLst>
          </p:cNvPr>
          <p:cNvSpPr/>
          <p:nvPr/>
        </p:nvSpPr>
        <p:spPr>
          <a:xfrm>
            <a:off x="10557632"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42-44%</a:t>
            </a:r>
          </a:p>
        </p:txBody>
      </p:sp>
      <p:sp>
        <p:nvSpPr>
          <p:cNvPr id="157" name="Rectangle: Rounded Corners 176">
            <a:extLst>
              <a:ext uri="{FF2B5EF4-FFF2-40B4-BE49-F238E27FC236}">
                <a16:creationId xmlns:a16="http://schemas.microsoft.com/office/drawing/2014/main" id="{7D42EADE-D1AC-4F36-8959-1F7BE810048C}"/>
              </a:ext>
            </a:extLst>
          </p:cNvPr>
          <p:cNvSpPr/>
          <p:nvPr/>
        </p:nvSpPr>
        <p:spPr>
          <a:xfrm>
            <a:off x="2583611"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233-237</a:t>
            </a:r>
          </a:p>
        </p:txBody>
      </p:sp>
      <p:sp>
        <p:nvSpPr>
          <p:cNvPr id="158" name="Rectangle: Rounded Corners 180">
            <a:extLst>
              <a:ext uri="{FF2B5EF4-FFF2-40B4-BE49-F238E27FC236}">
                <a16:creationId xmlns:a16="http://schemas.microsoft.com/office/drawing/2014/main" id="{81BF31C9-BC7E-45DE-B4BA-F65C8FF2AC55}"/>
              </a:ext>
            </a:extLst>
          </p:cNvPr>
          <p:cNvSpPr/>
          <p:nvPr/>
        </p:nvSpPr>
        <p:spPr>
          <a:xfrm>
            <a:off x="3735831"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9-21%</a:t>
            </a:r>
          </a:p>
        </p:txBody>
      </p:sp>
      <p:sp>
        <p:nvSpPr>
          <p:cNvPr id="159" name="Rectangle: Rounded Corners 176">
            <a:extLst>
              <a:ext uri="{FF2B5EF4-FFF2-40B4-BE49-F238E27FC236}">
                <a16:creationId xmlns:a16="http://schemas.microsoft.com/office/drawing/2014/main" id="{FB4C594C-C8E2-456F-B9B2-639B1B36A47C}"/>
              </a:ext>
            </a:extLst>
          </p:cNvPr>
          <p:cNvSpPr/>
          <p:nvPr/>
        </p:nvSpPr>
        <p:spPr>
          <a:xfrm>
            <a:off x="4903272"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49-152</a:t>
            </a:r>
          </a:p>
        </p:txBody>
      </p:sp>
      <p:sp>
        <p:nvSpPr>
          <p:cNvPr id="160" name="Rectangle: Rounded Corners 180">
            <a:extLst>
              <a:ext uri="{FF2B5EF4-FFF2-40B4-BE49-F238E27FC236}">
                <a16:creationId xmlns:a16="http://schemas.microsoft.com/office/drawing/2014/main" id="{B56AD692-A283-4488-B56B-6CB54522264A}"/>
              </a:ext>
            </a:extLst>
          </p:cNvPr>
          <p:cNvSpPr/>
          <p:nvPr/>
        </p:nvSpPr>
        <p:spPr>
          <a:xfrm>
            <a:off x="6027232" y="3766145"/>
            <a:ext cx="1053897" cy="2560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7-19%</a:t>
            </a:r>
          </a:p>
        </p:txBody>
      </p:sp>
      <p:sp>
        <p:nvSpPr>
          <p:cNvPr id="168" name="Rectangle: Rounded Corners 171">
            <a:extLst>
              <a:ext uri="{FF2B5EF4-FFF2-40B4-BE49-F238E27FC236}">
                <a16:creationId xmlns:a16="http://schemas.microsoft.com/office/drawing/2014/main" id="{909AA8CF-A4CE-457A-87EA-D5D3D14FA31B}"/>
              </a:ext>
            </a:extLst>
          </p:cNvPr>
          <p:cNvSpPr/>
          <p:nvPr/>
        </p:nvSpPr>
        <p:spPr>
          <a:xfrm>
            <a:off x="1684678" y="4092111"/>
            <a:ext cx="766561"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Q4</a:t>
            </a:r>
          </a:p>
        </p:txBody>
      </p:sp>
      <p:sp>
        <p:nvSpPr>
          <p:cNvPr id="169" name="Rectangle: Rounded Corners 175">
            <a:extLst>
              <a:ext uri="{FF2B5EF4-FFF2-40B4-BE49-F238E27FC236}">
                <a16:creationId xmlns:a16="http://schemas.microsoft.com/office/drawing/2014/main" id="{7A1FF22D-12BF-43FE-8A12-92DB7DAC7D42}"/>
              </a:ext>
            </a:extLst>
          </p:cNvPr>
          <p:cNvSpPr/>
          <p:nvPr/>
        </p:nvSpPr>
        <p:spPr>
          <a:xfrm>
            <a:off x="7129051"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64-66</a:t>
            </a:r>
          </a:p>
        </p:txBody>
      </p:sp>
      <p:sp>
        <p:nvSpPr>
          <p:cNvPr id="170" name="Rectangle: Rounded Corners 179">
            <a:extLst>
              <a:ext uri="{FF2B5EF4-FFF2-40B4-BE49-F238E27FC236}">
                <a16:creationId xmlns:a16="http://schemas.microsoft.com/office/drawing/2014/main" id="{49F60407-405D-4C43-B8D4-75DAE0D6FC65}"/>
              </a:ext>
            </a:extLst>
          </p:cNvPr>
          <p:cNvSpPr/>
          <p:nvPr/>
        </p:nvSpPr>
        <p:spPr>
          <a:xfrm>
            <a:off x="8264946"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27)-(25)%</a:t>
            </a:r>
          </a:p>
        </p:txBody>
      </p:sp>
      <p:sp>
        <p:nvSpPr>
          <p:cNvPr id="171" name="Rectangle: Rounded Corners 175">
            <a:extLst>
              <a:ext uri="{FF2B5EF4-FFF2-40B4-BE49-F238E27FC236}">
                <a16:creationId xmlns:a16="http://schemas.microsoft.com/office/drawing/2014/main" id="{757C59FE-2F71-4D05-8C27-015BBD1076E7}"/>
              </a:ext>
            </a:extLst>
          </p:cNvPr>
          <p:cNvSpPr/>
          <p:nvPr/>
        </p:nvSpPr>
        <p:spPr>
          <a:xfrm>
            <a:off x="9422411"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11.2-11.4</a:t>
            </a:r>
          </a:p>
        </p:txBody>
      </p:sp>
      <p:sp>
        <p:nvSpPr>
          <p:cNvPr id="172" name="Rectangle: Rounded Corners 179">
            <a:extLst>
              <a:ext uri="{FF2B5EF4-FFF2-40B4-BE49-F238E27FC236}">
                <a16:creationId xmlns:a16="http://schemas.microsoft.com/office/drawing/2014/main" id="{BBF22BDD-5C14-43DF-81B1-2B9583ACB00D}"/>
              </a:ext>
            </a:extLst>
          </p:cNvPr>
          <p:cNvSpPr/>
          <p:nvPr/>
        </p:nvSpPr>
        <p:spPr>
          <a:xfrm>
            <a:off x="10526077"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4253"/>
            <a:r>
              <a:rPr lang="en-US" sz="1200" dirty="0">
                <a:solidFill>
                  <a:srgbClr val="000000"/>
                </a:solidFill>
                <a:latin typeface="Arial" panose="020B0604020202020204" pitchFamily="34" charset="0"/>
                <a:cs typeface="Arial" panose="020B0604020202020204" pitchFamily="34" charset="0"/>
              </a:rPr>
              <a:t>(7)-(5)%</a:t>
            </a:r>
          </a:p>
        </p:txBody>
      </p:sp>
      <p:sp>
        <p:nvSpPr>
          <p:cNvPr id="173" name="Rectangle: Rounded Corners 175">
            <a:extLst>
              <a:ext uri="{FF2B5EF4-FFF2-40B4-BE49-F238E27FC236}">
                <a16:creationId xmlns:a16="http://schemas.microsoft.com/office/drawing/2014/main" id="{1BEA25A7-CA47-4406-90CF-EC895C2BDC52}"/>
              </a:ext>
            </a:extLst>
          </p:cNvPr>
          <p:cNvSpPr/>
          <p:nvPr/>
        </p:nvSpPr>
        <p:spPr>
          <a:xfrm>
            <a:off x="2552056"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173-176</a:t>
            </a:r>
          </a:p>
        </p:txBody>
      </p:sp>
      <p:sp>
        <p:nvSpPr>
          <p:cNvPr id="174" name="Rectangle: Rounded Corners 179">
            <a:extLst>
              <a:ext uri="{FF2B5EF4-FFF2-40B4-BE49-F238E27FC236}">
                <a16:creationId xmlns:a16="http://schemas.microsoft.com/office/drawing/2014/main" id="{08D5FC1F-E9BB-4FAA-81BA-32C31A03851D}"/>
              </a:ext>
            </a:extLst>
          </p:cNvPr>
          <p:cNvSpPr/>
          <p:nvPr/>
        </p:nvSpPr>
        <p:spPr>
          <a:xfrm>
            <a:off x="3704276"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31)-(29)%</a:t>
            </a:r>
          </a:p>
        </p:txBody>
      </p:sp>
      <p:sp>
        <p:nvSpPr>
          <p:cNvPr id="175" name="Rectangle: Rounded Corners 175">
            <a:extLst>
              <a:ext uri="{FF2B5EF4-FFF2-40B4-BE49-F238E27FC236}">
                <a16:creationId xmlns:a16="http://schemas.microsoft.com/office/drawing/2014/main" id="{2211F5FE-1905-455D-A3F9-C4353A6130DF}"/>
              </a:ext>
            </a:extLst>
          </p:cNvPr>
          <p:cNvSpPr/>
          <p:nvPr/>
        </p:nvSpPr>
        <p:spPr>
          <a:xfrm>
            <a:off x="4871717"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50" tIns="45680" rIns="91350" bIns="45680" rtlCol="0" anchor="ctr"/>
          <a:lstStyle/>
          <a:p>
            <a:pPr algn="ctr" defTabSz="913520"/>
            <a:r>
              <a:rPr lang="en-US" sz="1200" dirty="0">
                <a:solidFill>
                  <a:srgbClr val="000000"/>
                </a:solidFill>
                <a:latin typeface="Arial" panose="020B0604020202020204" pitchFamily="34" charset="0"/>
                <a:cs typeface="Arial" panose="020B0604020202020204" pitchFamily="34" charset="0"/>
              </a:rPr>
              <a:t>97-99</a:t>
            </a:r>
          </a:p>
        </p:txBody>
      </p:sp>
      <p:sp>
        <p:nvSpPr>
          <p:cNvPr id="176" name="Rectangle: Rounded Corners 179">
            <a:extLst>
              <a:ext uri="{FF2B5EF4-FFF2-40B4-BE49-F238E27FC236}">
                <a16:creationId xmlns:a16="http://schemas.microsoft.com/office/drawing/2014/main" id="{A2F64295-47F3-4920-BB5B-BB310446F59E}"/>
              </a:ext>
            </a:extLst>
          </p:cNvPr>
          <p:cNvSpPr/>
          <p:nvPr/>
        </p:nvSpPr>
        <p:spPr>
          <a:xfrm>
            <a:off x="5995677" y="4124256"/>
            <a:ext cx="1053897" cy="2560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31" tIns="45672" rIns="91331" bIns="45672" rtlCol="0" anchor="ctr"/>
          <a:lstStyle/>
          <a:p>
            <a:pPr algn="ctr" defTabSz="913520"/>
            <a:r>
              <a:rPr lang="en-US" sz="1200" dirty="0">
                <a:solidFill>
                  <a:srgbClr val="000000"/>
                </a:solidFill>
                <a:latin typeface="Arial" panose="020B0604020202020204" pitchFamily="34" charset="0"/>
                <a:cs typeface="Arial" panose="020B0604020202020204" pitchFamily="34" charset="0"/>
              </a:rPr>
              <a:t>(35)-(33)%</a:t>
            </a:r>
          </a:p>
        </p:txBody>
      </p:sp>
    </p:spTree>
    <p:extLst>
      <p:ext uri="{BB962C8B-B14F-4D97-AF65-F5344CB8AC3E}">
        <p14:creationId xmlns:p14="http://schemas.microsoft.com/office/powerpoint/2010/main" val="96206508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8" y="255192"/>
            <a:ext cx="10515600" cy="332399"/>
          </a:xfrm>
        </p:spPr>
        <p:txBody>
          <a:bodyPr>
            <a:noAutofit/>
          </a:bodyPr>
          <a:lstStyle/>
          <a:p>
            <a:pPr defTabSz="914400"/>
            <a:r>
              <a:rPr lang="en-US" sz="2800" b="1" dirty="0">
                <a:solidFill>
                  <a:schemeClr val="tx1"/>
                </a:solidFill>
                <a:latin typeface="Arial" panose="020B0604020202020204" pitchFamily="34" charset="0"/>
                <a:cs typeface="Arial" panose="020B0604020202020204" pitchFamily="34" charset="0"/>
              </a:rPr>
              <a:t>Share of LCV cargo on an uptrend</a:t>
            </a:r>
          </a:p>
        </p:txBody>
      </p:sp>
      <p:sp>
        <p:nvSpPr>
          <p:cNvPr id="6" name="Rectangle 5"/>
          <p:cNvSpPr/>
          <p:nvPr/>
        </p:nvSpPr>
        <p:spPr>
          <a:xfrm rot="5400000">
            <a:off x="2981080" y="-1837610"/>
            <a:ext cx="332121" cy="5701781"/>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1" tIns="45712" rIns="91421" bIns="45712" rtlCol="0" anchor="ctr"/>
          <a:lstStyle/>
          <a:p>
            <a:pPr marL="12699" algn="ctr"/>
            <a:r>
              <a:rPr lang="en-US" sz="1600" b="1" dirty="0">
                <a:solidFill>
                  <a:prstClr val="white"/>
                </a:solidFill>
                <a:latin typeface="Arial" panose="020B0604020202020204" pitchFamily="34" charset="0"/>
                <a:cs typeface="Arial" panose="020B0604020202020204" pitchFamily="34" charset="0"/>
              </a:rPr>
              <a:t>LCV occupies ~2/3</a:t>
            </a:r>
            <a:r>
              <a:rPr lang="en-US" sz="1600" b="1" baseline="30000" dirty="0">
                <a:solidFill>
                  <a:prstClr val="white"/>
                </a:solidFill>
                <a:latin typeface="Arial" panose="020B0604020202020204" pitchFamily="34" charset="0"/>
                <a:cs typeface="Arial" panose="020B0604020202020204" pitchFamily="34" charset="0"/>
              </a:rPr>
              <a:t>rd</a:t>
            </a:r>
            <a:r>
              <a:rPr lang="en-US" sz="1600" b="1" dirty="0">
                <a:solidFill>
                  <a:prstClr val="white"/>
                </a:solidFill>
                <a:latin typeface="Arial" panose="020B0604020202020204" pitchFamily="34" charset="0"/>
                <a:cs typeface="Arial" panose="020B0604020202020204" pitchFamily="34" charset="0"/>
              </a:rPr>
              <a:t> share</a:t>
            </a:r>
          </a:p>
        </p:txBody>
      </p:sp>
      <p:sp>
        <p:nvSpPr>
          <p:cNvPr id="8" name="Rectangle 7"/>
          <p:cNvSpPr/>
          <p:nvPr/>
        </p:nvSpPr>
        <p:spPr>
          <a:xfrm rot="5400000">
            <a:off x="8944158" y="-1835317"/>
            <a:ext cx="336709" cy="5701781"/>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1" tIns="45712" rIns="91421" bIns="45712" rtlCol="0" anchor="ctr"/>
          <a:lstStyle/>
          <a:p>
            <a:pPr marL="12699" algn="ctr"/>
            <a:r>
              <a:rPr lang="en-US" sz="1600" b="1" dirty="0">
                <a:solidFill>
                  <a:prstClr val="white"/>
                </a:solidFill>
                <a:latin typeface="Arial" panose="020B0604020202020204" pitchFamily="34" charset="0"/>
                <a:cs typeface="Arial" panose="020B0604020202020204" pitchFamily="34" charset="0"/>
              </a:rPr>
              <a:t>Share of leading players declines</a:t>
            </a:r>
          </a:p>
        </p:txBody>
      </p:sp>
      <p:sp>
        <p:nvSpPr>
          <p:cNvPr id="15" name="TextBox 14"/>
          <p:cNvSpPr txBox="1"/>
          <p:nvPr/>
        </p:nvSpPr>
        <p:spPr>
          <a:xfrm>
            <a:off x="253489" y="5802415"/>
            <a:ext cx="5581172" cy="246205"/>
          </a:xfrm>
          <a:prstGeom prst="rect">
            <a:avLst/>
          </a:prstGeom>
          <a:noFill/>
        </p:spPr>
        <p:txBody>
          <a:bodyPr wrap="square" lIns="91421" tIns="45712" rIns="91421" bIns="45712" rtlCol="0">
            <a:spAutoFit/>
          </a:bodyPr>
          <a:lstStyle/>
          <a:p>
            <a:r>
              <a:rPr lang="en-IN" sz="1000" i="1" dirty="0">
                <a:solidFill>
                  <a:prstClr val="black"/>
                </a:solidFill>
                <a:latin typeface="Arial" panose="020B0604020202020204" pitchFamily="34" charset="0"/>
                <a:cs typeface="Arial" panose="020B0604020202020204" pitchFamily="34" charset="0"/>
              </a:rPr>
              <a:t>Source: SIAM, CRISIL Research</a:t>
            </a:r>
          </a:p>
        </p:txBody>
      </p:sp>
      <p:graphicFrame>
        <p:nvGraphicFramePr>
          <p:cNvPr id="9" name="Chart 8"/>
          <p:cNvGraphicFramePr>
            <a:graphicFrameLocks/>
          </p:cNvGraphicFramePr>
          <p:nvPr/>
        </p:nvGraphicFramePr>
        <p:xfrm>
          <a:off x="318782" y="1183024"/>
          <a:ext cx="5679249" cy="44209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p:cNvGraphicFramePr>
            <a:graphicFrameLocks/>
          </p:cNvGraphicFramePr>
          <p:nvPr/>
        </p:nvGraphicFramePr>
        <p:xfrm>
          <a:off x="6237347" y="1140999"/>
          <a:ext cx="5726056" cy="46614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6889636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1612" y="355706"/>
            <a:ext cx="11516388" cy="392352"/>
          </a:xfrm>
        </p:spPr>
        <p:txBody>
          <a:bodyPr vert="horz" lIns="0" tIns="0" rIns="0" bIns="0" rtlCol="0" anchor="ctr">
            <a:spAutoFit/>
          </a:bodyPr>
          <a:lstStyle/>
          <a:p>
            <a:r>
              <a:rPr lang="en-US" sz="2800" b="1" dirty="0">
                <a:solidFill>
                  <a:schemeClr val="tx1"/>
                </a:solidFill>
                <a:latin typeface="Arial" panose="020B0604020202020204" pitchFamily="34" charset="0"/>
                <a:cs typeface="Arial" panose="020B0604020202020204" pitchFamily="34" charset="0"/>
              </a:rPr>
              <a:t>Mobility indicators-segmental (India)</a:t>
            </a:r>
          </a:p>
        </p:txBody>
      </p:sp>
      <p:sp>
        <p:nvSpPr>
          <p:cNvPr id="7" name="TextBox 6"/>
          <p:cNvSpPr txBox="1"/>
          <p:nvPr/>
        </p:nvSpPr>
        <p:spPr>
          <a:xfrm>
            <a:off x="199323" y="6163216"/>
            <a:ext cx="3787848" cy="205095"/>
          </a:xfrm>
          <a:prstGeom prst="rect">
            <a:avLst/>
          </a:prstGeom>
          <a:noFill/>
        </p:spPr>
        <p:txBody>
          <a:bodyPr wrap="none" lIns="76176" tIns="38087" rIns="76176" bIns="38087" rtlCol="0">
            <a:spAutoFit/>
          </a:bodyPr>
          <a:lstStyle/>
          <a:p>
            <a:r>
              <a:rPr lang="en-IN" sz="833" i="1" dirty="0">
                <a:latin typeface="Arial" panose="020B0604020202020204" pitchFamily="34" charset="0"/>
                <a:cs typeface="Arial" panose="020B0604020202020204" pitchFamily="34" charset="0"/>
              </a:rPr>
              <a:t>Source: CRISIL Research, </a:t>
            </a:r>
            <a:r>
              <a:rPr lang="en-US" sz="833" i="1" dirty="0">
                <a:latin typeface="Arial" panose="020B0604020202020204" pitchFamily="34" charset="0"/>
                <a:cs typeface="Arial" panose="020B0604020202020204" pitchFamily="34" charset="0"/>
              </a:rPr>
              <a:t>Covid-19 Community Mobility Reports by Google,</a:t>
            </a:r>
            <a:endParaRPr lang="en-IN" sz="833" i="1" dirty="0">
              <a:latin typeface="Arial" panose="020B0604020202020204" pitchFamily="34" charset="0"/>
              <a:cs typeface="Arial" panose="020B0604020202020204" pitchFamily="34" charset="0"/>
            </a:endParaRPr>
          </a:p>
        </p:txBody>
      </p:sp>
      <p:sp>
        <p:nvSpPr>
          <p:cNvPr id="5" name="Rectangle 4"/>
          <p:cNvSpPr/>
          <p:nvPr/>
        </p:nvSpPr>
        <p:spPr>
          <a:xfrm>
            <a:off x="1303263" y="6368402"/>
            <a:ext cx="9307286" cy="179575"/>
          </a:xfrm>
          <a:prstGeom prst="rect">
            <a:avLst/>
          </a:prstGeom>
        </p:spPr>
        <p:txBody>
          <a:bodyPr wrap="square" lIns="76176" tIns="38087" rIns="76176" bIns="38087">
            <a:spAutoFit/>
          </a:bodyPr>
          <a:lstStyle/>
          <a:p>
            <a:r>
              <a:rPr lang="en-US" sz="667" b="1" dirty="0">
                <a:solidFill>
                  <a:srgbClr val="000000"/>
                </a:solidFill>
                <a:latin typeface="Arial" panose="020B0604020202020204" pitchFamily="34" charset="0"/>
                <a:cs typeface="Arial" panose="020B0604020202020204" pitchFamily="34" charset="0"/>
              </a:rPr>
              <a:t>Note: Data is 7 day Moving Average data. Google’s Community Mobility Reports use smartphone location data to publish reports about people's movement in an area. </a:t>
            </a:r>
            <a:endParaRPr lang="en-US" sz="667" b="1" dirty="0">
              <a:latin typeface="Arial" panose="020B0604020202020204" pitchFamily="34" charset="0"/>
              <a:cs typeface="Arial" panose="020B0604020202020204" pitchFamily="34" charset="0"/>
            </a:endParaRPr>
          </a:p>
        </p:txBody>
      </p:sp>
      <p:graphicFrame>
        <p:nvGraphicFramePr>
          <p:cNvPr id="10" name="Chart 9">
            <a:extLst>
              <a:ext uri="{FF2B5EF4-FFF2-40B4-BE49-F238E27FC236}">
                <a16:creationId xmlns:a16="http://schemas.microsoft.com/office/drawing/2014/main" id="{00000000-0008-0000-0200-000002000000}"/>
              </a:ext>
            </a:extLst>
          </p:cNvPr>
          <p:cNvGraphicFramePr>
            <a:graphicFrameLocks/>
          </p:cNvGraphicFramePr>
          <p:nvPr/>
        </p:nvGraphicFramePr>
        <p:xfrm>
          <a:off x="199322" y="810781"/>
          <a:ext cx="11653631" cy="27132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0000000-0008-0000-0200-000005000000}"/>
              </a:ext>
            </a:extLst>
          </p:cNvPr>
          <p:cNvGraphicFramePr>
            <a:graphicFrameLocks/>
          </p:cNvGraphicFramePr>
          <p:nvPr/>
        </p:nvGraphicFramePr>
        <p:xfrm>
          <a:off x="199321" y="3385439"/>
          <a:ext cx="11656114" cy="24443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0733662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065115" y="747432"/>
            <a:ext cx="3716663" cy="5610865"/>
          </a:xfrm>
          <a:prstGeom prst="rect">
            <a:avLst/>
          </a:prstGeom>
          <a:solidFill>
            <a:schemeClr val="accent5"/>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544" tIns="2175120" rIns="99544" bIns="1137334" numCol="1" spcCol="1058" anchor="t" anchorCtr="1">
            <a:noAutofit/>
          </a:bodyPr>
          <a:lstStyle/>
          <a:p>
            <a:pPr defTabSz="622150">
              <a:lnSpc>
                <a:spcPct val="90000"/>
              </a:lnSpc>
              <a:spcBef>
                <a:spcPct val="0"/>
              </a:spcBef>
              <a:spcAft>
                <a:spcPct val="35000"/>
              </a:spcAft>
            </a:pPr>
            <a:endParaRPr lang="en-IN" sz="1400" b="1"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12" name="Rectangle 11"/>
          <p:cNvSpPr/>
          <p:nvPr/>
        </p:nvSpPr>
        <p:spPr>
          <a:xfrm>
            <a:off x="4236955" y="682762"/>
            <a:ext cx="3708354" cy="5675536"/>
          </a:xfrm>
          <a:prstGeom prst="rect">
            <a:avLst/>
          </a:prstGeom>
          <a:solidFill>
            <a:schemeClr val="accent4"/>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544" tIns="2175120" rIns="99544" bIns="1137334" numCol="1" spcCol="1058" anchor="t" anchorCtr="1">
            <a:noAutofit/>
          </a:bodyPr>
          <a:lstStyle/>
          <a:p>
            <a:pPr marL="114270" lvl="1" indent="-114270" algn="just" defTabSz="622150">
              <a:lnSpc>
                <a:spcPct val="90000"/>
              </a:lnSpc>
              <a:spcBef>
                <a:spcPct val="0"/>
              </a:spcBef>
              <a:spcAft>
                <a:spcPct val="15000"/>
              </a:spcAft>
              <a:buFontTx/>
              <a:buChar char="••"/>
            </a:pPr>
            <a:endParaRPr lang="en-IN" sz="1400"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9" name="Rectangle 8"/>
          <p:cNvSpPr/>
          <p:nvPr/>
        </p:nvSpPr>
        <p:spPr>
          <a:xfrm>
            <a:off x="406405" y="1442438"/>
            <a:ext cx="11377769" cy="5190185"/>
          </a:xfrm>
          <a:prstGeom prst="rect">
            <a:avLst/>
          </a:prstGeom>
          <a:noFill/>
        </p:spPr>
      </p:sp>
      <p:sp>
        <p:nvSpPr>
          <p:cNvPr id="10" name="Rectangle 9"/>
          <p:cNvSpPr/>
          <p:nvPr/>
        </p:nvSpPr>
        <p:spPr>
          <a:xfrm>
            <a:off x="408789" y="723997"/>
            <a:ext cx="3809155" cy="5634301"/>
          </a:xfrm>
          <a:prstGeom prst="rect">
            <a:avLst/>
          </a:prstGeom>
          <a:solidFill>
            <a:schemeClr val="bg1">
              <a:lumMod val="85000"/>
            </a:schemeClr>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544" tIns="2175120" rIns="99544" bIns="1137334" numCol="1" spcCol="1058" anchor="t" anchorCtr="1">
            <a:noAutofit/>
          </a:bodyPr>
          <a:lstStyle/>
          <a:p>
            <a:pPr marL="114270" lvl="1" indent="-114270" defTabSz="622150">
              <a:lnSpc>
                <a:spcPct val="90000"/>
              </a:lnSpc>
              <a:spcBef>
                <a:spcPct val="0"/>
              </a:spcBef>
              <a:spcAft>
                <a:spcPct val="15000"/>
              </a:spcAft>
              <a:buFontTx/>
              <a:buChar char="••"/>
            </a:pPr>
            <a:endParaRPr lang="en-IN" sz="1400" dirty="0">
              <a:solidFill>
                <a:srgbClr val="DBD9D6">
                  <a:hueOff val="0"/>
                  <a:satOff val="0"/>
                  <a:lumOff val="0"/>
                  <a:alphaOff val="0"/>
                </a:srgbClr>
              </a:solidFill>
              <a:latin typeface="Arial" panose="020B0604020202020204" pitchFamily="34" charset="0"/>
              <a:cs typeface="Arial" panose="020B0604020202020204" pitchFamily="34" charset="0"/>
            </a:endParaRPr>
          </a:p>
        </p:txBody>
      </p:sp>
      <p:sp>
        <p:nvSpPr>
          <p:cNvPr id="4" name="TextBox 3"/>
          <p:cNvSpPr txBox="1"/>
          <p:nvPr/>
        </p:nvSpPr>
        <p:spPr>
          <a:xfrm>
            <a:off x="1107438" y="6471328"/>
            <a:ext cx="2645507" cy="230828"/>
          </a:xfrm>
          <a:prstGeom prst="rect">
            <a:avLst/>
          </a:prstGeom>
          <a:noFill/>
        </p:spPr>
        <p:txBody>
          <a:bodyPr wrap="square" lIns="76182" tIns="38090" rIns="76182" bIns="38090" rtlCol="0">
            <a:spAutoFit/>
          </a:bodyPr>
          <a:lstStyle/>
          <a:p>
            <a:pPr defTabSz="914143"/>
            <a:r>
              <a:rPr lang="en-IN" sz="1000" i="1" dirty="0">
                <a:solidFill>
                  <a:prstClr val="black"/>
                </a:solidFill>
                <a:latin typeface="Arial" panose="020B0604020202020204" pitchFamily="34" charset="0"/>
                <a:cs typeface="Arial" panose="020B0604020202020204" pitchFamily="34" charset="0"/>
              </a:rPr>
              <a:t>Source – Industry, CRISIL Research</a:t>
            </a:r>
          </a:p>
        </p:txBody>
      </p:sp>
      <p:sp>
        <p:nvSpPr>
          <p:cNvPr id="17" name="Rectangle 16"/>
          <p:cNvSpPr/>
          <p:nvPr/>
        </p:nvSpPr>
        <p:spPr>
          <a:xfrm>
            <a:off x="495229" y="816013"/>
            <a:ext cx="3716664" cy="1660434"/>
          </a:xfrm>
          <a:prstGeom prst="rect">
            <a:avLst/>
          </a:prstGeom>
        </p:spPr>
        <p:txBody>
          <a:bodyPr wrap="square" lIns="76182" tIns="38090" rIns="76182" bIns="38090">
            <a:spAutoFit/>
          </a:bodyPr>
          <a:lstStyle/>
          <a:p>
            <a:pPr defTabSz="622150">
              <a:lnSpc>
                <a:spcPct val="150000"/>
              </a:lnSpc>
              <a:spcBef>
                <a:spcPct val="0"/>
              </a:spcBef>
              <a:spcAft>
                <a:spcPct val="35000"/>
              </a:spcAft>
            </a:pPr>
            <a:r>
              <a:rPr lang="en-IN" sz="1400" b="1" dirty="0">
                <a:solidFill>
                  <a:srgbClr val="7B1E29"/>
                </a:solidFill>
                <a:latin typeface="Arial" panose="020B0604020202020204" pitchFamily="34" charset="0"/>
                <a:cs typeface="Arial" panose="020B0604020202020204" pitchFamily="34" charset="0"/>
              </a:rPr>
              <a:t>OEM</a:t>
            </a:r>
          </a:p>
          <a:p>
            <a:pPr algn="just"/>
            <a:endParaRPr lang="en-IN" sz="1200" dirty="0">
              <a:solidFill>
                <a:srgbClr val="000000"/>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algn="just" defTabSz="1097280">
              <a:spcBef>
                <a:spcPts val="200"/>
              </a:spcBef>
            </a:pPr>
            <a:endParaRPr lang="en-IN" sz="1200" dirty="0">
              <a:solidFill>
                <a:srgbClr val="000000"/>
              </a:solidFill>
              <a:latin typeface="Arial" panose="020B0604020202020204" pitchFamily="34" charset="0"/>
              <a:cs typeface="Arial" panose="020B0604020202020204" pitchFamily="34" charset="0"/>
            </a:endParaRPr>
          </a:p>
          <a:p>
            <a:pPr marL="171450" indent="-171450">
              <a:spcBef>
                <a:spcPts val="200"/>
              </a:spcBef>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marL="171450" indent="-171450">
              <a:spcBef>
                <a:spcPts val="200"/>
              </a:spcBef>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defTabSz="913520"/>
            <a:endParaRPr lang="en-US" sz="1200" dirty="0">
              <a:solidFill>
                <a:srgbClr val="000000"/>
              </a:solidFill>
              <a:latin typeface="Arial" panose="020B0604020202020204" pitchFamily="34" charset="0"/>
              <a:cs typeface="Arial" panose="020B0604020202020204" pitchFamily="34" charset="0"/>
            </a:endParaRPr>
          </a:p>
        </p:txBody>
      </p:sp>
      <p:sp>
        <p:nvSpPr>
          <p:cNvPr id="22" name="Rectangle 21"/>
          <p:cNvSpPr/>
          <p:nvPr/>
        </p:nvSpPr>
        <p:spPr>
          <a:xfrm>
            <a:off x="4399818" y="668317"/>
            <a:ext cx="3719051" cy="5997006"/>
          </a:xfrm>
          <a:prstGeom prst="rect">
            <a:avLst/>
          </a:prstGeom>
        </p:spPr>
        <p:txBody>
          <a:bodyPr wrap="square" lIns="76182" tIns="38090" rIns="76182" bIns="38090">
            <a:spAutoFit/>
          </a:bodyPr>
          <a:lstStyle/>
          <a:p>
            <a:pPr algn="just" defTabSz="622150">
              <a:lnSpc>
                <a:spcPct val="150000"/>
              </a:lnSpc>
              <a:spcBef>
                <a:spcPct val="0"/>
              </a:spcBef>
              <a:spcAft>
                <a:spcPct val="35000"/>
              </a:spcAft>
            </a:pPr>
            <a:r>
              <a:rPr lang="en-IN" sz="1400" b="1" dirty="0">
                <a:solidFill>
                  <a:srgbClr val="7B1E29"/>
                </a:solidFill>
                <a:latin typeface="Arial" panose="020B0604020202020204" pitchFamily="34" charset="0"/>
                <a:cs typeface="Arial" panose="020B0604020202020204" pitchFamily="34" charset="0"/>
              </a:rPr>
              <a:t>Dealer</a:t>
            </a:r>
          </a:p>
          <a:p>
            <a:pPr marL="171450" indent="-171450" defTabSz="913520">
              <a:buFont typeface="Arial" panose="020B0604020202020204" pitchFamily="34" charset="0"/>
              <a:buChar char="•"/>
            </a:pPr>
            <a:endParaRPr lang="en-US" sz="1200" dirty="0">
              <a:solidFill>
                <a:srgbClr val="000000"/>
              </a:solidFill>
              <a:latin typeface="Arial" panose="020B0604020202020204" pitchFamily="34" charset="0"/>
              <a:cs typeface="Arial" panose="020B0604020202020204" pitchFamily="34" charset="0"/>
            </a:endParaRPr>
          </a:p>
          <a:p>
            <a:r>
              <a:rPr lang="en-IN" sz="1200" b="1" i="1" u="sng" dirty="0">
                <a:latin typeface="Arial" panose="020B0604020202020204" pitchFamily="34" charset="0"/>
                <a:cs typeface="Arial" panose="020B0604020202020204" pitchFamily="34" charset="0"/>
              </a:rPr>
              <a:t>Demand Story</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SCV Demand continues to be resilient except in some states where delayed rainfall and absence of MLOs resulted in muted demand in rural areas. </a:t>
            </a:r>
            <a:r>
              <a:rPr lang="en-US" sz="1200" dirty="0">
                <a:latin typeface="Arial" panose="020B0604020202020204" pitchFamily="34" charset="0"/>
                <a:cs typeface="Arial" panose="020B0604020202020204" pitchFamily="34" charset="0"/>
              </a:rPr>
              <a:t>One of the OEMs facing ECU shortage</a:t>
            </a:r>
            <a:endParaRPr lang="en-IN"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CNG vehicles have gained a good attraction especially in both sub-1 tonne segment and 7.5 to 12T segment with 7.5 to 12T segment reaching almost 40-50%. Agri, FMCG and E-commerce continues to drive the demand . Supply improved for SCV CNG vehicles which witnessed some issues in last quarter.</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In case of ILCV E-commerce, FMCG and FMCD are now actively contributing in terms of freight demand. CNG variants preferred in 15T segment for short lead distance</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MHCV haulage seeing relatively slower ramp up on the retail side but LFO participation is robust. Demand gradually picking up for steel, cement sectors. Trailer demand still not in full swing as auto segment witnessing sluggish demand in 2W and tractors and PV OEMs still not able to fulfil demand for running models</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Tipper demand focused towards road construction, metro projects and infrastructure activities continues.</a:t>
            </a:r>
          </a:p>
          <a:p>
            <a:pPr algn="just"/>
            <a:endParaRPr lang="en-IN" sz="1200" dirty="0">
              <a:solidFill>
                <a:srgbClr val="000000"/>
              </a:solidFill>
              <a:latin typeface="Arial" panose="020B0604020202020204" pitchFamily="34" charset="0"/>
              <a:cs typeface="Arial" panose="020B0604020202020204" pitchFamily="34" charset="0"/>
            </a:endParaRPr>
          </a:p>
          <a:p>
            <a:pPr marL="285694" indent="-285694" defTabSz="799940">
              <a:lnSpc>
                <a:spcPct val="90000"/>
              </a:lnSpc>
              <a:spcBef>
                <a:spcPct val="0"/>
              </a:spcBef>
              <a:spcAft>
                <a:spcPct val="35000"/>
              </a:spcAft>
              <a:buFont typeface="Arial" panose="020B0604020202020204" pitchFamily="34" charset="0"/>
              <a:buChar char="•"/>
            </a:pPr>
            <a:endParaRPr lang="en-US" sz="1200" dirty="0">
              <a:solidFill>
                <a:srgbClr val="000000"/>
              </a:solidFill>
              <a:latin typeface="Arial" panose="020B0604020202020204" pitchFamily="34" charset="0"/>
              <a:cs typeface="Arial" panose="020B0604020202020204" pitchFamily="34" charset="0"/>
            </a:endParaRPr>
          </a:p>
        </p:txBody>
      </p:sp>
      <p:sp>
        <p:nvSpPr>
          <p:cNvPr id="23" name="Rectangle 22"/>
          <p:cNvSpPr/>
          <p:nvPr/>
        </p:nvSpPr>
        <p:spPr>
          <a:xfrm>
            <a:off x="8085669" y="1140234"/>
            <a:ext cx="3589963" cy="4780969"/>
          </a:xfrm>
          <a:prstGeom prst="rect">
            <a:avLst/>
          </a:prstGeom>
        </p:spPr>
        <p:txBody>
          <a:bodyPr wrap="square" lIns="76182" tIns="38090" rIns="76182" bIns="38090">
            <a:spAutoFit/>
          </a:bodyPr>
          <a:lstStyle/>
          <a:p>
            <a:pPr marL="0" lvl="1" defTabSz="622150">
              <a:lnSpc>
                <a:spcPct val="150000"/>
              </a:lnSpc>
              <a:spcBef>
                <a:spcPct val="0"/>
              </a:spcBef>
              <a:spcAft>
                <a:spcPct val="35000"/>
              </a:spcAft>
            </a:pPr>
            <a:r>
              <a:rPr lang="en-IN" sz="1400" b="1" dirty="0">
                <a:solidFill>
                  <a:srgbClr val="7B1E29"/>
                </a:solidFill>
                <a:latin typeface="Arial" panose="020B0604020202020204" pitchFamily="34" charset="0"/>
                <a:cs typeface="Arial" panose="020B0604020202020204" pitchFamily="34" charset="0"/>
              </a:rPr>
              <a:t>Financier</a:t>
            </a:r>
          </a:p>
          <a:p>
            <a:pPr algn="just"/>
            <a:r>
              <a:rPr lang="en-IN" sz="1200" b="1" i="1" u="sng" dirty="0">
                <a:latin typeface="Arial" panose="020B0604020202020204" pitchFamily="34" charset="0"/>
                <a:cs typeface="Arial" panose="020B0604020202020204" pitchFamily="34" charset="0"/>
              </a:rPr>
              <a:t>LTVs and participation levels</a:t>
            </a:r>
          </a:p>
          <a:p>
            <a:pPr marL="171450" indent="-171450" algn="just">
              <a:buFont typeface="Arial" panose="020B0604020202020204" pitchFamily="34" charset="0"/>
              <a:buChar char="•"/>
            </a:pPr>
            <a:r>
              <a:rPr lang="en-IN" sz="1200" dirty="0">
                <a:latin typeface="Arial" panose="020B0604020202020204" pitchFamily="34" charset="0"/>
                <a:cs typeface="Arial" panose="020B0604020202020204" pitchFamily="34" charset="0"/>
              </a:rPr>
              <a:t>Retail customer funding in MHCV cargo and tippers has improved largely but still retail participation is slow in some segments. Most deals being closed are either LFO’s or strategic customers.</a:t>
            </a:r>
          </a:p>
          <a:p>
            <a:pPr marL="171450" indent="-171450" algn="just">
              <a:buFont typeface="Arial" panose="020B0604020202020204" pitchFamily="34" charset="0"/>
              <a:buChar char="•"/>
            </a:pPr>
            <a:r>
              <a:rPr lang="en-IN" sz="1200" dirty="0">
                <a:latin typeface="Arial" panose="020B0604020202020204" pitchFamily="34" charset="0"/>
                <a:cs typeface="Arial" panose="020B0604020202020204" pitchFamily="34" charset="0"/>
              </a:rPr>
              <a:t>For some cases in retail funding, customer have been asked to present contract copy or guarantor.</a:t>
            </a:r>
          </a:p>
          <a:p>
            <a:pPr marL="171450" indent="-171450" algn="just">
              <a:buFont typeface="Arial" panose="020B0604020202020204" pitchFamily="34" charset="0"/>
              <a:buChar char="•"/>
            </a:pPr>
            <a:r>
              <a:rPr lang="en-IN" sz="1200" dirty="0">
                <a:solidFill>
                  <a:schemeClr val="tx1"/>
                </a:solidFill>
                <a:latin typeface="Arial" panose="020B0604020202020204" pitchFamily="34" charset="0"/>
                <a:cs typeface="Arial" panose="020B0604020202020204" pitchFamily="34" charset="0"/>
              </a:rPr>
              <a:t>Buses segment seeing some demand from STUs and school side. Not all financiers ready to fund STU tender buses because of uneven re-payment schedule.</a:t>
            </a:r>
          </a:p>
          <a:p>
            <a:pPr marL="171450" indent="-171450" algn="just">
              <a:buFont typeface="Arial" panose="020B0604020202020204" pitchFamily="34" charset="0"/>
              <a:buChar char="•"/>
            </a:pPr>
            <a:r>
              <a:rPr lang="en-IN" sz="1200" dirty="0">
                <a:solidFill>
                  <a:schemeClr val="tx1"/>
                </a:solidFill>
                <a:latin typeface="Arial" panose="020B0604020202020204" pitchFamily="34" charset="0"/>
                <a:cs typeface="Arial" panose="020B0604020202020204" pitchFamily="34" charset="0"/>
              </a:rPr>
              <a:t>In case of buses </a:t>
            </a:r>
            <a:r>
              <a:rPr lang="en-US" sz="1200" dirty="0">
                <a:latin typeface="Arial" panose="020B0604020202020204" pitchFamily="34" charset="0"/>
                <a:cs typeface="Arial" panose="020B0604020202020204" pitchFamily="34" charset="0"/>
              </a:rPr>
              <a:t>financiers have been cautious and have increased number of checks in getting a loan approved. LFOs who have not availed moratorium or paying instalments on time are getting better response and better interest rates than the SFOs who have availed moratorium.  </a:t>
            </a:r>
            <a:endParaRPr lang="en-IN" sz="1200" dirty="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1200" dirty="0">
                <a:latin typeface="Arial" panose="020B0604020202020204" pitchFamily="34" charset="0"/>
                <a:cs typeface="Arial" panose="020B0604020202020204" pitchFamily="34" charset="0"/>
              </a:rPr>
              <a:t>.  </a:t>
            </a:r>
            <a:endParaRPr lang="en-IN" sz="1200" dirty="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1200" dirty="0">
                <a:latin typeface="Arial" panose="020B0604020202020204" pitchFamily="34" charset="0"/>
                <a:cs typeface="Arial" panose="020B0604020202020204" pitchFamily="34" charset="0"/>
              </a:rPr>
              <a:t>.  </a:t>
            </a:r>
            <a:endParaRPr lang="en-IN" sz="1200" dirty="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marL="114270" lvl="1" indent="-114270" defTabSz="622150">
              <a:lnSpc>
                <a:spcPct val="150000"/>
              </a:lnSpc>
              <a:spcBef>
                <a:spcPct val="0"/>
              </a:spcBef>
              <a:spcAft>
                <a:spcPct val="15000"/>
              </a:spcAft>
              <a:buFontTx/>
              <a:buChar char="••"/>
            </a:pPr>
            <a:endParaRPr lang="en-IN" sz="1200" dirty="0">
              <a:solidFill>
                <a:srgbClr val="000000"/>
              </a:solidFill>
              <a:latin typeface="Arial" panose="020B0604020202020204" pitchFamily="34" charset="0"/>
              <a:cs typeface="Arial" panose="020B0604020202020204" pitchFamily="34" charset="0"/>
            </a:endParaRPr>
          </a:p>
        </p:txBody>
      </p:sp>
      <p:sp>
        <p:nvSpPr>
          <p:cNvPr id="25" name="Title 1">
            <a:extLst>
              <a:ext uri="{FF2B5EF4-FFF2-40B4-BE49-F238E27FC236}">
                <a16:creationId xmlns:a16="http://schemas.microsoft.com/office/drawing/2014/main" id="{B4D66F93-F7D3-4652-81A5-36FAECAAFF48}"/>
              </a:ext>
            </a:extLst>
          </p:cNvPr>
          <p:cNvSpPr txBox="1">
            <a:spLocks/>
          </p:cNvSpPr>
          <p:nvPr/>
        </p:nvSpPr>
        <p:spPr>
          <a:xfrm>
            <a:off x="402737" y="140483"/>
            <a:ext cx="11602487" cy="469118"/>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defTabSz="913520"/>
            <a:r>
              <a:rPr lang="en-US" dirty="0">
                <a:solidFill>
                  <a:srgbClr val="000000"/>
                </a:solidFill>
              </a:rPr>
              <a:t>Stakeholder interactions</a:t>
            </a:r>
          </a:p>
        </p:txBody>
      </p:sp>
      <p:sp>
        <p:nvSpPr>
          <p:cNvPr id="18" name="Oval 17"/>
          <p:cNvSpPr/>
          <p:nvPr/>
        </p:nvSpPr>
        <p:spPr>
          <a:xfrm>
            <a:off x="3372313" y="472671"/>
            <a:ext cx="955085" cy="931550"/>
          </a:xfrm>
          <a:prstGeom prst="ellipse">
            <a:avLst/>
          </a:prstGeom>
          <a:solidFill>
            <a:schemeClr val="bg1"/>
          </a:solidFill>
          <a:ln w="38100">
            <a:solidFill>
              <a:schemeClr val="tx2"/>
            </a:solidFill>
          </a:ln>
        </p:spPr>
        <p:style>
          <a:lnRef idx="2">
            <a:schemeClr val="accent6"/>
          </a:lnRef>
          <a:fillRef idx="1">
            <a:schemeClr val="lt1"/>
          </a:fillRef>
          <a:effectRef idx="0">
            <a:schemeClr val="accent6"/>
          </a:effectRef>
          <a:fontRef idx="minor">
            <a:schemeClr val="lt1">
              <a:hueOff val="0"/>
              <a:satOff val="0"/>
              <a:lumOff val="0"/>
              <a:alphaOff val="0"/>
            </a:schemeClr>
          </a:fontRef>
        </p:style>
      </p:sp>
      <p:sp>
        <p:nvSpPr>
          <p:cNvPr id="19" name="Oval 18"/>
          <p:cNvSpPr/>
          <p:nvPr/>
        </p:nvSpPr>
        <p:spPr>
          <a:xfrm>
            <a:off x="7079820" y="286907"/>
            <a:ext cx="950976" cy="932688"/>
          </a:xfrm>
          <a:prstGeom prst="ellipse">
            <a:avLst/>
          </a:prstGeom>
          <a:solidFill>
            <a:schemeClr val="bg1"/>
          </a:solidFill>
          <a:ln w="38100">
            <a:solidFill>
              <a:schemeClr val="accent4"/>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sp>
        <p:nvSpPr>
          <p:cNvPr id="20" name="Oval 19"/>
          <p:cNvSpPr/>
          <p:nvPr/>
        </p:nvSpPr>
        <p:spPr>
          <a:xfrm>
            <a:off x="10883875" y="249060"/>
            <a:ext cx="950976" cy="932688"/>
          </a:xfrm>
          <a:prstGeom prst="ellipse">
            <a:avLst/>
          </a:prstGeom>
          <a:solidFill>
            <a:schemeClr val="bg1"/>
          </a:solidFill>
          <a:ln w="38100">
            <a:solidFill>
              <a:schemeClr val="accent5"/>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04466" y="399408"/>
            <a:ext cx="567311" cy="566707"/>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6058" y="436816"/>
            <a:ext cx="450093" cy="574361"/>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20483" y="668097"/>
            <a:ext cx="658744" cy="454496"/>
          </a:xfrm>
          <a:prstGeom prst="rect">
            <a:avLst/>
          </a:prstGeom>
        </p:spPr>
      </p:pic>
      <p:sp>
        <p:nvSpPr>
          <p:cNvPr id="27" name="Rectangle 26">
            <a:extLst>
              <a:ext uri="{FF2B5EF4-FFF2-40B4-BE49-F238E27FC236}">
                <a16:creationId xmlns:a16="http://schemas.microsoft.com/office/drawing/2014/main" id="{EE1B7A8E-48A9-490D-A527-4C2354FA998B}"/>
              </a:ext>
            </a:extLst>
          </p:cNvPr>
          <p:cNvSpPr/>
          <p:nvPr/>
        </p:nvSpPr>
        <p:spPr>
          <a:xfrm>
            <a:off x="389083" y="1266942"/>
            <a:ext cx="3719051" cy="5231668"/>
          </a:xfrm>
          <a:prstGeom prst="rect">
            <a:avLst/>
          </a:prstGeom>
        </p:spPr>
        <p:txBody>
          <a:bodyPr wrap="square" lIns="76182" tIns="38090" rIns="76182" bIns="38090">
            <a:spAutoFit/>
          </a:bodyPr>
          <a:lstStyle/>
          <a:p>
            <a:pPr defTabSz="622150">
              <a:lnSpc>
                <a:spcPct val="150000"/>
              </a:lnSpc>
              <a:spcBef>
                <a:spcPct val="0"/>
              </a:spcBef>
              <a:spcAft>
                <a:spcPct val="35000"/>
              </a:spcAft>
            </a:pPr>
            <a:r>
              <a:rPr lang="en-IN" sz="1400" b="1" dirty="0">
                <a:solidFill>
                  <a:srgbClr val="7B1E29"/>
                </a:solidFill>
                <a:latin typeface="Arial" panose="020B0604020202020204" pitchFamily="34" charset="0"/>
                <a:cs typeface="Arial" panose="020B0604020202020204" pitchFamily="34" charset="0"/>
              </a:rPr>
              <a:t>OEM</a:t>
            </a:r>
          </a:p>
          <a:p>
            <a:pPr marL="171450" indent="-171450">
              <a:buFont typeface="Arial" panose="020B0604020202020204" pitchFamily="34" charset="0"/>
              <a:buChar char="•"/>
            </a:pPr>
            <a:r>
              <a:rPr lang="en-IN" sz="1200" dirty="0">
                <a:latin typeface="Arial" panose="020B0604020202020204" pitchFamily="34" charset="0"/>
                <a:cs typeface="Arial" panose="020B0604020202020204" pitchFamily="34" charset="0"/>
              </a:rPr>
              <a:t>Utilization levels for cargo segment which saw some tapering down post festive especially in sectors such as steel, cement, auto and textiles witnessed increase in momentum with prolonged monsoon fading away. Better utilisation were seen in </a:t>
            </a:r>
            <a:r>
              <a:rPr lang="en-IN" sz="1200" dirty="0" err="1">
                <a:latin typeface="Arial" panose="020B0604020202020204" pitchFamily="34" charset="0"/>
                <a:cs typeface="Arial" panose="020B0604020202020204" pitchFamily="34" charset="0"/>
              </a:rPr>
              <a:t>agri</a:t>
            </a:r>
            <a:r>
              <a:rPr lang="en-IN" sz="1200" dirty="0">
                <a:latin typeface="Arial" panose="020B0604020202020204" pitchFamily="34" charset="0"/>
                <a:cs typeface="Arial" panose="020B0604020202020204" pitchFamily="34" charset="0"/>
              </a:rPr>
              <a:t>, </a:t>
            </a:r>
            <a:r>
              <a:rPr lang="en-IN" sz="1200" dirty="0" err="1">
                <a:latin typeface="Arial" panose="020B0604020202020204" pitchFamily="34" charset="0"/>
                <a:cs typeface="Arial" panose="020B0604020202020204" pitchFamily="34" charset="0"/>
              </a:rPr>
              <a:t>fmcg</a:t>
            </a:r>
            <a:r>
              <a:rPr lang="en-IN" sz="1200" dirty="0">
                <a:latin typeface="Arial" panose="020B0604020202020204" pitchFamily="34" charset="0"/>
                <a:cs typeface="Arial" panose="020B0604020202020204" pitchFamily="34" charset="0"/>
              </a:rPr>
              <a:t> and e-commerce largely on the urban side. Rural witnessed slower momentum in </a:t>
            </a:r>
            <a:r>
              <a:rPr lang="en-IN" sz="1200" dirty="0" err="1">
                <a:latin typeface="Arial" panose="020B0604020202020204" pitchFamily="34" charset="0"/>
                <a:cs typeface="Arial" panose="020B0604020202020204" pitchFamily="34" charset="0"/>
              </a:rPr>
              <a:t>fmcg</a:t>
            </a:r>
            <a:r>
              <a:rPr lang="en-IN" sz="1200" dirty="0">
                <a:latin typeface="Arial" panose="020B0604020202020204" pitchFamily="34" charset="0"/>
                <a:cs typeface="Arial" panose="020B0604020202020204" pitchFamily="34" charset="0"/>
              </a:rPr>
              <a:t> and </a:t>
            </a:r>
            <a:r>
              <a:rPr lang="en-IN" sz="1200" dirty="0" err="1">
                <a:latin typeface="Arial" panose="020B0604020202020204" pitchFamily="34" charset="0"/>
                <a:cs typeface="Arial" panose="020B0604020202020204" pitchFamily="34" charset="0"/>
              </a:rPr>
              <a:t>agri</a:t>
            </a:r>
            <a:r>
              <a:rPr lang="en-IN" sz="1200" dirty="0">
                <a:latin typeface="Arial" panose="020B0604020202020204" pitchFamily="34" charset="0"/>
                <a:cs typeface="Arial" panose="020B0604020202020204" pitchFamily="34" charset="0"/>
              </a:rPr>
              <a:t> compared to urban.</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Regulatory norms and geopolitical issues is affecting states such as Bihar and Orissa. Iron ore transportation affected in Orissa because of subdued demand from China </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Announcement of multiple road projects post election results bodes well for steel and cement transportation</a:t>
            </a:r>
          </a:p>
          <a:p>
            <a:pPr marL="171450" indent="-171450">
              <a:buFont typeface="Arial" panose="020B0604020202020204" pitchFamily="34" charset="0"/>
              <a:buChar char="•"/>
            </a:pPr>
            <a:r>
              <a:rPr lang="en-US" sz="1200" dirty="0">
                <a:latin typeface="Arial" panose="020B0604020202020204" pitchFamily="34" charset="0"/>
                <a:cs typeface="Arial" panose="020B0604020202020204" pitchFamily="34" charset="0"/>
              </a:rPr>
              <a:t>Preference for higher tonnage vehicles in trailers and tippers is becoming prominent among transporters</a:t>
            </a:r>
            <a:endParaRPr lang="en-IN" sz="1200" dirty="0">
              <a:latin typeface="Arial" panose="020B0604020202020204" pitchFamily="34" charset="0"/>
              <a:cs typeface="Arial" panose="020B0604020202020204" pitchFamily="34" charset="0"/>
            </a:endParaRPr>
          </a:p>
          <a:p>
            <a:pPr marL="342900" indent="-342900">
              <a:lnSpc>
                <a:spcPct val="120000"/>
              </a:lnSpc>
              <a:spcBef>
                <a:spcPts val="200"/>
              </a:spcBef>
              <a:buFont typeface="Wingdings" panose="05000000000000000000" pitchFamily="2" charset="2"/>
              <a:buChar char="§"/>
            </a:pPr>
            <a:endParaRPr lang="en-IN" sz="1200" dirty="0">
              <a:solidFill>
                <a:schemeClr val="tx1"/>
              </a:solidFill>
              <a:latin typeface="Arial" panose="020B0604020202020204" pitchFamily="34" charset="0"/>
              <a:cs typeface="Arial" panose="020B0604020202020204" pitchFamily="34" charset="0"/>
            </a:endParaRPr>
          </a:p>
          <a:p>
            <a:pPr algn="just"/>
            <a:endParaRPr lang="en-IN" sz="1200" dirty="0">
              <a:solidFill>
                <a:srgbClr val="000000"/>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algn="just" defTabSz="1097280">
              <a:spcBef>
                <a:spcPts val="200"/>
              </a:spcBef>
            </a:pPr>
            <a:endParaRPr lang="en-IN" sz="1200" dirty="0">
              <a:solidFill>
                <a:srgbClr val="000000"/>
              </a:solidFill>
              <a:latin typeface="Arial" panose="020B0604020202020204" pitchFamily="34" charset="0"/>
              <a:cs typeface="Arial" panose="020B0604020202020204" pitchFamily="34" charset="0"/>
            </a:endParaRPr>
          </a:p>
          <a:p>
            <a:pPr marL="171450" indent="-171450">
              <a:spcBef>
                <a:spcPts val="200"/>
              </a:spcBef>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marL="171450" indent="-171450">
              <a:spcBef>
                <a:spcPts val="200"/>
              </a:spcBef>
              <a:buFont typeface="Arial" panose="020B0604020202020204" pitchFamily="34" charset="0"/>
              <a:buChar char="•"/>
            </a:pPr>
            <a:endParaRPr lang="en-IN" sz="1200" dirty="0">
              <a:solidFill>
                <a:srgbClr val="000000"/>
              </a:solidFill>
              <a:latin typeface="Arial" panose="020B0604020202020204" pitchFamily="34" charset="0"/>
              <a:cs typeface="Arial" panose="020B0604020202020204" pitchFamily="34" charset="0"/>
            </a:endParaRPr>
          </a:p>
          <a:p>
            <a:pPr defTabSz="913520"/>
            <a:endParaRPr lang="en-US" sz="1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26453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mercial Vehicle exports</a:t>
            </a:r>
            <a:endParaRPr lang="en-IN" dirty="0"/>
          </a:p>
        </p:txBody>
      </p:sp>
    </p:spTree>
    <p:extLst>
      <p:ext uri="{BB962C8B-B14F-4D97-AF65-F5344CB8AC3E}">
        <p14:creationId xmlns:p14="http://schemas.microsoft.com/office/powerpoint/2010/main" val="791839139"/>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858" y="204668"/>
            <a:ext cx="10515600" cy="392352"/>
          </a:xfrm>
        </p:spPr>
        <p:txBody>
          <a:bodyPr/>
          <a:lstStyle/>
          <a:p>
            <a:r>
              <a:rPr lang="en-US" dirty="0"/>
              <a:t>MHCV regain some ground in Q3 FY22</a:t>
            </a:r>
          </a:p>
        </p:txBody>
      </p:sp>
      <p:sp>
        <p:nvSpPr>
          <p:cNvPr id="6" name="Rectangle 5"/>
          <p:cNvSpPr/>
          <p:nvPr/>
        </p:nvSpPr>
        <p:spPr>
          <a:xfrm rot="5400000">
            <a:off x="2981080" y="-1817061"/>
            <a:ext cx="332121" cy="5701781"/>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1" tIns="45712" rIns="91421" bIns="45712" rtlCol="0" anchor="ctr"/>
          <a:lstStyle/>
          <a:p>
            <a:pPr marL="12699"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CV continues to dominate</a:t>
            </a:r>
          </a:p>
        </p:txBody>
      </p:sp>
      <p:sp>
        <p:nvSpPr>
          <p:cNvPr id="8" name="Rectangle 7"/>
          <p:cNvSpPr/>
          <p:nvPr/>
        </p:nvSpPr>
        <p:spPr>
          <a:xfrm rot="5400000">
            <a:off x="8944158" y="-1835317"/>
            <a:ext cx="336709" cy="5701781"/>
          </a:xfrm>
          <a:prstGeom prst="rect">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vert="vert270" lIns="91421" tIns="45712" rIns="91421" bIns="45712" rtlCol="0" anchor="ctr"/>
          <a:lstStyle/>
          <a:p>
            <a:pPr marL="12699"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ata / Mahindra expand share</a:t>
            </a:r>
          </a:p>
        </p:txBody>
      </p:sp>
      <p:sp>
        <p:nvSpPr>
          <p:cNvPr id="9" name="TextBox 8"/>
          <p:cNvSpPr txBox="1"/>
          <p:nvPr/>
        </p:nvSpPr>
        <p:spPr>
          <a:xfrm>
            <a:off x="296250" y="5499306"/>
            <a:ext cx="11667153" cy="646315"/>
          </a:xfrm>
          <a:prstGeom prst="rect">
            <a:avLst/>
          </a:prstGeom>
          <a:solidFill>
            <a:schemeClr val="bg1">
              <a:lumMod val="85000"/>
            </a:schemeClr>
          </a:solidFill>
        </p:spPr>
        <p:txBody>
          <a:bodyPr wrap="square" lIns="91421" tIns="45712" rIns="91421" bIns="45712" rtlCol="0" anchor="ctr">
            <a:spAutoFit/>
          </a:bodyPr>
          <a:lstStyle/>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rom</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ome improvement in Q4, sales dropped in Q1 FY22 </a:t>
            </a:r>
            <a:r>
              <a:rPr lang="en-US" sz="1200" dirty="0">
                <a:solidFill>
                  <a:prstClr val="black"/>
                </a:solidFill>
                <a:latin typeface="Arial" panose="020B0604020202020204" pitchFamily="34" charset="0"/>
                <a:cs typeface="Arial" panose="020B0604020202020204" pitchFamily="34" charset="0"/>
              </a:rPr>
              <a:t>on a q-o-q basis, however again have picked up in Q3 FY22</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C</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mpare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FY21, LCV </a:t>
            </a:r>
            <a:r>
              <a:rPr lang="en-US" sz="1200" dirty="0">
                <a:solidFill>
                  <a:prstClr val="black"/>
                </a:solidFill>
                <a:latin typeface="Arial" panose="020B0604020202020204" pitchFamily="34" charset="0"/>
                <a:cs typeface="Arial" panose="020B0604020202020204" pitchFamily="34" charset="0"/>
              </a:rPr>
              <a:t>gained</a:t>
            </a:r>
            <a:r>
              <a:rPr kumimoji="0" lang="en-US"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ome ground, while MHCV expanded its presence, buses share continues on a shrinking path</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prstClr val="black"/>
                </a:solidFill>
                <a:latin typeface="Arial" panose="020B0604020202020204" pitchFamily="34" charset="0"/>
                <a:cs typeface="Arial" panose="020B0604020202020204" pitchFamily="34" charset="0"/>
              </a:rPr>
              <a:t>ALL saw a significant loss in exports share to Mahindra and market leader Tata</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TextBox 14"/>
          <p:cNvSpPr txBox="1"/>
          <p:nvPr/>
        </p:nvSpPr>
        <p:spPr>
          <a:xfrm>
            <a:off x="325932" y="4901078"/>
            <a:ext cx="5581172" cy="246205"/>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SIAM, CRISIL Research</a:t>
            </a:r>
          </a:p>
        </p:txBody>
      </p:sp>
      <p:graphicFrame>
        <p:nvGraphicFramePr>
          <p:cNvPr id="11" name="Chart 10"/>
          <p:cNvGraphicFramePr>
            <a:graphicFrameLocks/>
          </p:cNvGraphicFramePr>
          <p:nvPr>
            <p:extLst>
              <p:ext uri="{D42A27DB-BD31-4B8C-83A1-F6EECF244321}">
                <p14:modId xmlns:p14="http://schemas.microsoft.com/office/powerpoint/2010/main" val="286955769"/>
              </p:ext>
            </p:extLst>
          </p:nvPr>
        </p:nvGraphicFramePr>
        <p:xfrm>
          <a:off x="296250" y="1282985"/>
          <a:ext cx="5726056" cy="36180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p:cNvGraphicFramePr>
            <a:graphicFrameLocks/>
          </p:cNvGraphicFramePr>
          <p:nvPr>
            <p:extLst>
              <p:ext uri="{D42A27DB-BD31-4B8C-83A1-F6EECF244321}">
                <p14:modId xmlns:p14="http://schemas.microsoft.com/office/powerpoint/2010/main" val="1668928607"/>
              </p:ext>
            </p:extLst>
          </p:nvPr>
        </p:nvGraphicFramePr>
        <p:xfrm>
          <a:off x="6249484" y="1179342"/>
          <a:ext cx="5726056" cy="396794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82234581"/>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6"/>
            <a:ext cx="8112314" cy="3973880"/>
            <a:chOff x="166688" y="2049463"/>
            <a:chExt cx="8683576" cy="4253716"/>
          </a:xfrm>
        </p:grpSpPr>
        <p:sp>
          <p:nvSpPr>
            <p:cNvPr id="231" name="Rectangle 406"/>
            <p:cNvSpPr>
              <a:spLocks noChangeArrowheads="1"/>
            </p:cNvSpPr>
            <p:nvPr>
              <p:custDataLst>
                <p:tags r:id="rId8"/>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9"/>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10"/>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11"/>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12"/>
              </p:custDataLst>
            </p:nvPr>
          </p:nvSpPr>
          <p:spPr bwMode="gray">
            <a:xfrm>
              <a:off x="5181601"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13"/>
              </p:custDataLst>
            </p:nvPr>
          </p:nvSpPr>
          <p:spPr bwMode="gray">
            <a:xfrm>
              <a:off x="4978401" y="2940050"/>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14"/>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15"/>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16"/>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7"/>
              </p:custDataLst>
            </p:nvPr>
          </p:nvSpPr>
          <p:spPr bwMode="gray">
            <a:xfrm>
              <a:off x="4657725"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8"/>
              </p:custDataLst>
            </p:nvPr>
          </p:nvSpPr>
          <p:spPr bwMode="gray">
            <a:xfrm>
              <a:off x="4449763"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9"/>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20"/>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21"/>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22"/>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23"/>
              </p:custDataLst>
            </p:nvPr>
          </p:nvSpPr>
          <p:spPr bwMode="gray">
            <a:xfrm>
              <a:off x="4938713"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24"/>
              </p:custDataLst>
            </p:nvPr>
          </p:nvSpPr>
          <p:spPr bwMode="gray">
            <a:xfrm>
              <a:off x="4872038"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25"/>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26"/>
              </p:custDataLst>
            </p:nvPr>
          </p:nvSpPr>
          <p:spPr bwMode="gray">
            <a:xfrm>
              <a:off x="4624388" y="269240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7"/>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8"/>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9"/>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30"/>
              </p:custDataLst>
            </p:nvPr>
          </p:nvSpPr>
          <p:spPr bwMode="gray">
            <a:xfrm>
              <a:off x="4743450"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31"/>
              </p:custDataLst>
            </p:nvPr>
          </p:nvSpPr>
          <p:spPr bwMode="gray">
            <a:xfrm>
              <a:off x="5105402"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32"/>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33"/>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34"/>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35"/>
              </p:custDataLst>
            </p:nvPr>
          </p:nvSpPr>
          <p:spPr bwMode="gray">
            <a:xfrm>
              <a:off x="5126037"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36"/>
              </p:custDataLst>
            </p:nvPr>
          </p:nvSpPr>
          <p:spPr bwMode="gray">
            <a:xfrm>
              <a:off x="5092702"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7"/>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8"/>
              </p:custDataLst>
            </p:nvPr>
          </p:nvSpPr>
          <p:spPr bwMode="gray">
            <a:xfrm>
              <a:off x="4567238"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9"/>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40"/>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41"/>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42"/>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43"/>
              </p:custDataLst>
            </p:nvPr>
          </p:nvSpPr>
          <p:spPr bwMode="gray">
            <a:xfrm>
              <a:off x="4875213" y="3451226"/>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44"/>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45"/>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46"/>
              </p:custDataLst>
            </p:nvPr>
          </p:nvSpPr>
          <p:spPr bwMode="gray">
            <a:xfrm>
              <a:off x="3785174" y="3217863"/>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7"/>
              </p:custDataLst>
            </p:nvPr>
          </p:nvSpPr>
          <p:spPr bwMode="gray">
            <a:xfrm>
              <a:off x="3987800"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8"/>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9"/>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200"/>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8"/>
              </p:custDataLst>
            </p:nvPr>
          </p:nvSpPr>
          <p:spPr bwMode="gray">
            <a:xfrm>
              <a:off x="5373688" y="3621088"/>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9"/>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50"/>
              </p:custDataLst>
            </p:nvPr>
          </p:nvSpPr>
          <p:spPr bwMode="gray">
            <a:xfrm>
              <a:off x="5743575"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51"/>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52"/>
              </p:custDataLst>
            </p:nvPr>
          </p:nvSpPr>
          <p:spPr bwMode="gray">
            <a:xfrm>
              <a:off x="7832724"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53"/>
              </p:custDataLst>
            </p:nvPr>
          </p:nvSpPr>
          <p:spPr bwMode="gray">
            <a:xfrm>
              <a:off x="8181977"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54"/>
              </p:custDataLst>
            </p:nvPr>
          </p:nvSpPr>
          <p:spPr bwMode="gray">
            <a:xfrm>
              <a:off x="6951662"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55"/>
              </p:custDataLst>
            </p:nvPr>
          </p:nvSpPr>
          <p:spPr bwMode="gray">
            <a:xfrm>
              <a:off x="8447088" y="4151313"/>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56"/>
              </p:custDataLst>
            </p:nvPr>
          </p:nvSpPr>
          <p:spPr bwMode="gray">
            <a:xfrm>
              <a:off x="8596313" y="4411662"/>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7"/>
              </p:custDataLst>
            </p:nvPr>
          </p:nvSpPr>
          <p:spPr bwMode="gray">
            <a:xfrm>
              <a:off x="6186487" y="4559301"/>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8"/>
              </p:custDataLst>
            </p:nvPr>
          </p:nvSpPr>
          <p:spPr bwMode="gray">
            <a:xfrm>
              <a:off x="7048500"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9"/>
              </p:custDataLst>
            </p:nvPr>
          </p:nvSpPr>
          <p:spPr bwMode="gray">
            <a:xfrm>
              <a:off x="6789738"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60"/>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61"/>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62"/>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63"/>
              </p:custDataLst>
            </p:nvPr>
          </p:nvSpPr>
          <p:spPr bwMode="gray">
            <a:xfrm>
              <a:off x="6075363" y="3190876"/>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64"/>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65"/>
              </p:custDataLst>
            </p:nvPr>
          </p:nvSpPr>
          <p:spPr bwMode="gray">
            <a:xfrm>
              <a:off x="5478463"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66"/>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7"/>
              </p:custDataLst>
            </p:nvPr>
          </p:nvSpPr>
          <p:spPr bwMode="gray">
            <a:xfrm>
              <a:off x="5537199" y="37274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8"/>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9"/>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70"/>
              </p:custDataLst>
            </p:nvPr>
          </p:nvSpPr>
          <p:spPr bwMode="gray">
            <a:xfrm>
              <a:off x="5962650" y="3665538"/>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71"/>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72"/>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73"/>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74"/>
              </p:custDataLst>
            </p:nvPr>
          </p:nvSpPr>
          <p:spPr bwMode="gray">
            <a:xfrm>
              <a:off x="5557838" y="4214813"/>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75"/>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76"/>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7"/>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8"/>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9"/>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80"/>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81"/>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82"/>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83"/>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84"/>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85"/>
              </p:custDataLst>
            </p:nvPr>
          </p:nvSpPr>
          <p:spPr bwMode="gray">
            <a:xfrm>
              <a:off x="5345113" y="3763963"/>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86"/>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7"/>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8"/>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9"/>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90"/>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91"/>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92"/>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93"/>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94"/>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95"/>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96"/>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7"/>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8"/>
              </p:custDataLst>
            </p:nvPr>
          </p:nvSpPr>
          <p:spPr bwMode="gray">
            <a:xfrm>
              <a:off x="5218112" y="37274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9"/>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100"/>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101"/>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102"/>
              </p:custDataLst>
            </p:nvPr>
          </p:nvSpPr>
          <p:spPr bwMode="gray">
            <a:xfrm>
              <a:off x="5453063"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103"/>
              </p:custDataLst>
            </p:nvPr>
          </p:nvSpPr>
          <p:spPr bwMode="gray">
            <a:xfrm>
              <a:off x="5440363" y="3468688"/>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104"/>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105"/>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106"/>
              </p:custDataLst>
            </p:nvPr>
          </p:nvSpPr>
          <p:spPr bwMode="gray">
            <a:xfrm>
              <a:off x="4491038" y="4375150"/>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7"/>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8"/>
              </p:custDataLst>
            </p:nvPr>
          </p:nvSpPr>
          <p:spPr bwMode="gray">
            <a:xfrm>
              <a:off x="4152900"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9"/>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10"/>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11"/>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12"/>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13"/>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14"/>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15"/>
              </p:custDataLst>
            </p:nvPr>
          </p:nvSpPr>
          <p:spPr bwMode="gray">
            <a:xfrm>
              <a:off x="4487863" y="3868738"/>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16"/>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7"/>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8"/>
              </p:custDataLst>
            </p:nvPr>
          </p:nvSpPr>
          <p:spPr bwMode="gray">
            <a:xfrm>
              <a:off x="4430713" y="4140201"/>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9"/>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20"/>
              </p:custDataLst>
            </p:nvPr>
          </p:nvSpPr>
          <p:spPr bwMode="gray">
            <a:xfrm>
              <a:off x="4681538" y="41719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21"/>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22"/>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23"/>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24"/>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25"/>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26"/>
              </p:custDataLst>
            </p:nvPr>
          </p:nvSpPr>
          <p:spPr bwMode="gray">
            <a:xfrm>
              <a:off x="4643438"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7"/>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8"/>
              </p:custDataLst>
            </p:nvPr>
          </p:nvSpPr>
          <p:spPr bwMode="gray">
            <a:xfrm>
              <a:off x="4127500"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9"/>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30"/>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31"/>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32"/>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33"/>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34"/>
              </p:custDataLst>
            </p:nvPr>
          </p:nvSpPr>
          <p:spPr bwMode="gray">
            <a:xfrm>
              <a:off x="5262563" y="5154613"/>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35"/>
              </p:custDataLst>
            </p:nvPr>
          </p:nvSpPr>
          <p:spPr bwMode="gray">
            <a:xfrm>
              <a:off x="4251325"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36"/>
              </p:custDataLst>
            </p:nvPr>
          </p:nvSpPr>
          <p:spPr bwMode="gray">
            <a:xfrm>
              <a:off x="5705475" y="5233989"/>
              <a:ext cx="2693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7"/>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8"/>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9"/>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40"/>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41"/>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42"/>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43"/>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44"/>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45"/>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46"/>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7"/>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8"/>
              </p:custDataLst>
            </p:nvPr>
          </p:nvSpPr>
          <p:spPr bwMode="gray">
            <a:xfrm>
              <a:off x="5284788" y="5024439"/>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9"/>
              </p:custDataLst>
            </p:nvPr>
          </p:nvSpPr>
          <p:spPr bwMode="gray">
            <a:xfrm>
              <a:off x="5299075"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50"/>
              </p:custDataLst>
            </p:nvPr>
          </p:nvSpPr>
          <p:spPr bwMode="gray">
            <a:xfrm>
              <a:off x="5222875" y="5562602"/>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51"/>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52"/>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53"/>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54"/>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55"/>
              </p:custDataLst>
            </p:nvPr>
          </p:nvSpPr>
          <p:spPr bwMode="gray">
            <a:xfrm>
              <a:off x="4445000" y="4637089"/>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56"/>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7"/>
              </p:custDataLst>
            </p:nvPr>
          </p:nvSpPr>
          <p:spPr bwMode="gray">
            <a:xfrm>
              <a:off x="5365750" y="433863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8"/>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9"/>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60"/>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61"/>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62"/>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63"/>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64"/>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65"/>
              </p:custDataLst>
            </p:nvPr>
          </p:nvSpPr>
          <p:spPr bwMode="gray">
            <a:xfrm>
              <a:off x="2873375" y="5173664"/>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66"/>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7"/>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8"/>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9"/>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70"/>
              </p:custDataLst>
            </p:nvPr>
          </p:nvSpPr>
          <p:spPr bwMode="gray">
            <a:xfrm>
              <a:off x="2482850" y="4713289"/>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71"/>
              </p:custDataLst>
            </p:nvPr>
          </p:nvSpPr>
          <p:spPr bwMode="gray">
            <a:xfrm>
              <a:off x="3049588" y="4443414"/>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72"/>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73"/>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74"/>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75"/>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76"/>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7"/>
              </p:custDataLst>
            </p:nvPr>
          </p:nvSpPr>
          <p:spPr bwMode="gray">
            <a:xfrm>
              <a:off x="1968500" y="4699001"/>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8"/>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9"/>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80"/>
              </p:custDataLst>
            </p:nvPr>
          </p:nvSpPr>
          <p:spPr bwMode="gray">
            <a:xfrm>
              <a:off x="2747963" y="3925888"/>
              <a:ext cx="2985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81"/>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82"/>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83"/>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84"/>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85"/>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86"/>
              </p:custDataLst>
            </p:nvPr>
          </p:nvSpPr>
          <p:spPr bwMode="gray">
            <a:xfrm>
              <a:off x="1952626"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7"/>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8"/>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9"/>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90"/>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91"/>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92"/>
              </p:custDataLst>
            </p:nvPr>
          </p:nvSpPr>
          <p:spPr bwMode="gray">
            <a:xfrm>
              <a:off x="2098676"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93"/>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94"/>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95"/>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96"/>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7"/>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450" name="Title 1"/>
          <p:cNvSpPr>
            <a:spLocks noGrp="1"/>
          </p:cNvSpPr>
          <p:nvPr>
            <p:ph type="title"/>
          </p:nvPr>
        </p:nvSpPr>
        <p:spPr>
          <a:xfrm>
            <a:off x="373858" y="225184"/>
            <a:ext cx="10515600" cy="392415"/>
          </a:xfrm>
        </p:spPr>
        <p:txBody>
          <a:bodyPr/>
          <a:lstStyle/>
          <a:p>
            <a:r>
              <a:rPr lang="en-US" sz="3200" b="1" dirty="0">
                <a:latin typeface="Arial" panose="020B0604020202020204" pitchFamily="34" charset="0"/>
                <a:cs typeface="Arial" panose="020B0604020202020204" pitchFamily="34" charset="0"/>
              </a:rPr>
              <a:t>Commercial vehicles exports</a:t>
            </a:r>
          </a:p>
        </p:txBody>
      </p:sp>
      <p:grpSp>
        <p:nvGrpSpPr>
          <p:cNvPr id="25" name="Group 24"/>
          <p:cNvGrpSpPr/>
          <p:nvPr/>
        </p:nvGrpSpPr>
        <p:grpSpPr>
          <a:xfrm>
            <a:off x="-124295" y="636901"/>
            <a:ext cx="9431079" cy="5113433"/>
            <a:chOff x="2374534" y="874057"/>
            <a:chExt cx="9936480" cy="6708180"/>
          </a:xfrm>
        </p:grpSpPr>
        <p:grpSp>
          <p:nvGrpSpPr>
            <p:cNvPr id="461" name="Group 460"/>
            <p:cNvGrpSpPr/>
            <p:nvPr/>
          </p:nvGrpSpPr>
          <p:grpSpPr>
            <a:xfrm>
              <a:off x="2374534" y="2240665"/>
              <a:ext cx="9936480" cy="5276850"/>
              <a:chOff x="393700" y="1781243"/>
              <a:chExt cx="8280400" cy="4397375"/>
            </a:xfrm>
            <a:solidFill>
              <a:schemeClr val="bg1">
                <a:lumMod val="85000"/>
              </a:schemeClr>
            </a:solidFill>
          </p:grpSpPr>
          <p:sp>
            <p:nvSpPr>
              <p:cNvPr id="462" name="Freeform 13"/>
              <p:cNvSpPr>
                <a:spLocks noEditPoints="1"/>
              </p:cNvSpPr>
              <p:nvPr/>
            </p:nvSpPr>
            <p:spPr bwMode="auto">
              <a:xfrm>
                <a:off x="4835525" y="1866968"/>
                <a:ext cx="3838575" cy="1520825"/>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3" name="Freeform 14"/>
              <p:cNvSpPr>
                <a:spLocks/>
              </p:cNvSpPr>
              <p:nvPr/>
            </p:nvSpPr>
            <p:spPr bwMode="auto">
              <a:xfrm>
                <a:off x="4921250" y="4241868"/>
                <a:ext cx="285750" cy="234950"/>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4" name="Freeform 15"/>
              <p:cNvSpPr>
                <a:spLocks/>
              </p:cNvSpPr>
              <p:nvPr/>
            </p:nvSpPr>
            <p:spPr bwMode="auto">
              <a:xfrm>
                <a:off x="4886325" y="3918018"/>
                <a:ext cx="377825" cy="406400"/>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5" name="Freeform 16"/>
              <p:cNvSpPr>
                <a:spLocks/>
              </p:cNvSpPr>
              <p:nvPr/>
            </p:nvSpPr>
            <p:spPr bwMode="auto">
              <a:xfrm>
                <a:off x="5753100" y="3473518"/>
                <a:ext cx="320675" cy="273050"/>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6" name="Freeform 17"/>
              <p:cNvSpPr>
                <a:spLocks noEditPoints="1"/>
              </p:cNvSpPr>
              <p:nvPr/>
            </p:nvSpPr>
            <p:spPr bwMode="auto">
              <a:xfrm>
                <a:off x="5372100" y="3390968"/>
                <a:ext cx="69850" cy="69850"/>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7" name="Freeform 18"/>
              <p:cNvSpPr>
                <a:spLocks noEditPoints="1"/>
              </p:cNvSpPr>
              <p:nvPr/>
            </p:nvSpPr>
            <p:spPr bwMode="auto">
              <a:xfrm>
                <a:off x="5400675" y="3343343"/>
                <a:ext cx="152400" cy="136525"/>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8" name="Freeform 19"/>
              <p:cNvSpPr>
                <a:spLocks noEditPoints="1"/>
              </p:cNvSpPr>
              <p:nvPr/>
            </p:nvSpPr>
            <p:spPr bwMode="auto">
              <a:xfrm>
                <a:off x="5524500" y="3835468"/>
                <a:ext cx="12700" cy="15875"/>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9" name="Freeform 20"/>
              <p:cNvSpPr>
                <a:spLocks noEditPoints="1"/>
              </p:cNvSpPr>
              <p:nvPr/>
            </p:nvSpPr>
            <p:spPr bwMode="auto">
              <a:xfrm>
                <a:off x="6369050" y="3822768"/>
                <a:ext cx="107950" cy="168275"/>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0" name="Freeform 21"/>
              <p:cNvSpPr>
                <a:spLocks/>
              </p:cNvSpPr>
              <p:nvPr/>
            </p:nvSpPr>
            <p:spPr bwMode="auto">
              <a:xfrm>
                <a:off x="6388100" y="3775143"/>
                <a:ext cx="76200" cy="47625"/>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1" name="Freeform 22"/>
              <p:cNvSpPr>
                <a:spLocks noEditPoints="1"/>
              </p:cNvSpPr>
              <p:nvPr/>
            </p:nvSpPr>
            <p:spPr bwMode="auto">
              <a:xfrm>
                <a:off x="6956425" y="4419668"/>
                <a:ext cx="28575" cy="31750"/>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2" name="Freeform 23"/>
              <p:cNvSpPr>
                <a:spLocks/>
              </p:cNvSpPr>
              <p:nvPr/>
            </p:nvSpPr>
            <p:spPr bwMode="auto">
              <a:xfrm>
                <a:off x="6689725" y="4159318"/>
                <a:ext cx="117475" cy="117475"/>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3" name="Freeform 24"/>
              <p:cNvSpPr>
                <a:spLocks noEditPoints="1"/>
              </p:cNvSpPr>
              <p:nvPr/>
            </p:nvSpPr>
            <p:spPr bwMode="auto">
              <a:xfrm>
                <a:off x="6045200" y="2994093"/>
                <a:ext cx="1371600" cy="1069975"/>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4" name="Freeform 25"/>
              <p:cNvSpPr>
                <a:spLocks/>
              </p:cNvSpPr>
              <p:nvPr/>
            </p:nvSpPr>
            <p:spPr bwMode="auto">
              <a:xfrm>
                <a:off x="5114925" y="3562418"/>
                <a:ext cx="53975" cy="28575"/>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5" name="Freeform 26"/>
              <p:cNvSpPr>
                <a:spLocks/>
              </p:cNvSpPr>
              <p:nvPr/>
            </p:nvSpPr>
            <p:spPr bwMode="auto">
              <a:xfrm>
                <a:off x="5162550" y="3679893"/>
                <a:ext cx="6350" cy="1270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6" name="Freeform 27"/>
              <p:cNvSpPr>
                <a:spLocks/>
              </p:cNvSpPr>
              <p:nvPr/>
            </p:nvSpPr>
            <p:spPr bwMode="auto">
              <a:xfrm>
                <a:off x="5292725" y="3321118"/>
                <a:ext cx="149225" cy="73025"/>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7" name="Freeform 28"/>
              <p:cNvSpPr>
                <a:spLocks noEditPoints="1"/>
              </p:cNvSpPr>
              <p:nvPr/>
            </p:nvSpPr>
            <p:spPr bwMode="auto">
              <a:xfrm>
                <a:off x="6530975" y="4397443"/>
                <a:ext cx="1028700" cy="460375"/>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8" name="Freeform 29"/>
              <p:cNvSpPr>
                <a:spLocks noEditPoints="1"/>
              </p:cNvSpPr>
              <p:nvPr/>
            </p:nvSpPr>
            <p:spPr bwMode="auto">
              <a:xfrm>
                <a:off x="5381625" y="3438593"/>
                <a:ext cx="431800" cy="431800"/>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79" name="Freeform 30"/>
              <p:cNvSpPr>
                <a:spLocks/>
              </p:cNvSpPr>
              <p:nvPr/>
            </p:nvSpPr>
            <p:spPr bwMode="auto">
              <a:xfrm>
                <a:off x="5264150" y="3508443"/>
                <a:ext cx="219075" cy="244475"/>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0" name="Freeform 31"/>
              <p:cNvSpPr>
                <a:spLocks noEditPoints="1"/>
              </p:cNvSpPr>
              <p:nvPr/>
            </p:nvSpPr>
            <p:spPr bwMode="auto">
              <a:xfrm>
                <a:off x="5162550" y="3632268"/>
                <a:ext cx="28575" cy="107950"/>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1" name="Freeform 32"/>
              <p:cNvSpPr>
                <a:spLocks noEditPoints="1"/>
              </p:cNvSpPr>
              <p:nvPr/>
            </p:nvSpPr>
            <p:spPr bwMode="auto">
              <a:xfrm>
                <a:off x="7165975" y="3254443"/>
                <a:ext cx="498475" cy="638175"/>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2" name="Freeform 33"/>
              <p:cNvSpPr>
                <a:spLocks/>
              </p:cNvSpPr>
              <p:nvPr/>
            </p:nvSpPr>
            <p:spPr bwMode="auto">
              <a:xfrm>
                <a:off x="5181600" y="3625918"/>
                <a:ext cx="92075" cy="127000"/>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3" name="Freeform 34"/>
              <p:cNvSpPr>
                <a:spLocks/>
              </p:cNvSpPr>
              <p:nvPr/>
            </p:nvSpPr>
            <p:spPr bwMode="auto">
              <a:xfrm>
                <a:off x="5435600" y="2927418"/>
                <a:ext cx="917575" cy="47942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4" name="Freeform 35"/>
              <p:cNvSpPr>
                <a:spLocks noEditPoints="1"/>
              </p:cNvSpPr>
              <p:nvPr/>
            </p:nvSpPr>
            <p:spPr bwMode="auto">
              <a:xfrm>
                <a:off x="5441950" y="3724343"/>
                <a:ext cx="41275" cy="44450"/>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5" name="Freeform 36"/>
              <p:cNvSpPr>
                <a:spLocks/>
              </p:cNvSpPr>
              <p:nvPr/>
            </p:nvSpPr>
            <p:spPr bwMode="auto">
              <a:xfrm>
                <a:off x="5949950" y="3333818"/>
                <a:ext cx="247650" cy="120650"/>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6" name="Freeform 37"/>
              <p:cNvSpPr>
                <a:spLocks/>
              </p:cNvSpPr>
              <p:nvPr/>
            </p:nvSpPr>
            <p:spPr bwMode="auto">
              <a:xfrm>
                <a:off x="6638925" y="3943418"/>
                <a:ext cx="174625" cy="234950"/>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7" name="Freeform 38"/>
              <p:cNvSpPr>
                <a:spLocks/>
              </p:cNvSpPr>
              <p:nvPr/>
            </p:nvSpPr>
            <p:spPr bwMode="auto">
              <a:xfrm>
                <a:off x="5181600" y="3590993"/>
                <a:ext cx="34925" cy="47625"/>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8" name="Freeform 39"/>
              <p:cNvSpPr>
                <a:spLocks noEditPoints="1"/>
              </p:cNvSpPr>
              <p:nvPr/>
            </p:nvSpPr>
            <p:spPr bwMode="auto">
              <a:xfrm>
                <a:off x="6629400" y="4362518"/>
                <a:ext cx="444500" cy="177800"/>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89" name="Freeform 40"/>
              <p:cNvSpPr>
                <a:spLocks noEditPoints="1"/>
              </p:cNvSpPr>
              <p:nvPr/>
            </p:nvSpPr>
            <p:spPr bwMode="auto">
              <a:xfrm>
                <a:off x="6032500" y="4368868"/>
                <a:ext cx="12700" cy="206375"/>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0" name="Freeform 41"/>
              <p:cNvSpPr>
                <a:spLocks/>
              </p:cNvSpPr>
              <p:nvPr/>
            </p:nvSpPr>
            <p:spPr bwMode="auto">
              <a:xfrm>
                <a:off x="6362700" y="3041718"/>
                <a:ext cx="723900" cy="336550"/>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1" name="Freeform 42"/>
              <p:cNvSpPr>
                <a:spLocks noEditPoints="1"/>
              </p:cNvSpPr>
              <p:nvPr/>
            </p:nvSpPr>
            <p:spPr bwMode="auto">
              <a:xfrm>
                <a:off x="6464300" y="3768793"/>
                <a:ext cx="200025" cy="520700"/>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2" name="Freeform 43"/>
              <p:cNvSpPr>
                <a:spLocks/>
              </p:cNvSpPr>
              <p:nvPr/>
            </p:nvSpPr>
            <p:spPr bwMode="auto">
              <a:xfrm>
                <a:off x="6191250" y="3717993"/>
                <a:ext cx="184150" cy="117475"/>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3" name="Freeform 44"/>
              <p:cNvSpPr>
                <a:spLocks/>
              </p:cNvSpPr>
              <p:nvPr/>
            </p:nvSpPr>
            <p:spPr bwMode="auto">
              <a:xfrm>
                <a:off x="7185025" y="3340168"/>
                <a:ext cx="142875" cy="158750"/>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4" name="Freeform 45"/>
              <p:cNvSpPr>
                <a:spLocks noEditPoints="1"/>
              </p:cNvSpPr>
              <p:nvPr/>
            </p:nvSpPr>
            <p:spPr bwMode="auto">
              <a:xfrm>
                <a:off x="5559425" y="3835468"/>
                <a:ext cx="177800" cy="273050"/>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5" name="Freeform 46"/>
              <p:cNvSpPr>
                <a:spLocks/>
              </p:cNvSpPr>
              <p:nvPr/>
            </p:nvSpPr>
            <p:spPr bwMode="auto">
              <a:xfrm>
                <a:off x="5759450" y="3521143"/>
                <a:ext cx="374650" cy="384175"/>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6" name="Freeform 47"/>
              <p:cNvSpPr>
                <a:spLocks noEditPoints="1"/>
              </p:cNvSpPr>
              <p:nvPr/>
            </p:nvSpPr>
            <p:spPr bwMode="auto">
              <a:xfrm>
                <a:off x="6902450" y="4095818"/>
                <a:ext cx="22225" cy="15875"/>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7" name="Freeform 48"/>
              <p:cNvSpPr>
                <a:spLocks noEditPoints="1"/>
              </p:cNvSpPr>
              <p:nvPr/>
            </p:nvSpPr>
            <p:spPr bwMode="auto">
              <a:xfrm>
                <a:off x="7019925" y="4041843"/>
                <a:ext cx="212725" cy="377825"/>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8" name="Freeform 49"/>
              <p:cNvSpPr>
                <a:spLocks/>
              </p:cNvSpPr>
              <p:nvPr/>
            </p:nvSpPr>
            <p:spPr bwMode="auto">
              <a:xfrm>
                <a:off x="5537200" y="3841818"/>
                <a:ext cx="15875" cy="41275"/>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9" name="Freeform 50"/>
              <p:cNvSpPr>
                <a:spLocks noEditPoints="1"/>
              </p:cNvSpPr>
              <p:nvPr/>
            </p:nvSpPr>
            <p:spPr bwMode="auto">
              <a:xfrm>
                <a:off x="5168900" y="3664018"/>
                <a:ext cx="473075" cy="447675"/>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0" name="Freeform 51"/>
              <p:cNvSpPr>
                <a:spLocks/>
              </p:cNvSpPr>
              <p:nvPr/>
            </p:nvSpPr>
            <p:spPr bwMode="auto">
              <a:xfrm>
                <a:off x="6718300" y="4521268"/>
                <a:ext cx="12700" cy="6350"/>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1" name="Freeform 52"/>
              <p:cNvSpPr>
                <a:spLocks noEditPoints="1"/>
              </p:cNvSpPr>
              <p:nvPr/>
            </p:nvSpPr>
            <p:spPr bwMode="auto">
              <a:xfrm>
                <a:off x="7226300" y="3473518"/>
                <a:ext cx="76200" cy="158750"/>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2" name="Freeform 53"/>
              <p:cNvSpPr>
                <a:spLocks noEditPoints="1"/>
              </p:cNvSpPr>
              <p:nvPr/>
            </p:nvSpPr>
            <p:spPr bwMode="auto">
              <a:xfrm>
                <a:off x="6178550" y="4289493"/>
                <a:ext cx="53975" cy="107950"/>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3" name="Freeform 54"/>
              <p:cNvSpPr>
                <a:spLocks/>
              </p:cNvSpPr>
              <p:nvPr/>
            </p:nvSpPr>
            <p:spPr bwMode="auto">
              <a:xfrm>
                <a:off x="5191125" y="3508443"/>
                <a:ext cx="155575" cy="149225"/>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4" name="Freeform 55"/>
              <p:cNvSpPr>
                <a:spLocks/>
              </p:cNvSpPr>
              <p:nvPr/>
            </p:nvSpPr>
            <p:spPr bwMode="auto">
              <a:xfrm>
                <a:off x="5908675" y="3394143"/>
                <a:ext cx="171450" cy="139700"/>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5" name="Freeform 56"/>
              <p:cNvSpPr>
                <a:spLocks noEditPoints="1"/>
              </p:cNvSpPr>
              <p:nvPr/>
            </p:nvSpPr>
            <p:spPr bwMode="auto">
              <a:xfrm>
                <a:off x="6578600" y="4000568"/>
                <a:ext cx="187325" cy="409575"/>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6" name="Freeform 57"/>
              <p:cNvSpPr>
                <a:spLocks noEditPoints="1"/>
              </p:cNvSpPr>
              <p:nvPr/>
            </p:nvSpPr>
            <p:spPr bwMode="auto">
              <a:xfrm>
                <a:off x="7178675" y="4781618"/>
                <a:ext cx="69850" cy="34925"/>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7" name="Freeform 58"/>
              <p:cNvSpPr>
                <a:spLocks noEditPoints="1"/>
              </p:cNvSpPr>
              <p:nvPr/>
            </p:nvSpPr>
            <p:spPr bwMode="auto">
              <a:xfrm>
                <a:off x="4968875" y="3359218"/>
                <a:ext cx="431800" cy="19685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8" name="Freeform 59"/>
              <p:cNvSpPr>
                <a:spLocks/>
              </p:cNvSpPr>
              <p:nvPr/>
            </p:nvSpPr>
            <p:spPr bwMode="auto">
              <a:xfrm>
                <a:off x="5543550" y="3343343"/>
                <a:ext cx="346075" cy="231775"/>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9" name="Freeform 60"/>
              <p:cNvSpPr>
                <a:spLocks noEditPoints="1"/>
              </p:cNvSpPr>
              <p:nvPr/>
            </p:nvSpPr>
            <p:spPr bwMode="auto">
              <a:xfrm>
                <a:off x="5553075" y="3841818"/>
                <a:ext cx="104775" cy="95250"/>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0" name="Freeform 61"/>
              <p:cNvSpPr>
                <a:spLocks/>
              </p:cNvSpPr>
              <p:nvPr/>
            </p:nvSpPr>
            <p:spPr bwMode="auto">
              <a:xfrm>
                <a:off x="5651500" y="3254443"/>
                <a:ext cx="387350" cy="260350"/>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1" name="Freeform 62"/>
              <p:cNvSpPr>
                <a:spLocks noEditPoints="1"/>
              </p:cNvSpPr>
              <p:nvPr/>
            </p:nvSpPr>
            <p:spPr bwMode="auto">
              <a:xfrm>
                <a:off x="6689725" y="3918018"/>
                <a:ext cx="158750" cy="409575"/>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2" name="Freeform 63"/>
              <p:cNvSpPr>
                <a:spLocks noEditPoints="1"/>
              </p:cNvSpPr>
              <p:nvPr/>
            </p:nvSpPr>
            <p:spPr bwMode="auto">
              <a:xfrm>
                <a:off x="5175250" y="3651318"/>
                <a:ext cx="15875" cy="34925"/>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3" name="Freeform 64"/>
              <p:cNvSpPr>
                <a:spLocks noEditPoints="1"/>
              </p:cNvSpPr>
              <p:nvPr/>
            </p:nvSpPr>
            <p:spPr bwMode="auto">
              <a:xfrm>
                <a:off x="5346700" y="4041843"/>
                <a:ext cx="269875" cy="187325"/>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4" name="Freeform 65"/>
              <p:cNvSpPr>
                <a:spLocks/>
              </p:cNvSpPr>
              <p:nvPr/>
            </p:nvSpPr>
            <p:spPr bwMode="auto">
              <a:xfrm>
                <a:off x="2819400" y="4213293"/>
                <a:ext cx="6350" cy="6350"/>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5" name="Freeform 66"/>
              <p:cNvSpPr>
                <a:spLocks noEditPoints="1"/>
              </p:cNvSpPr>
              <p:nvPr/>
            </p:nvSpPr>
            <p:spPr bwMode="auto">
              <a:xfrm>
                <a:off x="2390775" y="4054543"/>
                <a:ext cx="31750" cy="69850"/>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6" name="Freeform 67"/>
              <p:cNvSpPr>
                <a:spLocks/>
              </p:cNvSpPr>
              <p:nvPr/>
            </p:nvSpPr>
            <p:spPr bwMode="auto">
              <a:xfrm>
                <a:off x="2936875" y="3657668"/>
                <a:ext cx="6350" cy="6350"/>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7" name="Freeform 68"/>
              <p:cNvSpPr>
                <a:spLocks noEditPoints="1"/>
              </p:cNvSpPr>
              <p:nvPr/>
            </p:nvSpPr>
            <p:spPr bwMode="auto">
              <a:xfrm>
                <a:off x="1228725" y="1803468"/>
                <a:ext cx="1981200" cy="1574800"/>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8" name="Freeform 69"/>
              <p:cNvSpPr>
                <a:spLocks/>
              </p:cNvSpPr>
              <p:nvPr/>
            </p:nvSpPr>
            <p:spPr bwMode="auto">
              <a:xfrm>
                <a:off x="2466975" y="4254568"/>
                <a:ext cx="76200" cy="88900"/>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19" name="Freeform 70"/>
              <p:cNvSpPr>
                <a:spLocks noEditPoints="1"/>
              </p:cNvSpPr>
              <p:nvPr/>
            </p:nvSpPr>
            <p:spPr bwMode="auto">
              <a:xfrm>
                <a:off x="2489200" y="3924368"/>
                <a:ext cx="244475" cy="92075"/>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0" name="Freeform 71"/>
              <p:cNvSpPr>
                <a:spLocks noEditPoints="1"/>
              </p:cNvSpPr>
              <p:nvPr/>
            </p:nvSpPr>
            <p:spPr bwMode="auto">
              <a:xfrm>
                <a:off x="2781300" y="4010093"/>
                <a:ext cx="79375" cy="66675"/>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1" name="Freeform 72"/>
              <p:cNvSpPr>
                <a:spLocks/>
              </p:cNvSpPr>
              <p:nvPr/>
            </p:nvSpPr>
            <p:spPr bwMode="auto">
              <a:xfrm>
                <a:off x="2371725" y="4165668"/>
                <a:ext cx="50800" cy="34925"/>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2" name="Freeform 73"/>
              <p:cNvSpPr>
                <a:spLocks noEditPoints="1"/>
              </p:cNvSpPr>
              <p:nvPr/>
            </p:nvSpPr>
            <p:spPr bwMode="auto">
              <a:xfrm>
                <a:off x="2755900" y="1781243"/>
                <a:ext cx="1365250" cy="993775"/>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3" name="Freeform 74"/>
              <p:cNvSpPr>
                <a:spLocks/>
              </p:cNvSpPr>
              <p:nvPr/>
            </p:nvSpPr>
            <p:spPr bwMode="auto">
              <a:xfrm>
                <a:off x="2324100" y="4070418"/>
                <a:ext cx="88900" cy="114300"/>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4" name="Freeform 75"/>
              <p:cNvSpPr>
                <a:spLocks noEditPoints="1"/>
              </p:cNvSpPr>
              <p:nvPr/>
            </p:nvSpPr>
            <p:spPr bwMode="auto">
              <a:xfrm>
                <a:off x="2720975" y="4010093"/>
                <a:ext cx="63500" cy="53975"/>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5" name="Freeform 76"/>
              <p:cNvSpPr>
                <a:spLocks noEditPoints="1"/>
              </p:cNvSpPr>
              <p:nvPr/>
            </p:nvSpPr>
            <p:spPr bwMode="auto">
              <a:xfrm>
                <a:off x="2390775" y="4111693"/>
                <a:ext cx="139700" cy="95250"/>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6" name="Freeform 77"/>
              <p:cNvSpPr>
                <a:spLocks/>
              </p:cNvSpPr>
              <p:nvPr/>
            </p:nvSpPr>
            <p:spPr bwMode="auto">
              <a:xfrm>
                <a:off x="2635250" y="4054543"/>
                <a:ext cx="50800" cy="22225"/>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7" name="Freeform 78"/>
              <p:cNvSpPr>
                <a:spLocks noEditPoints="1"/>
              </p:cNvSpPr>
              <p:nvPr/>
            </p:nvSpPr>
            <p:spPr bwMode="auto">
              <a:xfrm>
                <a:off x="1739900" y="3644968"/>
                <a:ext cx="708025" cy="514350"/>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8" name="Freeform 79"/>
              <p:cNvSpPr>
                <a:spLocks noEditPoints="1"/>
              </p:cNvSpPr>
              <p:nvPr/>
            </p:nvSpPr>
            <p:spPr bwMode="auto">
              <a:xfrm>
                <a:off x="2844800" y="4222818"/>
                <a:ext cx="15875" cy="6350"/>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9" name="Freeform 80"/>
              <p:cNvSpPr>
                <a:spLocks/>
              </p:cNvSpPr>
              <p:nvPr/>
            </p:nvSpPr>
            <p:spPr bwMode="auto">
              <a:xfrm>
                <a:off x="2422525" y="4146618"/>
                <a:ext cx="107950" cy="120650"/>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0" name="Freeform 81"/>
              <p:cNvSpPr>
                <a:spLocks noEditPoints="1"/>
              </p:cNvSpPr>
              <p:nvPr/>
            </p:nvSpPr>
            <p:spPr bwMode="auto">
              <a:xfrm>
                <a:off x="2530475" y="4295843"/>
                <a:ext cx="130175" cy="66675"/>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1" name="Freeform 82"/>
              <p:cNvSpPr>
                <a:spLocks noEditPoints="1"/>
              </p:cNvSpPr>
              <p:nvPr/>
            </p:nvSpPr>
            <p:spPr bwMode="auto">
              <a:xfrm>
                <a:off x="2886075" y="4054543"/>
                <a:ext cx="41275" cy="15875"/>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2" name="Freeform 83"/>
              <p:cNvSpPr>
                <a:spLocks noEditPoints="1"/>
              </p:cNvSpPr>
              <p:nvPr/>
            </p:nvSpPr>
            <p:spPr bwMode="auto">
              <a:xfrm>
                <a:off x="3127375" y="3206818"/>
                <a:ext cx="6350" cy="1270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3" name="Freeform 84"/>
              <p:cNvSpPr>
                <a:spLocks noEditPoints="1"/>
              </p:cNvSpPr>
              <p:nvPr/>
            </p:nvSpPr>
            <p:spPr bwMode="auto">
              <a:xfrm>
                <a:off x="2619375" y="3816418"/>
                <a:ext cx="142875" cy="174625"/>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4" name="Freeform 85"/>
              <p:cNvSpPr>
                <a:spLocks noEditPoints="1"/>
              </p:cNvSpPr>
              <p:nvPr/>
            </p:nvSpPr>
            <p:spPr bwMode="auto">
              <a:xfrm>
                <a:off x="3003550" y="4248218"/>
                <a:ext cx="28575" cy="34925"/>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5" name="Freeform 86"/>
              <p:cNvSpPr>
                <a:spLocks noEditPoints="1"/>
              </p:cNvSpPr>
              <p:nvPr/>
            </p:nvSpPr>
            <p:spPr bwMode="auto">
              <a:xfrm>
                <a:off x="2781300" y="3959293"/>
                <a:ext cx="15875" cy="1270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6" name="Freeform 87"/>
              <p:cNvSpPr>
                <a:spLocks/>
              </p:cNvSpPr>
              <p:nvPr/>
            </p:nvSpPr>
            <p:spPr bwMode="auto">
              <a:xfrm>
                <a:off x="4826000" y="3349693"/>
                <a:ext cx="41275" cy="88900"/>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7" name="Freeform 88"/>
              <p:cNvSpPr>
                <a:spLocks/>
              </p:cNvSpPr>
              <p:nvPr/>
            </p:nvSpPr>
            <p:spPr bwMode="auto">
              <a:xfrm>
                <a:off x="4422775" y="3349693"/>
                <a:ext cx="12700" cy="3175"/>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8" name="Freeform 89"/>
              <p:cNvSpPr>
                <a:spLocks/>
              </p:cNvSpPr>
              <p:nvPr/>
            </p:nvSpPr>
            <p:spPr bwMode="auto">
              <a:xfrm>
                <a:off x="4606925" y="3143318"/>
                <a:ext cx="171450" cy="82550"/>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39" name="Freeform 90"/>
              <p:cNvSpPr>
                <a:spLocks/>
              </p:cNvSpPr>
              <p:nvPr/>
            </p:nvSpPr>
            <p:spPr bwMode="auto">
              <a:xfrm>
                <a:off x="4914900" y="2898843"/>
                <a:ext cx="212725" cy="171450"/>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0" name="Freeform 91"/>
              <p:cNvSpPr>
                <a:spLocks/>
              </p:cNvSpPr>
              <p:nvPr/>
            </p:nvSpPr>
            <p:spPr bwMode="auto">
              <a:xfrm>
                <a:off x="4454525" y="3060768"/>
                <a:ext cx="79375" cy="63500"/>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1" name="Freeform 92"/>
              <p:cNvSpPr>
                <a:spLocks/>
              </p:cNvSpPr>
              <p:nvPr/>
            </p:nvSpPr>
            <p:spPr bwMode="auto">
              <a:xfrm>
                <a:off x="4749800" y="3267143"/>
                <a:ext cx="82550" cy="82550"/>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2" name="Freeform 93"/>
              <p:cNvSpPr>
                <a:spLocks/>
              </p:cNvSpPr>
              <p:nvPr/>
            </p:nvSpPr>
            <p:spPr bwMode="auto">
              <a:xfrm>
                <a:off x="4895850" y="3295718"/>
                <a:ext cx="142875" cy="95250"/>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3" name="Freeform 94"/>
              <p:cNvSpPr>
                <a:spLocks noEditPoints="1"/>
              </p:cNvSpPr>
              <p:nvPr/>
            </p:nvSpPr>
            <p:spPr bwMode="auto">
              <a:xfrm>
                <a:off x="4695825" y="3225868"/>
                <a:ext cx="136525" cy="127000"/>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4" name="Freeform 95"/>
              <p:cNvSpPr>
                <a:spLocks/>
              </p:cNvSpPr>
              <p:nvPr/>
            </p:nvSpPr>
            <p:spPr bwMode="auto">
              <a:xfrm>
                <a:off x="4664075" y="3076643"/>
                <a:ext cx="155575" cy="82550"/>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5" name="Freeform 96"/>
              <p:cNvSpPr>
                <a:spLocks noEditPoints="1"/>
              </p:cNvSpPr>
              <p:nvPr/>
            </p:nvSpPr>
            <p:spPr bwMode="auto">
              <a:xfrm>
                <a:off x="4575175" y="2844868"/>
                <a:ext cx="155575" cy="114300"/>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6" name="Freeform 97"/>
              <p:cNvSpPr>
                <a:spLocks noEditPoints="1"/>
              </p:cNvSpPr>
              <p:nvPr/>
            </p:nvSpPr>
            <p:spPr bwMode="auto">
              <a:xfrm>
                <a:off x="4883150" y="2775018"/>
                <a:ext cx="142875" cy="76200"/>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7" name="Freeform 98"/>
              <p:cNvSpPr>
                <a:spLocks noEditPoints="1"/>
              </p:cNvSpPr>
              <p:nvPr/>
            </p:nvSpPr>
            <p:spPr bwMode="auto">
              <a:xfrm>
                <a:off x="4229100" y="2679768"/>
                <a:ext cx="22225" cy="34925"/>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8" name="Freeform 99"/>
              <p:cNvSpPr>
                <a:spLocks noEditPoints="1"/>
              </p:cNvSpPr>
              <p:nvPr/>
            </p:nvSpPr>
            <p:spPr bwMode="auto">
              <a:xfrm>
                <a:off x="4832350" y="2378143"/>
                <a:ext cx="273050" cy="396875"/>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49" name="Freeform 100"/>
              <p:cNvSpPr>
                <a:spLocks noEditPoints="1"/>
              </p:cNvSpPr>
              <p:nvPr/>
            </p:nvSpPr>
            <p:spPr bwMode="auto">
              <a:xfrm>
                <a:off x="4286250" y="3076643"/>
                <a:ext cx="320675" cy="307975"/>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0" name="Freeform 101"/>
              <p:cNvSpPr>
                <a:spLocks noEditPoints="1"/>
              </p:cNvSpPr>
              <p:nvPr/>
            </p:nvSpPr>
            <p:spPr bwMode="auto">
              <a:xfrm>
                <a:off x="4524375" y="2940118"/>
                <a:ext cx="206375" cy="260350"/>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1" name="Freeform 102"/>
              <p:cNvSpPr>
                <a:spLocks noEditPoints="1"/>
              </p:cNvSpPr>
              <p:nvPr/>
            </p:nvSpPr>
            <p:spPr bwMode="auto">
              <a:xfrm>
                <a:off x="4838700" y="3371918"/>
                <a:ext cx="187325" cy="206375"/>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2" name="Freeform 103"/>
              <p:cNvSpPr>
                <a:spLocks/>
              </p:cNvSpPr>
              <p:nvPr/>
            </p:nvSpPr>
            <p:spPr bwMode="auto">
              <a:xfrm>
                <a:off x="4337050" y="3124268"/>
                <a:ext cx="3175" cy="6350"/>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3" name="Freeform 104"/>
              <p:cNvSpPr>
                <a:spLocks/>
              </p:cNvSpPr>
              <p:nvPr/>
            </p:nvSpPr>
            <p:spPr bwMode="auto">
              <a:xfrm>
                <a:off x="4756150" y="3159193"/>
                <a:ext cx="152400" cy="88900"/>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4" name="Freeform 105"/>
              <p:cNvSpPr>
                <a:spLocks/>
              </p:cNvSpPr>
              <p:nvPr/>
            </p:nvSpPr>
            <p:spPr bwMode="auto">
              <a:xfrm>
                <a:off x="3844925" y="2521018"/>
                <a:ext cx="247650" cy="117475"/>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5" name="Freeform 106"/>
              <p:cNvSpPr>
                <a:spLocks noEditPoints="1"/>
              </p:cNvSpPr>
              <p:nvPr/>
            </p:nvSpPr>
            <p:spPr bwMode="auto">
              <a:xfrm>
                <a:off x="4156075" y="2927418"/>
                <a:ext cx="101600" cy="136525"/>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6" name="Freeform 107"/>
              <p:cNvSpPr>
                <a:spLocks/>
              </p:cNvSpPr>
              <p:nvPr/>
            </p:nvSpPr>
            <p:spPr bwMode="auto">
              <a:xfrm>
                <a:off x="4286250" y="2965518"/>
                <a:ext cx="12700" cy="9525"/>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7" name="Freeform 108"/>
              <p:cNvSpPr>
                <a:spLocks noEditPoints="1"/>
              </p:cNvSpPr>
              <p:nvPr/>
            </p:nvSpPr>
            <p:spPr bwMode="auto">
              <a:xfrm>
                <a:off x="4540250" y="3206818"/>
                <a:ext cx="266700" cy="327025"/>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8" name="Freeform 109"/>
              <p:cNvSpPr>
                <a:spLocks/>
              </p:cNvSpPr>
              <p:nvPr/>
            </p:nvSpPr>
            <p:spPr bwMode="auto">
              <a:xfrm>
                <a:off x="4187825" y="2336868"/>
                <a:ext cx="28575" cy="1270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59" name="Freeform 110"/>
              <p:cNvSpPr>
                <a:spLocks/>
              </p:cNvSpPr>
              <p:nvPr/>
            </p:nvSpPr>
            <p:spPr bwMode="auto">
              <a:xfrm>
                <a:off x="4867275" y="2835343"/>
                <a:ext cx="158750" cy="82550"/>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0" name="Freeform 111"/>
              <p:cNvSpPr>
                <a:spLocks noEditPoints="1"/>
              </p:cNvSpPr>
              <p:nvPr/>
            </p:nvSpPr>
            <p:spPr bwMode="auto">
              <a:xfrm>
                <a:off x="4860925" y="2892493"/>
                <a:ext cx="136525" cy="88900"/>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1" name="Freeform 112"/>
              <p:cNvSpPr>
                <a:spLocks/>
              </p:cNvSpPr>
              <p:nvPr/>
            </p:nvSpPr>
            <p:spPr bwMode="auto">
              <a:xfrm>
                <a:off x="4524375" y="3108393"/>
                <a:ext cx="15875" cy="22225"/>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2" name="Freeform 113"/>
              <p:cNvSpPr>
                <a:spLocks/>
              </p:cNvSpPr>
              <p:nvPr/>
            </p:nvSpPr>
            <p:spPr bwMode="auto">
              <a:xfrm>
                <a:off x="4854575" y="3352868"/>
                <a:ext cx="53975" cy="47625"/>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3" name="Freeform 114"/>
              <p:cNvSpPr>
                <a:spLocks/>
              </p:cNvSpPr>
              <p:nvPr/>
            </p:nvSpPr>
            <p:spPr bwMode="auto">
              <a:xfrm>
                <a:off x="4991100" y="3159193"/>
                <a:ext cx="76200" cy="101600"/>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4" name="Freeform 115"/>
              <p:cNvSpPr>
                <a:spLocks noEditPoints="1"/>
              </p:cNvSpPr>
              <p:nvPr/>
            </p:nvSpPr>
            <p:spPr bwMode="auto">
              <a:xfrm>
                <a:off x="4470400" y="2994093"/>
                <a:ext cx="82550" cy="95250"/>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5" name="Freeform 116"/>
              <p:cNvSpPr>
                <a:spLocks noEditPoints="1"/>
              </p:cNvSpPr>
              <p:nvPr/>
            </p:nvSpPr>
            <p:spPr bwMode="auto">
              <a:xfrm>
                <a:off x="4498975" y="2336868"/>
                <a:ext cx="593725" cy="504825"/>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6" name="Freeform 117"/>
              <p:cNvSpPr>
                <a:spLocks/>
              </p:cNvSpPr>
              <p:nvPr/>
            </p:nvSpPr>
            <p:spPr bwMode="auto">
              <a:xfrm>
                <a:off x="4714875" y="2946468"/>
                <a:ext cx="225425" cy="19685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7" name="Freeform 118"/>
              <p:cNvSpPr>
                <a:spLocks/>
              </p:cNvSpPr>
              <p:nvPr/>
            </p:nvSpPr>
            <p:spPr bwMode="auto">
              <a:xfrm>
                <a:off x="4848225" y="3165543"/>
                <a:ext cx="212725" cy="149225"/>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8" name="Freeform 119"/>
              <p:cNvSpPr>
                <a:spLocks/>
              </p:cNvSpPr>
              <p:nvPr/>
            </p:nvSpPr>
            <p:spPr bwMode="auto">
              <a:xfrm>
                <a:off x="4806950" y="3235393"/>
                <a:ext cx="101600" cy="136525"/>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9" name="Freeform 120"/>
              <p:cNvSpPr>
                <a:spLocks/>
              </p:cNvSpPr>
              <p:nvPr/>
            </p:nvSpPr>
            <p:spPr bwMode="auto">
              <a:xfrm>
                <a:off x="4772025" y="3124268"/>
                <a:ext cx="130175" cy="60325"/>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0" name="Freeform 121"/>
              <p:cNvSpPr>
                <a:spLocks/>
              </p:cNvSpPr>
              <p:nvPr/>
            </p:nvSpPr>
            <p:spPr bwMode="auto">
              <a:xfrm>
                <a:off x="4695825" y="3213168"/>
                <a:ext cx="69850" cy="47625"/>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1" name="Freeform 122"/>
              <p:cNvSpPr>
                <a:spLocks noEditPoints="1"/>
              </p:cNvSpPr>
              <p:nvPr/>
            </p:nvSpPr>
            <p:spPr bwMode="auto">
              <a:xfrm>
                <a:off x="4629150" y="1917768"/>
                <a:ext cx="520700" cy="2825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2" name="Freeform 123"/>
              <p:cNvSpPr>
                <a:spLocks noEditPoints="1"/>
              </p:cNvSpPr>
              <p:nvPr/>
            </p:nvSpPr>
            <p:spPr bwMode="auto">
              <a:xfrm>
                <a:off x="4641850" y="2419418"/>
                <a:ext cx="298450" cy="508000"/>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3" name="Freeform 124"/>
              <p:cNvSpPr>
                <a:spLocks noEditPoints="1"/>
              </p:cNvSpPr>
              <p:nvPr/>
            </p:nvSpPr>
            <p:spPr bwMode="auto">
              <a:xfrm>
                <a:off x="4530725" y="3184593"/>
                <a:ext cx="98425" cy="63500"/>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4" name="Freeform 125"/>
              <p:cNvSpPr>
                <a:spLocks/>
              </p:cNvSpPr>
              <p:nvPr/>
            </p:nvSpPr>
            <p:spPr bwMode="auto">
              <a:xfrm>
                <a:off x="4889500" y="3029018"/>
                <a:ext cx="403225" cy="260350"/>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5" name="Freeform 126"/>
              <p:cNvSpPr>
                <a:spLocks noEditPoints="1"/>
              </p:cNvSpPr>
              <p:nvPr/>
            </p:nvSpPr>
            <p:spPr bwMode="auto">
              <a:xfrm>
                <a:off x="4210050" y="2733743"/>
                <a:ext cx="225425" cy="38100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6" name="Freeform 127"/>
              <p:cNvSpPr>
                <a:spLocks/>
              </p:cNvSpPr>
              <p:nvPr/>
            </p:nvSpPr>
            <p:spPr bwMode="auto">
              <a:xfrm>
                <a:off x="4197350" y="3514793"/>
                <a:ext cx="463550" cy="527050"/>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7" name="Freeform 128"/>
              <p:cNvSpPr>
                <a:spLocks noEditPoints="1"/>
              </p:cNvSpPr>
              <p:nvPr/>
            </p:nvSpPr>
            <p:spPr bwMode="auto">
              <a:xfrm>
                <a:off x="4660900" y="4680018"/>
                <a:ext cx="273050" cy="374650"/>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8" name="Freeform 129"/>
              <p:cNvSpPr>
                <a:spLocks/>
              </p:cNvSpPr>
              <p:nvPr/>
            </p:nvSpPr>
            <p:spPr bwMode="auto">
              <a:xfrm>
                <a:off x="4413250" y="4219643"/>
                <a:ext cx="69850" cy="171450"/>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9" name="Freeform 130"/>
              <p:cNvSpPr>
                <a:spLocks/>
              </p:cNvSpPr>
              <p:nvPr/>
            </p:nvSpPr>
            <p:spPr bwMode="auto">
              <a:xfrm>
                <a:off x="4841875" y="5048318"/>
                <a:ext cx="206375" cy="254000"/>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0" name="Freeform 131"/>
              <p:cNvSpPr>
                <a:spLocks/>
              </p:cNvSpPr>
              <p:nvPr/>
            </p:nvSpPr>
            <p:spPr bwMode="auto">
              <a:xfrm>
                <a:off x="4270375" y="4146618"/>
                <a:ext cx="177800" cy="155575"/>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1" name="Freeform 132"/>
              <p:cNvSpPr>
                <a:spLocks/>
              </p:cNvSpPr>
              <p:nvPr/>
            </p:nvSpPr>
            <p:spPr bwMode="auto">
              <a:xfrm>
                <a:off x="5045075" y="4622868"/>
                <a:ext cx="41275" cy="57150"/>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2" name="Freeform 133"/>
              <p:cNvSpPr>
                <a:spLocks/>
              </p:cNvSpPr>
              <p:nvPr/>
            </p:nvSpPr>
            <p:spPr bwMode="auto">
              <a:xfrm>
                <a:off x="4581525" y="4200593"/>
                <a:ext cx="180975" cy="314325"/>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3" name="Freeform 134"/>
              <p:cNvSpPr>
                <a:spLocks noEditPoints="1"/>
              </p:cNvSpPr>
              <p:nvPr/>
            </p:nvSpPr>
            <p:spPr bwMode="auto">
              <a:xfrm>
                <a:off x="3825875" y="4089468"/>
                <a:ext cx="60325" cy="63500"/>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4" name="Freeform 135"/>
              <p:cNvSpPr>
                <a:spLocks/>
              </p:cNvSpPr>
              <p:nvPr/>
            </p:nvSpPr>
            <p:spPr bwMode="auto">
              <a:xfrm>
                <a:off x="4721225" y="4260918"/>
                <a:ext cx="288925" cy="238125"/>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5" name="Freeform 136"/>
              <p:cNvSpPr>
                <a:spLocks/>
              </p:cNvSpPr>
              <p:nvPr/>
            </p:nvSpPr>
            <p:spPr bwMode="auto">
              <a:xfrm>
                <a:off x="4695825" y="3918018"/>
                <a:ext cx="238125" cy="438150"/>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6" name="Freeform 137"/>
              <p:cNvSpPr>
                <a:spLocks noEditPoints="1"/>
              </p:cNvSpPr>
              <p:nvPr/>
            </p:nvSpPr>
            <p:spPr bwMode="auto">
              <a:xfrm>
                <a:off x="5365750" y="4870518"/>
                <a:ext cx="28575" cy="22225"/>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7" name="Freeform 138"/>
              <p:cNvSpPr>
                <a:spLocks/>
              </p:cNvSpPr>
              <p:nvPr/>
            </p:nvSpPr>
            <p:spPr bwMode="auto">
              <a:xfrm>
                <a:off x="4641850" y="4454593"/>
                <a:ext cx="171450" cy="238125"/>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8" name="Freeform 139"/>
              <p:cNvSpPr>
                <a:spLocks/>
              </p:cNvSpPr>
              <p:nvPr/>
            </p:nvSpPr>
            <p:spPr bwMode="auto">
              <a:xfrm>
                <a:off x="4664075" y="4413318"/>
                <a:ext cx="434975" cy="511175"/>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9" name="Freeform 140"/>
              <p:cNvSpPr>
                <a:spLocks noEditPoints="1"/>
              </p:cNvSpPr>
              <p:nvPr/>
            </p:nvSpPr>
            <p:spPr bwMode="auto">
              <a:xfrm>
                <a:off x="4197350" y="4267268"/>
                <a:ext cx="142875" cy="177800"/>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0" name="Freeform 141"/>
              <p:cNvSpPr>
                <a:spLocks/>
              </p:cNvSpPr>
              <p:nvPr/>
            </p:nvSpPr>
            <p:spPr bwMode="auto">
              <a:xfrm>
                <a:off x="5327650" y="4213293"/>
                <a:ext cx="44450" cy="47625"/>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1" name="Freeform 142"/>
              <p:cNvSpPr>
                <a:spLocks/>
              </p:cNvSpPr>
              <p:nvPr/>
            </p:nvSpPr>
            <p:spPr bwMode="auto">
              <a:xfrm>
                <a:off x="4949825" y="3679893"/>
                <a:ext cx="269875" cy="273050"/>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2" name="Freeform 143"/>
              <p:cNvSpPr>
                <a:spLocks noEditPoints="1"/>
              </p:cNvSpPr>
              <p:nvPr/>
            </p:nvSpPr>
            <p:spPr bwMode="auto">
              <a:xfrm>
                <a:off x="4581525" y="4454593"/>
                <a:ext cx="66675" cy="79375"/>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3" name="Freeform 144"/>
              <p:cNvSpPr>
                <a:spLocks noEditPoints="1"/>
              </p:cNvSpPr>
              <p:nvPr/>
            </p:nvSpPr>
            <p:spPr bwMode="auto">
              <a:xfrm>
                <a:off x="5210175" y="4064068"/>
                <a:ext cx="155575" cy="158750"/>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4" name="Freeform 145"/>
              <p:cNvSpPr>
                <a:spLocks/>
              </p:cNvSpPr>
              <p:nvPr/>
            </p:nvSpPr>
            <p:spPr bwMode="auto">
              <a:xfrm>
                <a:off x="5133975" y="4152968"/>
                <a:ext cx="336550" cy="314325"/>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5" name="Freeform 146"/>
              <p:cNvSpPr>
                <a:spLocks noEditPoints="1"/>
              </p:cNvSpPr>
              <p:nvPr/>
            </p:nvSpPr>
            <p:spPr bwMode="auto">
              <a:xfrm>
                <a:off x="4587875" y="4499043"/>
                <a:ext cx="133350" cy="165100"/>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6" name="Freeform 147"/>
              <p:cNvSpPr>
                <a:spLocks/>
              </p:cNvSpPr>
              <p:nvPr/>
            </p:nvSpPr>
            <p:spPr bwMode="auto">
              <a:xfrm>
                <a:off x="4324350" y="4254568"/>
                <a:ext cx="98425" cy="177800"/>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7" name="Freeform 148"/>
              <p:cNvSpPr>
                <a:spLocks/>
              </p:cNvSpPr>
              <p:nvPr/>
            </p:nvSpPr>
            <p:spPr bwMode="auto">
              <a:xfrm>
                <a:off x="4057650" y="4213293"/>
                <a:ext cx="165100" cy="155575"/>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8" name="Freeform 149"/>
              <p:cNvSpPr>
                <a:spLocks noEditPoints="1"/>
              </p:cNvSpPr>
              <p:nvPr/>
            </p:nvSpPr>
            <p:spPr bwMode="auto">
              <a:xfrm>
                <a:off x="4019550" y="4213293"/>
                <a:ext cx="66675" cy="47625"/>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99" name="Freeform 150"/>
              <p:cNvSpPr>
                <a:spLocks noEditPoints="1"/>
              </p:cNvSpPr>
              <p:nvPr/>
            </p:nvSpPr>
            <p:spPr bwMode="auto">
              <a:xfrm>
                <a:off x="5156200" y="4432368"/>
                <a:ext cx="177800" cy="254000"/>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0" name="Freeform 151"/>
              <p:cNvSpPr>
                <a:spLocks/>
              </p:cNvSpPr>
              <p:nvPr/>
            </p:nvSpPr>
            <p:spPr bwMode="auto">
              <a:xfrm>
                <a:off x="5003800" y="5349943"/>
                <a:ext cx="50800" cy="57150"/>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1" name="Freeform 152"/>
              <p:cNvSpPr>
                <a:spLocks/>
              </p:cNvSpPr>
              <p:nvPr/>
            </p:nvSpPr>
            <p:spPr bwMode="auto">
              <a:xfrm>
                <a:off x="4133850" y="4327593"/>
                <a:ext cx="95250" cy="117475"/>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2" name="Freeform 153"/>
              <p:cNvSpPr>
                <a:spLocks/>
              </p:cNvSpPr>
              <p:nvPr/>
            </p:nvSpPr>
            <p:spPr bwMode="auto">
              <a:xfrm>
                <a:off x="4600575" y="3632268"/>
                <a:ext cx="355600" cy="390525"/>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3" name="Freeform 154"/>
              <p:cNvSpPr>
                <a:spLocks noEditPoints="1"/>
              </p:cNvSpPr>
              <p:nvPr/>
            </p:nvSpPr>
            <p:spPr bwMode="auto">
              <a:xfrm>
                <a:off x="5365750" y="4883218"/>
                <a:ext cx="165100" cy="384175"/>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4" name="Freeform 155"/>
              <p:cNvSpPr>
                <a:spLocks noEditPoints="1"/>
              </p:cNvSpPr>
              <p:nvPr/>
            </p:nvSpPr>
            <p:spPr bwMode="auto">
              <a:xfrm>
                <a:off x="5127625" y="4816543"/>
                <a:ext cx="69850" cy="212725"/>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5" name="Freeform 156"/>
              <p:cNvSpPr>
                <a:spLocks/>
              </p:cNvSpPr>
              <p:nvPr/>
            </p:nvSpPr>
            <p:spPr bwMode="auto">
              <a:xfrm>
                <a:off x="4121150" y="3870393"/>
                <a:ext cx="368300" cy="412750"/>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6" name="Freeform 157"/>
              <p:cNvSpPr>
                <a:spLocks noEditPoints="1"/>
              </p:cNvSpPr>
              <p:nvPr/>
            </p:nvSpPr>
            <p:spPr bwMode="auto">
              <a:xfrm>
                <a:off x="4006850" y="3803718"/>
                <a:ext cx="279400" cy="355600"/>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7" name="Freeform 158"/>
              <p:cNvSpPr>
                <a:spLocks/>
              </p:cNvSpPr>
              <p:nvPr/>
            </p:nvSpPr>
            <p:spPr bwMode="auto">
              <a:xfrm>
                <a:off x="4098925" y="3549718"/>
                <a:ext cx="273050" cy="244475"/>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8" name="Freeform 159"/>
              <p:cNvSpPr>
                <a:spLocks noEditPoints="1"/>
              </p:cNvSpPr>
              <p:nvPr/>
            </p:nvSpPr>
            <p:spPr bwMode="auto">
              <a:xfrm>
                <a:off x="5073650" y="4845118"/>
                <a:ext cx="238125" cy="457200"/>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9" name="Freeform 160"/>
              <p:cNvSpPr>
                <a:spLocks/>
              </p:cNvSpPr>
              <p:nvPr/>
            </p:nvSpPr>
            <p:spPr bwMode="auto">
              <a:xfrm>
                <a:off x="4654550" y="5022918"/>
                <a:ext cx="307975" cy="339725"/>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0" name="Freeform 161"/>
              <p:cNvSpPr>
                <a:spLocks/>
              </p:cNvSpPr>
              <p:nvPr/>
            </p:nvSpPr>
            <p:spPr bwMode="auto">
              <a:xfrm>
                <a:off x="4400550" y="3911668"/>
                <a:ext cx="355600" cy="330200"/>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1" name="Freeform 162"/>
              <p:cNvSpPr>
                <a:spLocks noEditPoints="1"/>
              </p:cNvSpPr>
              <p:nvPr/>
            </p:nvSpPr>
            <p:spPr bwMode="auto">
              <a:xfrm>
                <a:off x="4454525" y="4184718"/>
                <a:ext cx="269875" cy="260350"/>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2" name="Freeform 163"/>
              <p:cNvSpPr>
                <a:spLocks/>
              </p:cNvSpPr>
              <p:nvPr/>
            </p:nvSpPr>
            <p:spPr bwMode="auto">
              <a:xfrm>
                <a:off x="5045075" y="4587943"/>
                <a:ext cx="41275" cy="47625"/>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3" name="Freeform 164"/>
              <p:cNvSpPr>
                <a:spLocks noEditPoints="1"/>
              </p:cNvSpPr>
              <p:nvPr/>
            </p:nvSpPr>
            <p:spPr bwMode="auto">
              <a:xfrm>
                <a:off x="4540250" y="4514918"/>
                <a:ext cx="19050" cy="41275"/>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4" name="Freeform 165"/>
              <p:cNvSpPr>
                <a:spLocks/>
              </p:cNvSpPr>
              <p:nvPr/>
            </p:nvSpPr>
            <p:spPr bwMode="auto">
              <a:xfrm>
                <a:off x="3997325" y="4102168"/>
                <a:ext cx="142875" cy="120650"/>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5" name="Freeform 166"/>
              <p:cNvSpPr>
                <a:spLocks noEditPoints="1"/>
              </p:cNvSpPr>
              <p:nvPr/>
            </p:nvSpPr>
            <p:spPr bwMode="auto">
              <a:xfrm>
                <a:off x="5429250" y="4680018"/>
                <a:ext cx="212725" cy="136525"/>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6" name="Freeform 167"/>
              <p:cNvSpPr>
                <a:spLocks noEditPoints="1"/>
              </p:cNvSpPr>
              <p:nvPr/>
            </p:nvSpPr>
            <p:spPr bwMode="auto">
              <a:xfrm>
                <a:off x="4098925" y="4289493"/>
                <a:ext cx="63500" cy="8572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7" name="Freeform 168"/>
              <p:cNvSpPr>
                <a:spLocks/>
              </p:cNvSpPr>
              <p:nvPr/>
            </p:nvSpPr>
            <p:spPr bwMode="auto">
              <a:xfrm>
                <a:off x="5318125" y="4229168"/>
                <a:ext cx="228600" cy="374650"/>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8" name="Freeform 169"/>
              <p:cNvSpPr>
                <a:spLocks/>
              </p:cNvSpPr>
              <p:nvPr/>
            </p:nvSpPr>
            <p:spPr bwMode="auto">
              <a:xfrm>
                <a:off x="5086350" y="5267393"/>
                <a:ext cx="28575" cy="47625"/>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9" name="Freeform 170"/>
              <p:cNvSpPr>
                <a:spLocks noEditPoints="1"/>
              </p:cNvSpPr>
              <p:nvPr/>
            </p:nvSpPr>
            <p:spPr bwMode="auto">
              <a:xfrm>
                <a:off x="5048250" y="4587943"/>
                <a:ext cx="250825" cy="288925"/>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0" name="Freeform 171"/>
              <p:cNvSpPr>
                <a:spLocks/>
              </p:cNvSpPr>
              <p:nvPr/>
            </p:nvSpPr>
            <p:spPr bwMode="auto">
              <a:xfrm>
                <a:off x="4013200" y="4184718"/>
                <a:ext cx="73025" cy="15875"/>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1" name="Freeform 172"/>
              <p:cNvSpPr>
                <a:spLocks/>
              </p:cNvSpPr>
              <p:nvPr/>
            </p:nvSpPr>
            <p:spPr bwMode="auto">
              <a:xfrm>
                <a:off x="4387850" y="4254568"/>
                <a:ext cx="47625" cy="142875"/>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2" name="Freeform 173"/>
              <p:cNvSpPr>
                <a:spLocks noEditPoints="1"/>
              </p:cNvSpPr>
              <p:nvPr/>
            </p:nvSpPr>
            <p:spPr bwMode="auto">
              <a:xfrm>
                <a:off x="4559300" y="3508443"/>
                <a:ext cx="95250" cy="215900"/>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3" name="Freeform 174"/>
              <p:cNvSpPr>
                <a:spLocks/>
              </p:cNvSpPr>
              <p:nvPr/>
            </p:nvSpPr>
            <p:spPr bwMode="auto">
              <a:xfrm>
                <a:off x="5054600" y="4445068"/>
                <a:ext cx="127000" cy="155575"/>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4" name="Freeform 175"/>
              <p:cNvSpPr>
                <a:spLocks/>
              </p:cNvSpPr>
              <p:nvPr/>
            </p:nvSpPr>
            <p:spPr bwMode="auto">
              <a:xfrm>
                <a:off x="4006850" y="3794193"/>
                <a:ext cx="190500" cy="19685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5" name="Freeform 176"/>
              <p:cNvSpPr>
                <a:spLocks/>
              </p:cNvSpPr>
              <p:nvPr/>
            </p:nvSpPr>
            <p:spPr bwMode="auto">
              <a:xfrm>
                <a:off x="4883150" y="4781618"/>
                <a:ext cx="266700" cy="273050"/>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6" name="Freeform 177"/>
              <p:cNvSpPr>
                <a:spLocks/>
              </p:cNvSpPr>
              <p:nvPr/>
            </p:nvSpPr>
            <p:spPr bwMode="auto">
              <a:xfrm>
                <a:off x="4962525" y="4984818"/>
                <a:ext cx="177800" cy="193675"/>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7" name="Freeform 178"/>
              <p:cNvSpPr>
                <a:spLocks noEditPoints="1"/>
              </p:cNvSpPr>
              <p:nvPr/>
            </p:nvSpPr>
            <p:spPr bwMode="auto">
              <a:xfrm>
                <a:off x="2743200" y="5156268"/>
                <a:ext cx="444500" cy="1022350"/>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8" name="Freeform 179"/>
              <p:cNvSpPr>
                <a:spLocks/>
              </p:cNvSpPr>
              <p:nvPr/>
            </p:nvSpPr>
            <p:spPr bwMode="auto">
              <a:xfrm>
                <a:off x="2832100" y="4822893"/>
                <a:ext cx="273050" cy="36830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9" name="Freeform 180"/>
              <p:cNvSpPr>
                <a:spLocks noEditPoints="1"/>
              </p:cNvSpPr>
              <p:nvPr/>
            </p:nvSpPr>
            <p:spPr bwMode="auto">
              <a:xfrm>
                <a:off x="2733675" y="4413318"/>
                <a:ext cx="879475" cy="1089025"/>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0" name="Freeform 181"/>
              <p:cNvSpPr>
                <a:spLocks noEditPoints="1"/>
              </p:cNvSpPr>
              <p:nvPr/>
            </p:nvSpPr>
            <p:spPr bwMode="auto">
              <a:xfrm>
                <a:off x="2619375" y="4219643"/>
                <a:ext cx="273050" cy="454025"/>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1" name="Freeform 182"/>
              <p:cNvSpPr>
                <a:spLocks noEditPoints="1"/>
              </p:cNvSpPr>
              <p:nvPr/>
            </p:nvSpPr>
            <p:spPr bwMode="auto">
              <a:xfrm>
                <a:off x="2336800" y="4521268"/>
                <a:ext cx="371475" cy="171450"/>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2" name="Freeform 183"/>
              <p:cNvSpPr>
                <a:spLocks/>
              </p:cNvSpPr>
              <p:nvPr/>
            </p:nvSpPr>
            <p:spPr bwMode="auto">
              <a:xfrm>
                <a:off x="3168650" y="4403793"/>
                <a:ext cx="66675" cy="9842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3" name="Freeform 184"/>
              <p:cNvSpPr>
                <a:spLocks/>
              </p:cNvSpPr>
              <p:nvPr/>
            </p:nvSpPr>
            <p:spPr bwMode="auto">
              <a:xfrm>
                <a:off x="3016250" y="4327593"/>
                <a:ext cx="111125" cy="200025"/>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4" name="Freeform 185"/>
              <p:cNvSpPr>
                <a:spLocks/>
              </p:cNvSpPr>
              <p:nvPr/>
            </p:nvSpPr>
            <p:spPr bwMode="auto">
              <a:xfrm>
                <a:off x="2984500" y="5089593"/>
                <a:ext cx="190500" cy="231775"/>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5" name="Freeform 186"/>
              <p:cNvSpPr>
                <a:spLocks/>
              </p:cNvSpPr>
              <p:nvPr/>
            </p:nvSpPr>
            <p:spPr bwMode="auto">
              <a:xfrm>
                <a:off x="2565400" y="4562543"/>
                <a:ext cx="285750" cy="498475"/>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6" name="Freeform 187"/>
              <p:cNvSpPr>
                <a:spLocks/>
              </p:cNvSpPr>
              <p:nvPr/>
            </p:nvSpPr>
            <p:spPr bwMode="auto">
              <a:xfrm>
                <a:off x="3092450" y="4397443"/>
                <a:ext cx="88900" cy="11112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7" name="Freeform 188"/>
              <p:cNvSpPr>
                <a:spLocks/>
              </p:cNvSpPr>
              <p:nvPr/>
            </p:nvSpPr>
            <p:spPr bwMode="auto">
              <a:xfrm>
                <a:off x="3079750" y="5397568"/>
                <a:ext cx="123825" cy="142875"/>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8" name="Freeform 189"/>
              <p:cNvSpPr>
                <a:spLocks noEditPoints="1"/>
              </p:cNvSpPr>
              <p:nvPr/>
            </p:nvSpPr>
            <p:spPr bwMode="auto">
              <a:xfrm>
                <a:off x="2749550" y="4222818"/>
                <a:ext cx="301625" cy="323850"/>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9" name="Freeform 190"/>
              <p:cNvSpPr>
                <a:spLocks noEditPoints="1"/>
              </p:cNvSpPr>
              <p:nvPr/>
            </p:nvSpPr>
            <p:spPr bwMode="auto">
              <a:xfrm>
                <a:off x="6924675" y="4832418"/>
                <a:ext cx="1035050" cy="1333500"/>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1" name="Freeform 192"/>
              <p:cNvSpPr>
                <a:spLocks noEditPoints="1"/>
              </p:cNvSpPr>
              <p:nvPr/>
            </p:nvSpPr>
            <p:spPr bwMode="auto">
              <a:xfrm>
                <a:off x="7559675" y="4600643"/>
                <a:ext cx="336550" cy="276225"/>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2" name="Freeform 193"/>
              <p:cNvSpPr>
                <a:spLocks noEditPoints="1"/>
              </p:cNvSpPr>
              <p:nvPr/>
            </p:nvSpPr>
            <p:spPr bwMode="auto">
              <a:xfrm>
                <a:off x="3689350" y="3359218"/>
                <a:ext cx="568325" cy="292100"/>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3" name="Freeform 194"/>
              <p:cNvSpPr>
                <a:spLocks noEditPoints="1"/>
              </p:cNvSpPr>
              <p:nvPr/>
            </p:nvSpPr>
            <p:spPr bwMode="auto">
              <a:xfrm>
                <a:off x="4765675" y="5165793"/>
                <a:ext cx="479425" cy="746125"/>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4" name="Freeform 195"/>
              <p:cNvSpPr>
                <a:spLocks noEditPoints="1"/>
              </p:cNvSpPr>
              <p:nvPr/>
            </p:nvSpPr>
            <p:spPr bwMode="auto">
              <a:xfrm>
                <a:off x="3984625" y="3314768"/>
                <a:ext cx="504825" cy="47942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5" name="Freeform 196"/>
              <p:cNvSpPr>
                <a:spLocks noEditPoints="1"/>
              </p:cNvSpPr>
              <p:nvPr/>
            </p:nvSpPr>
            <p:spPr bwMode="auto">
              <a:xfrm>
                <a:off x="393700" y="2330518"/>
                <a:ext cx="8032750" cy="1711325"/>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6" name="Freeform 197"/>
              <p:cNvSpPr>
                <a:spLocks/>
              </p:cNvSpPr>
              <p:nvPr/>
            </p:nvSpPr>
            <p:spPr bwMode="auto">
              <a:xfrm>
                <a:off x="2790825" y="2505143"/>
                <a:ext cx="53975" cy="41275"/>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7" name="Freeform 198"/>
              <p:cNvSpPr>
                <a:spLocks/>
              </p:cNvSpPr>
              <p:nvPr/>
            </p:nvSpPr>
            <p:spPr bwMode="auto">
              <a:xfrm>
                <a:off x="2466975" y="4229168"/>
                <a:ext cx="22225" cy="31750"/>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8" name="Freeform 199"/>
              <p:cNvSpPr>
                <a:spLocks/>
              </p:cNvSpPr>
              <p:nvPr/>
            </p:nvSpPr>
            <p:spPr bwMode="auto">
              <a:xfrm>
                <a:off x="2530475" y="3343343"/>
                <a:ext cx="12700" cy="9525"/>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49" name="Freeform 200"/>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0" name="Freeform 201"/>
              <p:cNvSpPr>
                <a:spLocks/>
              </p:cNvSpPr>
              <p:nvPr/>
            </p:nvSpPr>
            <p:spPr bwMode="auto">
              <a:xfrm>
                <a:off x="8270875" y="5524568"/>
                <a:ext cx="136525" cy="222250"/>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1" name="Freeform 202"/>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2" name="Freeform 203"/>
              <p:cNvSpPr>
                <a:spLocks/>
              </p:cNvSpPr>
              <p:nvPr/>
            </p:nvSpPr>
            <p:spPr bwMode="auto">
              <a:xfrm>
                <a:off x="8134350" y="5708718"/>
                <a:ext cx="177800" cy="193675"/>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3" name="Freeform 204"/>
              <p:cNvSpPr>
                <a:spLocks noEditPoints="1"/>
              </p:cNvSpPr>
              <p:nvPr/>
            </p:nvSpPr>
            <p:spPr bwMode="auto">
              <a:xfrm>
                <a:off x="7908925" y="4749868"/>
                <a:ext cx="215900" cy="117475"/>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4" name="Freeform 205"/>
              <p:cNvSpPr>
                <a:spLocks noEditPoints="1"/>
              </p:cNvSpPr>
              <p:nvPr/>
            </p:nvSpPr>
            <p:spPr bwMode="auto">
              <a:xfrm>
                <a:off x="8378825" y="4965768"/>
                <a:ext cx="60325" cy="69850"/>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5" name="Freeform 206"/>
              <p:cNvSpPr>
                <a:spLocks noEditPoints="1"/>
              </p:cNvSpPr>
              <p:nvPr/>
            </p:nvSpPr>
            <p:spPr bwMode="auto">
              <a:xfrm>
                <a:off x="8134350" y="4930843"/>
                <a:ext cx="66675" cy="117475"/>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6" name="Freeform 207"/>
              <p:cNvSpPr>
                <a:spLocks noEditPoints="1"/>
              </p:cNvSpPr>
              <p:nvPr/>
            </p:nvSpPr>
            <p:spPr bwMode="auto">
              <a:xfrm>
                <a:off x="8077200" y="5057843"/>
                <a:ext cx="95250" cy="53975"/>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7" name="Freeform 208"/>
              <p:cNvSpPr>
                <a:spLocks/>
              </p:cNvSpPr>
              <p:nvPr/>
            </p:nvSpPr>
            <p:spPr bwMode="auto">
              <a:xfrm>
                <a:off x="444500" y="3794193"/>
                <a:ext cx="3175" cy="3175"/>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8" name="Freeform 209"/>
              <p:cNvSpPr>
                <a:spLocks/>
              </p:cNvSpPr>
              <p:nvPr/>
            </p:nvSpPr>
            <p:spPr bwMode="auto">
              <a:xfrm>
                <a:off x="6797675" y="4841943"/>
                <a:ext cx="3175" cy="3175"/>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59" name="Freeform 210"/>
              <p:cNvSpPr>
                <a:spLocks/>
              </p:cNvSpPr>
              <p:nvPr/>
            </p:nvSpPr>
            <p:spPr bwMode="auto">
              <a:xfrm>
                <a:off x="7693025" y="4149793"/>
                <a:ext cx="6350" cy="1270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0" name="Freeform 211"/>
              <p:cNvSpPr>
                <a:spLocks/>
              </p:cNvSpPr>
              <p:nvPr/>
            </p:nvSpPr>
            <p:spPr bwMode="auto">
              <a:xfrm>
                <a:off x="7715250" y="4114868"/>
                <a:ext cx="3175" cy="6350"/>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1" name="Freeform 212"/>
              <p:cNvSpPr>
                <a:spLocks/>
              </p:cNvSpPr>
              <p:nvPr/>
            </p:nvSpPr>
            <p:spPr bwMode="auto">
              <a:xfrm>
                <a:off x="7448550" y="4343468"/>
                <a:ext cx="3175" cy="3175"/>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2" name="Freeform 214"/>
              <p:cNvSpPr>
                <a:spLocks/>
              </p:cNvSpPr>
              <p:nvPr/>
            </p:nvSpPr>
            <p:spPr bwMode="auto">
              <a:xfrm>
                <a:off x="7953375" y="4324418"/>
                <a:ext cx="3175" cy="3175"/>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3" name="Freeform 215"/>
              <p:cNvSpPr>
                <a:spLocks noEditPoints="1"/>
              </p:cNvSpPr>
              <p:nvPr/>
            </p:nvSpPr>
            <p:spPr bwMode="auto">
              <a:xfrm>
                <a:off x="3006725" y="6064318"/>
                <a:ext cx="76200" cy="38100"/>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4" name="Freeform 216"/>
              <p:cNvSpPr>
                <a:spLocks/>
              </p:cNvSpPr>
              <p:nvPr/>
            </p:nvSpPr>
            <p:spPr bwMode="auto">
              <a:xfrm>
                <a:off x="2955925" y="3641793"/>
                <a:ext cx="3175" cy="6350"/>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5" name="Freeform 217"/>
              <p:cNvSpPr>
                <a:spLocks/>
              </p:cNvSpPr>
              <p:nvPr/>
            </p:nvSpPr>
            <p:spPr bwMode="auto">
              <a:xfrm>
                <a:off x="4683125" y="4165668"/>
                <a:ext cx="53975" cy="53975"/>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6" name="Freeform 218"/>
              <p:cNvSpPr>
                <a:spLocks/>
              </p:cNvSpPr>
              <p:nvPr/>
            </p:nvSpPr>
            <p:spPr bwMode="auto">
              <a:xfrm>
                <a:off x="5105400" y="4553018"/>
                <a:ext cx="69850" cy="88900"/>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7" name="Freeform 219"/>
              <p:cNvSpPr>
                <a:spLocks/>
              </p:cNvSpPr>
              <p:nvPr/>
            </p:nvSpPr>
            <p:spPr bwMode="auto">
              <a:xfrm>
                <a:off x="5060950" y="2698818"/>
                <a:ext cx="73025" cy="69850"/>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8" name="Freeform 220"/>
              <p:cNvSpPr>
                <a:spLocks/>
              </p:cNvSpPr>
              <p:nvPr/>
            </p:nvSpPr>
            <p:spPr bwMode="auto">
              <a:xfrm>
                <a:off x="5441950" y="3206818"/>
                <a:ext cx="180975" cy="327025"/>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9" name="Freeform 221"/>
              <p:cNvSpPr>
                <a:spLocks/>
              </p:cNvSpPr>
              <p:nvPr/>
            </p:nvSpPr>
            <p:spPr bwMode="auto">
              <a:xfrm>
                <a:off x="5702300" y="3213168"/>
                <a:ext cx="82550" cy="114300"/>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0" name="Freeform 222"/>
              <p:cNvSpPr>
                <a:spLocks noEditPoints="1"/>
              </p:cNvSpPr>
              <p:nvPr/>
            </p:nvSpPr>
            <p:spPr bwMode="auto">
              <a:xfrm>
                <a:off x="2324100" y="3143318"/>
                <a:ext cx="177800" cy="82550"/>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1" name="Freeform 223"/>
              <p:cNvSpPr>
                <a:spLocks noEditPoints="1"/>
              </p:cNvSpPr>
              <p:nvPr/>
            </p:nvSpPr>
            <p:spPr bwMode="auto">
              <a:xfrm>
                <a:off x="2416175" y="3235393"/>
                <a:ext cx="73025" cy="142875"/>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2" name="Freeform 224"/>
              <p:cNvSpPr>
                <a:spLocks/>
              </p:cNvSpPr>
              <p:nvPr/>
            </p:nvSpPr>
            <p:spPr bwMode="auto">
              <a:xfrm>
                <a:off x="2600325" y="3289368"/>
                <a:ext cx="88900" cy="44450"/>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3" name="Freeform 225"/>
              <p:cNvSpPr>
                <a:spLocks noEditPoints="1"/>
              </p:cNvSpPr>
              <p:nvPr/>
            </p:nvSpPr>
            <p:spPr bwMode="auto">
              <a:xfrm>
                <a:off x="2489200" y="3225868"/>
                <a:ext cx="117475" cy="114300"/>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4" name="Freeform 226"/>
              <p:cNvSpPr>
                <a:spLocks/>
              </p:cNvSpPr>
              <p:nvPr/>
            </p:nvSpPr>
            <p:spPr bwMode="auto">
              <a:xfrm>
                <a:off x="2517775" y="3340168"/>
                <a:ext cx="107950" cy="44450"/>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5" name="Freeform 227"/>
              <p:cNvSpPr>
                <a:spLocks noEditPoints="1"/>
              </p:cNvSpPr>
              <p:nvPr/>
            </p:nvSpPr>
            <p:spPr bwMode="auto">
              <a:xfrm>
                <a:off x="5927725" y="3530668"/>
                <a:ext cx="657225" cy="8477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5" name="Freeform 367"/>
            <p:cNvSpPr>
              <a:spLocks/>
            </p:cNvSpPr>
            <p:nvPr>
              <p:custDataLst>
                <p:tags r:id="rId1"/>
              </p:custDataLst>
            </p:nvPr>
          </p:nvSpPr>
          <p:spPr bwMode="gray">
            <a:xfrm>
              <a:off x="2459632" y="5461121"/>
              <a:ext cx="8899" cy="5340"/>
            </a:xfrm>
            <a:custGeom>
              <a:avLst/>
              <a:gdLst/>
              <a:ahLst/>
              <a:cxnLst>
                <a:cxn ang="0">
                  <a:pos x="3" y="2"/>
                </a:cxn>
                <a:cxn ang="0">
                  <a:pos x="0" y="0"/>
                </a:cxn>
                <a:cxn ang="0">
                  <a:pos x="3" y="0"/>
                </a:cxn>
                <a:cxn ang="0">
                  <a:pos x="3" y="2"/>
                </a:cxn>
              </a:cxnLst>
              <a:rect l="0" t="0" r="r" b="b"/>
              <a:pathLst>
                <a:path w="3" h="2">
                  <a:moveTo>
                    <a:pt x="3" y="2"/>
                  </a:moveTo>
                  <a:lnTo>
                    <a:pt x="0" y="0"/>
                  </a:lnTo>
                  <a:lnTo>
                    <a:pt x="3" y="0"/>
                  </a:lnTo>
                  <a:lnTo>
                    <a:pt x="3" y="2"/>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reeform 368"/>
            <p:cNvSpPr>
              <a:spLocks noEditPoints="1"/>
            </p:cNvSpPr>
            <p:nvPr>
              <p:custDataLst>
                <p:tags r:id="rId2"/>
              </p:custDataLst>
            </p:nvPr>
          </p:nvSpPr>
          <p:spPr bwMode="gray">
            <a:xfrm>
              <a:off x="2530819" y="5249339"/>
              <a:ext cx="37374" cy="16018"/>
            </a:xfrm>
            <a:custGeom>
              <a:avLst/>
              <a:gdLst/>
              <a:ahLst/>
              <a:cxnLst>
                <a:cxn ang="0">
                  <a:pos x="2" y="0"/>
                </a:cxn>
                <a:cxn ang="0">
                  <a:pos x="5" y="0"/>
                </a:cxn>
                <a:cxn ang="0">
                  <a:pos x="5" y="3"/>
                </a:cxn>
                <a:cxn ang="0">
                  <a:pos x="2" y="3"/>
                </a:cxn>
                <a:cxn ang="0">
                  <a:pos x="0" y="1"/>
                </a:cxn>
                <a:cxn ang="0">
                  <a:pos x="2" y="0"/>
                </a:cxn>
                <a:cxn ang="0">
                  <a:pos x="13" y="6"/>
                </a:cxn>
                <a:cxn ang="0">
                  <a:pos x="6" y="4"/>
                </a:cxn>
                <a:cxn ang="0">
                  <a:pos x="9" y="3"/>
                </a:cxn>
                <a:cxn ang="0">
                  <a:pos x="13" y="6"/>
                </a:cxn>
              </a:cxnLst>
              <a:rect l="0" t="0" r="r" b="b"/>
              <a:pathLst>
                <a:path w="13" h="6">
                  <a:moveTo>
                    <a:pt x="2" y="0"/>
                  </a:moveTo>
                  <a:lnTo>
                    <a:pt x="5" y="0"/>
                  </a:lnTo>
                  <a:lnTo>
                    <a:pt x="5" y="3"/>
                  </a:lnTo>
                  <a:lnTo>
                    <a:pt x="2" y="3"/>
                  </a:lnTo>
                  <a:lnTo>
                    <a:pt x="0" y="1"/>
                  </a:lnTo>
                  <a:lnTo>
                    <a:pt x="2" y="0"/>
                  </a:lnTo>
                  <a:close/>
                  <a:moveTo>
                    <a:pt x="13" y="6"/>
                  </a:moveTo>
                  <a:lnTo>
                    <a:pt x="6" y="4"/>
                  </a:lnTo>
                  <a:lnTo>
                    <a:pt x="9" y="3"/>
                  </a:lnTo>
                  <a:lnTo>
                    <a:pt x="13" y="6"/>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reeform 369"/>
            <p:cNvSpPr>
              <a:spLocks/>
            </p:cNvSpPr>
            <p:nvPr>
              <p:custDataLst>
                <p:tags r:id="rId3"/>
              </p:custDataLst>
            </p:nvPr>
          </p:nvSpPr>
          <p:spPr bwMode="gray">
            <a:xfrm>
              <a:off x="2582429" y="5268916"/>
              <a:ext cx="5340" cy="5340"/>
            </a:xfrm>
            <a:custGeom>
              <a:avLst/>
              <a:gdLst/>
              <a:ahLst/>
              <a:cxnLst>
                <a:cxn ang="0">
                  <a:pos x="2" y="0"/>
                </a:cxn>
                <a:cxn ang="0">
                  <a:pos x="1" y="2"/>
                </a:cxn>
                <a:cxn ang="0">
                  <a:pos x="0" y="1"/>
                </a:cxn>
                <a:cxn ang="0">
                  <a:pos x="2" y="0"/>
                </a:cxn>
              </a:cxnLst>
              <a:rect l="0" t="0" r="r" b="b"/>
              <a:pathLst>
                <a:path w="2" h="2">
                  <a:moveTo>
                    <a:pt x="2" y="0"/>
                  </a:moveTo>
                  <a:lnTo>
                    <a:pt x="1" y="2"/>
                  </a:lnTo>
                  <a:lnTo>
                    <a:pt x="0" y="1"/>
                  </a:lnTo>
                  <a:lnTo>
                    <a:pt x="2"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Freeform 370"/>
            <p:cNvSpPr>
              <a:spLocks/>
            </p:cNvSpPr>
            <p:nvPr>
              <p:custDataLst>
                <p:tags r:id="rId4"/>
              </p:custDataLst>
            </p:nvPr>
          </p:nvSpPr>
          <p:spPr bwMode="gray">
            <a:xfrm>
              <a:off x="2607345" y="5402390"/>
              <a:ext cx="3559" cy="5340"/>
            </a:xfrm>
            <a:custGeom>
              <a:avLst/>
              <a:gdLst/>
              <a:ahLst/>
              <a:cxnLst>
                <a:cxn ang="0">
                  <a:pos x="0" y="0"/>
                </a:cxn>
                <a:cxn ang="0">
                  <a:pos x="1" y="1"/>
                </a:cxn>
                <a:cxn ang="0">
                  <a:pos x="0" y="2"/>
                </a:cxn>
                <a:cxn ang="0">
                  <a:pos x="0" y="1"/>
                </a:cxn>
                <a:cxn ang="0">
                  <a:pos x="0" y="0"/>
                </a:cxn>
              </a:cxnLst>
              <a:rect l="0" t="0" r="r" b="b"/>
              <a:pathLst>
                <a:path w="1" h="2">
                  <a:moveTo>
                    <a:pt x="0" y="0"/>
                  </a:moveTo>
                  <a:lnTo>
                    <a:pt x="1" y="1"/>
                  </a:lnTo>
                  <a:lnTo>
                    <a:pt x="0" y="2"/>
                  </a:lnTo>
                  <a:lnTo>
                    <a:pt x="0" y="1"/>
                  </a:lnTo>
                  <a:lnTo>
                    <a:pt x="0" y="0"/>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tangle 371"/>
            <p:cNvSpPr>
              <a:spLocks noChangeArrowheads="1"/>
            </p:cNvSpPr>
            <p:nvPr>
              <p:custDataLst>
                <p:tags r:id="rId5"/>
              </p:custDataLst>
            </p:nvPr>
          </p:nvSpPr>
          <p:spPr bwMode="gray">
            <a:xfrm>
              <a:off x="2386665" y="5268916"/>
              <a:ext cx="3559" cy="3559"/>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Rectangle 372"/>
            <p:cNvSpPr>
              <a:spLocks noChangeArrowheads="1"/>
            </p:cNvSpPr>
            <p:nvPr>
              <p:custDataLst>
                <p:tags r:id="rId6"/>
              </p:custDataLst>
            </p:nvPr>
          </p:nvSpPr>
          <p:spPr bwMode="gray">
            <a:xfrm>
              <a:off x="2938363" y="5470019"/>
              <a:ext cx="3559" cy="1781"/>
            </a:xfrm>
            <a:prstGeom prst="rect">
              <a:avLst/>
            </a:prstGeom>
            <a:solidFill>
              <a:schemeClr val="accent5"/>
            </a:solidFill>
            <a:ln w="4826">
              <a:solidFill>
                <a:schemeClr val="bg1"/>
              </a:solidFill>
              <a:miter lim="800000"/>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reeform 373"/>
            <p:cNvSpPr>
              <a:spLocks/>
            </p:cNvSpPr>
            <p:nvPr>
              <p:custDataLst>
                <p:tags r:id="rId7"/>
              </p:custDataLst>
            </p:nvPr>
          </p:nvSpPr>
          <p:spPr bwMode="gray">
            <a:xfrm>
              <a:off x="3178621" y="5345441"/>
              <a:ext cx="14238" cy="8899"/>
            </a:xfrm>
            <a:custGeom>
              <a:avLst/>
              <a:gdLst/>
              <a:ahLst/>
              <a:cxnLst>
                <a:cxn ang="0">
                  <a:pos x="5" y="3"/>
                </a:cxn>
                <a:cxn ang="0">
                  <a:pos x="1" y="1"/>
                </a:cxn>
                <a:cxn ang="0">
                  <a:pos x="0" y="0"/>
                </a:cxn>
                <a:cxn ang="0">
                  <a:pos x="3" y="0"/>
                </a:cxn>
                <a:cxn ang="0">
                  <a:pos x="5" y="3"/>
                </a:cxn>
              </a:cxnLst>
              <a:rect l="0" t="0" r="r" b="b"/>
              <a:pathLst>
                <a:path w="5" h="3">
                  <a:moveTo>
                    <a:pt x="5" y="3"/>
                  </a:moveTo>
                  <a:lnTo>
                    <a:pt x="1" y="1"/>
                  </a:lnTo>
                  <a:lnTo>
                    <a:pt x="0" y="0"/>
                  </a:lnTo>
                  <a:lnTo>
                    <a:pt x="3" y="0"/>
                  </a:lnTo>
                  <a:lnTo>
                    <a:pt x="5" y="3"/>
                  </a:lnTo>
                  <a:close/>
                </a:path>
              </a:pathLst>
            </a:custGeom>
            <a:solidFill>
              <a:schemeClr val="accent5"/>
            </a:solidFill>
            <a:ln w="4826">
              <a:solidFill>
                <a:schemeClr val="bg1"/>
              </a:solidFill>
              <a:prstDash val="solid"/>
              <a:round/>
              <a:headEnd/>
              <a:tailEnd/>
            </a:ln>
          </p:spPr>
          <p:txBody>
            <a:bodyPr lIns="44450" tIns="44450" rIns="44450" bIns="4445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45" name="Straight Connector 444"/>
            <p:cNvCxnSpPr/>
            <p:nvPr/>
          </p:nvCxnSpPr>
          <p:spPr>
            <a:xfrm flipH="1">
              <a:off x="10002508" y="1553734"/>
              <a:ext cx="3333" cy="2878986"/>
            </a:xfrm>
            <a:prstGeom prst="line">
              <a:avLst/>
            </a:prstGeom>
            <a:ln w="19050" cap="rnd">
              <a:solidFill>
                <a:schemeClr val="accent5"/>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3" name="Straight Connector 452"/>
            <p:cNvCxnSpPr/>
            <p:nvPr/>
          </p:nvCxnSpPr>
          <p:spPr>
            <a:xfrm flipV="1">
              <a:off x="7665075" y="5298873"/>
              <a:ext cx="10718" cy="1679409"/>
            </a:xfrm>
            <a:prstGeom prst="line">
              <a:avLst/>
            </a:prstGeom>
            <a:ln w="19050">
              <a:solidFill>
                <a:srgbClr val="8B3842"/>
              </a:solidFill>
              <a:tailEnd type="oval" w="lg" len="lg"/>
            </a:ln>
          </p:spPr>
          <p:style>
            <a:lnRef idx="1">
              <a:schemeClr val="accent1"/>
            </a:lnRef>
            <a:fillRef idx="0">
              <a:schemeClr val="accent1"/>
            </a:fillRef>
            <a:effectRef idx="0">
              <a:schemeClr val="accent1"/>
            </a:effectRef>
            <a:fontRef idx="minor">
              <a:schemeClr val="tx1"/>
            </a:fontRef>
          </p:style>
        </p:cxnSp>
        <p:sp>
          <p:nvSpPr>
            <p:cNvPr id="454" name="TextBox 453"/>
            <p:cNvSpPr txBox="1"/>
            <p:nvPr/>
          </p:nvSpPr>
          <p:spPr>
            <a:xfrm>
              <a:off x="7167514" y="7097720"/>
              <a:ext cx="1042333" cy="4845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Af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27%</a:t>
              </a:r>
            </a:p>
          </p:txBody>
        </p:sp>
        <p:sp>
          <p:nvSpPr>
            <p:cNvPr id="455" name="TextBox 454"/>
            <p:cNvSpPr txBox="1"/>
            <p:nvPr/>
          </p:nvSpPr>
          <p:spPr>
            <a:xfrm>
              <a:off x="9503692" y="874057"/>
              <a:ext cx="1042333" cy="571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Asi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400" dirty="0">
                  <a:solidFill>
                    <a:srgbClr val="C79B3A"/>
                  </a:solidFill>
                  <a:latin typeface="Arial" panose="020B0604020202020204" pitchFamily="34" charset="0"/>
                  <a:cs typeface="Arial" panose="020B0604020202020204" pitchFamily="34" charset="0"/>
                </a:rPr>
                <a:t>46</a:t>
              </a:r>
              <a:r>
                <a:rPr kumimoji="0" lang="en-GB" sz="1400" b="0"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a:t>
              </a:r>
            </a:p>
          </p:txBody>
        </p:sp>
        <p:cxnSp>
          <p:nvCxnSpPr>
            <p:cNvPr id="460" name="Straight Connector 459"/>
            <p:cNvCxnSpPr/>
            <p:nvPr/>
          </p:nvCxnSpPr>
          <p:spPr>
            <a:xfrm>
              <a:off x="4672400" y="6411344"/>
              <a:ext cx="1065929" cy="5216"/>
            </a:xfrm>
            <a:prstGeom prst="line">
              <a:avLst/>
            </a:prstGeom>
            <a:ln w="19050">
              <a:solidFill>
                <a:schemeClr val="accent3">
                  <a:lumMod val="60000"/>
                  <a:lumOff val="4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676" name="TextBox 675"/>
            <p:cNvSpPr txBox="1"/>
            <p:nvPr/>
          </p:nvSpPr>
          <p:spPr>
            <a:xfrm>
              <a:off x="3174827" y="6216739"/>
              <a:ext cx="1432468" cy="4845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Latin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F18167"/>
                  </a:solidFill>
                  <a:effectLst/>
                  <a:uLnTx/>
                  <a:uFillTx/>
                  <a:latin typeface="Arial" panose="020B0604020202020204" pitchFamily="34" charset="0"/>
                  <a:ea typeface="+mn-ea"/>
                  <a:cs typeface="Arial" panose="020B0604020202020204" pitchFamily="34" charset="0"/>
                </a:rPr>
                <a:t>6%</a:t>
              </a:r>
            </a:p>
          </p:txBody>
        </p:sp>
        <p:sp>
          <p:nvSpPr>
            <p:cNvPr id="677" name="Oval 676"/>
            <p:cNvSpPr/>
            <p:nvPr/>
          </p:nvSpPr>
          <p:spPr>
            <a:xfrm>
              <a:off x="7524004" y="5052608"/>
              <a:ext cx="290229" cy="334100"/>
            </a:xfrm>
            <a:prstGeom prst="ellipse">
              <a:avLst/>
            </a:prstGeom>
            <a:solidFill>
              <a:srgbClr val="7B1E29"/>
            </a:solidFill>
            <a:ln>
              <a:solidFill>
                <a:srgbClr val="B9BF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Oval 22"/>
            <p:cNvSpPr/>
            <p:nvPr/>
          </p:nvSpPr>
          <p:spPr>
            <a:xfrm>
              <a:off x="9866747" y="4316319"/>
              <a:ext cx="263197" cy="34227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4" name="Freeform 3"/>
          <p:cNvSpPr/>
          <p:nvPr/>
        </p:nvSpPr>
        <p:spPr>
          <a:xfrm>
            <a:off x="5923880" y="2917679"/>
            <a:ext cx="555026" cy="753233"/>
          </a:xfrm>
          <a:custGeom>
            <a:avLst/>
            <a:gdLst>
              <a:gd name="connsiteX0" fmla="*/ 2207172 w 2207172"/>
              <a:gd name="connsiteY0" fmla="*/ 974756 h 974756"/>
              <a:gd name="connsiteX1" fmla="*/ 1813034 w 2207172"/>
              <a:gd name="connsiteY1" fmla="*/ 233777 h 974756"/>
              <a:gd name="connsiteX2" fmla="*/ 709448 w 2207172"/>
              <a:gd name="connsiteY2" fmla="*/ 13060 h 974756"/>
              <a:gd name="connsiteX3" fmla="*/ 0 w 2207172"/>
              <a:gd name="connsiteY3" fmla="*/ 44591 h 974756"/>
            </a:gdLst>
            <a:ahLst/>
            <a:cxnLst>
              <a:cxn ang="0">
                <a:pos x="connsiteX0" y="connsiteY0"/>
              </a:cxn>
              <a:cxn ang="0">
                <a:pos x="connsiteX1" y="connsiteY1"/>
              </a:cxn>
              <a:cxn ang="0">
                <a:pos x="connsiteX2" y="connsiteY2"/>
              </a:cxn>
              <a:cxn ang="0">
                <a:pos x="connsiteX3" y="connsiteY3"/>
              </a:cxn>
            </a:cxnLst>
            <a:rect l="l" t="t" r="r" b="b"/>
            <a:pathLst>
              <a:path w="2207172" h="974756">
                <a:moveTo>
                  <a:pt x="2207172" y="974756"/>
                </a:moveTo>
                <a:cubicBezTo>
                  <a:pt x="2134913" y="684408"/>
                  <a:pt x="2062655" y="394060"/>
                  <a:pt x="1813034" y="233777"/>
                </a:cubicBezTo>
                <a:cubicBezTo>
                  <a:pt x="1563413" y="73494"/>
                  <a:pt x="1011620" y="44591"/>
                  <a:pt x="709448" y="13060"/>
                </a:cubicBezTo>
                <a:cubicBezTo>
                  <a:pt x="407276" y="-18471"/>
                  <a:pt x="203638" y="13060"/>
                  <a:pt x="0" y="44591"/>
                </a:cubicBez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Freeform 11"/>
          <p:cNvSpPr/>
          <p:nvPr/>
        </p:nvSpPr>
        <p:spPr>
          <a:xfrm>
            <a:off x="4832835" y="3434098"/>
            <a:ext cx="1673466" cy="545497"/>
          </a:xfrm>
          <a:custGeom>
            <a:avLst/>
            <a:gdLst>
              <a:gd name="connsiteX0" fmla="*/ 2601311 w 2601311"/>
              <a:gd name="connsiteY0" fmla="*/ 307755 h 654596"/>
              <a:gd name="connsiteX1" fmla="*/ 1765738 w 2601311"/>
              <a:gd name="connsiteY1" fmla="*/ 23976 h 654596"/>
              <a:gd name="connsiteX2" fmla="*/ 993228 w 2601311"/>
              <a:gd name="connsiteY2" fmla="*/ 87038 h 654596"/>
              <a:gd name="connsiteX3" fmla="*/ 0 w 2601311"/>
              <a:gd name="connsiteY3" fmla="*/ 654596 h 654596"/>
            </a:gdLst>
            <a:ahLst/>
            <a:cxnLst>
              <a:cxn ang="0">
                <a:pos x="connsiteX0" y="connsiteY0"/>
              </a:cxn>
              <a:cxn ang="0">
                <a:pos x="connsiteX1" y="connsiteY1"/>
              </a:cxn>
              <a:cxn ang="0">
                <a:pos x="connsiteX2" y="connsiteY2"/>
              </a:cxn>
              <a:cxn ang="0">
                <a:pos x="connsiteX3" y="connsiteY3"/>
              </a:cxn>
            </a:cxnLst>
            <a:rect l="l" t="t" r="r" b="b"/>
            <a:pathLst>
              <a:path w="2601311" h="654596">
                <a:moveTo>
                  <a:pt x="2601311" y="307755"/>
                </a:moveTo>
                <a:cubicBezTo>
                  <a:pt x="2317531" y="184258"/>
                  <a:pt x="2033752" y="60762"/>
                  <a:pt x="1765738" y="23976"/>
                </a:cubicBezTo>
                <a:cubicBezTo>
                  <a:pt x="1497724" y="-12810"/>
                  <a:pt x="1287518" y="-18065"/>
                  <a:pt x="993228" y="87038"/>
                </a:cubicBezTo>
                <a:cubicBezTo>
                  <a:pt x="698938" y="192141"/>
                  <a:pt x="144517" y="528472"/>
                  <a:pt x="0" y="654596"/>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13"/>
          <p:cNvSpPr/>
          <p:nvPr/>
        </p:nvSpPr>
        <p:spPr>
          <a:xfrm>
            <a:off x="3085269" y="3225740"/>
            <a:ext cx="3434382" cy="1613242"/>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Lst>
            <a:ahLst/>
            <a:cxnLst>
              <a:cxn ang="0">
                <a:pos x="connsiteX0" y="connsiteY0"/>
              </a:cxn>
              <a:cxn ang="0">
                <a:pos x="connsiteX1" y="connsiteY1"/>
              </a:cxn>
              <a:cxn ang="0">
                <a:pos x="connsiteX2" y="connsiteY2"/>
              </a:cxn>
              <a:cxn ang="0">
                <a:pos x="connsiteX3" y="connsiteY3"/>
              </a:cxn>
            </a:cxnLst>
            <a:rect l="l" t="t" r="r" b="b"/>
            <a:pathLst>
              <a:path w="4713889" h="2008212">
                <a:moveTo>
                  <a:pt x="4713889" y="557784"/>
                </a:moveTo>
                <a:cubicBezTo>
                  <a:pt x="4306613" y="255611"/>
                  <a:pt x="3899337" y="-46561"/>
                  <a:pt x="3279227" y="5991"/>
                </a:cubicBezTo>
                <a:cubicBezTo>
                  <a:pt x="2659117" y="58543"/>
                  <a:pt x="1539765" y="539391"/>
                  <a:pt x="993227" y="873094"/>
                </a:cubicBezTo>
                <a:cubicBezTo>
                  <a:pt x="446689" y="1206797"/>
                  <a:pt x="73572" y="1845302"/>
                  <a:pt x="0" y="2008212"/>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14"/>
          <p:cNvSpPr/>
          <p:nvPr/>
        </p:nvSpPr>
        <p:spPr>
          <a:xfrm rot="9151688" flipV="1">
            <a:off x="6401153" y="3369712"/>
            <a:ext cx="589469" cy="196215"/>
          </a:xfrm>
          <a:custGeom>
            <a:avLst/>
            <a:gdLst>
              <a:gd name="connsiteX0" fmla="*/ 0 w 740979"/>
              <a:gd name="connsiteY0" fmla="*/ 315435 h 346966"/>
              <a:gd name="connsiteX1" fmla="*/ 346841 w 740979"/>
              <a:gd name="connsiteY1" fmla="*/ 125 h 346966"/>
              <a:gd name="connsiteX2" fmla="*/ 740979 w 740979"/>
              <a:gd name="connsiteY2" fmla="*/ 346966 h 346966"/>
            </a:gdLst>
            <a:ahLst/>
            <a:cxnLst>
              <a:cxn ang="0">
                <a:pos x="connsiteX0" y="connsiteY0"/>
              </a:cxn>
              <a:cxn ang="0">
                <a:pos x="connsiteX1" y="connsiteY1"/>
              </a:cxn>
              <a:cxn ang="0">
                <a:pos x="connsiteX2" y="connsiteY2"/>
              </a:cxn>
            </a:cxnLst>
            <a:rect l="l" t="t" r="r" b="b"/>
            <a:pathLst>
              <a:path w="740979" h="346966">
                <a:moveTo>
                  <a:pt x="0" y="315435"/>
                </a:moveTo>
                <a:cubicBezTo>
                  <a:pt x="111672" y="155152"/>
                  <a:pt x="223345" y="-5130"/>
                  <a:pt x="346841" y="125"/>
                </a:cubicBezTo>
                <a:cubicBezTo>
                  <a:pt x="470338" y="5380"/>
                  <a:pt x="605658" y="176173"/>
                  <a:pt x="740979" y="346966"/>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9" name="Straight Connector 448"/>
          <p:cNvCxnSpPr>
            <a:cxnSpLocks/>
          </p:cNvCxnSpPr>
          <p:nvPr/>
        </p:nvCxnSpPr>
        <p:spPr>
          <a:xfrm>
            <a:off x="5960732" y="1822800"/>
            <a:ext cx="0" cy="914400"/>
          </a:xfrm>
          <a:prstGeom prst="line">
            <a:avLst/>
          </a:prstGeom>
          <a:ln w="19050" cap="rnd">
            <a:solidFill>
              <a:schemeClr val="accent5"/>
            </a:solidFill>
            <a:tailEnd type="oval" w="sm" len="sm"/>
          </a:ln>
        </p:spPr>
        <p:style>
          <a:lnRef idx="1">
            <a:schemeClr val="accent1"/>
          </a:lnRef>
          <a:fillRef idx="0">
            <a:schemeClr val="accent1"/>
          </a:fillRef>
          <a:effectRef idx="0">
            <a:schemeClr val="accent1"/>
          </a:effectRef>
          <a:fontRef idx="minor">
            <a:schemeClr val="tx1"/>
          </a:fontRef>
        </p:style>
      </p:cxnSp>
      <p:sp>
        <p:nvSpPr>
          <p:cNvPr id="452" name="TextBox 451"/>
          <p:cNvSpPr txBox="1"/>
          <p:nvPr/>
        </p:nvSpPr>
        <p:spPr>
          <a:xfrm>
            <a:off x="5407526" y="1332747"/>
            <a:ext cx="98931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A79886"/>
                </a:solidFill>
                <a:effectLst/>
                <a:uLnTx/>
                <a:uFillTx/>
                <a:latin typeface="Arial" panose="020B0604020202020204" pitchFamily="34" charset="0"/>
                <a:ea typeface="+mn-ea"/>
                <a:cs typeface="Arial" panose="020B0604020202020204" pitchFamily="34" charset="0"/>
              </a:rPr>
              <a:t>Middle East</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200" dirty="0">
                <a:solidFill>
                  <a:srgbClr val="A79886"/>
                </a:solidFill>
                <a:latin typeface="Arial" panose="020B0604020202020204" pitchFamily="34" charset="0"/>
                <a:cs typeface="Arial" panose="020B0604020202020204" pitchFamily="34" charset="0"/>
              </a:rPr>
              <a:t>20</a:t>
            </a:r>
            <a:r>
              <a:rPr kumimoji="0" lang="en-GB" sz="1200" b="0" i="0" u="none" strike="noStrike" kern="1200" cap="none" spc="0" normalizeH="0" baseline="0" noProof="0" dirty="0">
                <a:ln>
                  <a:noFill/>
                </a:ln>
                <a:solidFill>
                  <a:srgbClr val="A79886"/>
                </a:solidFill>
                <a:effectLst/>
                <a:uLnTx/>
                <a:uFillTx/>
                <a:latin typeface="Arial" panose="020B0604020202020204" pitchFamily="34" charset="0"/>
                <a:ea typeface="+mn-ea"/>
                <a:cs typeface="Arial" panose="020B0604020202020204" pitchFamily="34" charset="0"/>
              </a:rPr>
              <a:t>%</a:t>
            </a:r>
          </a:p>
        </p:txBody>
      </p:sp>
      <p:sp>
        <p:nvSpPr>
          <p:cNvPr id="457" name="TextBox 456"/>
          <p:cNvSpPr txBox="1"/>
          <p:nvPr/>
        </p:nvSpPr>
        <p:spPr>
          <a:xfrm>
            <a:off x="6990292" y="5491921"/>
            <a:ext cx="101676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Others </a:t>
            </a:r>
            <a:r>
              <a:rPr kumimoji="0" lang="en-GB" sz="12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1%</a:t>
            </a:r>
          </a:p>
        </p:txBody>
      </p:sp>
      <p:sp>
        <p:nvSpPr>
          <p:cNvPr id="442" name="Rounded Rectangle 441"/>
          <p:cNvSpPr/>
          <p:nvPr/>
        </p:nvSpPr>
        <p:spPr>
          <a:xfrm>
            <a:off x="9707249" y="1421632"/>
            <a:ext cx="2089946" cy="4723674"/>
          </a:xfrm>
          <a:prstGeom prst="roundRect">
            <a:avLst/>
          </a:prstGeom>
          <a:solidFill>
            <a:schemeClr val="accent6">
              <a:lumMod val="20000"/>
              <a:lumOff val="8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ighboring countries </a:t>
            </a:r>
            <a:r>
              <a:rPr lang="en-US" sz="1200" dirty="0">
                <a:solidFill>
                  <a:prstClr val="black"/>
                </a:solidFill>
                <a:latin typeface="Arial" panose="020B0604020202020204" pitchFamily="34" charset="0"/>
                <a:cs typeface="Arial" panose="020B0604020202020204" pitchFamily="34" charset="0"/>
              </a:rPr>
              <a:t>Nepal &amp; Bangladesh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inue to dominate Indian exports contributing </a:t>
            </a:r>
            <a:r>
              <a:rPr lang="en-US" sz="1200" dirty="0">
                <a:solidFill>
                  <a:prstClr val="black"/>
                </a:solidFill>
                <a:latin typeface="Arial" panose="020B0604020202020204" pitchFamily="34" charset="0"/>
                <a:cs typeface="Arial" panose="020B0604020202020204" pitchFamily="34" charset="0"/>
              </a:rPr>
              <a:t>35</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FY22 (Apr-Oct)</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Bangladesh has taken the lead during the year</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Arial" panose="020B0604020202020204" pitchFamily="34" charset="0"/>
                <a:cs typeface="Arial" panose="020B0604020202020204" pitchFamily="34" charset="0"/>
              </a:rPr>
              <a:t>Europe and Afric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re impacted due to the  Covid wave &amp; its impact on the demand remains a key monitorable</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0" dirty="0">
                <a:solidFill>
                  <a:prstClr val="black"/>
                </a:solidFill>
                <a:latin typeface="Arial" panose="020B0604020202020204" pitchFamily="34" charset="0"/>
                <a:cs typeface="Arial" panose="020B0604020202020204" pitchFamily="34" charset="0"/>
              </a:rPr>
              <a:t>Africa contributes to 8% of India’s exports</a:t>
            </a:r>
          </a:p>
          <a:p>
            <a:pPr marL="285694" marR="0" lvl="0" indent="-2856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Spread of </a:t>
            </a:r>
            <a:r>
              <a:rPr lang="en-US" sz="1200" dirty="0">
                <a:solidFill>
                  <a:prstClr val="black"/>
                </a:solidFill>
                <a:latin typeface="Arial" panose="020B0604020202020204" pitchFamily="34" charset="0"/>
                <a:cs typeface="Arial" panose="020B0604020202020204" pitchFamily="34" charset="0"/>
              </a:rPr>
              <a:t>Omicron</a:t>
            </a:r>
            <a:r>
              <a:rPr kumimoji="0" lang="en-US"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variant globally</a:t>
            </a:r>
            <a:r>
              <a:rPr kumimoji="0" lang="en-US" sz="12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 remains a concer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3" name="TextBox 442"/>
          <p:cNvSpPr txBox="1"/>
          <p:nvPr/>
        </p:nvSpPr>
        <p:spPr>
          <a:xfrm>
            <a:off x="3911833" y="894012"/>
            <a:ext cx="98931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95B3CC">
                    <a:lumMod val="75000"/>
                  </a:srgbClr>
                </a:solidFill>
                <a:effectLst/>
                <a:uLnTx/>
                <a:uFillTx/>
                <a:latin typeface="Arial" panose="020B0604020202020204" pitchFamily="34" charset="0"/>
                <a:ea typeface="+mn-ea"/>
                <a:cs typeface="Arial" panose="020B0604020202020204" pitchFamily="34" charset="0"/>
              </a:rPr>
              <a:t>Europe</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lang="en-GB" sz="1200" b="1" dirty="0">
                <a:solidFill>
                  <a:srgbClr val="95B3CC">
                    <a:lumMod val="75000"/>
                  </a:srgbClr>
                </a:solidFill>
                <a:latin typeface="Arial" panose="020B0604020202020204" pitchFamily="34" charset="0"/>
                <a:cs typeface="Arial" panose="020B0604020202020204" pitchFamily="34" charset="0"/>
              </a:rPr>
              <a:t>1</a:t>
            </a:r>
            <a:r>
              <a:rPr kumimoji="0" lang="en-GB" sz="1200" b="1" i="0" u="none" strike="noStrike" kern="1200" cap="none" spc="0" normalizeH="0" baseline="0" noProof="0" dirty="0">
                <a:ln>
                  <a:noFill/>
                </a:ln>
                <a:solidFill>
                  <a:srgbClr val="95B3CC">
                    <a:lumMod val="75000"/>
                  </a:srgbClr>
                </a:solidFill>
                <a:effectLst/>
                <a:uLnTx/>
                <a:uFillTx/>
                <a:latin typeface="Arial" panose="020B0604020202020204" pitchFamily="34" charset="0"/>
                <a:ea typeface="+mn-ea"/>
                <a:cs typeface="Arial" panose="020B0604020202020204" pitchFamily="34" charset="0"/>
              </a:rPr>
              <a:t>%</a:t>
            </a:r>
            <a:endParaRPr kumimoji="0" lang="en-GB" sz="1200" b="0" i="0" u="none" strike="noStrike" kern="1200" cap="none" spc="0" normalizeH="0" baseline="0" noProof="0" dirty="0">
              <a:ln>
                <a:noFill/>
              </a:ln>
              <a:solidFill>
                <a:srgbClr val="95B3CC">
                  <a:lumMod val="75000"/>
                </a:srgbClr>
              </a:solidFill>
              <a:effectLst/>
              <a:uLnTx/>
              <a:uFillTx/>
              <a:latin typeface="Arial" panose="020B0604020202020204" pitchFamily="34" charset="0"/>
              <a:ea typeface="+mn-ea"/>
              <a:cs typeface="Arial" panose="020B0604020202020204" pitchFamily="34" charset="0"/>
            </a:endParaRPr>
          </a:p>
        </p:txBody>
      </p:sp>
      <p:sp>
        <p:nvSpPr>
          <p:cNvPr id="444" name="Freeform 443"/>
          <p:cNvSpPr/>
          <p:nvPr/>
        </p:nvSpPr>
        <p:spPr>
          <a:xfrm>
            <a:off x="4911841" y="2678823"/>
            <a:ext cx="1552601" cy="959094"/>
          </a:xfrm>
          <a:custGeom>
            <a:avLst/>
            <a:gdLst>
              <a:gd name="connsiteX0" fmla="*/ 2207172 w 2207172"/>
              <a:gd name="connsiteY0" fmla="*/ 974756 h 974756"/>
              <a:gd name="connsiteX1" fmla="*/ 1813034 w 2207172"/>
              <a:gd name="connsiteY1" fmla="*/ 233777 h 974756"/>
              <a:gd name="connsiteX2" fmla="*/ 709448 w 2207172"/>
              <a:gd name="connsiteY2" fmla="*/ 13060 h 974756"/>
              <a:gd name="connsiteX3" fmla="*/ 0 w 2207172"/>
              <a:gd name="connsiteY3" fmla="*/ 44591 h 974756"/>
            </a:gdLst>
            <a:ahLst/>
            <a:cxnLst>
              <a:cxn ang="0">
                <a:pos x="connsiteX0" y="connsiteY0"/>
              </a:cxn>
              <a:cxn ang="0">
                <a:pos x="connsiteX1" y="connsiteY1"/>
              </a:cxn>
              <a:cxn ang="0">
                <a:pos x="connsiteX2" y="connsiteY2"/>
              </a:cxn>
              <a:cxn ang="0">
                <a:pos x="connsiteX3" y="connsiteY3"/>
              </a:cxn>
            </a:cxnLst>
            <a:rect l="l" t="t" r="r" b="b"/>
            <a:pathLst>
              <a:path w="2207172" h="974756">
                <a:moveTo>
                  <a:pt x="2207172" y="974756"/>
                </a:moveTo>
                <a:cubicBezTo>
                  <a:pt x="2134913" y="684408"/>
                  <a:pt x="2062655" y="394060"/>
                  <a:pt x="1813034" y="233777"/>
                </a:cubicBezTo>
                <a:cubicBezTo>
                  <a:pt x="1563413" y="73494"/>
                  <a:pt x="1011620" y="44591"/>
                  <a:pt x="709448" y="13060"/>
                </a:cubicBezTo>
                <a:cubicBezTo>
                  <a:pt x="407276" y="-18471"/>
                  <a:pt x="203638" y="13060"/>
                  <a:pt x="0" y="44591"/>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6" name="Oval 445"/>
          <p:cNvSpPr/>
          <p:nvPr/>
        </p:nvSpPr>
        <p:spPr>
          <a:xfrm>
            <a:off x="4791414" y="2547556"/>
            <a:ext cx="249810" cy="26090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47" name="Straight Connector 446"/>
          <p:cNvCxnSpPr>
            <a:cxnSpLocks/>
          </p:cNvCxnSpPr>
          <p:nvPr/>
        </p:nvCxnSpPr>
        <p:spPr>
          <a:xfrm>
            <a:off x="4880178" y="1412489"/>
            <a:ext cx="33947" cy="1188720"/>
          </a:xfrm>
          <a:prstGeom prst="line">
            <a:avLst/>
          </a:prstGeom>
          <a:ln w="19050" cap="rnd">
            <a:solidFill>
              <a:schemeClr val="accent6">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sp>
        <p:nvSpPr>
          <p:cNvPr id="441" name="Oval 440"/>
          <p:cNvSpPr/>
          <p:nvPr/>
        </p:nvSpPr>
        <p:spPr>
          <a:xfrm>
            <a:off x="5836343" y="2732154"/>
            <a:ext cx="249810" cy="26090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48" name="Group 447"/>
          <p:cNvGrpSpPr/>
          <p:nvPr/>
        </p:nvGrpSpPr>
        <p:grpSpPr>
          <a:xfrm>
            <a:off x="5161883" y="5513596"/>
            <a:ext cx="693039" cy="326275"/>
            <a:chOff x="5161883" y="5513596"/>
            <a:chExt cx="693039" cy="326275"/>
          </a:xfrm>
        </p:grpSpPr>
        <p:sp>
          <p:nvSpPr>
            <p:cNvPr id="451" name="TextBox 450"/>
            <p:cNvSpPr txBox="1"/>
            <p:nvPr/>
          </p:nvSpPr>
          <p:spPr>
            <a:xfrm>
              <a:off x="5161883" y="5549221"/>
              <a:ext cx="449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a:t>
              </a:r>
            </a:p>
          </p:txBody>
        </p:sp>
        <p:sp>
          <p:nvSpPr>
            <p:cNvPr id="458" name="Rounded Rectangle 457"/>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693" name="TextBox 692">
            <a:extLst>
              <a:ext uri="{FF2B5EF4-FFF2-40B4-BE49-F238E27FC236}">
                <a16:creationId xmlns:a16="http://schemas.microsoft.com/office/drawing/2014/main" id="{D061B491-9398-4CBF-A9F0-9BA8A5C4692C}"/>
              </a:ext>
            </a:extLst>
          </p:cNvPr>
          <p:cNvSpPr txBox="1"/>
          <p:nvPr/>
        </p:nvSpPr>
        <p:spPr>
          <a:xfrm>
            <a:off x="1144034" y="6409997"/>
            <a:ext cx="9341878" cy="600148"/>
          </a:xfrm>
          <a:prstGeom prst="rect">
            <a:avLst/>
          </a:prstGeom>
          <a:noFill/>
        </p:spPr>
        <p:txBody>
          <a:bodyPr wrap="square" lIns="91421" tIns="45712" rIns="91421" bIns="45712"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e: : Represents volume data for FY21 exports, % in dotted boxes indicates change in market share from FY21 (Apr-Oct) to FY22 (Apr-O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DGFT, CRISIL Research</a:t>
            </a:r>
          </a:p>
        </p:txBody>
      </p:sp>
      <p:cxnSp>
        <p:nvCxnSpPr>
          <p:cNvPr id="691" name="Straight Connector 690"/>
          <p:cNvCxnSpPr/>
          <p:nvPr/>
        </p:nvCxnSpPr>
        <p:spPr>
          <a:xfrm flipV="1">
            <a:off x="1698629" y="2975621"/>
            <a:ext cx="0" cy="457200"/>
          </a:xfrm>
          <a:prstGeom prst="line">
            <a:avLst/>
          </a:prstGeom>
          <a:ln w="19050">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sp>
        <p:nvSpPr>
          <p:cNvPr id="698" name="TextBox 697"/>
          <p:cNvSpPr txBox="1"/>
          <p:nvPr/>
        </p:nvSpPr>
        <p:spPr>
          <a:xfrm>
            <a:off x="1026029" y="3505011"/>
            <a:ext cx="1332267"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1"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North America</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GB" sz="1200" b="0" i="0" u="none" strike="noStrike" kern="1200" cap="none" spc="0" normalizeH="0" baseline="0" noProof="0" dirty="0">
                <a:ln>
                  <a:noFill/>
                </a:ln>
                <a:solidFill>
                  <a:srgbClr val="C79B3A"/>
                </a:solidFill>
                <a:effectLst/>
                <a:uLnTx/>
                <a:uFillTx/>
                <a:latin typeface="Arial" panose="020B0604020202020204" pitchFamily="34" charset="0"/>
                <a:ea typeface="+mn-ea"/>
                <a:cs typeface="Arial" panose="020B0604020202020204" pitchFamily="34" charset="0"/>
              </a:rPr>
              <a:t>0%</a:t>
            </a:r>
          </a:p>
        </p:txBody>
      </p:sp>
      <p:sp>
        <p:nvSpPr>
          <p:cNvPr id="704" name="Freeform 703"/>
          <p:cNvSpPr/>
          <p:nvPr/>
        </p:nvSpPr>
        <p:spPr>
          <a:xfrm rot="648559">
            <a:off x="1685385" y="3145656"/>
            <a:ext cx="4757223" cy="263362"/>
          </a:xfrm>
          <a:custGeom>
            <a:avLst/>
            <a:gdLst>
              <a:gd name="connsiteX0" fmla="*/ 4713889 w 4713889"/>
              <a:gd name="connsiteY0" fmla="*/ 557784 h 2008212"/>
              <a:gd name="connsiteX1" fmla="*/ 3279227 w 4713889"/>
              <a:gd name="connsiteY1" fmla="*/ 5991 h 2008212"/>
              <a:gd name="connsiteX2" fmla="*/ 993227 w 4713889"/>
              <a:gd name="connsiteY2" fmla="*/ 873094 h 2008212"/>
              <a:gd name="connsiteX3" fmla="*/ 0 w 4713889"/>
              <a:gd name="connsiteY3" fmla="*/ 2008212 h 2008212"/>
            </a:gdLst>
            <a:ahLst/>
            <a:cxnLst>
              <a:cxn ang="0">
                <a:pos x="connsiteX0" y="connsiteY0"/>
              </a:cxn>
              <a:cxn ang="0">
                <a:pos x="connsiteX1" y="connsiteY1"/>
              </a:cxn>
              <a:cxn ang="0">
                <a:pos x="connsiteX2" y="connsiteY2"/>
              </a:cxn>
              <a:cxn ang="0">
                <a:pos x="connsiteX3" y="connsiteY3"/>
              </a:cxn>
            </a:cxnLst>
            <a:rect l="l" t="t" r="r" b="b"/>
            <a:pathLst>
              <a:path w="4713889" h="2008212">
                <a:moveTo>
                  <a:pt x="4713889" y="557784"/>
                </a:moveTo>
                <a:cubicBezTo>
                  <a:pt x="4306613" y="255611"/>
                  <a:pt x="3899337" y="-46561"/>
                  <a:pt x="3279227" y="5991"/>
                </a:cubicBezTo>
                <a:cubicBezTo>
                  <a:pt x="2659117" y="58543"/>
                  <a:pt x="1539765" y="539391"/>
                  <a:pt x="993227" y="873094"/>
                </a:cubicBezTo>
                <a:cubicBezTo>
                  <a:pt x="446689" y="1206797"/>
                  <a:pt x="73572" y="1845302"/>
                  <a:pt x="0" y="2008212"/>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7" name="Isosceles Triangle 686"/>
          <p:cNvSpPr/>
          <p:nvPr/>
        </p:nvSpPr>
        <p:spPr>
          <a:xfrm flipH="1" flipV="1">
            <a:off x="5647638" y="5598227"/>
            <a:ext cx="138324" cy="199909"/>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40" name="Group 639">
            <a:extLst>
              <a:ext uri="{FF2B5EF4-FFF2-40B4-BE49-F238E27FC236}">
                <a16:creationId xmlns:a16="http://schemas.microsoft.com/office/drawing/2014/main" id="{4CEE86DB-F3FE-438C-A171-535FDBA52F75}"/>
              </a:ext>
            </a:extLst>
          </p:cNvPr>
          <p:cNvGrpSpPr/>
          <p:nvPr/>
        </p:nvGrpSpPr>
        <p:grpSpPr>
          <a:xfrm>
            <a:off x="6074536" y="1629732"/>
            <a:ext cx="693039" cy="326275"/>
            <a:chOff x="5161883" y="5513596"/>
            <a:chExt cx="693039" cy="326275"/>
          </a:xfrm>
        </p:grpSpPr>
        <p:sp>
          <p:nvSpPr>
            <p:cNvPr id="678" name="TextBox 677">
              <a:extLst>
                <a:ext uri="{FF2B5EF4-FFF2-40B4-BE49-F238E27FC236}">
                  <a16:creationId xmlns:a16="http://schemas.microsoft.com/office/drawing/2014/main" id="{94C3D9A2-A310-49D1-81D9-42DB1F75C8BF}"/>
                </a:ext>
              </a:extLst>
            </p:cNvPr>
            <p:cNvSpPr txBox="1"/>
            <p:nvPr/>
          </p:nvSpPr>
          <p:spPr>
            <a:xfrm>
              <a:off x="5161883" y="5549221"/>
              <a:ext cx="449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a:t>
              </a:r>
            </a:p>
          </p:txBody>
        </p:sp>
        <p:sp>
          <p:nvSpPr>
            <p:cNvPr id="681" name="Isosceles Triangle 680">
              <a:extLst>
                <a:ext uri="{FF2B5EF4-FFF2-40B4-BE49-F238E27FC236}">
                  <a16:creationId xmlns:a16="http://schemas.microsoft.com/office/drawing/2014/main" id="{FC78A4F8-CCB0-47DE-9B21-5B0885477DD9}"/>
                </a:ext>
              </a:extLst>
            </p:cNvPr>
            <p:cNvSpPr/>
            <p:nvPr/>
          </p:nvSpPr>
          <p:spPr>
            <a:xfrm>
              <a:off x="5604028" y="5568002"/>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2" name="Rounded Rectangle 457">
              <a:extLst>
                <a:ext uri="{FF2B5EF4-FFF2-40B4-BE49-F238E27FC236}">
                  <a16:creationId xmlns:a16="http://schemas.microsoft.com/office/drawing/2014/main" id="{D40F1CFC-4A1C-4365-86AA-DB281CA5CCC2}"/>
                </a:ext>
              </a:extLst>
            </p:cNvPr>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88" name="Group 687">
            <a:extLst>
              <a:ext uri="{FF2B5EF4-FFF2-40B4-BE49-F238E27FC236}">
                <a16:creationId xmlns:a16="http://schemas.microsoft.com/office/drawing/2014/main" id="{C2F056AD-E1FC-4AE7-9870-F550553794C6}"/>
              </a:ext>
            </a:extLst>
          </p:cNvPr>
          <p:cNvGrpSpPr/>
          <p:nvPr/>
        </p:nvGrpSpPr>
        <p:grpSpPr>
          <a:xfrm>
            <a:off x="7378192" y="723941"/>
            <a:ext cx="693039" cy="326275"/>
            <a:chOff x="5161883" y="5513596"/>
            <a:chExt cx="693039" cy="326275"/>
          </a:xfrm>
        </p:grpSpPr>
        <p:sp>
          <p:nvSpPr>
            <p:cNvPr id="689" name="TextBox 688">
              <a:extLst>
                <a:ext uri="{FF2B5EF4-FFF2-40B4-BE49-F238E27FC236}">
                  <a16:creationId xmlns:a16="http://schemas.microsoft.com/office/drawing/2014/main" id="{4A34DEEE-7894-427A-9943-75DBE755D542}"/>
                </a:ext>
              </a:extLst>
            </p:cNvPr>
            <p:cNvSpPr txBox="1"/>
            <p:nvPr/>
          </p:nvSpPr>
          <p:spPr>
            <a:xfrm>
              <a:off x="5161883" y="5549221"/>
              <a:ext cx="449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a:t>
              </a:r>
            </a:p>
          </p:txBody>
        </p:sp>
        <p:sp>
          <p:nvSpPr>
            <p:cNvPr id="690" name="Isosceles Triangle 689">
              <a:extLst>
                <a:ext uri="{FF2B5EF4-FFF2-40B4-BE49-F238E27FC236}">
                  <a16:creationId xmlns:a16="http://schemas.microsoft.com/office/drawing/2014/main" id="{1CAF00E1-3595-49B1-835F-01F60DEF5862}"/>
                </a:ext>
              </a:extLst>
            </p:cNvPr>
            <p:cNvSpPr/>
            <p:nvPr/>
          </p:nvSpPr>
          <p:spPr>
            <a:xfrm>
              <a:off x="5604028" y="5568002"/>
              <a:ext cx="167156" cy="182880"/>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2" name="Rounded Rectangle 457">
              <a:extLst>
                <a:ext uri="{FF2B5EF4-FFF2-40B4-BE49-F238E27FC236}">
                  <a16:creationId xmlns:a16="http://schemas.microsoft.com/office/drawing/2014/main" id="{4981F407-4E9B-4E29-B3AF-8D7C12DCA5C7}"/>
                </a:ext>
              </a:extLst>
            </p:cNvPr>
            <p:cNvSpPr/>
            <p:nvPr/>
          </p:nvSpPr>
          <p:spPr>
            <a:xfrm>
              <a:off x="5214471" y="5513596"/>
              <a:ext cx="640451" cy="326275"/>
            </a:xfrm>
            <a:prstGeom prst="roundRect">
              <a:avLst/>
            </a:prstGeom>
            <a:no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10702659"/>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6"/>
            <a:ext cx="8112314" cy="3973880"/>
            <a:chOff x="166688" y="2049463"/>
            <a:chExt cx="8683576" cy="4253716"/>
          </a:xfrm>
        </p:grpSpPr>
        <p:sp>
          <p:nvSpPr>
            <p:cNvPr id="231" name="Rectangle 406"/>
            <p:cNvSpPr>
              <a:spLocks noChangeArrowheads="1"/>
            </p:cNvSpPr>
            <p:nvPr>
              <p:custDataLst>
                <p:tags r:id="rId1"/>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2"/>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3"/>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4"/>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5"/>
              </p:custDataLst>
            </p:nvPr>
          </p:nvSpPr>
          <p:spPr bwMode="gray">
            <a:xfrm>
              <a:off x="5181601"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6"/>
              </p:custDataLst>
            </p:nvPr>
          </p:nvSpPr>
          <p:spPr bwMode="gray">
            <a:xfrm>
              <a:off x="4978401" y="2940050"/>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7"/>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8"/>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9"/>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0"/>
              </p:custDataLst>
            </p:nvPr>
          </p:nvSpPr>
          <p:spPr bwMode="gray">
            <a:xfrm>
              <a:off x="4657725"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1"/>
              </p:custDataLst>
            </p:nvPr>
          </p:nvSpPr>
          <p:spPr bwMode="gray">
            <a:xfrm>
              <a:off x="4449763"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2"/>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13"/>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14"/>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15"/>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16"/>
              </p:custDataLst>
            </p:nvPr>
          </p:nvSpPr>
          <p:spPr bwMode="gray">
            <a:xfrm>
              <a:off x="4938713"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17"/>
              </p:custDataLst>
            </p:nvPr>
          </p:nvSpPr>
          <p:spPr bwMode="gray">
            <a:xfrm>
              <a:off x="4872038"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18"/>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19"/>
              </p:custDataLst>
            </p:nvPr>
          </p:nvSpPr>
          <p:spPr bwMode="gray">
            <a:xfrm>
              <a:off x="4624388" y="269240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0"/>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1"/>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2"/>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23"/>
              </p:custDataLst>
            </p:nvPr>
          </p:nvSpPr>
          <p:spPr bwMode="gray">
            <a:xfrm>
              <a:off x="4743450"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24"/>
              </p:custDataLst>
            </p:nvPr>
          </p:nvSpPr>
          <p:spPr bwMode="gray">
            <a:xfrm>
              <a:off x="5105402"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25"/>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26"/>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27"/>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28"/>
              </p:custDataLst>
            </p:nvPr>
          </p:nvSpPr>
          <p:spPr bwMode="gray">
            <a:xfrm>
              <a:off x="5126037"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29"/>
              </p:custDataLst>
            </p:nvPr>
          </p:nvSpPr>
          <p:spPr bwMode="gray">
            <a:xfrm>
              <a:off x="5092702"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0"/>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1"/>
              </p:custDataLst>
            </p:nvPr>
          </p:nvSpPr>
          <p:spPr bwMode="gray">
            <a:xfrm>
              <a:off x="4567238"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2"/>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33"/>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34"/>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35"/>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36"/>
              </p:custDataLst>
            </p:nvPr>
          </p:nvSpPr>
          <p:spPr bwMode="gray">
            <a:xfrm>
              <a:off x="4875213" y="3451226"/>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37"/>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38"/>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39"/>
              </p:custDataLst>
            </p:nvPr>
          </p:nvSpPr>
          <p:spPr bwMode="gray">
            <a:xfrm>
              <a:off x="3785174" y="3217863"/>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0"/>
              </p:custDataLst>
            </p:nvPr>
          </p:nvSpPr>
          <p:spPr bwMode="gray">
            <a:xfrm>
              <a:off x="3987800"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1"/>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2"/>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193"/>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1"/>
              </p:custDataLst>
            </p:nvPr>
          </p:nvSpPr>
          <p:spPr bwMode="gray">
            <a:xfrm>
              <a:off x="5373688" y="3621088"/>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2"/>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43"/>
              </p:custDataLst>
            </p:nvPr>
          </p:nvSpPr>
          <p:spPr bwMode="gray">
            <a:xfrm>
              <a:off x="5743575"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44"/>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45"/>
              </p:custDataLst>
            </p:nvPr>
          </p:nvSpPr>
          <p:spPr bwMode="gray">
            <a:xfrm>
              <a:off x="7832724"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46"/>
              </p:custDataLst>
            </p:nvPr>
          </p:nvSpPr>
          <p:spPr bwMode="gray">
            <a:xfrm>
              <a:off x="8181977"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47"/>
              </p:custDataLst>
            </p:nvPr>
          </p:nvSpPr>
          <p:spPr bwMode="gray">
            <a:xfrm>
              <a:off x="6951662"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48"/>
              </p:custDataLst>
            </p:nvPr>
          </p:nvSpPr>
          <p:spPr bwMode="gray">
            <a:xfrm>
              <a:off x="8447088" y="4151313"/>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49"/>
              </p:custDataLst>
            </p:nvPr>
          </p:nvSpPr>
          <p:spPr bwMode="gray">
            <a:xfrm>
              <a:off x="8596313" y="4411662"/>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0"/>
              </p:custDataLst>
            </p:nvPr>
          </p:nvSpPr>
          <p:spPr bwMode="gray">
            <a:xfrm>
              <a:off x="6186487" y="4559301"/>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1"/>
              </p:custDataLst>
            </p:nvPr>
          </p:nvSpPr>
          <p:spPr bwMode="gray">
            <a:xfrm>
              <a:off x="7048500"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2"/>
              </p:custDataLst>
            </p:nvPr>
          </p:nvSpPr>
          <p:spPr bwMode="gray">
            <a:xfrm>
              <a:off x="6789738"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53"/>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54"/>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55"/>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56"/>
              </p:custDataLst>
            </p:nvPr>
          </p:nvSpPr>
          <p:spPr bwMode="gray">
            <a:xfrm>
              <a:off x="6075363" y="3190876"/>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57"/>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58"/>
              </p:custDataLst>
            </p:nvPr>
          </p:nvSpPr>
          <p:spPr bwMode="gray">
            <a:xfrm>
              <a:off x="5478463"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59"/>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0"/>
              </p:custDataLst>
            </p:nvPr>
          </p:nvSpPr>
          <p:spPr bwMode="gray">
            <a:xfrm>
              <a:off x="5537199" y="37274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1"/>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2"/>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63"/>
              </p:custDataLst>
            </p:nvPr>
          </p:nvSpPr>
          <p:spPr bwMode="gray">
            <a:xfrm>
              <a:off x="5962650" y="3665538"/>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64"/>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65"/>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66"/>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67"/>
              </p:custDataLst>
            </p:nvPr>
          </p:nvSpPr>
          <p:spPr bwMode="gray">
            <a:xfrm>
              <a:off x="5557838" y="4214813"/>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68"/>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69"/>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0"/>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1"/>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2"/>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73"/>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74"/>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75"/>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76"/>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77"/>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78"/>
              </p:custDataLst>
            </p:nvPr>
          </p:nvSpPr>
          <p:spPr bwMode="gray">
            <a:xfrm>
              <a:off x="5345113" y="3763963"/>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79"/>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0"/>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1"/>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2"/>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83"/>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84"/>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85"/>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86"/>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87"/>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88"/>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89"/>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0"/>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1"/>
              </p:custDataLst>
            </p:nvPr>
          </p:nvSpPr>
          <p:spPr bwMode="gray">
            <a:xfrm>
              <a:off x="5218112" y="37274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2"/>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93"/>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94"/>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95"/>
              </p:custDataLst>
            </p:nvPr>
          </p:nvSpPr>
          <p:spPr bwMode="gray">
            <a:xfrm>
              <a:off x="5453063"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96"/>
              </p:custDataLst>
            </p:nvPr>
          </p:nvSpPr>
          <p:spPr bwMode="gray">
            <a:xfrm>
              <a:off x="5440363" y="3468688"/>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97"/>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98"/>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99"/>
              </p:custDataLst>
            </p:nvPr>
          </p:nvSpPr>
          <p:spPr bwMode="gray">
            <a:xfrm>
              <a:off x="4491038" y="4375150"/>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0"/>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1"/>
              </p:custDataLst>
            </p:nvPr>
          </p:nvSpPr>
          <p:spPr bwMode="gray">
            <a:xfrm>
              <a:off x="4152900"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2"/>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03"/>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04"/>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05"/>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06"/>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07"/>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08"/>
              </p:custDataLst>
            </p:nvPr>
          </p:nvSpPr>
          <p:spPr bwMode="gray">
            <a:xfrm>
              <a:off x="4487863" y="3868738"/>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09"/>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0"/>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1"/>
              </p:custDataLst>
            </p:nvPr>
          </p:nvSpPr>
          <p:spPr bwMode="gray">
            <a:xfrm>
              <a:off x="4430713" y="4140201"/>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2"/>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13"/>
              </p:custDataLst>
            </p:nvPr>
          </p:nvSpPr>
          <p:spPr bwMode="gray">
            <a:xfrm>
              <a:off x="4681538" y="41719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14"/>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15"/>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16"/>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17"/>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18"/>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19"/>
              </p:custDataLst>
            </p:nvPr>
          </p:nvSpPr>
          <p:spPr bwMode="gray">
            <a:xfrm>
              <a:off x="4643438"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0"/>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1"/>
              </p:custDataLst>
            </p:nvPr>
          </p:nvSpPr>
          <p:spPr bwMode="gray">
            <a:xfrm>
              <a:off x="4127500"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2"/>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23"/>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24"/>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25"/>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26"/>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27"/>
              </p:custDataLst>
            </p:nvPr>
          </p:nvSpPr>
          <p:spPr bwMode="gray">
            <a:xfrm>
              <a:off x="5262563" y="5154613"/>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28"/>
              </p:custDataLst>
            </p:nvPr>
          </p:nvSpPr>
          <p:spPr bwMode="gray">
            <a:xfrm>
              <a:off x="4251325"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29"/>
              </p:custDataLst>
            </p:nvPr>
          </p:nvSpPr>
          <p:spPr bwMode="gray">
            <a:xfrm>
              <a:off x="5705475" y="5233989"/>
              <a:ext cx="2693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0"/>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1"/>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2"/>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33"/>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34"/>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35"/>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36"/>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37"/>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38"/>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39"/>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0"/>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1"/>
              </p:custDataLst>
            </p:nvPr>
          </p:nvSpPr>
          <p:spPr bwMode="gray">
            <a:xfrm>
              <a:off x="5284788" y="5024439"/>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2"/>
              </p:custDataLst>
            </p:nvPr>
          </p:nvSpPr>
          <p:spPr bwMode="gray">
            <a:xfrm>
              <a:off x="5299075"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43"/>
              </p:custDataLst>
            </p:nvPr>
          </p:nvSpPr>
          <p:spPr bwMode="gray">
            <a:xfrm>
              <a:off x="5222875" y="5562602"/>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44"/>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45"/>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46"/>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47"/>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48"/>
              </p:custDataLst>
            </p:nvPr>
          </p:nvSpPr>
          <p:spPr bwMode="gray">
            <a:xfrm>
              <a:off x="4445000" y="4637089"/>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49"/>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0"/>
              </p:custDataLst>
            </p:nvPr>
          </p:nvSpPr>
          <p:spPr bwMode="gray">
            <a:xfrm>
              <a:off x="5365750" y="433863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1"/>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2"/>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53"/>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54"/>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55"/>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56"/>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57"/>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58"/>
              </p:custDataLst>
            </p:nvPr>
          </p:nvSpPr>
          <p:spPr bwMode="gray">
            <a:xfrm>
              <a:off x="2873375" y="5173664"/>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59"/>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0"/>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1"/>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2"/>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63"/>
              </p:custDataLst>
            </p:nvPr>
          </p:nvSpPr>
          <p:spPr bwMode="gray">
            <a:xfrm>
              <a:off x="2482850" y="4713289"/>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64"/>
              </p:custDataLst>
            </p:nvPr>
          </p:nvSpPr>
          <p:spPr bwMode="gray">
            <a:xfrm>
              <a:off x="3049588" y="4443414"/>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65"/>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66"/>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67"/>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68"/>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69"/>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0"/>
              </p:custDataLst>
            </p:nvPr>
          </p:nvSpPr>
          <p:spPr bwMode="gray">
            <a:xfrm>
              <a:off x="1968500" y="4699001"/>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1"/>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2"/>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73"/>
              </p:custDataLst>
            </p:nvPr>
          </p:nvSpPr>
          <p:spPr bwMode="gray">
            <a:xfrm>
              <a:off x="2747963" y="3925888"/>
              <a:ext cx="2985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74"/>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75"/>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76"/>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77"/>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78"/>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79"/>
              </p:custDataLst>
            </p:nvPr>
          </p:nvSpPr>
          <p:spPr bwMode="gray">
            <a:xfrm>
              <a:off x="1952626"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0"/>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1"/>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2"/>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83"/>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84"/>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85"/>
              </p:custDataLst>
            </p:nvPr>
          </p:nvSpPr>
          <p:spPr bwMode="gray">
            <a:xfrm>
              <a:off x="2098676"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86"/>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87"/>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88"/>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89"/>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0"/>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689" name="Title 1">
            <a:extLst>
              <a:ext uri="{FF2B5EF4-FFF2-40B4-BE49-F238E27FC236}">
                <a16:creationId xmlns:a16="http://schemas.microsoft.com/office/drawing/2014/main" id="{B0560717-90A0-4E54-8C47-8E1ACE6EE2EC}"/>
              </a:ext>
            </a:extLst>
          </p:cNvPr>
          <p:cNvSpPr txBox="1">
            <a:spLocks/>
          </p:cNvSpPr>
          <p:nvPr/>
        </p:nvSpPr>
        <p:spPr>
          <a:xfrm>
            <a:off x="838200" y="2829535"/>
            <a:ext cx="10515600" cy="553998"/>
          </a:xfrm>
          <a:prstGeom prst="rect">
            <a:avLst/>
          </a:prstGeom>
        </p:spPr>
        <p:txBody>
          <a:bodyPr vert="horz" lIns="0" tIns="0" rIns="0" bIns="0" rtlCol="0" anchor="ctr">
            <a:noAutofit/>
          </a:bodyPr>
          <a:lstStyle>
            <a:lvl1pPr algn="ctr" defTabSz="913960" rtl="0" eaLnBrk="1" latinLnBrk="0" hangingPunct="1">
              <a:lnSpc>
                <a:spcPct val="90000"/>
              </a:lnSpc>
              <a:spcBef>
                <a:spcPct val="0"/>
              </a:spcBef>
              <a:buNone/>
              <a:defRPr lang="en-US" sz="4000" b="1" kern="1200" dirty="0">
                <a:solidFill>
                  <a:schemeClr val="tx1"/>
                </a:solidFill>
                <a:latin typeface="Arial" panose="020B0604020202020204" pitchFamily="34" charset="0"/>
                <a:ea typeface="+mj-ea"/>
                <a:cs typeface="Arial"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91396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Arial" panose="020B0604020202020204" pitchFamily="34" charset="0"/>
                <a:ea typeface="+mj-ea"/>
                <a:cs typeface="Arial" panose="020B0604020202020204" pitchFamily="34" charset="0"/>
              </a:rPr>
              <a:t>Three-wheelers</a:t>
            </a:r>
            <a:endParaRPr kumimoji="0" lang="en-US" sz="36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200" name="Rectangle 199">
            <a:hlinkClick r:id="rId196" action="ppaction://hlinksldjump"/>
            <a:extLst>
              <a:ext uri="{FF2B5EF4-FFF2-40B4-BE49-F238E27FC236}">
                <a16:creationId xmlns:a16="http://schemas.microsoft.com/office/drawing/2014/main" id="{EE303008-B1DA-440C-AB87-0B5B0EED53BE}"/>
              </a:ext>
            </a:extLst>
          </p:cNvPr>
          <p:cNvSpPr/>
          <p:nvPr/>
        </p:nvSpPr>
        <p:spPr>
          <a:xfrm>
            <a:off x="7949525" y="6390244"/>
            <a:ext cx="3094687"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1" tIns="45712" rIns="91421" bIns="4571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hlinkClick r:id="rId196" action="ppaction://hlinksldjump"/>
              </a:rPr>
              <a:t>Back to Summary Forecast Slide</a:t>
            </a:r>
            <a:endPar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35860873"/>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6"/>
            <a:ext cx="8112314" cy="3973880"/>
            <a:chOff x="166688" y="2049463"/>
            <a:chExt cx="8683576" cy="4253716"/>
          </a:xfrm>
        </p:grpSpPr>
        <p:sp>
          <p:nvSpPr>
            <p:cNvPr id="231" name="Rectangle 406"/>
            <p:cNvSpPr>
              <a:spLocks noChangeArrowheads="1"/>
            </p:cNvSpPr>
            <p:nvPr>
              <p:custDataLst>
                <p:tags r:id="rId1"/>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2"/>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3"/>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4"/>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5"/>
              </p:custDataLst>
            </p:nvPr>
          </p:nvSpPr>
          <p:spPr bwMode="gray">
            <a:xfrm>
              <a:off x="5181601"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6"/>
              </p:custDataLst>
            </p:nvPr>
          </p:nvSpPr>
          <p:spPr bwMode="gray">
            <a:xfrm>
              <a:off x="4978401" y="2940050"/>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7"/>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8"/>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9"/>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0"/>
              </p:custDataLst>
            </p:nvPr>
          </p:nvSpPr>
          <p:spPr bwMode="gray">
            <a:xfrm>
              <a:off x="4657725"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1"/>
              </p:custDataLst>
            </p:nvPr>
          </p:nvSpPr>
          <p:spPr bwMode="gray">
            <a:xfrm>
              <a:off x="4449763"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2"/>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13"/>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14"/>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15"/>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16"/>
              </p:custDataLst>
            </p:nvPr>
          </p:nvSpPr>
          <p:spPr bwMode="gray">
            <a:xfrm>
              <a:off x="4938713"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17"/>
              </p:custDataLst>
            </p:nvPr>
          </p:nvSpPr>
          <p:spPr bwMode="gray">
            <a:xfrm>
              <a:off x="4872038"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18"/>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19"/>
              </p:custDataLst>
            </p:nvPr>
          </p:nvSpPr>
          <p:spPr bwMode="gray">
            <a:xfrm>
              <a:off x="4624388" y="269240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0"/>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1"/>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2"/>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23"/>
              </p:custDataLst>
            </p:nvPr>
          </p:nvSpPr>
          <p:spPr bwMode="gray">
            <a:xfrm>
              <a:off x="4743450"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24"/>
              </p:custDataLst>
            </p:nvPr>
          </p:nvSpPr>
          <p:spPr bwMode="gray">
            <a:xfrm>
              <a:off x="5105402"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25"/>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26"/>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27"/>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28"/>
              </p:custDataLst>
            </p:nvPr>
          </p:nvSpPr>
          <p:spPr bwMode="gray">
            <a:xfrm>
              <a:off x="5126037"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29"/>
              </p:custDataLst>
            </p:nvPr>
          </p:nvSpPr>
          <p:spPr bwMode="gray">
            <a:xfrm>
              <a:off x="5092702"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0"/>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1"/>
              </p:custDataLst>
            </p:nvPr>
          </p:nvSpPr>
          <p:spPr bwMode="gray">
            <a:xfrm>
              <a:off x="4567238"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2"/>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33"/>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34"/>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35"/>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36"/>
              </p:custDataLst>
            </p:nvPr>
          </p:nvSpPr>
          <p:spPr bwMode="gray">
            <a:xfrm>
              <a:off x="4875213" y="3451226"/>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37"/>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38"/>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39"/>
              </p:custDataLst>
            </p:nvPr>
          </p:nvSpPr>
          <p:spPr bwMode="gray">
            <a:xfrm>
              <a:off x="3785174" y="3217863"/>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0"/>
              </p:custDataLst>
            </p:nvPr>
          </p:nvSpPr>
          <p:spPr bwMode="gray">
            <a:xfrm>
              <a:off x="3987800"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1"/>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2"/>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193"/>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1"/>
              </p:custDataLst>
            </p:nvPr>
          </p:nvSpPr>
          <p:spPr bwMode="gray">
            <a:xfrm>
              <a:off x="5373688" y="3621088"/>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2"/>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43"/>
              </p:custDataLst>
            </p:nvPr>
          </p:nvSpPr>
          <p:spPr bwMode="gray">
            <a:xfrm>
              <a:off x="5743575"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44"/>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45"/>
              </p:custDataLst>
            </p:nvPr>
          </p:nvSpPr>
          <p:spPr bwMode="gray">
            <a:xfrm>
              <a:off x="7832724"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46"/>
              </p:custDataLst>
            </p:nvPr>
          </p:nvSpPr>
          <p:spPr bwMode="gray">
            <a:xfrm>
              <a:off x="8181977"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47"/>
              </p:custDataLst>
            </p:nvPr>
          </p:nvSpPr>
          <p:spPr bwMode="gray">
            <a:xfrm>
              <a:off x="6951662"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48"/>
              </p:custDataLst>
            </p:nvPr>
          </p:nvSpPr>
          <p:spPr bwMode="gray">
            <a:xfrm>
              <a:off x="8447088" y="4151313"/>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49"/>
              </p:custDataLst>
            </p:nvPr>
          </p:nvSpPr>
          <p:spPr bwMode="gray">
            <a:xfrm>
              <a:off x="8596313" y="4411662"/>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0"/>
              </p:custDataLst>
            </p:nvPr>
          </p:nvSpPr>
          <p:spPr bwMode="gray">
            <a:xfrm>
              <a:off x="6186487" y="4559301"/>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1"/>
              </p:custDataLst>
            </p:nvPr>
          </p:nvSpPr>
          <p:spPr bwMode="gray">
            <a:xfrm>
              <a:off x="7048500"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2"/>
              </p:custDataLst>
            </p:nvPr>
          </p:nvSpPr>
          <p:spPr bwMode="gray">
            <a:xfrm>
              <a:off x="6789738"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53"/>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54"/>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55"/>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56"/>
              </p:custDataLst>
            </p:nvPr>
          </p:nvSpPr>
          <p:spPr bwMode="gray">
            <a:xfrm>
              <a:off x="6075363" y="3190876"/>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57"/>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58"/>
              </p:custDataLst>
            </p:nvPr>
          </p:nvSpPr>
          <p:spPr bwMode="gray">
            <a:xfrm>
              <a:off x="5478463"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59"/>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0"/>
              </p:custDataLst>
            </p:nvPr>
          </p:nvSpPr>
          <p:spPr bwMode="gray">
            <a:xfrm>
              <a:off x="5537199" y="37274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1"/>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2"/>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63"/>
              </p:custDataLst>
            </p:nvPr>
          </p:nvSpPr>
          <p:spPr bwMode="gray">
            <a:xfrm>
              <a:off x="5962650" y="3665538"/>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64"/>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65"/>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66"/>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67"/>
              </p:custDataLst>
            </p:nvPr>
          </p:nvSpPr>
          <p:spPr bwMode="gray">
            <a:xfrm>
              <a:off x="5557838" y="4214813"/>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68"/>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69"/>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0"/>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1"/>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2"/>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73"/>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74"/>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75"/>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76"/>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77"/>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78"/>
              </p:custDataLst>
            </p:nvPr>
          </p:nvSpPr>
          <p:spPr bwMode="gray">
            <a:xfrm>
              <a:off x="5345113" y="3763963"/>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79"/>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0"/>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1"/>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2"/>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83"/>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84"/>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85"/>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86"/>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87"/>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88"/>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89"/>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0"/>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1"/>
              </p:custDataLst>
            </p:nvPr>
          </p:nvSpPr>
          <p:spPr bwMode="gray">
            <a:xfrm>
              <a:off x="5218112" y="37274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2"/>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93"/>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94"/>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95"/>
              </p:custDataLst>
            </p:nvPr>
          </p:nvSpPr>
          <p:spPr bwMode="gray">
            <a:xfrm>
              <a:off x="5453063"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96"/>
              </p:custDataLst>
            </p:nvPr>
          </p:nvSpPr>
          <p:spPr bwMode="gray">
            <a:xfrm>
              <a:off x="5440363" y="3468688"/>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97"/>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98"/>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99"/>
              </p:custDataLst>
            </p:nvPr>
          </p:nvSpPr>
          <p:spPr bwMode="gray">
            <a:xfrm>
              <a:off x="4491038" y="4375150"/>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0"/>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1"/>
              </p:custDataLst>
            </p:nvPr>
          </p:nvSpPr>
          <p:spPr bwMode="gray">
            <a:xfrm>
              <a:off x="4152900"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2"/>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03"/>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04"/>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05"/>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06"/>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07"/>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08"/>
              </p:custDataLst>
            </p:nvPr>
          </p:nvSpPr>
          <p:spPr bwMode="gray">
            <a:xfrm>
              <a:off x="4487863" y="3868738"/>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09"/>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0"/>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1"/>
              </p:custDataLst>
            </p:nvPr>
          </p:nvSpPr>
          <p:spPr bwMode="gray">
            <a:xfrm>
              <a:off x="4430713" y="4140201"/>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2"/>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13"/>
              </p:custDataLst>
            </p:nvPr>
          </p:nvSpPr>
          <p:spPr bwMode="gray">
            <a:xfrm>
              <a:off x="4681538" y="41719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14"/>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15"/>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16"/>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17"/>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18"/>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19"/>
              </p:custDataLst>
            </p:nvPr>
          </p:nvSpPr>
          <p:spPr bwMode="gray">
            <a:xfrm>
              <a:off x="4643438"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0"/>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1"/>
              </p:custDataLst>
            </p:nvPr>
          </p:nvSpPr>
          <p:spPr bwMode="gray">
            <a:xfrm>
              <a:off x="4127500"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2"/>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23"/>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24"/>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25"/>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26"/>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27"/>
              </p:custDataLst>
            </p:nvPr>
          </p:nvSpPr>
          <p:spPr bwMode="gray">
            <a:xfrm>
              <a:off x="5262563" y="5154613"/>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28"/>
              </p:custDataLst>
            </p:nvPr>
          </p:nvSpPr>
          <p:spPr bwMode="gray">
            <a:xfrm>
              <a:off x="4251325"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29"/>
              </p:custDataLst>
            </p:nvPr>
          </p:nvSpPr>
          <p:spPr bwMode="gray">
            <a:xfrm>
              <a:off x="5705475" y="5233989"/>
              <a:ext cx="2693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0"/>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1"/>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2"/>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33"/>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34"/>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35"/>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36"/>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37"/>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38"/>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39"/>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0"/>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1"/>
              </p:custDataLst>
            </p:nvPr>
          </p:nvSpPr>
          <p:spPr bwMode="gray">
            <a:xfrm>
              <a:off x="5284788" y="5024439"/>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2"/>
              </p:custDataLst>
            </p:nvPr>
          </p:nvSpPr>
          <p:spPr bwMode="gray">
            <a:xfrm>
              <a:off x="5299075"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43"/>
              </p:custDataLst>
            </p:nvPr>
          </p:nvSpPr>
          <p:spPr bwMode="gray">
            <a:xfrm>
              <a:off x="5222875" y="5562602"/>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44"/>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45"/>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46"/>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47"/>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48"/>
              </p:custDataLst>
            </p:nvPr>
          </p:nvSpPr>
          <p:spPr bwMode="gray">
            <a:xfrm>
              <a:off x="4445000" y="4637089"/>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49"/>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0"/>
              </p:custDataLst>
            </p:nvPr>
          </p:nvSpPr>
          <p:spPr bwMode="gray">
            <a:xfrm>
              <a:off x="5365750" y="433863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1"/>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2"/>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53"/>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54"/>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55"/>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56"/>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57"/>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58"/>
              </p:custDataLst>
            </p:nvPr>
          </p:nvSpPr>
          <p:spPr bwMode="gray">
            <a:xfrm>
              <a:off x="2873375" y="5173664"/>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59"/>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0"/>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1"/>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2"/>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63"/>
              </p:custDataLst>
            </p:nvPr>
          </p:nvSpPr>
          <p:spPr bwMode="gray">
            <a:xfrm>
              <a:off x="2482850" y="4713289"/>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64"/>
              </p:custDataLst>
            </p:nvPr>
          </p:nvSpPr>
          <p:spPr bwMode="gray">
            <a:xfrm>
              <a:off x="3049588" y="4443414"/>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65"/>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66"/>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67"/>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68"/>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69"/>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0"/>
              </p:custDataLst>
            </p:nvPr>
          </p:nvSpPr>
          <p:spPr bwMode="gray">
            <a:xfrm>
              <a:off x="1968500" y="4699001"/>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1"/>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2"/>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73"/>
              </p:custDataLst>
            </p:nvPr>
          </p:nvSpPr>
          <p:spPr bwMode="gray">
            <a:xfrm>
              <a:off x="2747963" y="3925888"/>
              <a:ext cx="2985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74"/>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75"/>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76"/>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77"/>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78"/>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79"/>
              </p:custDataLst>
            </p:nvPr>
          </p:nvSpPr>
          <p:spPr bwMode="gray">
            <a:xfrm>
              <a:off x="1952626"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0"/>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1"/>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2"/>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83"/>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84"/>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85"/>
              </p:custDataLst>
            </p:nvPr>
          </p:nvSpPr>
          <p:spPr bwMode="gray">
            <a:xfrm>
              <a:off x="2098676"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86"/>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87"/>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88"/>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89"/>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0"/>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09" name="Title 1"/>
          <p:cNvSpPr txBox="1">
            <a:spLocks/>
          </p:cNvSpPr>
          <p:nvPr/>
        </p:nvSpPr>
        <p:spPr>
          <a:xfrm>
            <a:off x="416310" y="160020"/>
            <a:ext cx="11646149" cy="914400"/>
          </a:xfrm>
          <a:prstGeom prst="rect">
            <a:avLst/>
          </a:prstGeom>
        </p:spPr>
        <p:txBody>
          <a:bodyPr vert="horz" lIns="0" tIns="0" rIns="0" bIns="0" rtlCol="0" anchor="ctr">
            <a:noAutofit/>
          </a:bodyPr>
          <a:lstStyle>
            <a:lvl1pPr algn="l" defTabSz="91396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3960" rtl="0" eaLnBrk="1" fontAlgn="auto" latinLnBrk="0" hangingPunct="1">
              <a:lnSpc>
                <a:spcPct val="90000"/>
              </a:lnSpc>
              <a:spcBef>
                <a:spcPct val="0"/>
              </a:spcBef>
              <a:spcAft>
                <a:spcPts val="0"/>
              </a:spcAft>
              <a:buClrTx/>
              <a:buSzTx/>
              <a:buFontTx/>
              <a:buNone/>
              <a:tabLst/>
              <a:defRPr/>
            </a:pPr>
            <a:r>
              <a:rPr kumimoji="0" lang="en-IN"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isbursement expected to grow during FY23, LTV to remain range bound</a:t>
            </a:r>
          </a:p>
        </p:txBody>
      </p:sp>
      <p:sp>
        <p:nvSpPr>
          <p:cNvPr id="210" name="Rectangle 209"/>
          <p:cNvSpPr/>
          <p:nvPr/>
        </p:nvSpPr>
        <p:spPr>
          <a:xfrm rot="5400000">
            <a:off x="9935633" y="-579964"/>
            <a:ext cx="344595" cy="3909058"/>
          </a:xfrm>
          <a:prstGeom prst="rect">
            <a:avLst/>
          </a:prstGeom>
          <a:solidFill>
            <a:srgbClr val="3C3C3B"/>
          </a:solidFill>
          <a:ln w="6350" cap="flat" cmpd="sng" algn="ctr">
            <a:noFill/>
            <a:prstDash val="solid"/>
            <a:miter lim="800000"/>
          </a:ln>
          <a:effectLst/>
        </p:spPr>
        <p:txBody>
          <a:bodyPr vert="vert270" lIns="91406" tIns="45705" rIns="91406" bIns="45705"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cline in loan-to-value continues</a:t>
            </a:r>
          </a:p>
        </p:txBody>
      </p:sp>
      <p:sp>
        <p:nvSpPr>
          <p:cNvPr id="211" name="TextBox 210"/>
          <p:cNvSpPr txBox="1"/>
          <p:nvPr/>
        </p:nvSpPr>
        <p:spPr>
          <a:xfrm>
            <a:off x="382647" y="6522761"/>
            <a:ext cx="5683881" cy="246221"/>
          </a:xfrm>
          <a:prstGeom prst="rect">
            <a:avLst/>
          </a:prstGeom>
          <a:noFill/>
        </p:spPr>
        <p:txBody>
          <a:bodyPr wrap="square" lIns="91406" tIns="45705" rIns="91406" bIns="45705" rtlCol="0">
            <a:spAutoFit/>
          </a:bodyPr>
          <a:lstStyle/>
          <a:p>
            <a:pPr defTabSz="914253">
              <a:defRPr/>
            </a:pPr>
            <a:r>
              <a:rPr lang="en-IN" sz="1000" i="1" dirty="0">
                <a:solidFill>
                  <a:prstClr val="black"/>
                </a:solidFill>
                <a:latin typeface="Arial" panose="020B0604020202020204" pitchFamily="34" charset="0"/>
                <a:cs typeface="Arial" panose="020B0604020202020204" pitchFamily="34" charset="0"/>
              </a:rPr>
              <a:t>Source: </a:t>
            </a:r>
            <a:r>
              <a:rPr lang="en-US" sz="1000" i="1" dirty="0">
                <a:solidFill>
                  <a:prstClr val="black"/>
                </a:solidFill>
                <a:latin typeface="Arial" panose="020B0604020202020204" pitchFamily="34" charset="0"/>
                <a:cs typeface="Arial" panose="020B0604020202020204" pitchFamily="34" charset="0"/>
              </a:rPr>
              <a:t> Experian Credit Bureau, Company Reports, CRISIL Research</a:t>
            </a:r>
            <a:endParaRPr lang="en-IN" sz="1000" i="1" dirty="0">
              <a:solidFill>
                <a:prstClr val="black"/>
              </a:solidFill>
              <a:latin typeface="Arial" panose="020B0604020202020204" pitchFamily="34" charset="0"/>
              <a:cs typeface="Arial" panose="020B0604020202020204" pitchFamily="34" charset="0"/>
            </a:endParaRPr>
          </a:p>
        </p:txBody>
      </p:sp>
      <p:sp>
        <p:nvSpPr>
          <p:cNvPr id="212" name="Rectangle 211"/>
          <p:cNvSpPr/>
          <p:nvPr/>
        </p:nvSpPr>
        <p:spPr>
          <a:xfrm rot="5400000">
            <a:off x="6015221" y="-454312"/>
            <a:ext cx="344596" cy="3657758"/>
          </a:xfrm>
          <a:prstGeom prst="rect">
            <a:avLst/>
          </a:prstGeom>
          <a:solidFill>
            <a:srgbClr val="3C3C3B"/>
          </a:solidFill>
          <a:ln w="6350" cap="flat" cmpd="sng" algn="ctr">
            <a:noFill/>
            <a:prstDash val="solid"/>
            <a:miter lim="800000"/>
          </a:ln>
          <a:effectLst/>
        </p:spPr>
        <p:txBody>
          <a:bodyPr vert="vert270" lIns="91406" tIns="45705" rIns="91406" bIns="45705" rtlCol="0" anchor="ctr"/>
          <a:lstStyle/>
          <a:p>
            <a:pPr marL="12699" marR="0" lvl="0" indent="0" algn="ctr" defTabSz="91425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inance penetration</a:t>
            </a:r>
          </a:p>
        </p:txBody>
      </p:sp>
      <p:sp>
        <p:nvSpPr>
          <p:cNvPr id="213" name="TextBox 212"/>
          <p:cNvSpPr txBox="1"/>
          <p:nvPr/>
        </p:nvSpPr>
        <p:spPr>
          <a:xfrm>
            <a:off x="401274" y="5200281"/>
            <a:ext cx="11676220" cy="1015632"/>
          </a:xfrm>
          <a:prstGeom prst="rect">
            <a:avLst/>
          </a:prstGeom>
          <a:solidFill>
            <a:srgbClr val="FFFFFF">
              <a:lumMod val="85000"/>
            </a:srgbClr>
          </a:solidFill>
        </p:spPr>
        <p:txBody>
          <a:bodyPr wrap="square" lIns="91406" tIns="45705" rIns="91406" bIns="45705" rtlCol="0" anchor="ctr">
            <a:spAutoFit/>
          </a:bodyPr>
          <a:lstStyle/>
          <a:p>
            <a:pPr marL="285649" marR="0" lvl="0" indent="-285649" defTabSz="914253"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IN"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midst the steep sales contraction, financing parameters also took a hit, disbursements </a:t>
            </a:r>
            <a:r>
              <a:rPr lang="en-IN" sz="1200" kern="0" dirty="0">
                <a:solidFill>
                  <a:srgbClr val="000000"/>
                </a:solidFill>
                <a:latin typeface="Arial" panose="020B0604020202020204" pitchFamily="34" charset="0"/>
                <a:cs typeface="Arial" panose="020B0604020202020204" pitchFamily="34" charset="0"/>
              </a:rPr>
              <a:t>grew in FY22 on a low base of FY21</a:t>
            </a:r>
            <a:endParaRPr kumimoji="0" lang="en-IN"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85649" marR="0" lvl="0" indent="-285649" defTabSz="914253"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IN"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oreover, given the modest financial profile of the customers coupled with the drop in earning, most financers turned extremely cautiously and focused more on recovery during the year</a:t>
            </a:r>
          </a:p>
          <a:p>
            <a:pPr marL="285649" marR="0" lvl="0" indent="-285649" defTabSz="914253"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IN"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TV levels were dropped despite rise in vehicle prices</a:t>
            </a:r>
          </a:p>
          <a:p>
            <a:pPr marL="285649" marR="0" lvl="0" indent="-285649" defTabSz="914253"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IN"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Going ahead, disbursement levels to be improve with positive demand sentiments. </a:t>
            </a:r>
            <a:r>
              <a:rPr lang="en-IN" sz="1200" kern="0" dirty="0">
                <a:solidFill>
                  <a:srgbClr val="000000"/>
                </a:solidFill>
                <a:latin typeface="Arial" panose="020B0604020202020204" pitchFamily="34" charset="0"/>
                <a:cs typeface="Arial" panose="020B0604020202020204" pitchFamily="34" charset="0"/>
              </a:rPr>
              <a:t>F</a:t>
            </a:r>
            <a:r>
              <a:rPr kumimoji="0" lang="en-IN"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nanciers</a:t>
            </a:r>
            <a:r>
              <a:rPr kumimoji="0" lang="en-IN"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re expected to support and LTVs to expected to improve</a:t>
            </a:r>
          </a:p>
        </p:txBody>
      </p:sp>
      <p:sp>
        <p:nvSpPr>
          <p:cNvPr id="214" name="Rectangle 213"/>
          <p:cNvSpPr/>
          <p:nvPr/>
        </p:nvSpPr>
        <p:spPr>
          <a:xfrm rot="5400000">
            <a:off x="2170937" y="-557019"/>
            <a:ext cx="344594" cy="3863179"/>
          </a:xfrm>
          <a:prstGeom prst="rect">
            <a:avLst/>
          </a:prstGeom>
          <a:solidFill>
            <a:srgbClr val="3C3C3B"/>
          </a:solidFill>
          <a:ln w="6350" cap="flat" cmpd="sng" algn="ctr">
            <a:noFill/>
            <a:prstDash val="solid"/>
            <a:miter lim="800000"/>
          </a:ln>
          <a:effectLst/>
        </p:spPr>
        <p:txBody>
          <a:bodyPr vert="vert270" lIns="91406" tIns="45705" rIns="91406" bIns="45705" rtlCol="0" anchor="ctr"/>
          <a:lstStyle/>
          <a:p>
            <a:pPr marL="12699" marR="0" lvl="0" indent="0" algn="ctr" defTabSz="91425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sbursement</a:t>
            </a:r>
          </a:p>
        </p:txBody>
      </p:sp>
      <p:sp>
        <p:nvSpPr>
          <p:cNvPr id="207" name="Rectangle 206">
            <a:extLst>
              <a:ext uri="{FF2B5EF4-FFF2-40B4-BE49-F238E27FC236}">
                <a16:creationId xmlns:a16="http://schemas.microsoft.com/office/drawing/2014/main" id="{3407B543-66E6-4587-AD5A-046DFEF7B837}"/>
              </a:ext>
            </a:extLst>
          </p:cNvPr>
          <p:cNvSpPr/>
          <p:nvPr/>
        </p:nvSpPr>
        <p:spPr>
          <a:xfrm rot="5400000">
            <a:off x="9935633" y="-579482"/>
            <a:ext cx="344595" cy="3909058"/>
          </a:xfrm>
          <a:prstGeom prst="rect">
            <a:avLst/>
          </a:prstGeom>
          <a:solidFill>
            <a:schemeClr val="accent6">
              <a:lumMod val="50000"/>
            </a:schemeClr>
          </a:solidFill>
          <a:ln w="6350" cap="flat" cmpd="sng" algn="ctr">
            <a:noFill/>
            <a:prstDash val="solid"/>
            <a:miter lim="800000"/>
          </a:ln>
          <a:effectLst/>
        </p:spPr>
        <p:txBody>
          <a:bodyPr vert="vert270" lIns="91406" tIns="45705" rIns="91406" bIns="45705" rtlCol="0" anchor="ctr"/>
          <a:lstStyle/>
          <a:p>
            <a:pPr marL="0" marR="0" lvl="0" indent="0" algn="ctr" defTabSz="91425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Loan-to-value </a:t>
            </a:r>
          </a:p>
        </p:txBody>
      </p:sp>
      <p:sp>
        <p:nvSpPr>
          <p:cNvPr id="208" name="Rectangle 207">
            <a:extLst>
              <a:ext uri="{FF2B5EF4-FFF2-40B4-BE49-F238E27FC236}">
                <a16:creationId xmlns:a16="http://schemas.microsoft.com/office/drawing/2014/main" id="{83069518-088F-48B8-BE1B-46B4B4535826}"/>
              </a:ext>
            </a:extLst>
          </p:cNvPr>
          <p:cNvSpPr/>
          <p:nvPr/>
        </p:nvSpPr>
        <p:spPr>
          <a:xfrm rot="5400000">
            <a:off x="6015221" y="-453830"/>
            <a:ext cx="344596" cy="3657758"/>
          </a:xfrm>
          <a:prstGeom prst="rect">
            <a:avLst/>
          </a:prstGeom>
          <a:solidFill>
            <a:schemeClr val="accent6">
              <a:lumMod val="50000"/>
            </a:schemeClr>
          </a:solidFill>
          <a:ln w="6350" cap="flat" cmpd="sng" algn="ctr">
            <a:noFill/>
            <a:prstDash val="solid"/>
            <a:miter lim="800000"/>
          </a:ln>
          <a:effectLst/>
        </p:spPr>
        <p:txBody>
          <a:bodyPr vert="vert270" lIns="91406" tIns="45705" rIns="91406" bIns="45705" rtlCol="0" anchor="ctr"/>
          <a:lstStyle/>
          <a:p>
            <a:pPr marL="12699" marR="0" lvl="0" indent="0" algn="ctr" defTabSz="91425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inance penetration</a:t>
            </a:r>
          </a:p>
        </p:txBody>
      </p:sp>
      <p:sp>
        <p:nvSpPr>
          <p:cNvPr id="219" name="Rectangle 218">
            <a:extLst>
              <a:ext uri="{FF2B5EF4-FFF2-40B4-BE49-F238E27FC236}">
                <a16:creationId xmlns:a16="http://schemas.microsoft.com/office/drawing/2014/main" id="{BB7CF570-34F8-4159-A81E-24F66A66BB6F}"/>
              </a:ext>
            </a:extLst>
          </p:cNvPr>
          <p:cNvSpPr/>
          <p:nvPr/>
        </p:nvSpPr>
        <p:spPr>
          <a:xfrm rot="5400000">
            <a:off x="2170937" y="-556537"/>
            <a:ext cx="344594" cy="3863179"/>
          </a:xfrm>
          <a:prstGeom prst="rect">
            <a:avLst/>
          </a:prstGeom>
          <a:solidFill>
            <a:schemeClr val="accent6">
              <a:lumMod val="50000"/>
            </a:schemeClr>
          </a:solidFill>
          <a:ln w="6350" cap="flat" cmpd="sng" algn="ctr">
            <a:noFill/>
            <a:prstDash val="solid"/>
            <a:miter lim="800000"/>
          </a:ln>
          <a:effectLst/>
        </p:spPr>
        <p:txBody>
          <a:bodyPr vert="vert270" lIns="91406" tIns="45705" rIns="91406" bIns="45705" rtlCol="0" anchor="ctr"/>
          <a:lstStyle/>
          <a:p>
            <a:pPr marL="12699" marR="0" lvl="0" indent="0" algn="ctr" defTabSz="914253"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sbursement</a:t>
            </a:r>
          </a:p>
        </p:txBody>
      </p:sp>
      <p:graphicFrame>
        <p:nvGraphicFramePr>
          <p:cNvPr id="220" name="Chart 219">
            <a:extLst>
              <a:ext uri="{FF2B5EF4-FFF2-40B4-BE49-F238E27FC236}">
                <a16:creationId xmlns:a16="http://schemas.microsoft.com/office/drawing/2014/main" id="{00000000-0008-0000-0500-000004000000}"/>
              </a:ext>
            </a:extLst>
          </p:cNvPr>
          <p:cNvGraphicFramePr>
            <a:graphicFrameLocks/>
          </p:cNvGraphicFramePr>
          <p:nvPr>
            <p:extLst>
              <p:ext uri="{D42A27DB-BD31-4B8C-83A1-F6EECF244321}">
                <p14:modId xmlns:p14="http://schemas.microsoft.com/office/powerpoint/2010/main" val="1648976401"/>
              </p:ext>
            </p:extLst>
          </p:nvPr>
        </p:nvGraphicFramePr>
        <p:xfrm>
          <a:off x="4353295" y="1578743"/>
          <a:ext cx="3646360" cy="3359456"/>
        </p:xfrm>
        <a:graphic>
          <a:graphicData uri="http://schemas.openxmlformats.org/drawingml/2006/chart">
            <c:chart xmlns:c="http://schemas.openxmlformats.org/drawingml/2006/chart" xmlns:r="http://schemas.openxmlformats.org/officeDocument/2006/relationships" r:id="rId196"/>
          </a:graphicData>
        </a:graphic>
      </p:graphicFrame>
      <p:graphicFrame>
        <p:nvGraphicFramePr>
          <p:cNvPr id="221" name="Chart 220">
            <a:extLst>
              <a:ext uri="{FF2B5EF4-FFF2-40B4-BE49-F238E27FC236}">
                <a16:creationId xmlns:a16="http://schemas.microsoft.com/office/drawing/2014/main" id="{00000000-0008-0000-0500-000003000000}"/>
              </a:ext>
            </a:extLst>
          </p:cNvPr>
          <p:cNvGraphicFramePr>
            <a:graphicFrameLocks/>
          </p:cNvGraphicFramePr>
          <p:nvPr>
            <p:extLst>
              <p:ext uri="{D42A27DB-BD31-4B8C-83A1-F6EECF244321}">
                <p14:modId xmlns:p14="http://schemas.microsoft.com/office/powerpoint/2010/main" val="2841851218"/>
              </p:ext>
            </p:extLst>
          </p:nvPr>
        </p:nvGraphicFramePr>
        <p:xfrm>
          <a:off x="8169444" y="1574292"/>
          <a:ext cx="3893015" cy="3359456"/>
        </p:xfrm>
        <a:graphic>
          <a:graphicData uri="http://schemas.openxmlformats.org/drawingml/2006/chart">
            <c:chart xmlns:c="http://schemas.openxmlformats.org/drawingml/2006/chart" xmlns:r="http://schemas.openxmlformats.org/officeDocument/2006/relationships" r:id="rId197"/>
          </a:graphicData>
        </a:graphic>
      </p:graphicFrame>
      <p:graphicFrame>
        <p:nvGraphicFramePr>
          <p:cNvPr id="222" name="Chart 221">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838958836"/>
              </p:ext>
            </p:extLst>
          </p:nvPr>
        </p:nvGraphicFramePr>
        <p:xfrm>
          <a:off x="407762" y="1593572"/>
          <a:ext cx="3856144" cy="3340175"/>
        </p:xfrm>
        <a:graphic>
          <a:graphicData uri="http://schemas.openxmlformats.org/drawingml/2006/chart">
            <c:chart xmlns:c="http://schemas.openxmlformats.org/drawingml/2006/chart" xmlns:r="http://schemas.openxmlformats.org/officeDocument/2006/relationships" r:id="rId198"/>
          </a:graphicData>
        </a:graphic>
      </p:graphicFrame>
    </p:spTree>
    <p:extLst>
      <p:ext uri="{BB962C8B-B14F-4D97-AF65-F5344CB8AC3E}">
        <p14:creationId xmlns:p14="http://schemas.microsoft.com/office/powerpoint/2010/main" val="2352776556"/>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0" name="Group 473" hidden="1"/>
          <p:cNvGrpSpPr/>
          <p:nvPr/>
        </p:nvGrpSpPr>
        <p:grpSpPr bwMode="gray">
          <a:xfrm>
            <a:off x="1917701" y="1901616"/>
            <a:ext cx="8112314" cy="3973880"/>
            <a:chOff x="166688" y="2049463"/>
            <a:chExt cx="8683576" cy="4253716"/>
          </a:xfrm>
        </p:grpSpPr>
        <p:sp>
          <p:nvSpPr>
            <p:cNvPr id="231" name="Rectangle 406"/>
            <p:cNvSpPr>
              <a:spLocks noChangeArrowheads="1"/>
            </p:cNvSpPr>
            <p:nvPr>
              <p:custDataLst>
                <p:tags r:id="rId1"/>
              </p:custDataLst>
            </p:nvPr>
          </p:nvSpPr>
          <p:spPr bwMode="gray">
            <a:xfrm>
              <a:off x="5014913" y="3302001"/>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om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2" name="Rectangle 407"/>
            <p:cNvSpPr>
              <a:spLocks noChangeArrowheads="1"/>
            </p:cNvSpPr>
            <p:nvPr>
              <p:custDataLst>
                <p:tags r:id="rId2"/>
              </p:custDataLst>
            </p:nvPr>
          </p:nvSpPr>
          <p:spPr bwMode="gray">
            <a:xfrm>
              <a:off x="4937126" y="3240088"/>
              <a:ext cx="187032"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ungar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3" name="Rectangle 408"/>
            <p:cNvSpPr>
              <a:spLocks noChangeArrowheads="1"/>
            </p:cNvSpPr>
            <p:nvPr>
              <p:custDataLst>
                <p:tags r:id="rId3"/>
              </p:custDataLst>
            </p:nvPr>
          </p:nvSpPr>
          <p:spPr bwMode="gray">
            <a:xfrm>
              <a:off x="4962526" y="3538538"/>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4" name="Rectangle 409"/>
            <p:cNvSpPr>
              <a:spLocks noChangeArrowheads="1"/>
            </p:cNvSpPr>
            <p:nvPr>
              <p:custDataLst>
                <p:tags r:id="rId4"/>
              </p:custDataLst>
            </p:nvPr>
          </p:nvSpPr>
          <p:spPr bwMode="gray">
            <a:xfrm>
              <a:off x="5118101" y="3636963"/>
              <a:ext cx="1527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yp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5" name="Rectangle 410"/>
            <p:cNvSpPr>
              <a:spLocks noChangeArrowheads="1"/>
            </p:cNvSpPr>
            <p:nvPr>
              <p:custDataLst>
                <p:tags r:id="rId5"/>
              </p:custDataLst>
            </p:nvPr>
          </p:nvSpPr>
          <p:spPr bwMode="gray">
            <a:xfrm>
              <a:off x="5181601" y="3138488"/>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krai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6" name="Rectangle 411"/>
            <p:cNvSpPr>
              <a:spLocks noChangeArrowheads="1"/>
            </p:cNvSpPr>
            <p:nvPr>
              <p:custDataLst>
                <p:tags r:id="rId6"/>
              </p:custDataLst>
            </p:nvPr>
          </p:nvSpPr>
          <p:spPr bwMode="gray">
            <a:xfrm>
              <a:off x="4978401" y="2940050"/>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thu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7" name="Rectangle 412"/>
            <p:cNvSpPr>
              <a:spLocks noChangeArrowheads="1"/>
            </p:cNvSpPr>
            <p:nvPr>
              <p:custDataLst>
                <p:tags r:id="rId7"/>
              </p:custDataLst>
            </p:nvPr>
          </p:nvSpPr>
          <p:spPr bwMode="gray">
            <a:xfrm>
              <a:off x="4827587" y="3300413"/>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roat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8" name="Rectangle 413"/>
            <p:cNvSpPr>
              <a:spLocks noChangeArrowheads="1"/>
            </p:cNvSpPr>
            <p:nvPr>
              <p:custDataLst>
                <p:tags r:id="rId8"/>
              </p:custDataLst>
            </p:nvPr>
          </p:nvSpPr>
          <p:spPr bwMode="gray">
            <a:xfrm>
              <a:off x="5189538" y="32480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ldov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39" name="Rectangle 414"/>
            <p:cNvSpPr>
              <a:spLocks noChangeArrowheads="1"/>
            </p:cNvSpPr>
            <p:nvPr>
              <p:custDataLst>
                <p:tags r:id="rId9"/>
              </p:custDataLst>
            </p:nvPr>
          </p:nvSpPr>
          <p:spPr bwMode="gray">
            <a:xfrm>
              <a:off x="4972052" y="3349626"/>
              <a:ext cx="2642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rb. Mon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0" name="Rectangle 415"/>
            <p:cNvSpPr>
              <a:spLocks noChangeArrowheads="1"/>
            </p:cNvSpPr>
            <p:nvPr>
              <p:custDataLst>
                <p:tags r:id="rId10"/>
              </p:custDataLst>
            </p:nvPr>
          </p:nvSpPr>
          <p:spPr bwMode="gray">
            <a:xfrm>
              <a:off x="4657725" y="3071813"/>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rman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1" name="Rectangle 416"/>
            <p:cNvSpPr>
              <a:spLocks noChangeArrowheads="1"/>
            </p:cNvSpPr>
            <p:nvPr>
              <p:custDataLst>
                <p:tags r:id="rId11"/>
              </p:custDataLst>
            </p:nvPr>
          </p:nvSpPr>
          <p:spPr bwMode="gray">
            <a:xfrm>
              <a:off x="4449763" y="3254376"/>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itzer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2" name="Rectangle 417"/>
            <p:cNvSpPr>
              <a:spLocks noChangeArrowheads="1"/>
            </p:cNvSpPr>
            <p:nvPr>
              <p:custDataLst>
                <p:tags r:id="rId12"/>
              </p:custDataLst>
            </p:nvPr>
          </p:nvSpPr>
          <p:spPr bwMode="gray">
            <a:xfrm>
              <a:off x="4157662" y="3284538"/>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3" name="Rectangle 418"/>
            <p:cNvSpPr>
              <a:spLocks noChangeArrowheads="1"/>
            </p:cNvSpPr>
            <p:nvPr>
              <p:custDataLst>
                <p:tags r:id="rId13"/>
              </p:custDataLst>
            </p:nvPr>
          </p:nvSpPr>
          <p:spPr bwMode="gray">
            <a:xfrm>
              <a:off x="4267201" y="3616326"/>
              <a:ext cx="1956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ibral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4" name="Rectangle 419"/>
            <p:cNvSpPr>
              <a:spLocks noChangeArrowheads="1"/>
            </p:cNvSpPr>
            <p:nvPr>
              <p:custDataLst>
                <p:tags r:id="rId14"/>
              </p:custDataLst>
            </p:nvPr>
          </p:nvSpPr>
          <p:spPr bwMode="gray">
            <a:xfrm>
              <a:off x="4764088" y="3205163"/>
              <a:ext cx="159578"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5" name="Rectangle 420"/>
            <p:cNvSpPr>
              <a:spLocks noChangeArrowheads="1"/>
            </p:cNvSpPr>
            <p:nvPr>
              <p:custDataLst>
                <p:tags r:id="rId15"/>
              </p:custDataLst>
            </p:nvPr>
          </p:nvSpPr>
          <p:spPr bwMode="gray">
            <a:xfrm>
              <a:off x="4652963" y="3171826"/>
              <a:ext cx="8922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ux.</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6" name="Rectangle 421"/>
            <p:cNvSpPr>
              <a:spLocks noChangeArrowheads="1"/>
            </p:cNvSpPr>
            <p:nvPr>
              <p:custDataLst>
                <p:tags r:id="rId16"/>
              </p:custDataLst>
            </p:nvPr>
          </p:nvSpPr>
          <p:spPr bwMode="gray">
            <a:xfrm>
              <a:off x="4938713" y="3186113"/>
              <a:ext cx="180169" cy="65890"/>
            </a:xfrm>
            <a:prstGeom prst="rect">
              <a:avLst/>
            </a:prstGeom>
            <a:noFill/>
            <a:ln w="317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lovak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7" name="Rectangle 422"/>
            <p:cNvSpPr>
              <a:spLocks noChangeArrowheads="1"/>
            </p:cNvSpPr>
            <p:nvPr>
              <p:custDataLst>
                <p:tags r:id="rId17"/>
              </p:custDataLst>
            </p:nvPr>
          </p:nvSpPr>
          <p:spPr bwMode="gray">
            <a:xfrm>
              <a:off x="4872038" y="2506662"/>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ed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8" name="Rectangle 423"/>
            <p:cNvSpPr>
              <a:spLocks noChangeArrowheads="1"/>
            </p:cNvSpPr>
            <p:nvPr>
              <p:custDataLst>
                <p:tags r:id="rId18"/>
              </p:custDataLst>
            </p:nvPr>
          </p:nvSpPr>
          <p:spPr bwMode="gray">
            <a:xfrm>
              <a:off x="5045076" y="2649538"/>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i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49" name="Rectangle 424"/>
            <p:cNvSpPr>
              <a:spLocks noChangeArrowheads="1"/>
            </p:cNvSpPr>
            <p:nvPr>
              <p:custDataLst>
                <p:tags r:id="rId19"/>
              </p:custDataLst>
            </p:nvPr>
          </p:nvSpPr>
          <p:spPr bwMode="gray">
            <a:xfrm>
              <a:off x="4624388" y="269240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w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0" name="Rectangle 425"/>
            <p:cNvSpPr>
              <a:spLocks noChangeArrowheads="1"/>
            </p:cNvSpPr>
            <p:nvPr>
              <p:custDataLst>
                <p:tags r:id="rId20"/>
              </p:custDataLst>
            </p:nvPr>
          </p:nvSpPr>
          <p:spPr bwMode="gray">
            <a:xfrm>
              <a:off x="4454526" y="3175001"/>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anc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1" name="Rectangle 426"/>
            <p:cNvSpPr>
              <a:spLocks noChangeArrowheads="1"/>
            </p:cNvSpPr>
            <p:nvPr>
              <p:custDataLst>
                <p:tags r:id="rId21"/>
              </p:custDataLst>
            </p:nvPr>
          </p:nvSpPr>
          <p:spPr bwMode="gray">
            <a:xfrm>
              <a:off x="4357690" y="3465513"/>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p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2" name="Rectangle 427"/>
            <p:cNvSpPr>
              <a:spLocks noChangeArrowheads="1"/>
            </p:cNvSpPr>
            <p:nvPr>
              <p:custDataLst>
                <p:tags r:id="rId22"/>
              </p:custDataLst>
            </p:nvPr>
          </p:nvSpPr>
          <p:spPr bwMode="gray">
            <a:xfrm>
              <a:off x="4887913" y="3048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3" name="Rectangle 428"/>
            <p:cNvSpPr>
              <a:spLocks noChangeArrowheads="1"/>
            </p:cNvSpPr>
            <p:nvPr>
              <p:custDataLst>
                <p:tags r:id="rId23"/>
              </p:custDataLst>
            </p:nvPr>
          </p:nvSpPr>
          <p:spPr bwMode="gray">
            <a:xfrm>
              <a:off x="4743450" y="3386138"/>
              <a:ext cx="943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tal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4" name="Rectangle 429"/>
            <p:cNvSpPr>
              <a:spLocks noChangeArrowheads="1"/>
            </p:cNvSpPr>
            <p:nvPr>
              <p:custDataLst>
                <p:tags r:id="rId24"/>
              </p:custDataLst>
            </p:nvPr>
          </p:nvSpPr>
          <p:spPr bwMode="gray">
            <a:xfrm>
              <a:off x="5105402" y="301148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aru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5" name="Rectangle 430"/>
            <p:cNvSpPr>
              <a:spLocks noChangeArrowheads="1"/>
            </p:cNvSpPr>
            <p:nvPr>
              <p:custDataLst>
                <p:tags r:id="rId25"/>
              </p:custDataLst>
            </p:nvPr>
          </p:nvSpPr>
          <p:spPr bwMode="gray">
            <a:xfrm>
              <a:off x="4178301" y="2846388"/>
              <a:ext cx="36376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Kingdo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6" name="Rectangle 431"/>
            <p:cNvSpPr>
              <a:spLocks noChangeArrowheads="1"/>
            </p:cNvSpPr>
            <p:nvPr>
              <p:custDataLst>
                <p:tags r:id="rId26"/>
              </p:custDataLst>
            </p:nvPr>
          </p:nvSpPr>
          <p:spPr bwMode="gray">
            <a:xfrm>
              <a:off x="5081588" y="2879726"/>
              <a:ext cx="1286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t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7" name="Rectangle 432"/>
            <p:cNvSpPr>
              <a:spLocks noChangeArrowheads="1"/>
            </p:cNvSpPr>
            <p:nvPr>
              <p:custDataLst>
                <p:tags r:id="rId27"/>
              </p:custDataLst>
            </p:nvPr>
          </p:nvSpPr>
          <p:spPr bwMode="gray">
            <a:xfrm>
              <a:off x="4205288" y="3038476"/>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8" name="Rectangle 433"/>
            <p:cNvSpPr>
              <a:spLocks noChangeArrowheads="1"/>
            </p:cNvSpPr>
            <p:nvPr>
              <p:custDataLst>
                <p:tags r:id="rId28"/>
              </p:custDataLst>
            </p:nvPr>
          </p:nvSpPr>
          <p:spPr bwMode="gray">
            <a:xfrm>
              <a:off x="5126037" y="339248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lga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59" name="Rectangle 434"/>
            <p:cNvSpPr>
              <a:spLocks noChangeArrowheads="1"/>
            </p:cNvSpPr>
            <p:nvPr>
              <p:custDataLst>
                <p:tags r:id="rId29"/>
              </p:custDataLst>
            </p:nvPr>
          </p:nvSpPr>
          <p:spPr bwMode="gray">
            <a:xfrm>
              <a:off x="5092702" y="2814638"/>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st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0" name="Rectangle 435"/>
            <p:cNvSpPr>
              <a:spLocks noChangeArrowheads="1"/>
            </p:cNvSpPr>
            <p:nvPr>
              <p:custDataLst>
                <p:tags r:id="rId30"/>
              </p:custDataLst>
            </p:nvPr>
          </p:nvSpPr>
          <p:spPr bwMode="gray">
            <a:xfrm>
              <a:off x="4164013" y="3482976"/>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ortu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1" name="Rectangle 436"/>
            <p:cNvSpPr>
              <a:spLocks noChangeArrowheads="1"/>
            </p:cNvSpPr>
            <p:nvPr>
              <p:custDataLst>
                <p:tags r:id="rId31"/>
              </p:custDataLst>
            </p:nvPr>
          </p:nvSpPr>
          <p:spPr bwMode="gray">
            <a:xfrm>
              <a:off x="4567238" y="2890838"/>
              <a:ext cx="20590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nmark</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2" name="Rectangle 437"/>
            <p:cNvSpPr>
              <a:spLocks noChangeArrowheads="1"/>
            </p:cNvSpPr>
            <p:nvPr>
              <p:custDataLst>
                <p:tags r:id="rId32"/>
              </p:custDataLst>
            </p:nvPr>
          </p:nvSpPr>
          <p:spPr bwMode="gray">
            <a:xfrm>
              <a:off x="4468813" y="3411538"/>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dor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3" name="Rectangle 438"/>
            <p:cNvSpPr>
              <a:spLocks noChangeArrowheads="1"/>
            </p:cNvSpPr>
            <p:nvPr>
              <p:custDataLst>
                <p:tags r:id="rId33"/>
              </p:custDataLst>
            </p:nvPr>
          </p:nvSpPr>
          <p:spPr bwMode="gray">
            <a:xfrm>
              <a:off x="4525963" y="3001962"/>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therland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4" name="Rectangle 439"/>
            <p:cNvSpPr>
              <a:spLocks noChangeArrowheads="1"/>
            </p:cNvSpPr>
            <p:nvPr>
              <p:custDataLst>
                <p:tags r:id="rId34"/>
              </p:custDataLst>
            </p:nvPr>
          </p:nvSpPr>
          <p:spPr bwMode="gray">
            <a:xfrm>
              <a:off x="4532314" y="3116263"/>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giu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5" name="Rectangle 440"/>
            <p:cNvSpPr>
              <a:spLocks noChangeArrowheads="1"/>
            </p:cNvSpPr>
            <p:nvPr>
              <p:custDataLst>
                <p:tags r:id="rId35"/>
              </p:custDataLst>
            </p:nvPr>
          </p:nvSpPr>
          <p:spPr bwMode="gray">
            <a:xfrm>
              <a:off x="4762501" y="3130551"/>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zech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6" name="Rectangle 441"/>
            <p:cNvSpPr>
              <a:spLocks noChangeArrowheads="1"/>
            </p:cNvSpPr>
            <p:nvPr>
              <p:custDataLst>
                <p:tags r:id="rId36"/>
              </p:custDataLst>
            </p:nvPr>
          </p:nvSpPr>
          <p:spPr bwMode="gray">
            <a:xfrm>
              <a:off x="4875213" y="3451226"/>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b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7" name="Rectangle 442"/>
            <p:cNvSpPr>
              <a:spLocks noChangeArrowheads="1"/>
            </p:cNvSpPr>
            <p:nvPr>
              <p:custDataLst>
                <p:tags r:id="rId37"/>
              </p:custDataLst>
            </p:nvPr>
          </p:nvSpPr>
          <p:spPr bwMode="gray">
            <a:xfrm>
              <a:off x="3883026" y="3336927"/>
              <a:ext cx="27625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snia Herz.</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8" name="Rectangle 443"/>
            <p:cNvSpPr>
              <a:spLocks noChangeArrowheads="1"/>
            </p:cNvSpPr>
            <p:nvPr>
              <p:custDataLst>
                <p:tags r:id="rId38"/>
              </p:custDataLst>
            </p:nvPr>
          </p:nvSpPr>
          <p:spPr bwMode="gray">
            <a:xfrm>
              <a:off x="4864101" y="3402012"/>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c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69" name="Rectangle 444"/>
            <p:cNvSpPr>
              <a:spLocks noChangeArrowheads="1"/>
            </p:cNvSpPr>
            <p:nvPr>
              <p:custDataLst>
                <p:tags r:id="rId39"/>
              </p:custDataLst>
            </p:nvPr>
          </p:nvSpPr>
          <p:spPr bwMode="gray">
            <a:xfrm>
              <a:off x="3785174" y="3217863"/>
              <a:ext cx="30028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echtenste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0" name="Rectangle 445"/>
            <p:cNvSpPr>
              <a:spLocks noChangeArrowheads="1"/>
            </p:cNvSpPr>
            <p:nvPr>
              <p:custDataLst>
                <p:tags r:id="rId40"/>
              </p:custDataLst>
            </p:nvPr>
          </p:nvSpPr>
          <p:spPr bwMode="gray">
            <a:xfrm>
              <a:off x="3987800" y="2563813"/>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ce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271" name="Group 472"/>
            <p:cNvGrpSpPr/>
            <p:nvPr/>
          </p:nvGrpSpPr>
          <p:grpSpPr bwMode="gray">
            <a:xfrm>
              <a:off x="4120780" y="3251201"/>
              <a:ext cx="808408" cy="125412"/>
              <a:chOff x="4120780" y="3251201"/>
              <a:chExt cx="808408" cy="125412"/>
            </a:xfrm>
          </p:grpSpPr>
          <p:sp>
            <p:nvSpPr>
              <p:cNvPr id="422" name="Line 450"/>
              <p:cNvSpPr>
                <a:spLocks noChangeShapeType="1"/>
              </p:cNvSpPr>
              <p:nvPr>
                <p:custDataLst>
                  <p:tags r:id="rId191"/>
                </p:custDataLst>
              </p:nvPr>
            </p:nvSpPr>
            <p:spPr bwMode="gray">
              <a:xfrm flipH="1">
                <a:off x="4195763" y="3376613"/>
                <a:ext cx="733425"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3" name="Line 451"/>
              <p:cNvSpPr>
                <a:spLocks noChangeShapeType="1"/>
              </p:cNvSpPr>
              <p:nvPr>
                <p:custDataLst>
                  <p:tags r:id="rId192"/>
                </p:custDataLst>
              </p:nvPr>
            </p:nvSpPr>
            <p:spPr bwMode="gray">
              <a:xfrm flipH="1">
                <a:off x="4120780" y="3251201"/>
                <a:ext cx="636214" cy="0"/>
              </a:xfrm>
              <a:prstGeom prst="line">
                <a:avLst/>
              </a:prstGeom>
              <a:noFill/>
              <a:ln w="6350">
                <a:solidFill>
                  <a:schemeClr val="bg2"/>
                </a:solidFill>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4" name="Freeform 452"/>
              <p:cNvSpPr>
                <a:spLocks/>
              </p:cNvSpPr>
              <p:nvPr>
                <p:custDataLst>
                  <p:tags r:id="rId193"/>
                </p:custDataLst>
              </p:nvPr>
            </p:nvSpPr>
            <p:spPr bwMode="gray">
              <a:xfrm>
                <a:off x="4371976" y="3298826"/>
                <a:ext cx="488950" cy="22225"/>
              </a:xfrm>
              <a:custGeom>
                <a:avLst/>
                <a:gdLst/>
                <a:ahLst/>
                <a:cxnLst>
                  <a:cxn ang="0">
                    <a:pos x="308" y="0"/>
                  </a:cxn>
                  <a:cxn ang="0">
                    <a:pos x="240" y="0"/>
                  </a:cxn>
                  <a:cxn ang="0">
                    <a:pos x="218" y="14"/>
                  </a:cxn>
                  <a:cxn ang="0">
                    <a:pos x="0" y="14"/>
                  </a:cxn>
                </a:cxnLst>
                <a:rect l="0" t="0" r="r" b="b"/>
                <a:pathLst>
                  <a:path w="308" h="14">
                    <a:moveTo>
                      <a:pt x="308" y="0"/>
                    </a:moveTo>
                    <a:lnTo>
                      <a:pt x="240" y="0"/>
                    </a:lnTo>
                    <a:lnTo>
                      <a:pt x="218" y="14"/>
                    </a:lnTo>
                    <a:lnTo>
                      <a:pt x="0" y="14"/>
                    </a:lnTo>
                  </a:path>
                </a:pathLst>
              </a:custGeom>
              <a:noFill/>
              <a:ln w="6350" cap="flat" cmpd="sng">
                <a:solidFill>
                  <a:schemeClr val="bg2"/>
                </a:solidFill>
                <a:prstDash val="solid"/>
                <a:round/>
                <a:headEnd/>
                <a:tailEnd/>
              </a:ln>
              <a:effectLst/>
            </p:spPr>
            <p:txBody>
              <a:bodyPr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72" name="Rectangle 209"/>
            <p:cNvSpPr>
              <a:spLocks noChangeArrowheads="1"/>
            </p:cNvSpPr>
            <p:nvPr>
              <p:custDataLst>
                <p:tags r:id="rId41"/>
              </p:custDataLst>
            </p:nvPr>
          </p:nvSpPr>
          <p:spPr bwMode="gray">
            <a:xfrm>
              <a:off x="5373688" y="3621088"/>
              <a:ext cx="1063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y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3" name="Rectangle 210"/>
            <p:cNvSpPr>
              <a:spLocks noChangeArrowheads="1"/>
            </p:cNvSpPr>
            <p:nvPr>
              <p:custDataLst>
                <p:tags r:id="rId42"/>
              </p:custDataLst>
            </p:nvPr>
          </p:nvSpPr>
          <p:spPr bwMode="gray">
            <a:xfrm>
              <a:off x="5629275" y="381000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uwai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4" name="Rectangle 211"/>
            <p:cNvSpPr>
              <a:spLocks noChangeArrowheads="1"/>
            </p:cNvSpPr>
            <p:nvPr>
              <p:custDataLst>
                <p:tags r:id="rId43"/>
              </p:custDataLst>
            </p:nvPr>
          </p:nvSpPr>
          <p:spPr bwMode="gray">
            <a:xfrm>
              <a:off x="5743575" y="3930652"/>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Qat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5" name="Rectangle 212"/>
            <p:cNvSpPr>
              <a:spLocks noChangeArrowheads="1"/>
            </p:cNvSpPr>
            <p:nvPr>
              <p:custDataLst>
                <p:tags r:id="rId44"/>
              </p:custDataLst>
            </p:nvPr>
          </p:nvSpPr>
          <p:spPr bwMode="gray">
            <a:xfrm>
              <a:off x="7942263" y="4291013"/>
              <a:ext cx="13383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6" name="Rectangle 213"/>
            <p:cNvSpPr>
              <a:spLocks noChangeArrowheads="1"/>
            </p:cNvSpPr>
            <p:nvPr>
              <p:custDataLst>
                <p:tags r:id="rId45"/>
              </p:custDataLst>
            </p:nvPr>
          </p:nvSpPr>
          <p:spPr bwMode="gray">
            <a:xfrm>
              <a:off x="7832724" y="4454526"/>
              <a:ext cx="1218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l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7" name="Rectangle 214"/>
            <p:cNvSpPr>
              <a:spLocks noChangeArrowheads="1"/>
            </p:cNvSpPr>
            <p:nvPr>
              <p:custDataLst>
                <p:tags r:id="rId46"/>
              </p:custDataLst>
            </p:nvPr>
          </p:nvSpPr>
          <p:spPr bwMode="gray">
            <a:xfrm>
              <a:off x="8181977" y="4378326"/>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cr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8" name="Rectangle 215"/>
            <p:cNvSpPr>
              <a:spLocks noChangeArrowheads="1"/>
            </p:cNvSpPr>
            <p:nvPr>
              <p:custDataLst>
                <p:tags r:id="rId47"/>
              </p:custDataLst>
            </p:nvPr>
          </p:nvSpPr>
          <p:spPr bwMode="gray">
            <a:xfrm>
              <a:off x="6951662" y="5048251"/>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ristma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79" name="Rectangle 216"/>
            <p:cNvSpPr>
              <a:spLocks noChangeArrowheads="1"/>
            </p:cNvSpPr>
            <p:nvPr>
              <p:custDataLst>
                <p:tags r:id="rId48"/>
              </p:custDataLst>
            </p:nvPr>
          </p:nvSpPr>
          <p:spPr bwMode="gray">
            <a:xfrm>
              <a:off x="8447088" y="4151313"/>
              <a:ext cx="1664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ake 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0" name="Rectangle 217"/>
            <p:cNvSpPr>
              <a:spLocks noChangeArrowheads="1"/>
            </p:cNvSpPr>
            <p:nvPr>
              <p:custDataLst>
                <p:tags r:id="rId49"/>
              </p:custDataLst>
            </p:nvPr>
          </p:nvSpPr>
          <p:spPr bwMode="gray">
            <a:xfrm>
              <a:off x="8596313" y="4411662"/>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rshall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1" name="Rectangle 218"/>
            <p:cNvSpPr>
              <a:spLocks noChangeArrowheads="1"/>
            </p:cNvSpPr>
            <p:nvPr>
              <p:custDataLst>
                <p:tags r:id="rId50"/>
              </p:custDataLst>
            </p:nvPr>
          </p:nvSpPr>
          <p:spPr bwMode="gray">
            <a:xfrm>
              <a:off x="6186487" y="4559301"/>
              <a:ext cx="19904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div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2" name="Rectangle 219"/>
            <p:cNvSpPr>
              <a:spLocks noChangeArrowheads="1"/>
            </p:cNvSpPr>
            <p:nvPr>
              <p:custDataLst>
                <p:tags r:id="rId51"/>
              </p:custDataLst>
            </p:nvPr>
          </p:nvSpPr>
          <p:spPr bwMode="gray">
            <a:xfrm>
              <a:off x="7048500" y="2576513"/>
              <a:ext cx="14070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us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3" name="Rectangle 220"/>
            <p:cNvSpPr>
              <a:spLocks noChangeArrowheads="1"/>
            </p:cNvSpPr>
            <p:nvPr>
              <p:custDataLst>
                <p:tags r:id="rId52"/>
              </p:custDataLst>
            </p:nvPr>
          </p:nvSpPr>
          <p:spPr bwMode="gray">
            <a:xfrm>
              <a:off x="6789738" y="3613150"/>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4" name="Rectangle 221"/>
            <p:cNvSpPr>
              <a:spLocks noChangeArrowheads="1"/>
            </p:cNvSpPr>
            <p:nvPr>
              <p:custDataLst>
                <p:tags r:id="rId53"/>
              </p:custDataLst>
            </p:nvPr>
          </p:nvSpPr>
          <p:spPr bwMode="gray">
            <a:xfrm>
              <a:off x="7640639" y="54229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ustr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5" name="Rectangle 222"/>
            <p:cNvSpPr>
              <a:spLocks noChangeArrowheads="1"/>
            </p:cNvSpPr>
            <p:nvPr>
              <p:custDataLst>
                <p:tags r:id="rId54"/>
              </p:custDataLst>
            </p:nvPr>
          </p:nvSpPr>
          <p:spPr bwMode="gray">
            <a:xfrm>
              <a:off x="6364288" y="4014788"/>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6" name="Rectangle 223"/>
            <p:cNvSpPr>
              <a:spLocks noChangeArrowheads="1"/>
            </p:cNvSpPr>
            <p:nvPr>
              <p:custDataLst>
                <p:tags r:id="rId55"/>
              </p:custDataLst>
            </p:nvPr>
          </p:nvSpPr>
          <p:spPr bwMode="gray">
            <a:xfrm>
              <a:off x="5770563" y="36893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7" name="Rectangle 224"/>
            <p:cNvSpPr>
              <a:spLocks noChangeArrowheads="1"/>
            </p:cNvSpPr>
            <p:nvPr>
              <p:custDataLst>
                <p:tags r:id="rId56"/>
              </p:custDataLst>
            </p:nvPr>
          </p:nvSpPr>
          <p:spPr bwMode="gray">
            <a:xfrm>
              <a:off x="6075363" y="3190876"/>
              <a:ext cx="25395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azakh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8" name="Rectangle 225"/>
            <p:cNvSpPr>
              <a:spLocks noChangeArrowheads="1"/>
            </p:cNvSpPr>
            <p:nvPr>
              <p:custDataLst>
                <p:tags r:id="rId57"/>
              </p:custDataLst>
            </p:nvPr>
          </p:nvSpPr>
          <p:spPr bwMode="gray">
            <a:xfrm>
              <a:off x="6883400" y="3243263"/>
              <a:ext cx="20933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ngo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89" name="Rectangle 226"/>
            <p:cNvSpPr>
              <a:spLocks noChangeArrowheads="1"/>
            </p:cNvSpPr>
            <p:nvPr>
              <p:custDataLst>
                <p:tags r:id="rId58"/>
              </p:custDataLst>
            </p:nvPr>
          </p:nvSpPr>
          <p:spPr bwMode="gray">
            <a:xfrm>
              <a:off x="5478463" y="3967164"/>
              <a:ext cx="2095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udi Ara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0" name="Rectangle 227"/>
            <p:cNvSpPr>
              <a:spLocks noChangeArrowheads="1"/>
            </p:cNvSpPr>
            <p:nvPr>
              <p:custDataLst>
                <p:tags r:id="rId59"/>
              </p:custDataLst>
            </p:nvPr>
          </p:nvSpPr>
          <p:spPr bwMode="gray">
            <a:xfrm>
              <a:off x="5270500" y="3511551"/>
              <a:ext cx="177800" cy="65890"/>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e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1" name="Rectangle 228"/>
            <p:cNvSpPr>
              <a:spLocks noChangeArrowheads="1"/>
            </p:cNvSpPr>
            <p:nvPr>
              <p:custDataLst>
                <p:tags r:id="rId60"/>
              </p:custDataLst>
            </p:nvPr>
          </p:nvSpPr>
          <p:spPr bwMode="gray">
            <a:xfrm>
              <a:off x="5537199" y="3727451"/>
              <a:ext cx="8751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raq</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2" name="Rectangle 229"/>
            <p:cNvSpPr>
              <a:spLocks noChangeArrowheads="1"/>
            </p:cNvSpPr>
            <p:nvPr>
              <p:custDataLst>
                <p:tags r:id="rId61"/>
              </p:custDataLst>
            </p:nvPr>
          </p:nvSpPr>
          <p:spPr bwMode="gray">
            <a:xfrm>
              <a:off x="6032500" y="383381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3" name="Rectangle 230"/>
            <p:cNvSpPr>
              <a:spLocks noChangeArrowheads="1"/>
            </p:cNvSpPr>
            <p:nvPr>
              <p:custDataLst>
                <p:tags r:id="rId62"/>
              </p:custDataLst>
            </p:nvPr>
          </p:nvSpPr>
          <p:spPr bwMode="gray">
            <a:xfrm>
              <a:off x="6723063" y="4037013"/>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yanm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4" name="Rectangle 231"/>
            <p:cNvSpPr>
              <a:spLocks noChangeArrowheads="1"/>
            </p:cNvSpPr>
            <p:nvPr>
              <p:custDataLst>
                <p:tags r:id="rId63"/>
              </p:custDataLst>
            </p:nvPr>
          </p:nvSpPr>
          <p:spPr bwMode="gray">
            <a:xfrm>
              <a:off x="5962650" y="3665538"/>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fgha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5" name="Rectangle 232"/>
            <p:cNvSpPr>
              <a:spLocks noChangeArrowheads="1"/>
            </p:cNvSpPr>
            <p:nvPr>
              <p:custDataLst>
                <p:tags r:id="rId64"/>
              </p:custDataLst>
            </p:nvPr>
          </p:nvSpPr>
          <p:spPr bwMode="gray">
            <a:xfrm>
              <a:off x="5884863" y="3382963"/>
              <a:ext cx="24880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zbe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6" name="Rectangle 233"/>
            <p:cNvSpPr>
              <a:spLocks noChangeArrowheads="1"/>
            </p:cNvSpPr>
            <p:nvPr>
              <p:custDataLst>
                <p:tags r:id="rId65"/>
              </p:custDataLst>
            </p:nvPr>
          </p:nvSpPr>
          <p:spPr bwMode="gray">
            <a:xfrm>
              <a:off x="5810250" y="3521076"/>
              <a:ext cx="31057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rkmen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7" name="Rectangle 234"/>
            <p:cNvSpPr>
              <a:spLocks noChangeArrowheads="1"/>
            </p:cNvSpPr>
            <p:nvPr>
              <p:custDataLst>
                <p:tags r:id="rId66"/>
              </p:custDataLst>
            </p:nvPr>
          </p:nvSpPr>
          <p:spPr bwMode="gray">
            <a:xfrm>
              <a:off x="6858000" y="4219576"/>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a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8" name="Rectangle 235"/>
            <p:cNvSpPr>
              <a:spLocks noChangeArrowheads="1"/>
            </p:cNvSpPr>
            <p:nvPr>
              <p:custDataLst>
                <p:tags r:id="rId67"/>
              </p:custDataLst>
            </p:nvPr>
          </p:nvSpPr>
          <p:spPr bwMode="gray">
            <a:xfrm>
              <a:off x="5557838" y="4214813"/>
              <a:ext cx="15614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Yeme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299" name="Rectangle 236"/>
            <p:cNvSpPr>
              <a:spLocks noChangeArrowheads="1"/>
            </p:cNvSpPr>
            <p:nvPr>
              <p:custDataLst>
                <p:tags r:id="rId68"/>
              </p:custDataLst>
            </p:nvPr>
          </p:nvSpPr>
          <p:spPr bwMode="gray">
            <a:xfrm>
              <a:off x="7894638" y="3568701"/>
              <a:ext cx="12697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ap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0" name="Rectangle 237"/>
            <p:cNvSpPr>
              <a:spLocks noChangeArrowheads="1"/>
            </p:cNvSpPr>
            <p:nvPr>
              <p:custDataLst>
                <p:tags r:id="rId69"/>
              </p:custDataLst>
            </p:nvPr>
          </p:nvSpPr>
          <p:spPr bwMode="gray">
            <a:xfrm>
              <a:off x="5792788" y="4108451"/>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Om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1" name="Rectangle 238"/>
            <p:cNvSpPr>
              <a:spLocks noChangeArrowheads="1"/>
            </p:cNvSpPr>
            <p:nvPr>
              <p:custDataLst>
                <p:tags r:id="rId70"/>
              </p:custDataLst>
            </p:nvPr>
          </p:nvSpPr>
          <p:spPr bwMode="gray">
            <a:xfrm>
              <a:off x="6910388" y="4100513"/>
              <a:ext cx="9952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a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2" name="Rectangle 239"/>
            <p:cNvSpPr>
              <a:spLocks noChangeArrowheads="1"/>
            </p:cNvSpPr>
            <p:nvPr>
              <p:custDataLst>
                <p:tags r:id="rId71"/>
              </p:custDataLst>
            </p:nvPr>
          </p:nvSpPr>
          <p:spPr bwMode="gray">
            <a:xfrm>
              <a:off x="7085013" y="4300538"/>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ietnam</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3" name="Rectangle 240"/>
            <p:cNvSpPr>
              <a:spLocks noChangeArrowheads="1"/>
            </p:cNvSpPr>
            <p:nvPr>
              <p:custDataLst>
                <p:tags r:id="rId72"/>
              </p:custDataLst>
            </p:nvPr>
          </p:nvSpPr>
          <p:spPr bwMode="gray">
            <a:xfrm>
              <a:off x="6465888" y="3849687"/>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p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4" name="Rectangle 241"/>
            <p:cNvSpPr>
              <a:spLocks noChangeArrowheads="1"/>
            </p:cNvSpPr>
            <p:nvPr>
              <p:custDataLst>
                <p:tags r:id="rId73"/>
              </p:custDataLst>
            </p:nvPr>
          </p:nvSpPr>
          <p:spPr bwMode="gray">
            <a:xfrm>
              <a:off x="6226175" y="3413126"/>
              <a:ext cx="2402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yrgyz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5" name="Rectangle 242"/>
            <p:cNvSpPr>
              <a:spLocks noChangeArrowheads="1"/>
            </p:cNvSpPr>
            <p:nvPr>
              <p:custDataLst>
                <p:tags r:id="rId74"/>
              </p:custDataLst>
            </p:nvPr>
          </p:nvSpPr>
          <p:spPr bwMode="gray">
            <a:xfrm>
              <a:off x="5630864" y="3578226"/>
              <a:ext cx="23679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zerbaij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6" name="Rectangle 243"/>
            <p:cNvSpPr>
              <a:spLocks noChangeArrowheads="1"/>
            </p:cNvSpPr>
            <p:nvPr>
              <p:custDataLst>
                <p:tags r:id="rId75"/>
              </p:custDataLst>
            </p:nvPr>
          </p:nvSpPr>
          <p:spPr bwMode="gray">
            <a:xfrm>
              <a:off x="6140451" y="35115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jikis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7" name="Rectangle 244"/>
            <p:cNvSpPr>
              <a:spLocks noChangeArrowheads="1"/>
            </p:cNvSpPr>
            <p:nvPr>
              <p:custDataLst>
                <p:tags r:id="rId76"/>
              </p:custDataLst>
            </p:nvPr>
          </p:nvSpPr>
          <p:spPr bwMode="gray">
            <a:xfrm>
              <a:off x="8359775" y="5888038"/>
              <a:ext cx="28998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Zea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8" name="Rectangle 245"/>
            <p:cNvSpPr>
              <a:spLocks noChangeArrowheads="1"/>
            </p:cNvSpPr>
            <p:nvPr>
              <p:custDataLst>
                <p:tags r:id="rId77"/>
              </p:custDataLst>
            </p:nvPr>
          </p:nvSpPr>
          <p:spPr bwMode="gray">
            <a:xfrm>
              <a:off x="7910513" y="4806953"/>
              <a:ext cx="458787"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pua New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09" name="Rectangle 246"/>
            <p:cNvSpPr>
              <a:spLocks noChangeArrowheads="1"/>
            </p:cNvSpPr>
            <p:nvPr>
              <p:custDataLst>
                <p:tags r:id="rId78"/>
              </p:custDataLst>
            </p:nvPr>
          </p:nvSpPr>
          <p:spPr bwMode="gray">
            <a:xfrm>
              <a:off x="5345113" y="3763963"/>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Jor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0" name="Rectangle 247"/>
            <p:cNvSpPr>
              <a:spLocks noChangeArrowheads="1"/>
            </p:cNvSpPr>
            <p:nvPr>
              <p:custDataLst>
                <p:tags r:id="rId79"/>
              </p:custDataLst>
            </p:nvPr>
          </p:nvSpPr>
          <p:spPr bwMode="gray">
            <a:xfrm>
              <a:off x="7427912" y="3465513"/>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1" name="Rectangle 248"/>
            <p:cNvSpPr>
              <a:spLocks noChangeArrowheads="1"/>
            </p:cNvSpPr>
            <p:nvPr>
              <p:custDataLst>
                <p:tags r:id="rId80"/>
              </p:custDataLst>
            </p:nvPr>
          </p:nvSpPr>
          <p:spPr bwMode="gray">
            <a:xfrm>
              <a:off x="7477124" y="4819651"/>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ndo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2" name="Rectangle 249"/>
            <p:cNvSpPr>
              <a:spLocks noChangeArrowheads="1"/>
            </p:cNvSpPr>
            <p:nvPr>
              <p:custDataLst>
                <p:tags r:id="rId81"/>
              </p:custDataLst>
            </p:nvPr>
          </p:nvSpPr>
          <p:spPr bwMode="gray">
            <a:xfrm>
              <a:off x="6958013" y="4551363"/>
              <a:ext cx="19389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y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3" name="Rectangle 250"/>
            <p:cNvSpPr>
              <a:spLocks noChangeArrowheads="1"/>
            </p:cNvSpPr>
            <p:nvPr>
              <p:custDataLst>
                <p:tags r:id="rId82"/>
              </p:custDataLst>
            </p:nvPr>
          </p:nvSpPr>
          <p:spPr bwMode="gray">
            <a:xfrm>
              <a:off x="6502400" y="3963988"/>
              <a:ext cx="25566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ngladesh</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4" name="Rectangle 251"/>
            <p:cNvSpPr>
              <a:spLocks noChangeArrowheads="1"/>
            </p:cNvSpPr>
            <p:nvPr>
              <p:custDataLst>
                <p:tags r:id="rId83"/>
              </p:custDataLst>
            </p:nvPr>
          </p:nvSpPr>
          <p:spPr bwMode="gray">
            <a:xfrm>
              <a:off x="7413625" y="3581401"/>
              <a:ext cx="27454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Ko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5" name="Rectangle 252"/>
            <p:cNvSpPr>
              <a:spLocks noChangeArrowheads="1"/>
            </p:cNvSpPr>
            <p:nvPr>
              <p:custDataLst>
                <p:tags r:id="rId84"/>
              </p:custDataLst>
            </p:nvPr>
          </p:nvSpPr>
          <p:spPr bwMode="gray">
            <a:xfrm>
              <a:off x="6596064" y="3805238"/>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hut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6" name="Rectangle 253"/>
            <p:cNvSpPr>
              <a:spLocks noChangeArrowheads="1"/>
            </p:cNvSpPr>
            <p:nvPr>
              <p:custDataLst>
                <p:tags r:id="rId85"/>
              </p:custDataLst>
            </p:nvPr>
          </p:nvSpPr>
          <p:spPr bwMode="gray">
            <a:xfrm>
              <a:off x="6362700" y="44704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ri Lank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7" name="Rectangle 254"/>
            <p:cNvSpPr>
              <a:spLocks noChangeArrowheads="1"/>
            </p:cNvSpPr>
            <p:nvPr>
              <p:custDataLst>
                <p:tags r:id="rId86"/>
              </p:custDataLst>
            </p:nvPr>
          </p:nvSpPr>
          <p:spPr bwMode="gray">
            <a:xfrm>
              <a:off x="7443788" y="4025901"/>
              <a:ext cx="1595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iw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8" name="Rectangle 255"/>
            <p:cNvSpPr>
              <a:spLocks noChangeArrowheads="1"/>
            </p:cNvSpPr>
            <p:nvPr>
              <p:custDataLst>
                <p:tags r:id="rId87"/>
              </p:custDataLst>
            </p:nvPr>
          </p:nvSpPr>
          <p:spPr bwMode="gray">
            <a:xfrm>
              <a:off x="8342313" y="5322888"/>
              <a:ext cx="3345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ew Caledo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19" name="Rectangle 256"/>
            <p:cNvSpPr>
              <a:spLocks noChangeArrowheads="1"/>
            </p:cNvSpPr>
            <p:nvPr>
              <p:custDataLst>
                <p:tags r:id="rId88"/>
              </p:custDataLst>
            </p:nvPr>
          </p:nvSpPr>
          <p:spPr bwMode="gray">
            <a:xfrm>
              <a:off x="7510463" y="4284663"/>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hilippin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0" name="Rectangle 257"/>
            <p:cNvSpPr>
              <a:spLocks noChangeArrowheads="1"/>
            </p:cNvSpPr>
            <p:nvPr>
              <p:custDataLst>
                <p:tags r:id="rId89"/>
              </p:custDataLst>
            </p:nvPr>
          </p:nvSpPr>
          <p:spPr bwMode="gray">
            <a:xfrm>
              <a:off x="8401050" y="4926013"/>
              <a:ext cx="26081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lomon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1" name="Rectangle 258"/>
            <p:cNvSpPr>
              <a:spLocks noChangeArrowheads="1"/>
            </p:cNvSpPr>
            <p:nvPr>
              <p:custDataLst>
                <p:tags r:id="rId90"/>
              </p:custDataLst>
            </p:nvPr>
          </p:nvSpPr>
          <p:spPr bwMode="gray">
            <a:xfrm>
              <a:off x="8545512" y="5084763"/>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anuat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2" name="Rectangle 259"/>
            <p:cNvSpPr>
              <a:spLocks noChangeArrowheads="1"/>
            </p:cNvSpPr>
            <p:nvPr>
              <p:custDataLst>
                <p:tags r:id="rId91"/>
              </p:custDataLst>
            </p:nvPr>
          </p:nvSpPr>
          <p:spPr bwMode="gray">
            <a:xfrm>
              <a:off x="5218112" y="37274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Israe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3" name="Rectangle 260"/>
            <p:cNvSpPr>
              <a:spLocks noChangeArrowheads="1"/>
            </p:cNvSpPr>
            <p:nvPr>
              <p:custDataLst>
                <p:tags r:id="rId92"/>
              </p:custDataLst>
            </p:nvPr>
          </p:nvSpPr>
          <p:spPr bwMode="gray">
            <a:xfrm>
              <a:off x="5746750" y="3992563"/>
              <a:ext cx="13727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A.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4" name="Rectangle 261"/>
            <p:cNvSpPr>
              <a:spLocks noChangeArrowheads="1"/>
            </p:cNvSpPr>
            <p:nvPr>
              <p:custDataLst>
                <p:tags r:id="rId93"/>
              </p:custDataLst>
            </p:nvPr>
          </p:nvSpPr>
          <p:spPr bwMode="gray">
            <a:xfrm>
              <a:off x="5680075" y="3883026"/>
              <a:ext cx="16987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ahra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5" name="Rectangle 262"/>
            <p:cNvSpPr>
              <a:spLocks noChangeArrowheads="1"/>
            </p:cNvSpPr>
            <p:nvPr>
              <p:custDataLst>
                <p:tags r:id="rId94"/>
              </p:custDataLst>
            </p:nvPr>
          </p:nvSpPr>
          <p:spPr bwMode="gray">
            <a:xfrm>
              <a:off x="5335588" y="3675062"/>
              <a:ext cx="19217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ban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6" name="Rectangle 263"/>
            <p:cNvSpPr>
              <a:spLocks noChangeArrowheads="1"/>
            </p:cNvSpPr>
            <p:nvPr>
              <p:custDataLst>
                <p:tags r:id="rId95"/>
              </p:custDataLst>
            </p:nvPr>
          </p:nvSpPr>
          <p:spPr bwMode="gray">
            <a:xfrm>
              <a:off x="5453063" y="3397251"/>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eorg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7" name="Rectangle 264"/>
            <p:cNvSpPr>
              <a:spLocks noChangeArrowheads="1"/>
            </p:cNvSpPr>
            <p:nvPr>
              <p:custDataLst>
                <p:tags r:id="rId96"/>
              </p:custDataLst>
            </p:nvPr>
          </p:nvSpPr>
          <p:spPr bwMode="gray">
            <a:xfrm>
              <a:off x="5440363" y="3468688"/>
              <a:ext cx="19046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me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8" name="Rectangle 281"/>
            <p:cNvSpPr>
              <a:spLocks noChangeArrowheads="1"/>
            </p:cNvSpPr>
            <p:nvPr>
              <p:custDataLst>
                <p:tags r:id="rId97"/>
              </p:custDataLst>
            </p:nvPr>
          </p:nvSpPr>
          <p:spPr bwMode="gray">
            <a:xfrm>
              <a:off x="7234238" y="4457702"/>
              <a:ext cx="171450"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ast Tim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29" name="Rectangle 282"/>
            <p:cNvSpPr>
              <a:spLocks noChangeArrowheads="1"/>
            </p:cNvSpPr>
            <p:nvPr>
              <p:custDataLst>
                <p:tags r:id="rId98"/>
              </p:custDataLst>
            </p:nvPr>
          </p:nvSpPr>
          <p:spPr bwMode="gray">
            <a:xfrm>
              <a:off x="6838950" y="4314826"/>
              <a:ext cx="2247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bod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0" name="Rectangle 284"/>
            <p:cNvSpPr>
              <a:spLocks noChangeArrowheads="1"/>
            </p:cNvSpPr>
            <p:nvPr>
              <p:custDataLst>
                <p:tags r:id="rId99"/>
              </p:custDataLst>
            </p:nvPr>
          </p:nvSpPr>
          <p:spPr bwMode="gray">
            <a:xfrm>
              <a:off x="4491038" y="4375150"/>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ni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1" name="Rectangle 285"/>
            <p:cNvSpPr>
              <a:spLocks noChangeArrowheads="1"/>
            </p:cNvSpPr>
            <p:nvPr>
              <p:custDataLst>
                <p:tags r:id="rId100"/>
              </p:custDataLst>
            </p:nvPr>
          </p:nvSpPr>
          <p:spPr bwMode="gray">
            <a:xfrm>
              <a:off x="4821237" y="4649789"/>
              <a:ext cx="14241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2" name="Rectangle 286"/>
            <p:cNvSpPr>
              <a:spLocks noChangeArrowheads="1"/>
            </p:cNvSpPr>
            <p:nvPr>
              <p:custDataLst>
                <p:tags r:id="rId101"/>
              </p:custDataLst>
            </p:nvPr>
          </p:nvSpPr>
          <p:spPr bwMode="gray">
            <a:xfrm>
              <a:off x="4152900" y="4519614"/>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3" name="Rectangle 287"/>
            <p:cNvSpPr>
              <a:spLocks noChangeArrowheads="1"/>
            </p:cNvSpPr>
            <p:nvPr>
              <p:custDataLst>
                <p:tags r:id="rId102"/>
              </p:custDataLst>
            </p:nvPr>
          </p:nvSpPr>
          <p:spPr bwMode="gray">
            <a:xfrm>
              <a:off x="3884612" y="3784601"/>
              <a:ext cx="21448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r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4" name="Rectangle 288"/>
            <p:cNvSpPr>
              <a:spLocks noChangeArrowheads="1"/>
            </p:cNvSpPr>
            <p:nvPr>
              <p:custDataLst>
                <p:tags r:id="rId103"/>
              </p:custDataLst>
            </p:nvPr>
          </p:nvSpPr>
          <p:spPr bwMode="gray">
            <a:xfrm>
              <a:off x="4699000" y="4708526"/>
              <a:ext cx="14756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b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5" name="Rectangle 289"/>
            <p:cNvSpPr>
              <a:spLocks noChangeArrowheads="1"/>
            </p:cNvSpPr>
            <p:nvPr>
              <p:custDataLst>
                <p:tags r:id="rId104"/>
              </p:custDataLst>
            </p:nvPr>
          </p:nvSpPr>
          <p:spPr bwMode="gray">
            <a:xfrm>
              <a:off x="4452938" y="4537076"/>
              <a:ext cx="18256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o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6" name="Rectangle 290"/>
            <p:cNvSpPr>
              <a:spLocks noChangeArrowheads="1"/>
            </p:cNvSpPr>
            <p:nvPr>
              <p:custDataLst>
                <p:tags r:id="rId105"/>
              </p:custDataLst>
            </p:nvPr>
          </p:nvSpPr>
          <p:spPr bwMode="gray">
            <a:xfrm>
              <a:off x="5114924" y="4695826"/>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Rw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7" name="Rectangle 291"/>
            <p:cNvSpPr>
              <a:spLocks noChangeArrowheads="1"/>
            </p:cNvSpPr>
            <p:nvPr>
              <p:custDataLst>
                <p:tags r:id="rId106"/>
              </p:custDataLst>
            </p:nvPr>
          </p:nvSpPr>
          <p:spPr bwMode="gray">
            <a:xfrm>
              <a:off x="3622674" y="4211639"/>
              <a:ext cx="25738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pe Verd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8" name="Rectangle 292"/>
            <p:cNvSpPr>
              <a:spLocks noChangeArrowheads="1"/>
            </p:cNvSpPr>
            <p:nvPr>
              <p:custDataLst>
                <p:tags r:id="rId107"/>
              </p:custDataLst>
            </p:nvPr>
          </p:nvSpPr>
          <p:spPr bwMode="gray">
            <a:xfrm>
              <a:off x="5719763" y="4767264"/>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ychell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39" name="Rectangle 293"/>
            <p:cNvSpPr>
              <a:spLocks noChangeArrowheads="1"/>
            </p:cNvSpPr>
            <p:nvPr>
              <p:custDataLst>
                <p:tags r:id="rId108"/>
              </p:custDataLst>
            </p:nvPr>
          </p:nvSpPr>
          <p:spPr bwMode="gray">
            <a:xfrm>
              <a:off x="4487863" y="3868738"/>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l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0" name="Rectangle 294"/>
            <p:cNvSpPr>
              <a:spLocks noChangeArrowheads="1"/>
            </p:cNvSpPr>
            <p:nvPr>
              <p:custDataLst>
                <p:tags r:id="rId109"/>
              </p:custDataLst>
            </p:nvPr>
          </p:nvSpPr>
          <p:spPr bwMode="gray">
            <a:xfrm>
              <a:off x="5105400" y="4229101"/>
              <a:ext cx="230188"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or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1" name="Rectangle 295"/>
            <p:cNvSpPr>
              <a:spLocks noChangeArrowheads="1"/>
            </p:cNvSpPr>
            <p:nvPr>
              <p:custDataLst>
                <p:tags r:id="rId110"/>
              </p:custDataLst>
            </p:nvPr>
          </p:nvSpPr>
          <p:spPr bwMode="gray">
            <a:xfrm>
              <a:off x="4875213" y="3875088"/>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ib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2" name="Rectangle 296"/>
            <p:cNvSpPr>
              <a:spLocks noChangeArrowheads="1"/>
            </p:cNvSpPr>
            <p:nvPr>
              <p:custDataLst>
                <p:tags r:id="rId111"/>
              </p:custDataLst>
            </p:nvPr>
          </p:nvSpPr>
          <p:spPr bwMode="gray">
            <a:xfrm>
              <a:off x="4430713" y="4140201"/>
              <a:ext cx="960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3" name="Rectangle 297"/>
            <p:cNvSpPr>
              <a:spLocks noChangeArrowheads="1"/>
            </p:cNvSpPr>
            <p:nvPr>
              <p:custDataLst>
                <p:tags r:id="rId112"/>
              </p:custDataLst>
            </p:nvPr>
          </p:nvSpPr>
          <p:spPr bwMode="gray">
            <a:xfrm>
              <a:off x="4895851" y="4240213"/>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a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4" name="Rectangle 298"/>
            <p:cNvSpPr>
              <a:spLocks noChangeArrowheads="1"/>
            </p:cNvSpPr>
            <p:nvPr>
              <p:custDataLst>
                <p:tags r:id="rId113"/>
              </p:custDataLst>
            </p:nvPr>
          </p:nvSpPr>
          <p:spPr bwMode="gray">
            <a:xfrm>
              <a:off x="4681538" y="4171951"/>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5" name="Rectangle 299"/>
            <p:cNvSpPr>
              <a:spLocks noChangeArrowheads="1"/>
            </p:cNvSpPr>
            <p:nvPr>
              <p:custDataLst>
                <p:tags r:id="rId114"/>
              </p:custDataLst>
            </p:nvPr>
          </p:nvSpPr>
          <p:spPr bwMode="gray">
            <a:xfrm>
              <a:off x="5153025" y="3925888"/>
              <a:ext cx="1252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gypt</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6" name="Rectangle 300"/>
            <p:cNvSpPr>
              <a:spLocks noChangeArrowheads="1"/>
            </p:cNvSpPr>
            <p:nvPr>
              <p:custDataLst>
                <p:tags r:id="rId115"/>
              </p:custDataLst>
            </p:nvPr>
          </p:nvSpPr>
          <p:spPr bwMode="gray">
            <a:xfrm>
              <a:off x="4851400" y="5048251"/>
              <a:ext cx="15442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ngo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7" name="Rectangle 301"/>
            <p:cNvSpPr>
              <a:spLocks noChangeArrowheads="1"/>
            </p:cNvSpPr>
            <p:nvPr>
              <p:custDataLst>
                <p:tags r:id="rId116"/>
              </p:custDataLst>
            </p:nvPr>
          </p:nvSpPr>
          <p:spPr bwMode="gray">
            <a:xfrm>
              <a:off x="4921251" y="4779964"/>
              <a:ext cx="26987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em. Rep. Con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8" name="Rectangle 302"/>
            <p:cNvSpPr>
              <a:spLocks noChangeArrowheads="1"/>
            </p:cNvSpPr>
            <p:nvPr>
              <p:custDataLst>
                <p:tags r:id="rId117"/>
              </p:custDataLst>
            </p:nvPr>
          </p:nvSpPr>
          <p:spPr bwMode="gray">
            <a:xfrm>
              <a:off x="5338763" y="4418014"/>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thiop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49" name="Rectangle 303"/>
            <p:cNvSpPr>
              <a:spLocks noChangeArrowheads="1"/>
            </p:cNvSpPr>
            <p:nvPr>
              <p:custDataLst>
                <p:tags r:id="rId118"/>
              </p:custDataLst>
            </p:nvPr>
          </p:nvSpPr>
          <p:spPr bwMode="gray">
            <a:xfrm>
              <a:off x="4965699" y="5553076"/>
              <a:ext cx="200025"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Af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0" name="Rectangle 304"/>
            <p:cNvSpPr>
              <a:spLocks noChangeArrowheads="1"/>
            </p:cNvSpPr>
            <p:nvPr>
              <p:custDataLst>
                <p:tags r:id="rId119"/>
              </p:custDataLst>
            </p:nvPr>
          </p:nvSpPr>
          <p:spPr bwMode="gray">
            <a:xfrm>
              <a:off x="4643438" y="4418014"/>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ger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1" name="Rectangle 305"/>
            <p:cNvSpPr>
              <a:spLocks noChangeArrowheads="1"/>
            </p:cNvSpPr>
            <p:nvPr>
              <p:custDataLst>
                <p:tags r:id="rId120"/>
              </p:custDataLst>
            </p:nvPr>
          </p:nvSpPr>
          <p:spPr bwMode="gray">
            <a:xfrm>
              <a:off x="4821237" y="5259389"/>
              <a:ext cx="18531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ami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2" name="Rectangle 306"/>
            <p:cNvSpPr>
              <a:spLocks noChangeArrowheads="1"/>
            </p:cNvSpPr>
            <p:nvPr>
              <p:custDataLst>
                <p:tags r:id="rId121"/>
              </p:custDataLst>
            </p:nvPr>
          </p:nvSpPr>
          <p:spPr bwMode="gray">
            <a:xfrm>
              <a:off x="4127500" y="4137028"/>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urit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3" name="Rectangle 307"/>
            <p:cNvSpPr>
              <a:spLocks noChangeArrowheads="1"/>
            </p:cNvSpPr>
            <p:nvPr>
              <p:custDataLst>
                <p:tags r:id="rId122"/>
              </p:custDataLst>
            </p:nvPr>
          </p:nvSpPr>
          <p:spPr bwMode="gray">
            <a:xfrm>
              <a:off x="5067300" y="5100639"/>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4" name="Rectangle 308"/>
            <p:cNvSpPr>
              <a:spLocks noChangeArrowheads="1"/>
            </p:cNvSpPr>
            <p:nvPr>
              <p:custDataLst>
                <p:tags r:id="rId123"/>
              </p:custDataLst>
            </p:nvPr>
          </p:nvSpPr>
          <p:spPr bwMode="gray">
            <a:xfrm>
              <a:off x="5245100" y="4876801"/>
              <a:ext cx="19732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anzan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5" name="Rectangle 309"/>
            <p:cNvSpPr>
              <a:spLocks noChangeArrowheads="1"/>
            </p:cNvSpPr>
            <p:nvPr>
              <p:custDataLst>
                <p:tags r:id="rId124"/>
              </p:custDataLst>
            </p:nvPr>
          </p:nvSpPr>
          <p:spPr bwMode="gray">
            <a:xfrm>
              <a:off x="5349875" y="4657725"/>
              <a:ext cx="1355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Keny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6" name="Rectangle 310"/>
            <p:cNvSpPr>
              <a:spLocks noChangeArrowheads="1"/>
            </p:cNvSpPr>
            <p:nvPr>
              <p:custDataLst>
                <p:tags r:id="rId125"/>
              </p:custDataLst>
            </p:nvPr>
          </p:nvSpPr>
          <p:spPr bwMode="gray">
            <a:xfrm>
              <a:off x="5575300" y="4403726"/>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mal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7" name="Rectangle 311"/>
            <p:cNvSpPr>
              <a:spLocks noChangeArrowheads="1"/>
            </p:cNvSpPr>
            <p:nvPr>
              <p:custDataLst>
                <p:tags r:id="rId126"/>
              </p:custDataLst>
            </p:nvPr>
          </p:nvSpPr>
          <p:spPr bwMode="gray">
            <a:xfrm>
              <a:off x="5016500" y="5327650"/>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tsw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8" name="Rectangle 312"/>
            <p:cNvSpPr>
              <a:spLocks noChangeArrowheads="1"/>
            </p:cNvSpPr>
            <p:nvPr>
              <p:custDataLst>
                <p:tags r:id="rId127"/>
              </p:custDataLst>
            </p:nvPr>
          </p:nvSpPr>
          <p:spPr bwMode="gray">
            <a:xfrm>
              <a:off x="5262563" y="5154613"/>
              <a:ext cx="293688"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zambiqu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59" name="Rectangle 313"/>
            <p:cNvSpPr>
              <a:spLocks noChangeArrowheads="1"/>
            </p:cNvSpPr>
            <p:nvPr>
              <p:custDataLst>
                <p:tags r:id="rId128"/>
              </p:custDataLst>
            </p:nvPr>
          </p:nvSpPr>
          <p:spPr bwMode="gray">
            <a:xfrm>
              <a:off x="4251325" y="3711576"/>
              <a:ext cx="20075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oroc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0" name="Rectangle 314"/>
            <p:cNvSpPr>
              <a:spLocks noChangeArrowheads="1"/>
            </p:cNvSpPr>
            <p:nvPr>
              <p:custDataLst>
                <p:tags r:id="rId129"/>
              </p:custDataLst>
            </p:nvPr>
          </p:nvSpPr>
          <p:spPr bwMode="gray">
            <a:xfrm>
              <a:off x="5705475" y="5233989"/>
              <a:ext cx="2693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dagasca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1" name="Rectangle 315"/>
            <p:cNvSpPr>
              <a:spLocks noChangeArrowheads="1"/>
            </p:cNvSpPr>
            <p:nvPr>
              <p:custDataLst>
                <p:tags r:id="rId130"/>
              </p:custDataLst>
            </p:nvPr>
          </p:nvSpPr>
          <p:spPr bwMode="gray">
            <a:xfrm>
              <a:off x="4640263" y="4551364"/>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meroo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2" name="Rectangle 316"/>
            <p:cNvSpPr>
              <a:spLocks noChangeArrowheads="1"/>
            </p:cNvSpPr>
            <p:nvPr>
              <p:custDataLst>
                <p:tags r:id="rId131"/>
              </p:custDataLst>
            </p:nvPr>
          </p:nvSpPr>
          <p:spPr bwMode="gray">
            <a:xfrm>
              <a:off x="5078412" y="5235576"/>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Zimbabw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3" name="Rectangle 317"/>
            <p:cNvSpPr>
              <a:spLocks noChangeArrowheads="1"/>
            </p:cNvSpPr>
            <p:nvPr>
              <p:custDataLst>
                <p:tags r:id="rId132"/>
              </p:custDataLst>
            </p:nvPr>
          </p:nvSpPr>
          <p:spPr bwMode="gray">
            <a:xfrm>
              <a:off x="4397374" y="4421188"/>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h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4" name="Rectangle 318"/>
            <p:cNvSpPr>
              <a:spLocks noChangeArrowheads="1"/>
            </p:cNvSpPr>
            <p:nvPr>
              <p:custDataLst>
                <p:tags r:id="rId133"/>
              </p:custDataLst>
            </p:nvPr>
          </p:nvSpPr>
          <p:spPr bwMode="gray">
            <a:xfrm>
              <a:off x="4151314" y="4365626"/>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5" name="Rectangle 319"/>
            <p:cNvSpPr>
              <a:spLocks noChangeArrowheads="1"/>
            </p:cNvSpPr>
            <p:nvPr>
              <p:custDataLst>
                <p:tags r:id="rId134"/>
              </p:custDataLst>
            </p:nvPr>
          </p:nvSpPr>
          <p:spPr bwMode="gray">
            <a:xfrm>
              <a:off x="4656139" y="3683000"/>
              <a:ext cx="15786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uni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6" name="Rectangle 320"/>
            <p:cNvSpPr>
              <a:spLocks noChangeArrowheads="1"/>
            </p:cNvSpPr>
            <p:nvPr>
              <p:custDataLst>
                <p:tags r:id="rId135"/>
              </p:custDataLst>
            </p:nvPr>
          </p:nvSpPr>
          <p:spPr bwMode="gray">
            <a:xfrm>
              <a:off x="5207000" y="4603751"/>
              <a:ext cx="17158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gan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7" name="Rectangle 321"/>
            <p:cNvSpPr>
              <a:spLocks noChangeArrowheads="1"/>
            </p:cNvSpPr>
            <p:nvPr>
              <p:custDataLst>
                <p:tags r:id="rId136"/>
              </p:custDataLst>
            </p:nvPr>
          </p:nvSpPr>
          <p:spPr bwMode="gray">
            <a:xfrm>
              <a:off x="4291013" y="4498975"/>
              <a:ext cx="182563" cy="13178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te d'Ivoir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8" name="Rectangle 322"/>
            <p:cNvSpPr>
              <a:spLocks noChangeArrowheads="1"/>
            </p:cNvSpPr>
            <p:nvPr>
              <p:custDataLst>
                <p:tags r:id="rId137"/>
              </p:custDataLst>
            </p:nvPr>
          </p:nvSpPr>
          <p:spPr bwMode="gray">
            <a:xfrm>
              <a:off x="4084638" y="4240213"/>
              <a:ext cx="17330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enega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69" name="Rectangle 323"/>
            <p:cNvSpPr>
              <a:spLocks noChangeArrowheads="1"/>
            </p:cNvSpPr>
            <p:nvPr>
              <p:custDataLst>
                <p:tags r:id="rId138"/>
              </p:custDataLst>
            </p:nvPr>
          </p:nvSpPr>
          <p:spPr bwMode="gray">
            <a:xfrm>
              <a:off x="4319588" y="4306889"/>
              <a:ext cx="28483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kina Fas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0" name="Rectangle 324"/>
            <p:cNvSpPr>
              <a:spLocks noChangeArrowheads="1"/>
            </p:cNvSpPr>
            <p:nvPr>
              <p:custDataLst>
                <p:tags r:id="rId139"/>
              </p:custDataLst>
            </p:nvPr>
          </p:nvSpPr>
          <p:spPr bwMode="gray">
            <a:xfrm>
              <a:off x="3903664" y="3959226"/>
              <a:ext cx="35518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Western Sahar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1" name="Rectangle 325"/>
            <p:cNvSpPr>
              <a:spLocks noChangeArrowheads="1"/>
            </p:cNvSpPr>
            <p:nvPr>
              <p:custDataLst>
                <p:tags r:id="rId140"/>
              </p:custDataLst>
            </p:nvPr>
          </p:nvSpPr>
          <p:spPr bwMode="gray">
            <a:xfrm>
              <a:off x="5343524" y="4210050"/>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ritr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2" name="Rectangle 326"/>
            <p:cNvSpPr>
              <a:spLocks noChangeArrowheads="1"/>
            </p:cNvSpPr>
            <p:nvPr>
              <p:custDataLst>
                <p:tags r:id="rId141"/>
              </p:custDataLst>
            </p:nvPr>
          </p:nvSpPr>
          <p:spPr bwMode="gray">
            <a:xfrm>
              <a:off x="5284788" y="5024439"/>
              <a:ext cx="16129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alaw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3" name="Rectangle 327"/>
            <p:cNvSpPr>
              <a:spLocks noChangeArrowheads="1"/>
            </p:cNvSpPr>
            <p:nvPr>
              <p:custDataLst>
                <p:tags r:id="rId142"/>
              </p:custDataLst>
            </p:nvPr>
          </p:nvSpPr>
          <p:spPr bwMode="gray">
            <a:xfrm>
              <a:off x="5299075" y="5476875"/>
              <a:ext cx="22135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wazi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4" name="Rectangle 328"/>
            <p:cNvSpPr>
              <a:spLocks noChangeArrowheads="1"/>
            </p:cNvSpPr>
            <p:nvPr>
              <p:custDataLst>
                <p:tags r:id="rId143"/>
              </p:custDataLst>
            </p:nvPr>
          </p:nvSpPr>
          <p:spPr bwMode="gray">
            <a:xfrm>
              <a:off x="5222875" y="5562602"/>
              <a:ext cx="200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Lesoth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5" name="Rectangle 329"/>
            <p:cNvSpPr>
              <a:spLocks noChangeArrowheads="1"/>
            </p:cNvSpPr>
            <p:nvPr>
              <p:custDataLst>
                <p:tags r:id="rId144"/>
              </p:custDataLst>
            </p:nvPr>
          </p:nvSpPr>
          <p:spPr bwMode="gray">
            <a:xfrm>
              <a:off x="4849813" y="4497391"/>
              <a:ext cx="323850"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en. Afr.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6" name="Rectangle 330"/>
            <p:cNvSpPr>
              <a:spLocks noChangeArrowheads="1"/>
            </p:cNvSpPr>
            <p:nvPr>
              <p:custDataLst>
                <p:tags r:id="rId145"/>
              </p:custDataLst>
            </p:nvPr>
          </p:nvSpPr>
          <p:spPr bwMode="gray">
            <a:xfrm>
              <a:off x="3906838" y="4443414"/>
              <a:ext cx="341313"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ierra Leon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7" name="Rectangle 331"/>
            <p:cNvSpPr>
              <a:spLocks noChangeArrowheads="1"/>
            </p:cNvSpPr>
            <p:nvPr>
              <p:custDataLst>
                <p:tags r:id="rId146"/>
              </p:custDataLst>
            </p:nvPr>
          </p:nvSpPr>
          <p:spPr bwMode="gray">
            <a:xfrm>
              <a:off x="3792538" y="4360864"/>
              <a:ext cx="31572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inea-Bissa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8" name="Rectangle 332"/>
            <p:cNvSpPr>
              <a:spLocks noChangeArrowheads="1"/>
            </p:cNvSpPr>
            <p:nvPr>
              <p:custDataLst>
                <p:tags r:id="rId147"/>
              </p:custDataLst>
            </p:nvPr>
          </p:nvSpPr>
          <p:spPr bwMode="gray">
            <a:xfrm>
              <a:off x="3825876" y="4289426"/>
              <a:ext cx="26767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Ga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79" name="Rectangle 333"/>
            <p:cNvSpPr>
              <a:spLocks noChangeArrowheads="1"/>
            </p:cNvSpPr>
            <p:nvPr>
              <p:custDataLst>
                <p:tags r:id="rId148"/>
              </p:custDataLst>
            </p:nvPr>
          </p:nvSpPr>
          <p:spPr bwMode="gray">
            <a:xfrm>
              <a:off x="4445000" y="4637089"/>
              <a:ext cx="327025" cy="65890"/>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quat. Guine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0" name="Rectangle 334"/>
            <p:cNvSpPr>
              <a:spLocks noChangeArrowheads="1"/>
            </p:cNvSpPr>
            <p:nvPr>
              <p:custDataLst>
                <p:tags r:id="rId149"/>
              </p:custDataLst>
            </p:nvPr>
          </p:nvSpPr>
          <p:spPr bwMode="gray">
            <a:xfrm>
              <a:off x="5240338" y="4781550"/>
              <a:ext cx="17673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urund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1" name="Rectangle 335"/>
            <p:cNvSpPr>
              <a:spLocks noChangeArrowheads="1"/>
            </p:cNvSpPr>
            <p:nvPr>
              <p:custDataLst>
                <p:tags r:id="rId150"/>
              </p:custDataLst>
            </p:nvPr>
          </p:nvSpPr>
          <p:spPr bwMode="gray">
            <a:xfrm>
              <a:off x="5365750" y="4338638"/>
              <a:ext cx="17845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jibou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2" name="Rectangle 339"/>
            <p:cNvSpPr>
              <a:spLocks noChangeArrowheads="1"/>
            </p:cNvSpPr>
            <p:nvPr>
              <p:custDataLst>
                <p:tags r:id="rId151"/>
              </p:custDataLst>
            </p:nvPr>
          </p:nvSpPr>
          <p:spPr bwMode="gray">
            <a:xfrm>
              <a:off x="5522913" y="4914901"/>
              <a:ext cx="20247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moro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3" name="Rectangle 341"/>
            <p:cNvSpPr>
              <a:spLocks noChangeArrowheads="1"/>
            </p:cNvSpPr>
            <p:nvPr>
              <p:custDataLst>
                <p:tags r:id="rId152"/>
              </p:custDataLst>
            </p:nvPr>
          </p:nvSpPr>
          <p:spPr bwMode="gray">
            <a:xfrm>
              <a:off x="2962275" y="6237289"/>
              <a:ext cx="2470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alkland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4" name="Rectangle 342"/>
            <p:cNvSpPr>
              <a:spLocks noChangeArrowheads="1"/>
            </p:cNvSpPr>
            <p:nvPr>
              <p:custDataLst>
                <p:tags r:id="rId153"/>
              </p:custDataLst>
            </p:nvPr>
          </p:nvSpPr>
          <p:spPr bwMode="gray">
            <a:xfrm>
              <a:off x="3124200" y="4514851"/>
              <a:ext cx="2127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urinam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5" name="Rectangle 343"/>
            <p:cNvSpPr>
              <a:spLocks noChangeArrowheads="1"/>
            </p:cNvSpPr>
            <p:nvPr>
              <p:custDataLst>
                <p:tags r:id="rId154"/>
              </p:custDataLst>
            </p:nvPr>
          </p:nvSpPr>
          <p:spPr bwMode="gray">
            <a:xfrm>
              <a:off x="3255963" y="5000626"/>
              <a:ext cx="1201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razil</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6" name="Rectangle 344"/>
            <p:cNvSpPr>
              <a:spLocks noChangeArrowheads="1"/>
            </p:cNvSpPr>
            <p:nvPr>
              <p:custDataLst>
                <p:tags r:id="rId155"/>
              </p:custDataLst>
            </p:nvPr>
          </p:nvSpPr>
          <p:spPr bwMode="gray">
            <a:xfrm>
              <a:off x="2847975" y="5768976"/>
              <a:ext cx="21963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Argenti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7" name="Rectangle 345"/>
            <p:cNvSpPr>
              <a:spLocks noChangeArrowheads="1"/>
            </p:cNvSpPr>
            <p:nvPr>
              <p:custDataLst>
                <p:tags r:id="rId156"/>
              </p:custDataLst>
            </p:nvPr>
          </p:nvSpPr>
          <p:spPr bwMode="gray">
            <a:xfrm>
              <a:off x="2606675" y="4876801"/>
              <a:ext cx="10467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eru</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8" name="Rectangle 346"/>
            <p:cNvSpPr>
              <a:spLocks noChangeArrowheads="1"/>
            </p:cNvSpPr>
            <p:nvPr>
              <p:custDataLst>
                <p:tags r:id="rId157"/>
              </p:custDataLst>
            </p:nvPr>
          </p:nvSpPr>
          <p:spPr bwMode="gray">
            <a:xfrm>
              <a:off x="2708275" y="5689601"/>
              <a:ext cx="10981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hil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89" name="Rectangle 347"/>
            <p:cNvSpPr>
              <a:spLocks noChangeArrowheads="1"/>
            </p:cNvSpPr>
            <p:nvPr>
              <p:custDataLst>
                <p:tags r:id="rId158"/>
              </p:custDataLst>
            </p:nvPr>
          </p:nvSpPr>
          <p:spPr bwMode="gray">
            <a:xfrm>
              <a:off x="2873375" y="5173664"/>
              <a:ext cx="144134"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oliv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0" name="Rectangle 348"/>
            <p:cNvSpPr>
              <a:spLocks noChangeArrowheads="1"/>
            </p:cNvSpPr>
            <p:nvPr>
              <p:custDataLst>
                <p:tags r:id="rId159"/>
              </p:custDataLst>
            </p:nvPr>
          </p:nvSpPr>
          <p:spPr bwMode="gray">
            <a:xfrm>
              <a:off x="2647949" y="4572001"/>
              <a:ext cx="2110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lomb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1" name="Rectangle 349"/>
            <p:cNvSpPr>
              <a:spLocks noChangeArrowheads="1"/>
            </p:cNvSpPr>
            <p:nvPr>
              <p:custDataLst>
                <p:tags r:id="rId160"/>
              </p:custDataLst>
            </p:nvPr>
          </p:nvSpPr>
          <p:spPr bwMode="gray">
            <a:xfrm>
              <a:off x="2778125" y="4435476"/>
              <a:ext cx="23164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Venezue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2" name="Rectangle 350"/>
            <p:cNvSpPr>
              <a:spLocks noChangeArrowheads="1"/>
            </p:cNvSpPr>
            <p:nvPr>
              <p:custDataLst>
                <p:tags r:id="rId161"/>
              </p:custDataLst>
            </p:nvPr>
          </p:nvSpPr>
          <p:spPr bwMode="gray">
            <a:xfrm>
              <a:off x="2982913" y="5349876"/>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ra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3" name="Rectangle 351"/>
            <p:cNvSpPr>
              <a:spLocks noChangeArrowheads="1"/>
            </p:cNvSpPr>
            <p:nvPr>
              <p:custDataLst>
                <p:tags r:id="rId162"/>
              </p:custDataLst>
            </p:nvPr>
          </p:nvSpPr>
          <p:spPr bwMode="gray">
            <a:xfrm>
              <a:off x="3087688" y="5672139"/>
              <a:ext cx="18874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ruguay</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4" name="Rectangle 352"/>
            <p:cNvSpPr>
              <a:spLocks noChangeArrowheads="1"/>
            </p:cNvSpPr>
            <p:nvPr>
              <p:custDataLst>
                <p:tags r:id="rId163"/>
              </p:custDataLst>
            </p:nvPr>
          </p:nvSpPr>
          <p:spPr bwMode="gray">
            <a:xfrm>
              <a:off x="2482850" y="4713289"/>
              <a:ext cx="1836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cu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5" name="Rectangle 353"/>
            <p:cNvSpPr>
              <a:spLocks noChangeArrowheads="1"/>
            </p:cNvSpPr>
            <p:nvPr>
              <p:custDataLst>
                <p:tags r:id="rId164"/>
              </p:custDataLst>
            </p:nvPr>
          </p:nvSpPr>
          <p:spPr bwMode="gray">
            <a:xfrm>
              <a:off x="3049588" y="4443414"/>
              <a:ext cx="168156"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y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6" name="Rectangle 354"/>
            <p:cNvSpPr>
              <a:spLocks noChangeArrowheads="1"/>
            </p:cNvSpPr>
            <p:nvPr>
              <p:custDataLst>
                <p:tags r:id="rId165"/>
              </p:custDataLst>
            </p:nvPr>
          </p:nvSpPr>
          <p:spPr bwMode="gray">
            <a:xfrm>
              <a:off x="3214688" y="4557714"/>
              <a:ext cx="32258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Guian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7" name="Rectangle 355"/>
            <p:cNvSpPr>
              <a:spLocks noChangeArrowheads="1"/>
            </p:cNvSpPr>
            <p:nvPr>
              <p:custDataLst>
                <p:tags r:id="rId166"/>
              </p:custDataLst>
            </p:nvPr>
          </p:nvSpPr>
          <p:spPr bwMode="gray">
            <a:xfrm>
              <a:off x="2933700" y="4314826"/>
              <a:ext cx="4118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rinidad &amp; Tobag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8" name="Rectangle 356"/>
            <p:cNvSpPr>
              <a:spLocks noChangeArrowheads="1"/>
            </p:cNvSpPr>
            <p:nvPr>
              <p:custDataLst>
                <p:tags r:id="rId167"/>
              </p:custDataLst>
            </p:nvPr>
          </p:nvSpPr>
          <p:spPr bwMode="gray">
            <a:xfrm>
              <a:off x="274638" y="4848226"/>
              <a:ext cx="15099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amo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399" name="Rectangle 357"/>
            <p:cNvSpPr>
              <a:spLocks noChangeArrowheads="1"/>
            </p:cNvSpPr>
            <p:nvPr>
              <p:custDataLst>
                <p:tags r:id="rId168"/>
              </p:custDataLst>
            </p:nvPr>
          </p:nvSpPr>
          <p:spPr bwMode="gray">
            <a:xfrm>
              <a:off x="768350" y="4926015"/>
              <a:ext cx="37749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French Polynesi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0" name="Rectangle 358"/>
            <p:cNvSpPr>
              <a:spLocks noChangeArrowheads="1"/>
            </p:cNvSpPr>
            <p:nvPr>
              <p:custDataLst>
                <p:tags r:id="rId169"/>
              </p:custDataLst>
            </p:nvPr>
          </p:nvSpPr>
          <p:spPr bwMode="gray">
            <a:xfrm>
              <a:off x="623888" y="5126039"/>
              <a:ext cx="17502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ok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1" name="Rectangle 374"/>
            <p:cNvSpPr>
              <a:spLocks noChangeArrowheads="1"/>
            </p:cNvSpPr>
            <p:nvPr>
              <p:custDataLst>
                <p:tags r:id="rId170"/>
              </p:custDataLst>
            </p:nvPr>
          </p:nvSpPr>
          <p:spPr bwMode="gray">
            <a:xfrm>
              <a:off x="1968500" y="4699001"/>
              <a:ext cx="29170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alapagos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2" name="Rectangle 377"/>
            <p:cNvSpPr>
              <a:spLocks noChangeArrowheads="1"/>
            </p:cNvSpPr>
            <p:nvPr>
              <p:custDataLst>
                <p:tags r:id="rId171"/>
              </p:custDataLst>
            </p:nvPr>
          </p:nvSpPr>
          <p:spPr bwMode="gray">
            <a:xfrm>
              <a:off x="2425701" y="4217988"/>
              <a:ext cx="21791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ondur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3" name="Rectangle 384"/>
            <p:cNvSpPr>
              <a:spLocks noChangeArrowheads="1"/>
            </p:cNvSpPr>
            <p:nvPr>
              <p:custDataLst>
                <p:tags r:id="rId172"/>
              </p:custDataLst>
            </p:nvPr>
          </p:nvSpPr>
          <p:spPr bwMode="gray">
            <a:xfrm>
              <a:off x="2474913" y="4310063"/>
              <a:ext cx="2230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Nicaragu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4" name="Rectangle 385"/>
            <p:cNvSpPr>
              <a:spLocks noChangeArrowheads="1"/>
            </p:cNvSpPr>
            <p:nvPr>
              <p:custDataLst>
                <p:tags r:id="rId173"/>
              </p:custDataLst>
            </p:nvPr>
          </p:nvSpPr>
          <p:spPr bwMode="gray">
            <a:xfrm>
              <a:off x="2747963" y="3925888"/>
              <a:ext cx="29856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The Bahama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5" name="Rectangle 386"/>
            <p:cNvSpPr>
              <a:spLocks noChangeArrowheads="1"/>
            </p:cNvSpPr>
            <p:nvPr>
              <p:custDataLst>
                <p:tags r:id="rId174"/>
              </p:custDataLst>
            </p:nvPr>
          </p:nvSpPr>
          <p:spPr bwMode="gray">
            <a:xfrm>
              <a:off x="777876" y="3994151"/>
              <a:ext cx="14928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wai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6" name="Rectangle 387"/>
            <p:cNvSpPr>
              <a:spLocks noChangeArrowheads="1"/>
            </p:cNvSpPr>
            <p:nvPr>
              <p:custDataLst>
                <p:tags r:id="rId175"/>
              </p:custDataLst>
            </p:nvPr>
          </p:nvSpPr>
          <p:spPr bwMode="gray">
            <a:xfrm>
              <a:off x="2873375" y="3663952"/>
              <a:ext cx="204191"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rmu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7" name="Rectangle 388"/>
            <p:cNvSpPr>
              <a:spLocks noChangeArrowheads="1"/>
            </p:cNvSpPr>
            <p:nvPr>
              <p:custDataLst>
                <p:tags r:id="rId176"/>
              </p:custDataLst>
            </p:nvPr>
          </p:nvSpPr>
          <p:spPr bwMode="gray">
            <a:xfrm>
              <a:off x="166688" y="3811588"/>
              <a:ext cx="23850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idway I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8" name="Rectangle 389"/>
            <p:cNvSpPr>
              <a:spLocks noChangeArrowheads="1"/>
            </p:cNvSpPr>
            <p:nvPr>
              <p:custDataLst>
                <p:tags r:id="rId177"/>
              </p:custDataLst>
            </p:nvPr>
          </p:nvSpPr>
          <p:spPr bwMode="gray">
            <a:xfrm>
              <a:off x="1703388" y="2779713"/>
              <a:ext cx="16472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anad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09" name="Rectangle 390"/>
            <p:cNvSpPr>
              <a:spLocks noChangeArrowheads="1"/>
            </p:cNvSpPr>
            <p:nvPr>
              <p:custDataLst>
                <p:tags r:id="rId178"/>
              </p:custDataLst>
            </p:nvPr>
          </p:nvSpPr>
          <p:spPr bwMode="gray">
            <a:xfrm>
              <a:off x="1951038" y="3509963"/>
              <a:ext cx="303712"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United States</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0" name="Rectangle 391"/>
            <p:cNvSpPr>
              <a:spLocks noChangeArrowheads="1"/>
            </p:cNvSpPr>
            <p:nvPr>
              <p:custDataLst>
                <p:tags r:id="rId179"/>
              </p:custDataLst>
            </p:nvPr>
          </p:nvSpPr>
          <p:spPr bwMode="gray">
            <a:xfrm>
              <a:off x="1952626" y="3943351"/>
              <a:ext cx="16301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Mex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1" name="Rectangle 392"/>
            <p:cNvSpPr>
              <a:spLocks noChangeArrowheads="1"/>
            </p:cNvSpPr>
            <p:nvPr>
              <p:custDataLst>
                <p:tags r:id="rId180"/>
              </p:custDataLst>
            </p:nvPr>
          </p:nvSpPr>
          <p:spPr bwMode="gray">
            <a:xfrm>
              <a:off x="2562226" y="4029076"/>
              <a:ext cx="113248"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ub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2" name="Rectangle 393"/>
            <p:cNvSpPr>
              <a:spLocks noChangeArrowheads="1"/>
            </p:cNvSpPr>
            <p:nvPr>
              <p:custDataLst>
                <p:tags r:id="rId181"/>
              </p:custDataLst>
            </p:nvPr>
          </p:nvSpPr>
          <p:spPr bwMode="gray">
            <a:xfrm>
              <a:off x="2454276" y="4494214"/>
              <a:ext cx="18016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anam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3" name="Rectangle 394"/>
            <p:cNvSpPr>
              <a:spLocks noChangeArrowheads="1"/>
            </p:cNvSpPr>
            <p:nvPr>
              <p:custDataLst>
                <p:tags r:id="rId182"/>
              </p:custDataLst>
            </p:nvPr>
          </p:nvSpPr>
          <p:spPr bwMode="gray">
            <a:xfrm>
              <a:off x="2678111" y="4171933"/>
              <a:ext cx="10295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Haiti</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4" name="Rectangle 395"/>
            <p:cNvSpPr>
              <a:spLocks noChangeArrowheads="1"/>
            </p:cNvSpPr>
            <p:nvPr>
              <p:custDataLst>
                <p:tags r:id="rId183"/>
              </p:custDataLst>
            </p:nvPr>
          </p:nvSpPr>
          <p:spPr bwMode="gray">
            <a:xfrm>
              <a:off x="2951163" y="4151313"/>
              <a:ext cx="259099"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Puerto Rico</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5" name="Rectangle 396"/>
            <p:cNvSpPr>
              <a:spLocks noChangeArrowheads="1"/>
            </p:cNvSpPr>
            <p:nvPr>
              <p:custDataLst>
                <p:tags r:id="rId184"/>
              </p:custDataLst>
            </p:nvPr>
          </p:nvSpPr>
          <p:spPr bwMode="gray">
            <a:xfrm>
              <a:off x="2811464" y="4089401"/>
              <a:ext cx="35175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Dominican Rep.</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6" name="Rectangle 397"/>
            <p:cNvSpPr>
              <a:spLocks noChangeArrowheads="1"/>
            </p:cNvSpPr>
            <p:nvPr>
              <p:custDataLst>
                <p:tags r:id="rId185"/>
              </p:custDataLst>
            </p:nvPr>
          </p:nvSpPr>
          <p:spPr bwMode="gray">
            <a:xfrm>
              <a:off x="2098676" y="4232276"/>
              <a:ext cx="243655"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uatemal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7" name="Rectangle 398"/>
            <p:cNvSpPr>
              <a:spLocks noChangeArrowheads="1"/>
            </p:cNvSpPr>
            <p:nvPr>
              <p:custDataLst>
                <p:tags r:id="rId186"/>
              </p:custDataLst>
            </p:nvPr>
          </p:nvSpPr>
          <p:spPr bwMode="gray">
            <a:xfrm>
              <a:off x="2389189" y="4160838"/>
              <a:ext cx="130407"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Belize</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8" name="Rectangle 399"/>
            <p:cNvSpPr>
              <a:spLocks noChangeArrowheads="1"/>
            </p:cNvSpPr>
            <p:nvPr>
              <p:custDataLst>
                <p:tags r:id="rId187"/>
              </p:custDataLst>
            </p:nvPr>
          </p:nvSpPr>
          <p:spPr bwMode="gray">
            <a:xfrm>
              <a:off x="2128838" y="4313238"/>
              <a:ext cx="24194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El Salvador</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19" name="Rectangle 400"/>
            <p:cNvSpPr>
              <a:spLocks noChangeArrowheads="1"/>
            </p:cNvSpPr>
            <p:nvPr>
              <p:custDataLst>
                <p:tags r:id="rId188"/>
              </p:custDataLst>
            </p:nvPr>
          </p:nvSpPr>
          <p:spPr bwMode="gray">
            <a:xfrm>
              <a:off x="2197611" y="4420777"/>
              <a:ext cx="228213"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Costa Rica</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0" name="Rectangle 403"/>
            <p:cNvSpPr>
              <a:spLocks noChangeArrowheads="1"/>
            </p:cNvSpPr>
            <p:nvPr>
              <p:custDataLst>
                <p:tags r:id="rId189"/>
              </p:custDataLst>
            </p:nvPr>
          </p:nvSpPr>
          <p:spPr bwMode="gray">
            <a:xfrm>
              <a:off x="3422651" y="2049463"/>
              <a:ext cx="233360" cy="65890"/>
            </a:xfrm>
            <a:prstGeom prst="rect">
              <a:avLst/>
            </a:prstGeom>
            <a:noFill/>
            <a:ln w="9525">
              <a:noFill/>
              <a:miter lim="800000"/>
              <a:headEnd/>
              <a:tailEnd/>
            </a:ln>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Greenland</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sp>
          <p:nvSpPr>
            <p:cNvPr id="421" name="Rectangle 294"/>
            <p:cNvSpPr>
              <a:spLocks noChangeArrowheads="1"/>
            </p:cNvSpPr>
            <p:nvPr>
              <p:custDataLst>
                <p:tags r:id="rId190"/>
              </p:custDataLst>
            </p:nvPr>
          </p:nvSpPr>
          <p:spPr bwMode="gray">
            <a:xfrm>
              <a:off x="5126990" y="4451669"/>
              <a:ext cx="224155" cy="131780"/>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srgbClr val="44546A"/>
                  </a:solidFill>
                  <a:effectLst/>
                  <a:uLnTx/>
                  <a:uFillTx/>
                  <a:latin typeface="Calibri" panose="020F0502020204030204"/>
                  <a:ea typeface="+mn-ea"/>
                  <a:cs typeface="+mn-cs"/>
                </a:rPr>
                <a:t>South Sudan</a:t>
              </a:r>
              <a:endParaRPr kumimoji="0" lang="en-US" sz="22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sp>
        <p:nvSpPr>
          <p:cNvPr id="204" name="Title 1">
            <a:extLst>
              <a:ext uri="{FF2B5EF4-FFF2-40B4-BE49-F238E27FC236}">
                <a16:creationId xmlns:a16="http://schemas.microsoft.com/office/drawing/2014/main" id="{3C55453A-3F51-4549-B169-70FD0FD1EF0D}"/>
              </a:ext>
            </a:extLst>
          </p:cNvPr>
          <p:cNvSpPr txBox="1">
            <a:spLocks/>
          </p:cNvSpPr>
          <p:nvPr/>
        </p:nvSpPr>
        <p:spPr>
          <a:xfrm>
            <a:off x="414689" y="154052"/>
            <a:ext cx="11670631" cy="897508"/>
          </a:xfrm>
          <a:prstGeom prst="rect">
            <a:avLst/>
          </a:prstGeom>
        </p:spPr>
        <p:txBody>
          <a:bodyPr vert="horz" lIns="0" tIns="0" rIns="0" bIns="0" rtlCol="0" anchor="ctr">
            <a:noAutofit/>
          </a:bodyPr>
          <a:lstStyle>
            <a:lvl1pPr algn="l" defTabSz="913960" rtl="0" eaLnBrk="1" latinLnBrk="0" hangingPunct="1">
              <a:lnSpc>
                <a:spcPct val="90000"/>
              </a:lnSpc>
              <a:spcBef>
                <a:spcPct val="0"/>
              </a:spcBef>
              <a:buNone/>
              <a:defRPr sz="44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396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Three-wheeler industry </a:t>
            </a:r>
            <a:r>
              <a:rPr lang="en-US" sz="3200" b="1" dirty="0">
                <a:solidFill>
                  <a:srgbClr val="000000"/>
                </a:solidFill>
                <a:latin typeface="Arial" panose="020B0604020202020204" pitchFamily="34" charset="0"/>
                <a:cs typeface="Arial" panose="020B0604020202020204" pitchFamily="34" charset="0"/>
              </a:rPr>
              <a:t>sees</a:t>
            </a: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r>
              <a:rPr lang="en-US" sz="3200" b="1" dirty="0">
                <a:solidFill>
                  <a:srgbClr val="000000"/>
                </a:solidFill>
                <a:latin typeface="Arial" panose="020B0604020202020204" pitchFamily="34" charset="0"/>
                <a:cs typeface="Arial" panose="020B0604020202020204" pitchFamily="34" charset="0"/>
              </a:rPr>
              <a:t>q-o-q </a:t>
            </a: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growth in Q4 FY22</a:t>
            </a:r>
          </a:p>
        </p:txBody>
      </p:sp>
      <p:sp>
        <p:nvSpPr>
          <p:cNvPr id="205" name="TextBox 204">
            <a:extLst>
              <a:ext uri="{FF2B5EF4-FFF2-40B4-BE49-F238E27FC236}">
                <a16:creationId xmlns:a16="http://schemas.microsoft.com/office/drawing/2014/main" id="{9F0EF2B2-6994-4980-B288-1804AD6B73F9}"/>
              </a:ext>
            </a:extLst>
          </p:cNvPr>
          <p:cNvSpPr txBox="1"/>
          <p:nvPr/>
        </p:nvSpPr>
        <p:spPr>
          <a:xfrm>
            <a:off x="389980" y="5091873"/>
            <a:ext cx="11575596" cy="1015632"/>
          </a:xfrm>
          <a:prstGeom prst="rect">
            <a:avLst/>
          </a:prstGeom>
          <a:solidFill>
            <a:srgbClr val="DBD9D6"/>
          </a:solidFill>
        </p:spPr>
        <p:txBody>
          <a:bodyPr wrap="square" lIns="91406" tIns="45705" rIns="91406" bIns="45705" rtlCol="0" anchor="ctr">
            <a:spAutoFit/>
          </a:bodyPr>
          <a:lstStyle/>
          <a:p>
            <a:pPr marL="171387" marR="0" lvl="0" indent="-171387" defTabSz="91440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ree wheeler industry </a:t>
            </a:r>
            <a:r>
              <a:rPr lang="en-US" sz="1200" kern="0" dirty="0">
                <a:solidFill>
                  <a:srgbClr val="000000"/>
                </a:solidFill>
                <a:latin typeface="Arial" panose="020B0604020202020204" pitchFamily="34" charset="0"/>
                <a:cs typeface="Arial" panose="020B0604020202020204" pitchFamily="34" charset="0"/>
              </a:rPr>
              <a:t>wa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going through </a:t>
            </a:r>
            <a:r>
              <a:rPr lang="en-US" sz="1200" kern="0" dirty="0">
                <a:solidFill>
                  <a:srgbClr val="000000"/>
                </a:solidFill>
                <a:latin typeface="Arial" panose="020B0604020202020204" pitchFamily="34" charset="0"/>
                <a:cs typeface="Arial" panose="020B0604020202020204" pitchFamily="34" charset="0"/>
              </a:rPr>
              <a:t>hardship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for last two years. Covid induced lockdown </a:t>
            </a:r>
            <a:r>
              <a:rPr lang="en-US" sz="1200" kern="0" dirty="0">
                <a:solidFill>
                  <a:srgbClr val="000000"/>
                </a:solidFill>
                <a:latin typeface="Arial" panose="020B0604020202020204" pitchFamily="34" charset="0"/>
                <a:cs typeface="Arial" panose="020B0604020202020204" pitchFamily="34" charset="0"/>
              </a:rPr>
              <a:t> has </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led to lower mobility and increase in preference towards personal mobility. Sales reached 12 months low </a:t>
            </a:r>
            <a:r>
              <a:rPr lang="en-US" sz="1200" kern="0" dirty="0">
                <a:solidFill>
                  <a:srgbClr val="000000"/>
                </a:solidFill>
                <a:latin typeface="Arial" panose="020B0604020202020204" pitchFamily="34" charset="0"/>
                <a:cs typeface="Arial" panose="020B0604020202020204" pitchFamily="34" charset="0"/>
              </a:rPr>
              <a:t>during May 2021.</a:t>
            </a:r>
          </a:p>
          <a:p>
            <a:pPr marL="171387" marR="0" lvl="0" indent="-171387" defTabSz="91440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ere was gradual pickup in the sales from July and industry witnessed further growth during Q3</a:t>
            </a:r>
          </a:p>
          <a:p>
            <a:pPr marL="171387" marR="0" lvl="0" indent="-171387" defTabSz="91440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kern="0" dirty="0">
                <a:solidFill>
                  <a:srgbClr val="000000"/>
                </a:solidFill>
                <a:latin typeface="Arial" panose="020B0604020202020204" pitchFamily="34" charset="0"/>
                <a:cs typeface="Arial" panose="020B0604020202020204" pitchFamily="34" charset="0"/>
              </a:rPr>
              <a:t>September</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month onwards industry started witnessing positive trend on back of decline in covid cases reopening of economy,  opening of school, colleges and offices</a:t>
            </a:r>
          </a:p>
          <a:p>
            <a:pPr marL="171387" marR="0" lvl="0" indent="-171387" defTabSz="914400" eaLnBrk="1" fontAlgn="auto" latinLnBrk="0" hangingPunct="1">
              <a:lnSpc>
                <a:spcPct val="100000"/>
              </a:lnSpc>
              <a:spcBef>
                <a:spcPts val="0"/>
              </a:spcBef>
              <a:spcAft>
                <a:spcPts val="0"/>
              </a:spcAft>
              <a:buClrTx/>
              <a:buSzPct val="140000"/>
              <a:buFont typeface="Arial" panose="020B0604020202020204" pitchFamily="34" charset="0"/>
              <a:buChar char="•"/>
              <a:tabLst/>
              <a:defRPr/>
            </a:pPr>
            <a:r>
              <a:rPr lang="en-US" sz="1200" kern="0" dirty="0">
                <a:solidFill>
                  <a:srgbClr val="000000"/>
                </a:solidFill>
                <a:latin typeface="Arial" panose="020B0604020202020204" pitchFamily="34" charset="0"/>
                <a:cs typeface="Arial" panose="020B0604020202020204" pitchFamily="34" charset="0"/>
              </a:rPr>
              <a:t>There was some wholesale traction in October in anticipation for the festive demand.</a:t>
            </a: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06" name="Rectangle 205">
            <a:extLst>
              <a:ext uri="{FF2B5EF4-FFF2-40B4-BE49-F238E27FC236}">
                <a16:creationId xmlns:a16="http://schemas.microsoft.com/office/drawing/2014/main" id="{94FEEED0-5F70-40D2-9CBC-EDEB0A443A2E}"/>
              </a:ext>
            </a:extLst>
          </p:cNvPr>
          <p:cNvSpPr/>
          <p:nvPr/>
        </p:nvSpPr>
        <p:spPr>
          <a:xfrm rot="5400000">
            <a:off x="5963589" y="-4447507"/>
            <a:ext cx="453351" cy="11550624"/>
          </a:xfrm>
          <a:prstGeom prst="rect">
            <a:avLst/>
          </a:prstGeom>
          <a:solidFill>
            <a:schemeClr val="accent6">
              <a:lumMod val="50000"/>
            </a:schemeClr>
          </a:solidFill>
          <a:ln w="6350" cap="flat" cmpd="sng" algn="ctr">
            <a:noFill/>
            <a:prstDash val="solid"/>
            <a:miter lim="800000"/>
          </a:ln>
          <a:effectLst/>
        </p:spPr>
        <p:txBody>
          <a:bodyPr vert="vert270" lIns="91406" tIns="45705" rIns="91406" bIns="45705" rtlCol="0" anchor="ctr"/>
          <a:lstStyle/>
          <a:p>
            <a:pPr marL="12699" marR="0" lvl="0" indent="0" algn="ctr" defTabSz="914253"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tail vs off-take FY22</a:t>
            </a:r>
          </a:p>
        </p:txBody>
      </p:sp>
      <p:sp>
        <p:nvSpPr>
          <p:cNvPr id="207" name="TextBox 206">
            <a:extLst>
              <a:ext uri="{FF2B5EF4-FFF2-40B4-BE49-F238E27FC236}">
                <a16:creationId xmlns:a16="http://schemas.microsoft.com/office/drawing/2014/main" id="{A024B4FB-0AEB-4A8C-8C6C-83D41986C8E7}"/>
              </a:ext>
            </a:extLst>
          </p:cNvPr>
          <p:cNvSpPr txBox="1"/>
          <p:nvPr/>
        </p:nvSpPr>
        <p:spPr>
          <a:xfrm>
            <a:off x="414689" y="4679778"/>
            <a:ext cx="3093438" cy="400079"/>
          </a:xfrm>
          <a:prstGeom prst="rect">
            <a:avLst/>
          </a:prstGeom>
          <a:noFill/>
        </p:spPr>
        <p:txBody>
          <a:bodyPr wrap="square" lIns="91406" tIns="45705" rIns="91406" bIns="45705" rtlCol="0">
            <a:spAutoFit/>
          </a:bodyPr>
          <a:lstStyle/>
          <a:p>
            <a:pPr defTabSz="914253">
              <a:defRPr/>
            </a:pPr>
            <a:r>
              <a:rPr lang="en-US" sz="1000" i="1" dirty="0">
                <a:solidFill>
                  <a:prstClr val="black"/>
                </a:solidFill>
                <a:latin typeface="Arial" panose="020B0604020202020204" pitchFamily="34" charset="0"/>
                <a:cs typeface="Arial" panose="020B0604020202020204" pitchFamily="34" charset="0"/>
              </a:rPr>
              <a:t>Note: Retail numbers are estimated</a:t>
            </a:r>
          </a:p>
          <a:p>
            <a:pPr defTabSz="914253">
              <a:defRPr/>
            </a:pPr>
            <a:r>
              <a:rPr lang="en-US" sz="1000" i="1" dirty="0">
                <a:solidFill>
                  <a:prstClr val="black"/>
                </a:solidFill>
                <a:latin typeface="Arial" panose="020B0604020202020204" pitchFamily="34" charset="0"/>
                <a:cs typeface="Arial" panose="020B0604020202020204" pitchFamily="34" charset="0"/>
              </a:rPr>
              <a:t>Source: SIAM, Vahan, CRISIL Research</a:t>
            </a:r>
          </a:p>
        </p:txBody>
      </p:sp>
      <p:graphicFrame>
        <p:nvGraphicFramePr>
          <p:cNvPr id="203" name="Chart 202">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3495831851"/>
              </p:ext>
            </p:extLst>
          </p:nvPr>
        </p:nvGraphicFramePr>
        <p:xfrm>
          <a:off x="439386" y="1657545"/>
          <a:ext cx="11526189" cy="2964577"/>
        </p:xfrm>
        <a:graphic>
          <a:graphicData uri="http://schemas.openxmlformats.org/drawingml/2006/chart">
            <c:chart xmlns:c="http://schemas.openxmlformats.org/drawingml/2006/chart" xmlns:r="http://schemas.openxmlformats.org/officeDocument/2006/relationships" r:id="rId196"/>
          </a:graphicData>
        </a:graphic>
      </p:graphicFrame>
    </p:spTree>
    <p:extLst>
      <p:ext uri="{BB962C8B-B14F-4D97-AF65-F5344CB8AC3E}">
        <p14:creationId xmlns:p14="http://schemas.microsoft.com/office/powerpoint/2010/main" val="1185977922"/>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B4D66F93-F7D3-4652-81A5-36FAECAAFF48}"/>
              </a:ext>
            </a:extLst>
          </p:cNvPr>
          <p:cNvSpPr txBox="1">
            <a:spLocks/>
          </p:cNvSpPr>
          <p:nvPr/>
        </p:nvSpPr>
        <p:spPr>
          <a:xfrm>
            <a:off x="411447" y="114358"/>
            <a:ext cx="11602487" cy="586685"/>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l" defTabSz="91425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omestic – annual forecast</a:t>
            </a:r>
          </a:p>
        </p:txBody>
      </p:sp>
      <p:sp>
        <p:nvSpPr>
          <p:cNvPr id="55" name="TextBox 54"/>
          <p:cNvSpPr txBox="1"/>
          <p:nvPr/>
        </p:nvSpPr>
        <p:spPr>
          <a:xfrm>
            <a:off x="1133720" y="6491813"/>
            <a:ext cx="2738346" cy="246221"/>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3" name="Rectangle 2"/>
          <p:cNvSpPr/>
          <p:nvPr/>
        </p:nvSpPr>
        <p:spPr>
          <a:xfrm>
            <a:off x="1149713" y="2319601"/>
            <a:ext cx="2155304"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1 volumes</a:t>
            </a:r>
          </a:p>
        </p:txBody>
      </p:sp>
      <p:sp>
        <p:nvSpPr>
          <p:cNvPr id="6" name="Rectangle: Rounded Corners 5"/>
          <p:cNvSpPr/>
          <p:nvPr/>
        </p:nvSpPr>
        <p:spPr>
          <a:xfrm>
            <a:off x="3332581" y="1637779"/>
            <a:ext cx="1926203" cy="5083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ree wheelers</a:t>
            </a:r>
          </a:p>
        </p:txBody>
      </p:sp>
      <p:sp>
        <p:nvSpPr>
          <p:cNvPr id="7" name="Rectangle: Rounded Corners 6"/>
          <p:cNvSpPr/>
          <p:nvPr/>
        </p:nvSpPr>
        <p:spPr>
          <a:xfrm>
            <a:off x="5782565" y="1621484"/>
            <a:ext cx="1926203" cy="5083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rgo</a:t>
            </a:r>
          </a:p>
        </p:txBody>
      </p:sp>
      <p:sp>
        <p:nvSpPr>
          <p:cNvPr id="8" name="Rectangle: Rounded Corners 7"/>
          <p:cNvSpPr/>
          <p:nvPr/>
        </p:nvSpPr>
        <p:spPr>
          <a:xfrm>
            <a:off x="8201197" y="1621484"/>
            <a:ext cx="1926203" cy="5083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ssenger</a:t>
            </a:r>
          </a:p>
        </p:txBody>
      </p:sp>
      <p:sp>
        <p:nvSpPr>
          <p:cNvPr id="28" name="Oval 27"/>
          <p:cNvSpPr/>
          <p:nvPr/>
        </p:nvSpPr>
        <p:spPr>
          <a:xfrm>
            <a:off x="5976286" y="2327046"/>
            <a:ext cx="1620000"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2</a:t>
            </a:r>
          </a:p>
        </p:txBody>
      </p:sp>
      <p:sp>
        <p:nvSpPr>
          <p:cNvPr id="29" name="Oval 28"/>
          <p:cNvSpPr/>
          <p:nvPr/>
        </p:nvSpPr>
        <p:spPr>
          <a:xfrm>
            <a:off x="8341578" y="2327046"/>
            <a:ext cx="1620000"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34</a:t>
            </a:r>
          </a:p>
        </p:txBody>
      </p:sp>
      <p:sp>
        <p:nvSpPr>
          <p:cNvPr id="31" name="Oval 30"/>
          <p:cNvSpPr/>
          <p:nvPr/>
        </p:nvSpPr>
        <p:spPr>
          <a:xfrm>
            <a:off x="3569201" y="2323357"/>
            <a:ext cx="162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6</a:t>
            </a:r>
          </a:p>
        </p:txBody>
      </p:sp>
      <p:sp>
        <p:nvSpPr>
          <p:cNvPr id="32" name="Oval 31"/>
          <p:cNvSpPr/>
          <p:nvPr/>
        </p:nvSpPr>
        <p:spPr>
          <a:xfrm>
            <a:off x="5976286" y="2760346"/>
            <a:ext cx="1620000" cy="33891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6%</a:t>
            </a:r>
          </a:p>
        </p:txBody>
      </p:sp>
      <p:sp>
        <p:nvSpPr>
          <p:cNvPr id="33" name="Oval 32"/>
          <p:cNvSpPr/>
          <p:nvPr/>
        </p:nvSpPr>
        <p:spPr>
          <a:xfrm>
            <a:off x="8341578" y="2760346"/>
            <a:ext cx="1620000" cy="33891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4%</a:t>
            </a:r>
          </a:p>
        </p:txBody>
      </p:sp>
      <p:sp>
        <p:nvSpPr>
          <p:cNvPr id="35" name="Oval 34"/>
          <p:cNvSpPr/>
          <p:nvPr/>
        </p:nvSpPr>
        <p:spPr>
          <a:xfrm>
            <a:off x="3569201" y="2754810"/>
            <a:ext cx="1620000" cy="360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6%</a:t>
            </a:r>
          </a:p>
        </p:txBody>
      </p:sp>
      <p:sp>
        <p:nvSpPr>
          <p:cNvPr id="36" name="Rectangle 35"/>
          <p:cNvSpPr/>
          <p:nvPr/>
        </p:nvSpPr>
        <p:spPr>
          <a:xfrm>
            <a:off x="1149713" y="2755086"/>
            <a:ext cx="2155304"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1</a:t>
            </a:r>
          </a:p>
        </p:txBody>
      </p:sp>
      <p:sp>
        <p:nvSpPr>
          <p:cNvPr id="38" name="Rectangle 37"/>
          <p:cNvSpPr/>
          <p:nvPr/>
        </p:nvSpPr>
        <p:spPr>
          <a:xfrm>
            <a:off x="1149713" y="3169025"/>
            <a:ext cx="2155304"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2E volumes</a:t>
            </a:r>
          </a:p>
        </p:txBody>
      </p:sp>
      <p:sp>
        <p:nvSpPr>
          <p:cNvPr id="39" name="Oval 27"/>
          <p:cNvSpPr/>
          <p:nvPr/>
        </p:nvSpPr>
        <p:spPr>
          <a:xfrm>
            <a:off x="5976286" y="3176471"/>
            <a:ext cx="1620000"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77</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 name="Oval 28"/>
          <p:cNvSpPr/>
          <p:nvPr/>
        </p:nvSpPr>
        <p:spPr>
          <a:xfrm>
            <a:off x="8341578" y="3176471"/>
            <a:ext cx="1620000"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3</a:t>
            </a:r>
          </a:p>
        </p:txBody>
      </p:sp>
      <p:sp>
        <p:nvSpPr>
          <p:cNvPr id="41" name="Oval 30"/>
          <p:cNvSpPr/>
          <p:nvPr/>
        </p:nvSpPr>
        <p:spPr>
          <a:xfrm>
            <a:off x="3569201" y="3172779"/>
            <a:ext cx="162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0</a:t>
            </a:r>
          </a:p>
        </p:txBody>
      </p:sp>
      <p:sp>
        <p:nvSpPr>
          <p:cNvPr id="42" name="Oval 31"/>
          <p:cNvSpPr/>
          <p:nvPr/>
        </p:nvSpPr>
        <p:spPr>
          <a:xfrm>
            <a:off x="5976286" y="3604511"/>
            <a:ext cx="1620000" cy="33891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7</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43" name="Oval 32"/>
          <p:cNvSpPr/>
          <p:nvPr/>
        </p:nvSpPr>
        <p:spPr>
          <a:xfrm>
            <a:off x="8341578" y="3609766"/>
            <a:ext cx="1620000" cy="33891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37</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44" name="Oval 34"/>
          <p:cNvSpPr/>
          <p:nvPr/>
        </p:nvSpPr>
        <p:spPr>
          <a:xfrm>
            <a:off x="3569201" y="3604232"/>
            <a:ext cx="162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20</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45" name="Rectangle 44"/>
          <p:cNvSpPr/>
          <p:nvPr/>
        </p:nvSpPr>
        <p:spPr>
          <a:xfrm>
            <a:off x="1149713" y="3604511"/>
            <a:ext cx="2155304"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2E</a:t>
            </a:r>
          </a:p>
        </p:txBody>
      </p:sp>
      <p:sp>
        <p:nvSpPr>
          <p:cNvPr id="37" name="TextBox 36"/>
          <p:cNvSpPr txBox="1"/>
          <p:nvPr/>
        </p:nvSpPr>
        <p:spPr>
          <a:xfrm>
            <a:off x="1149713" y="6306552"/>
            <a:ext cx="7722684" cy="246191"/>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Volumes in thousand units, numbers in red boxes indicate y-o-y de-growth, numbers in green boxes represent y-o-y growth</a:t>
            </a:r>
          </a:p>
        </p:txBody>
      </p:sp>
      <p:sp>
        <p:nvSpPr>
          <p:cNvPr id="46" name="Rectangle 45">
            <a:extLst>
              <a:ext uri="{FF2B5EF4-FFF2-40B4-BE49-F238E27FC236}">
                <a16:creationId xmlns:a16="http://schemas.microsoft.com/office/drawing/2014/main" id="{0E563411-B889-4204-AC6F-E6D6D4ECD89A}"/>
              </a:ext>
            </a:extLst>
          </p:cNvPr>
          <p:cNvSpPr/>
          <p:nvPr/>
        </p:nvSpPr>
        <p:spPr>
          <a:xfrm>
            <a:off x="1158277" y="4030342"/>
            <a:ext cx="2155304"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 23P volumes</a:t>
            </a:r>
          </a:p>
        </p:txBody>
      </p:sp>
      <p:sp>
        <p:nvSpPr>
          <p:cNvPr id="48" name="Oval 27">
            <a:extLst>
              <a:ext uri="{FF2B5EF4-FFF2-40B4-BE49-F238E27FC236}">
                <a16:creationId xmlns:a16="http://schemas.microsoft.com/office/drawing/2014/main" id="{F79A0DF5-6EA4-43EF-BE6F-8F5B78085F8F}"/>
              </a:ext>
            </a:extLst>
          </p:cNvPr>
          <p:cNvSpPr/>
          <p:nvPr/>
        </p:nvSpPr>
        <p:spPr>
          <a:xfrm>
            <a:off x="5984850" y="4037788"/>
            <a:ext cx="1620000"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11-116</a:t>
            </a:r>
          </a:p>
        </p:txBody>
      </p:sp>
      <p:sp>
        <p:nvSpPr>
          <p:cNvPr id="49" name="Oval 28">
            <a:extLst>
              <a:ext uri="{FF2B5EF4-FFF2-40B4-BE49-F238E27FC236}">
                <a16:creationId xmlns:a16="http://schemas.microsoft.com/office/drawing/2014/main" id="{EC6CD52C-4262-4609-A647-58BB0035258B}"/>
              </a:ext>
            </a:extLst>
          </p:cNvPr>
          <p:cNvSpPr/>
          <p:nvPr/>
        </p:nvSpPr>
        <p:spPr>
          <a:xfrm>
            <a:off x="8350142" y="4037788"/>
            <a:ext cx="1620000"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42-247</a:t>
            </a:r>
          </a:p>
        </p:txBody>
      </p:sp>
      <p:sp>
        <p:nvSpPr>
          <p:cNvPr id="50" name="Oval 30">
            <a:extLst>
              <a:ext uri="{FF2B5EF4-FFF2-40B4-BE49-F238E27FC236}">
                <a16:creationId xmlns:a16="http://schemas.microsoft.com/office/drawing/2014/main" id="{A6D4EAD0-D7B0-4445-992A-ED5A3DA27C14}"/>
              </a:ext>
            </a:extLst>
          </p:cNvPr>
          <p:cNvSpPr/>
          <p:nvPr/>
        </p:nvSpPr>
        <p:spPr>
          <a:xfrm>
            <a:off x="3577765" y="4034096"/>
            <a:ext cx="1620000" cy="36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357-362</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 name="Oval 31">
            <a:extLst>
              <a:ext uri="{FF2B5EF4-FFF2-40B4-BE49-F238E27FC236}">
                <a16:creationId xmlns:a16="http://schemas.microsoft.com/office/drawing/2014/main" id="{071DE048-4760-44D8-95F2-9C08055970EC}"/>
              </a:ext>
            </a:extLst>
          </p:cNvPr>
          <p:cNvSpPr/>
          <p:nvPr/>
        </p:nvSpPr>
        <p:spPr>
          <a:xfrm>
            <a:off x="5984850" y="4471083"/>
            <a:ext cx="1620000" cy="33891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9-</a:t>
            </a:r>
            <a:r>
              <a:rPr lang="en-US" sz="1400" dirty="0">
                <a:solidFill>
                  <a:srgbClr val="FFFFFF"/>
                </a:solidFill>
                <a:latin typeface="Arial" panose="020B0604020202020204" pitchFamily="34" charset="0"/>
                <a:cs typeface="Arial" panose="020B0604020202020204" pitchFamily="34" charset="0"/>
              </a:rPr>
              <a:t>51</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2" name="Oval 32">
            <a:extLst>
              <a:ext uri="{FF2B5EF4-FFF2-40B4-BE49-F238E27FC236}">
                <a16:creationId xmlns:a16="http://schemas.microsoft.com/office/drawing/2014/main" id="{93DFED05-6948-46A8-8F94-CC971B487C75}"/>
              </a:ext>
            </a:extLst>
          </p:cNvPr>
          <p:cNvSpPr/>
          <p:nvPr/>
        </p:nvSpPr>
        <p:spPr>
          <a:xfrm>
            <a:off x="8350142" y="4471083"/>
            <a:ext cx="1620000" cy="33891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Arial" panose="020B0604020202020204" pitchFamily="34" charset="0"/>
                <a:cs typeface="Arial" panose="020B0604020202020204" pitchFamily="34" charset="0"/>
              </a:rPr>
              <a:t>32-34</a:t>
            </a: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53" name="Oval 34">
            <a:extLst>
              <a:ext uri="{FF2B5EF4-FFF2-40B4-BE49-F238E27FC236}">
                <a16:creationId xmlns:a16="http://schemas.microsoft.com/office/drawing/2014/main" id="{2A862919-DDA4-4F22-9D81-E8FC566380AF}"/>
              </a:ext>
            </a:extLst>
          </p:cNvPr>
          <p:cNvSpPr/>
          <p:nvPr/>
        </p:nvSpPr>
        <p:spPr>
          <a:xfrm>
            <a:off x="3577765" y="4465549"/>
            <a:ext cx="1620000" cy="3600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7-39%</a:t>
            </a:r>
          </a:p>
        </p:txBody>
      </p:sp>
      <p:sp>
        <p:nvSpPr>
          <p:cNvPr id="54" name="Rectangle 53">
            <a:extLst>
              <a:ext uri="{FF2B5EF4-FFF2-40B4-BE49-F238E27FC236}">
                <a16:creationId xmlns:a16="http://schemas.microsoft.com/office/drawing/2014/main" id="{AEBC5799-1F51-4C58-B953-8FE437BE6B38}"/>
              </a:ext>
            </a:extLst>
          </p:cNvPr>
          <p:cNvSpPr/>
          <p:nvPr/>
        </p:nvSpPr>
        <p:spPr>
          <a:xfrm>
            <a:off x="1158277" y="4465828"/>
            <a:ext cx="2155304" cy="338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oY Growth in FY23P</a:t>
            </a:r>
          </a:p>
        </p:txBody>
      </p:sp>
    </p:spTree>
    <p:extLst>
      <p:ext uri="{BB962C8B-B14F-4D97-AF65-F5344CB8AC3E}">
        <p14:creationId xmlns:p14="http://schemas.microsoft.com/office/powerpoint/2010/main" val="205601769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Title 1">
            <a:extLst>
              <a:ext uri="{FF2B5EF4-FFF2-40B4-BE49-F238E27FC236}">
                <a16:creationId xmlns:a16="http://schemas.microsoft.com/office/drawing/2014/main" id="{B4D66F93-F7D3-4652-81A5-36FAECAAFF48}"/>
              </a:ext>
            </a:extLst>
          </p:cNvPr>
          <p:cNvSpPr txBox="1">
            <a:spLocks/>
          </p:cNvSpPr>
          <p:nvPr/>
        </p:nvSpPr>
        <p:spPr>
          <a:xfrm>
            <a:off x="400562" y="152401"/>
            <a:ext cx="11602487" cy="335280"/>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defTabSz="914253">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Domestic – quarterly </a:t>
            </a:r>
            <a:r>
              <a:rPr lang="en-US" dirty="0">
                <a:solidFill>
                  <a:srgbClr val="000000"/>
                </a:solidFill>
              </a:rPr>
              <a:t>forecast</a:t>
            </a:r>
          </a:p>
        </p:txBody>
      </p:sp>
      <p:sp>
        <p:nvSpPr>
          <p:cNvPr id="155" name="TextBox 154"/>
          <p:cNvSpPr txBox="1"/>
          <p:nvPr/>
        </p:nvSpPr>
        <p:spPr>
          <a:xfrm>
            <a:off x="340954" y="4559386"/>
            <a:ext cx="2610053" cy="246221"/>
          </a:xfrm>
          <a:prstGeom prst="rect">
            <a:avLst/>
          </a:prstGeom>
          <a:noFill/>
        </p:spPr>
        <p:txBody>
          <a:bodyPr wrap="square" lIns="91406" tIns="45705" rIns="91406" bIns="45705" rtlCol="0">
            <a:spAutoFit/>
          </a:bodyPr>
          <a:lstStyle/>
          <a:p>
            <a:pPr marL="0" marR="0" lvl="0" indent="0" algn="l" defTabSz="914253"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 SIAM, CRISIL Research</a:t>
            </a:r>
          </a:p>
        </p:txBody>
      </p:sp>
      <p:sp>
        <p:nvSpPr>
          <p:cNvPr id="156" name="TextBox 155"/>
          <p:cNvSpPr txBox="1"/>
          <p:nvPr/>
        </p:nvSpPr>
        <p:spPr>
          <a:xfrm>
            <a:off x="322282" y="5140903"/>
            <a:ext cx="11647443" cy="830966"/>
          </a:xfrm>
          <a:prstGeom prst="rect">
            <a:avLst/>
          </a:prstGeom>
          <a:solidFill>
            <a:schemeClr val="bg1">
              <a:lumMod val="85000"/>
            </a:schemeClr>
          </a:solidFill>
        </p:spPr>
        <p:txBody>
          <a:bodyPr wrap="square" lIns="91406" tIns="45705" rIns="91406" bIns="45705" rtlCol="0" anchor="ctr">
            <a:spAutoFit/>
          </a:bodyPr>
          <a:lstStyle/>
          <a:p>
            <a:pPr marL="285649" marR="0" lvl="0" indent="-285649" algn="l" defTabSz="914253"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fter a long hiatus, passenger vehicle segment showed some improvement during FY22 &amp; clocked </a:t>
            </a:r>
            <a:r>
              <a:rPr lang="en-US" sz="1200" dirty="0">
                <a:solidFill>
                  <a:srgbClr val="000000"/>
                </a:solidFill>
                <a:latin typeface="Arial" panose="020B0604020202020204" pitchFamily="34" charset="0"/>
                <a:cs typeface="Arial" panose="020B0604020202020204" pitchFamily="34" charset="0"/>
              </a:rPr>
              <a:t>37</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growth on a y-o-y basis</a:t>
            </a:r>
          </a:p>
          <a:p>
            <a:pPr marL="285649" marR="0" lvl="0" indent="-285649" algn="l" defTabSz="914253"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lang="en-US" sz="1200" baseline="0" dirty="0">
                <a:solidFill>
                  <a:srgbClr val="000000"/>
                </a:solidFill>
                <a:latin typeface="Arial" panose="020B0604020202020204" pitchFamily="34" charset="0"/>
                <a:cs typeface="Arial" panose="020B0604020202020204" pitchFamily="34" charset="0"/>
              </a:rPr>
              <a:t>Passenger segment saw a 5% rise in Q4 FY22 on a y-o-y basis, </a:t>
            </a:r>
            <a:r>
              <a:rPr lang="en-US" sz="1200" dirty="0">
                <a:solidFill>
                  <a:srgbClr val="000000"/>
                </a:solidFill>
                <a:latin typeface="Arial" panose="020B0604020202020204" pitchFamily="34" charset="0"/>
                <a:cs typeface="Arial" panose="020B0604020202020204" pitchFamily="34" charset="0"/>
              </a:rPr>
              <a:t>whereas cargo declined by 19% on-year</a:t>
            </a:r>
            <a:endParaRPr lang="en-US" sz="1200" baseline="0" dirty="0">
              <a:solidFill>
                <a:srgbClr val="000000"/>
              </a:solidFill>
              <a:latin typeface="Arial" panose="020B0604020202020204" pitchFamily="34" charset="0"/>
              <a:cs typeface="Arial" panose="020B0604020202020204" pitchFamily="34" charset="0"/>
            </a:endParaRPr>
          </a:p>
          <a:p>
            <a:pPr marL="285649" marR="0" lvl="0" indent="-285649" algn="l" defTabSz="914253"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lang="en-US" sz="1200" baseline="0" dirty="0">
                <a:solidFill>
                  <a:srgbClr val="000000"/>
                </a:solidFill>
                <a:latin typeface="Arial" panose="020B0604020202020204" pitchFamily="34" charset="0"/>
                <a:cs typeface="Arial" panose="020B0604020202020204" pitchFamily="34" charset="0"/>
              </a:rPr>
              <a:t>Passenger segment is expected</a:t>
            </a:r>
            <a:r>
              <a:rPr lang="en-US" sz="1200" dirty="0">
                <a:solidFill>
                  <a:srgbClr val="000000"/>
                </a:solidFill>
                <a:latin typeface="Arial" panose="020B0604020202020204" pitchFamily="34" charset="0"/>
                <a:cs typeface="Arial" panose="020B0604020202020204" pitchFamily="34" charset="0"/>
              </a:rPr>
              <a:t> to get a push in Q1FY21 with reopening of schools, offices &amp; colleges and in turn the increased demand for last mile connectivity</a:t>
            </a:r>
          </a:p>
          <a:p>
            <a:pPr marL="285649" marR="0" lvl="0" indent="-285649" algn="l" defTabSz="914253" rtl="0" eaLnBrk="1" fontAlgn="auto" latinLnBrk="0" hangingPunct="1">
              <a:lnSpc>
                <a:spcPct val="100000"/>
              </a:lnSpc>
              <a:spcBef>
                <a:spcPts val="0"/>
              </a:spcBef>
              <a:spcAft>
                <a:spcPts val="0"/>
              </a:spcAft>
              <a:buClrTx/>
              <a:buSzPct val="15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ree-wheeler growth is expected to continue at a robust pace on account of a low base in the previous years</a:t>
            </a:r>
          </a:p>
        </p:txBody>
      </p:sp>
      <p:sp>
        <p:nvSpPr>
          <p:cNvPr id="15" name="Rectangle: Rounded Corners 157">
            <a:extLst>
              <a:ext uri="{FF2B5EF4-FFF2-40B4-BE49-F238E27FC236}">
                <a16:creationId xmlns:a16="http://schemas.microsoft.com/office/drawing/2014/main" id="{715A8F26-4A7A-4685-A004-FB0603859007}"/>
              </a:ext>
            </a:extLst>
          </p:cNvPr>
          <p:cNvSpPr/>
          <p:nvPr/>
        </p:nvSpPr>
        <p:spPr>
          <a:xfrm>
            <a:off x="5688590" y="1108306"/>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6" name="Rectangle: Rounded Corners 158">
            <a:extLst>
              <a:ext uri="{FF2B5EF4-FFF2-40B4-BE49-F238E27FC236}">
                <a16:creationId xmlns:a16="http://schemas.microsoft.com/office/drawing/2014/main" id="{44A46C80-5A88-4EAB-ADB6-FA569F11B069}"/>
              </a:ext>
            </a:extLst>
          </p:cNvPr>
          <p:cNvSpPr/>
          <p:nvPr/>
        </p:nvSpPr>
        <p:spPr>
          <a:xfrm>
            <a:off x="7275820" y="1103991"/>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41" name="Rectangle: Rounded Corners 72">
            <a:extLst>
              <a:ext uri="{FF2B5EF4-FFF2-40B4-BE49-F238E27FC236}">
                <a16:creationId xmlns:a16="http://schemas.microsoft.com/office/drawing/2014/main" id="{A738871E-9F78-4346-A0D4-4AA58AA59FED}"/>
              </a:ext>
            </a:extLst>
          </p:cNvPr>
          <p:cNvSpPr/>
          <p:nvPr/>
        </p:nvSpPr>
        <p:spPr>
          <a:xfrm>
            <a:off x="341886" y="768589"/>
            <a:ext cx="2041683" cy="736304"/>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riod</a:t>
            </a:r>
          </a:p>
        </p:txBody>
      </p:sp>
      <p:sp>
        <p:nvSpPr>
          <p:cNvPr id="42" name="Rectangle: Rounded Corners 145">
            <a:extLst>
              <a:ext uri="{FF2B5EF4-FFF2-40B4-BE49-F238E27FC236}">
                <a16:creationId xmlns:a16="http://schemas.microsoft.com/office/drawing/2014/main" id="{DD7CFA8E-7CDC-4A6C-AB95-FCC0A15833EF}"/>
              </a:ext>
            </a:extLst>
          </p:cNvPr>
          <p:cNvSpPr/>
          <p:nvPr/>
        </p:nvSpPr>
        <p:spPr>
          <a:xfrm>
            <a:off x="1519724" y="1684983"/>
            <a:ext cx="863845"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43" name="Rectangle: Rounded Corners 149">
            <a:extLst>
              <a:ext uri="{FF2B5EF4-FFF2-40B4-BE49-F238E27FC236}">
                <a16:creationId xmlns:a16="http://schemas.microsoft.com/office/drawing/2014/main" id="{D101FBB6-7D7E-483C-B6E3-AB9308D1F50F}"/>
              </a:ext>
            </a:extLst>
          </p:cNvPr>
          <p:cNvSpPr/>
          <p:nvPr/>
        </p:nvSpPr>
        <p:spPr>
          <a:xfrm>
            <a:off x="5688590" y="1676053"/>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3</a:t>
            </a:r>
          </a:p>
        </p:txBody>
      </p:sp>
      <p:sp>
        <p:nvSpPr>
          <p:cNvPr id="44" name="Rectangle: Rounded Corners 153">
            <a:extLst>
              <a:ext uri="{FF2B5EF4-FFF2-40B4-BE49-F238E27FC236}">
                <a16:creationId xmlns:a16="http://schemas.microsoft.com/office/drawing/2014/main" id="{670A388E-8574-483D-9CBA-C4807A34A062}"/>
              </a:ext>
            </a:extLst>
          </p:cNvPr>
          <p:cNvSpPr/>
          <p:nvPr/>
        </p:nvSpPr>
        <p:spPr>
          <a:xfrm>
            <a:off x="7266705" y="1682943"/>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a:t>
            </a:r>
          </a:p>
        </p:txBody>
      </p:sp>
      <p:sp>
        <p:nvSpPr>
          <p:cNvPr id="46" name="Rectangle: Rounded Corners 168">
            <a:extLst>
              <a:ext uri="{FF2B5EF4-FFF2-40B4-BE49-F238E27FC236}">
                <a16:creationId xmlns:a16="http://schemas.microsoft.com/office/drawing/2014/main" id="{29DF9AF3-A9C6-4EC2-8010-653D056EFE62}"/>
              </a:ext>
            </a:extLst>
          </p:cNvPr>
          <p:cNvSpPr/>
          <p:nvPr/>
        </p:nvSpPr>
        <p:spPr>
          <a:xfrm>
            <a:off x="341883" y="1587834"/>
            <a:ext cx="1095638" cy="36895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1</a:t>
            </a:r>
          </a:p>
        </p:txBody>
      </p:sp>
      <p:sp>
        <p:nvSpPr>
          <p:cNvPr id="97" name="Rectangle 96"/>
          <p:cNvSpPr/>
          <p:nvPr/>
        </p:nvSpPr>
        <p:spPr>
          <a:xfrm>
            <a:off x="5688588" y="768587"/>
            <a:ext cx="3093736" cy="281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rgo</a:t>
            </a:r>
          </a:p>
        </p:txBody>
      </p:sp>
      <p:sp>
        <p:nvSpPr>
          <p:cNvPr id="100" name="Rectangle: Rounded Corners 157">
            <a:extLst>
              <a:ext uri="{FF2B5EF4-FFF2-40B4-BE49-F238E27FC236}">
                <a16:creationId xmlns:a16="http://schemas.microsoft.com/office/drawing/2014/main" id="{715A8F26-4A7A-4685-A004-FB0603859007}"/>
              </a:ext>
            </a:extLst>
          </p:cNvPr>
          <p:cNvSpPr/>
          <p:nvPr/>
        </p:nvSpPr>
        <p:spPr>
          <a:xfrm>
            <a:off x="8907361" y="1114607"/>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01" name="Rectangle: Rounded Corners 158">
            <a:extLst>
              <a:ext uri="{FF2B5EF4-FFF2-40B4-BE49-F238E27FC236}">
                <a16:creationId xmlns:a16="http://schemas.microsoft.com/office/drawing/2014/main" id="{44A46C80-5A88-4EAB-ADB6-FA569F11B069}"/>
              </a:ext>
            </a:extLst>
          </p:cNvPr>
          <p:cNvSpPr/>
          <p:nvPr/>
        </p:nvSpPr>
        <p:spPr>
          <a:xfrm>
            <a:off x="10494595" y="1110292"/>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13" name="Rectangle: Rounded Corners 149">
            <a:extLst>
              <a:ext uri="{FF2B5EF4-FFF2-40B4-BE49-F238E27FC236}">
                <a16:creationId xmlns:a16="http://schemas.microsoft.com/office/drawing/2014/main" id="{D101FBB6-7D7E-483C-B6E3-AB9308D1F50F}"/>
              </a:ext>
            </a:extLst>
          </p:cNvPr>
          <p:cNvSpPr/>
          <p:nvPr/>
        </p:nvSpPr>
        <p:spPr>
          <a:xfrm>
            <a:off x="8907360" y="1682353"/>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7.2</a:t>
            </a:r>
          </a:p>
        </p:txBody>
      </p:sp>
      <p:sp>
        <p:nvSpPr>
          <p:cNvPr id="114" name="Rectangle: Rounded Corners 153">
            <a:extLst>
              <a:ext uri="{FF2B5EF4-FFF2-40B4-BE49-F238E27FC236}">
                <a16:creationId xmlns:a16="http://schemas.microsoft.com/office/drawing/2014/main" id="{670A388E-8574-483D-9CBA-C4807A34A062}"/>
              </a:ext>
            </a:extLst>
          </p:cNvPr>
          <p:cNvSpPr/>
          <p:nvPr/>
        </p:nvSpPr>
        <p:spPr>
          <a:xfrm>
            <a:off x="10485480" y="1689244"/>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6)%</a:t>
            </a:r>
          </a:p>
        </p:txBody>
      </p:sp>
      <p:sp>
        <p:nvSpPr>
          <p:cNvPr id="125" name="Rectangle 124"/>
          <p:cNvSpPr/>
          <p:nvPr/>
        </p:nvSpPr>
        <p:spPr>
          <a:xfrm>
            <a:off x="8907365" y="774890"/>
            <a:ext cx="3084619" cy="2751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ssenger</a:t>
            </a:r>
          </a:p>
        </p:txBody>
      </p:sp>
      <p:sp>
        <p:nvSpPr>
          <p:cNvPr id="164" name="Rectangle: Rounded Corners 157">
            <a:extLst>
              <a:ext uri="{FF2B5EF4-FFF2-40B4-BE49-F238E27FC236}">
                <a16:creationId xmlns:a16="http://schemas.microsoft.com/office/drawing/2014/main" id="{715A8F26-4A7A-4685-A004-FB0603859007}"/>
              </a:ext>
            </a:extLst>
          </p:cNvPr>
          <p:cNvSpPr/>
          <p:nvPr/>
        </p:nvSpPr>
        <p:spPr>
          <a:xfrm>
            <a:off x="2484745" y="1108306"/>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olume (‘000)</a:t>
            </a:r>
          </a:p>
        </p:txBody>
      </p:sp>
      <p:sp>
        <p:nvSpPr>
          <p:cNvPr id="165" name="Rectangle: Rounded Corners 158">
            <a:extLst>
              <a:ext uri="{FF2B5EF4-FFF2-40B4-BE49-F238E27FC236}">
                <a16:creationId xmlns:a16="http://schemas.microsoft.com/office/drawing/2014/main" id="{44A46C80-5A88-4EAB-ADB6-FA569F11B069}"/>
              </a:ext>
            </a:extLst>
          </p:cNvPr>
          <p:cNvSpPr/>
          <p:nvPr/>
        </p:nvSpPr>
        <p:spPr>
          <a:xfrm>
            <a:off x="4071975" y="1103991"/>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72" name="Rectangle: Rounded Corners 149">
            <a:extLst>
              <a:ext uri="{FF2B5EF4-FFF2-40B4-BE49-F238E27FC236}">
                <a16:creationId xmlns:a16="http://schemas.microsoft.com/office/drawing/2014/main" id="{D101FBB6-7D7E-483C-B6E3-AB9308D1F50F}"/>
              </a:ext>
            </a:extLst>
          </p:cNvPr>
          <p:cNvSpPr/>
          <p:nvPr/>
        </p:nvSpPr>
        <p:spPr>
          <a:xfrm>
            <a:off x="2484745" y="1676053"/>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5.6</a:t>
            </a:r>
          </a:p>
        </p:txBody>
      </p:sp>
      <p:sp>
        <p:nvSpPr>
          <p:cNvPr id="173" name="Rectangle: Rounded Corners 153">
            <a:extLst>
              <a:ext uri="{FF2B5EF4-FFF2-40B4-BE49-F238E27FC236}">
                <a16:creationId xmlns:a16="http://schemas.microsoft.com/office/drawing/2014/main" id="{670A388E-8574-483D-9CBA-C4807A34A062}"/>
              </a:ext>
            </a:extLst>
          </p:cNvPr>
          <p:cNvSpPr/>
          <p:nvPr/>
        </p:nvSpPr>
        <p:spPr>
          <a:xfrm>
            <a:off x="4062860" y="1682943"/>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6)%</a:t>
            </a:r>
          </a:p>
        </p:txBody>
      </p:sp>
      <p:sp>
        <p:nvSpPr>
          <p:cNvPr id="180" name="Rectangle 179"/>
          <p:cNvSpPr/>
          <p:nvPr/>
        </p:nvSpPr>
        <p:spPr>
          <a:xfrm>
            <a:off x="2484745" y="768587"/>
            <a:ext cx="3093736" cy="281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ree-wheeler</a:t>
            </a:r>
          </a:p>
        </p:txBody>
      </p:sp>
      <p:sp>
        <p:nvSpPr>
          <p:cNvPr id="75" name="Rectangle: Rounded Corners 172">
            <a:extLst>
              <a:ext uri="{FF2B5EF4-FFF2-40B4-BE49-F238E27FC236}">
                <a16:creationId xmlns:a16="http://schemas.microsoft.com/office/drawing/2014/main" id="{66CC6CAB-11F9-4810-BE60-801C5C58F5F8}"/>
              </a:ext>
            </a:extLst>
          </p:cNvPr>
          <p:cNvSpPr/>
          <p:nvPr/>
        </p:nvSpPr>
        <p:spPr>
          <a:xfrm>
            <a:off x="1521689" y="2053988"/>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1</a:t>
            </a:r>
          </a:p>
        </p:txBody>
      </p:sp>
      <p:sp>
        <p:nvSpPr>
          <p:cNvPr id="76" name="Rectangle: Rounded Corners 176">
            <a:extLst>
              <a:ext uri="{FF2B5EF4-FFF2-40B4-BE49-F238E27FC236}">
                <a16:creationId xmlns:a16="http://schemas.microsoft.com/office/drawing/2014/main" id="{59D18927-4AF5-46EC-803A-A7443AC551C6}"/>
              </a:ext>
            </a:extLst>
          </p:cNvPr>
          <p:cNvSpPr/>
          <p:nvPr/>
        </p:nvSpPr>
        <p:spPr>
          <a:xfrm>
            <a:off x="5690549" y="2027869"/>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6</a:t>
            </a:r>
          </a:p>
        </p:txBody>
      </p:sp>
      <p:sp>
        <p:nvSpPr>
          <p:cNvPr id="77" name="Rectangle: Rounded Corners 180">
            <a:extLst>
              <a:ext uri="{FF2B5EF4-FFF2-40B4-BE49-F238E27FC236}">
                <a16:creationId xmlns:a16="http://schemas.microsoft.com/office/drawing/2014/main" id="{5133D946-867C-4BC5-B546-C260BE43596E}"/>
              </a:ext>
            </a:extLst>
          </p:cNvPr>
          <p:cNvSpPr/>
          <p:nvPr/>
        </p:nvSpPr>
        <p:spPr>
          <a:xfrm>
            <a:off x="7283084" y="2039266"/>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8%</a:t>
            </a:r>
          </a:p>
        </p:txBody>
      </p:sp>
      <p:sp>
        <p:nvSpPr>
          <p:cNvPr id="79" name="Rectangle: Rounded Corners 176">
            <a:extLst>
              <a:ext uri="{FF2B5EF4-FFF2-40B4-BE49-F238E27FC236}">
                <a16:creationId xmlns:a16="http://schemas.microsoft.com/office/drawing/2014/main" id="{59D18927-4AF5-46EC-803A-A7443AC551C6}"/>
              </a:ext>
            </a:extLst>
          </p:cNvPr>
          <p:cNvSpPr/>
          <p:nvPr/>
        </p:nvSpPr>
        <p:spPr>
          <a:xfrm>
            <a:off x="8909322" y="2034173"/>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8</a:t>
            </a:r>
          </a:p>
        </p:txBody>
      </p:sp>
      <p:sp>
        <p:nvSpPr>
          <p:cNvPr id="80" name="Rectangle: Rounded Corners 180">
            <a:extLst>
              <a:ext uri="{FF2B5EF4-FFF2-40B4-BE49-F238E27FC236}">
                <a16:creationId xmlns:a16="http://schemas.microsoft.com/office/drawing/2014/main" id="{5133D946-867C-4BC5-B546-C260BE43596E}"/>
              </a:ext>
            </a:extLst>
          </p:cNvPr>
          <p:cNvSpPr/>
          <p:nvPr/>
        </p:nvSpPr>
        <p:spPr>
          <a:xfrm>
            <a:off x="10487442" y="203668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8%</a:t>
            </a:r>
          </a:p>
        </p:txBody>
      </p:sp>
      <p:sp>
        <p:nvSpPr>
          <p:cNvPr id="81" name="Rectangle: Rounded Corners 176">
            <a:extLst>
              <a:ext uri="{FF2B5EF4-FFF2-40B4-BE49-F238E27FC236}">
                <a16:creationId xmlns:a16="http://schemas.microsoft.com/office/drawing/2014/main" id="{59D18927-4AF5-46EC-803A-A7443AC551C6}"/>
              </a:ext>
            </a:extLst>
          </p:cNvPr>
          <p:cNvSpPr/>
          <p:nvPr/>
        </p:nvSpPr>
        <p:spPr>
          <a:xfrm>
            <a:off x="2488416" y="2038960"/>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4.4</a:t>
            </a:r>
          </a:p>
        </p:txBody>
      </p:sp>
      <p:sp>
        <p:nvSpPr>
          <p:cNvPr id="82" name="Rectangle: Rounded Corners 180">
            <a:extLst>
              <a:ext uri="{FF2B5EF4-FFF2-40B4-BE49-F238E27FC236}">
                <a16:creationId xmlns:a16="http://schemas.microsoft.com/office/drawing/2014/main" id="{5133D946-867C-4BC5-B546-C260BE43596E}"/>
              </a:ext>
            </a:extLst>
          </p:cNvPr>
          <p:cNvSpPr/>
          <p:nvPr/>
        </p:nvSpPr>
        <p:spPr>
          <a:xfrm>
            <a:off x="4078727" y="203923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91%</a:t>
            </a:r>
          </a:p>
        </p:txBody>
      </p:sp>
      <p:sp>
        <p:nvSpPr>
          <p:cNvPr id="92" name="Rectangle: Rounded Corners 168">
            <a:extLst>
              <a:ext uri="{FF2B5EF4-FFF2-40B4-BE49-F238E27FC236}">
                <a16:creationId xmlns:a16="http://schemas.microsoft.com/office/drawing/2014/main" id="{29DF9AF3-A9C6-4EC2-8010-653D056EFE62}"/>
              </a:ext>
            </a:extLst>
          </p:cNvPr>
          <p:cNvSpPr/>
          <p:nvPr/>
        </p:nvSpPr>
        <p:spPr>
          <a:xfrm>
            <a:off x="341883" y="2061199"/>
            <a:ext cx="1108190" cy="11093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2</a:t>
            </a:r>
            <a:r>
              <a:rPr kumimoji="0" lang="en-US" sz="1400" b="1"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 name="Rectangle: Rounded Corners 172">
            <a:extLst>
              <a:ext uri="{FF2B5EF4-FFF2-40B4-BE49-F238E27FC236}">
                <a16:creationId xmlns:a16="http://schemas.microsoft.com/office/drawing/2014/main" id="{66CC6CAB-11F9-4810-BE60-801C5C58F5F8}"/>
              </a:ext>
            </a:extLst>
          </p:cNvPr>
          <p:cNvSpPr/>
          <p:nvPr/>
        </p:nvSpPr>
        <p:spPr>
          <a:xfrm>
            <a:off x="1509609" y="2375348"/>
            <a:ext cx="873960"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84" name="Rectangle: Rounded Corners 176">
            <a:extLst>
              <a:ext uri="{FF2B5EF4-FFF2-40B4-BE49-F238E27FC236}">
                <a16:creationId xmlns:a16="http://schemas.microsoft.com/office/drawing/2014/main" id="{59D18927-4AF5-46EC-803A-A7443AC551C6}"/>
              </a:ext>
            </a:extLst>
          </p:cNvPr>
          <p:cNvSpPr/>
          <p:nvPr/>
        </p:nvSpPr>
        <p:spPr>
          <a:xfrm>
            <a:off x="5697472" y="2349229"/>
            <a:ext cx="1506504"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5</a:t>
            </a:r>
          </a:p>
        </p:txBody>
      </p:sp>
      <p:sp>
        <p:nvSpPr>
          <p:cNvPr id="85" name="Rectangle: Rounded Corners 180">
            <a:extLst>
              <a:ext uri="{FF2B5EF4-FFF2-40B4-BE49-F238E27FC236}">
                <a16:creationId xmlns:a16="http://schemas.microsoft.com/office/drawing/2014/main" id="{5133D946-867C-4BC5-B546-C260BE43596E}"/>
              </a:ext>
            </a:extLst>
          </p:cNvPr>
          <p:cNvSpPr/>
          <p:nvPr/>
        </p:nvSpPr>
        <p:spPr>
          <a:xfrm>
            <a:off x="7280268" y="2366562"/>
            <a:ext cx="1506504"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17</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86" name="Rectangle: Rounded Corners 176">
            <a:extLst>
              <a:ext uri="{FF2B5EF4-FFF2-40B4-BE49-F238E27FC236}">
                <a16:creationId xmlns:a16="http://schemas.microsoft.com/office/drawing/2014/main" id="{59D18927-4AF5-46EC-803A-A7443AC551C6}"/>
              </a:ext>
            </a:extLst>
          </p:cNvPr>
          <p:cNvSpPr/>
          <p:nvPr/>
        </p:nvSpPr>
        <p:spPr>
          <a:xfrm>
            <a:off x="8914518" y="2328917"/>
            <a:ext cx="1506504"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7.4</a:t>
            </a:r>
          </a:p>
        </p:txBody>
      </p:sp>
      <p:sp>
        <p:nvSpPr>
          <p:cNvPr id="87" name="Rectangle: Rounded Corners 180">
            <a:extLst>
              <a:ext uri="{FF2B5EF4-FFF2-40B4-BE49-F238E27FC236}">
                <a16:creationId xmlns:a16="http://schemas.microsoft.com/office/drawing/2014/main" id="{5133D946-867C-4BC5-B546-C260BE43596E}"/>
              </a:ext>
            </a:extLst>
          </p:cNvPr>
          <p:cNvSpPr/>
          <p:nvPr/>
        </p:nvSpPr>
        <p:spPr>
          <a:xfrm>
            <a:off x="10482822" y="2340308"/>
            <a:ext cx="1506504"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79</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88" name="Rectangle: Rounded Corners 176">
            <a:extLst>
              <a:ext uri="{FF2B5EF4-FFF2-40B4-BE49-F238E27FC236}">
                <a16:creationId xmlns:a16="http://schemas.microsoft.com/office/drawing/2014/main" id="{59D18927-4AF5-46EC-803A-A7443AC551C6}"/>
              </a:ext>
            </a:extLst>
          </p:cNvPr>
          <p:cNvSpPr/>
          <p:nvPr/>
        </p:nvSpPr>
        <p:spPr>
          <a:xfrm>
            <a:off x="2495077" y="2375842"/>
            <a:ext cx="1506504"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0.9</a:t>
            </a:r>
          </a:p>
        </p:txBody>
      </p:sp>
      <p:sp>
        <p:nvSpPr>
          <p:cNvPr id="89" name="Rectangle: Rounded Corners 180">
            <a:extLst>
              <a:ext uri="{FF2B5EF4-FFF2-40B4-BE49-F238E27FC236}">
                <a16:creationId xmlns:a16="http://schemas.microsoft.com/office/drawing/2014/main" id="{5133D946-867C-4BC5-B546-C260BE43596E}"/>
              </a:ext>
            </a:extLst>
          </p:cNvPr>
          <p:cNvSpPr/>
          <p:nvPr/>
        </p:nvSpPr>
        <p:spPr>
          <a:xfrm>
            <a:off x="4077030" y="2360598"/>
            <a:ext cx="1508201"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52</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74" name="Rectangle: Rounded Corners 172">
            <a:extLst>
              <a:ext uri="{FF2B5EF4-FFF2-40B4-BE49-F238E27FC236}">
                <a16:creationId xmlns:a16="http://schemas.microsoft.com/office/drawing/2014/main" id="{66CC6CAB-11F9-4810-BE60-801C5C58F5F8}"/>
              </a:ext>
            </a:extLst>
          </p:cNvPr>
          <p:cNvSpPr/>
          <p:nvPr/>
        </p:nvSpPr>
        <p:spPr>
          <a:xfrm>
            <a:off x="1512756" y="2675355"/>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3</a:t>
            </a:r>
          </a:p>
        </p:txBody>
      </p:sp>
      <p:sp>
        <p:nvSpPr>
          <p:cNvPr id="78" name="Rectangle: Rounded Corners 176">
            <a:extLst>
              <a:ext uri="{FF2B5EF4-FFF2-40B4-BE49-F238E27FC236}">
                <a16:creationId xmlns:a16="http://schemas.microsoft.com/office/drawing/2014/main" id="{59D18927-4AF5-46EC-803A-A7443AC551C6}"/>
              </a:ext>
            </a:extLst>
          </p:cNvPr>
          <p:cNvSpPr/>
          <p:nvPr/>
        </p:nvSpPr>
        <p:spPr>
          <a:xfrm>
            <a:off x="5695124" y="2641491"/>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3</a:t>
            </a:r>
          </a:p>
        </p:txBody>
      </p:sp>
      <p:sp>
        <p:nvSpPr>
          <p:cNvPr id="90" name="Rectangle: Rounded Corners 180">
            <a:extLst>
              <a:ext uri="{FF2B5EF4-FFF2-40B4-BE49-F238E27FC236}">
                <a16:creationId xmlns:a16="http://schemas.microsoft.com/office/drawing/2014/main" id="{5133D946-867C-4BC5-B546-C260BE43596E}"/>
              </a:ext>
            </a:extLst>
          </p:cNvPr>
          <p:cNvSpPr/>
          <p:nvPr/>
        </p:nvSpPr>
        <p:spPr>
          <a:xfrm>
            <a:off x="7261699" y="2650243"/>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1)%</a:t>
            </a:r>
          </a:p>
        </p:txBody>
      </p:sp>
      <p:sp>
        <p:nvSpPr>
          <p:cNvPr id="91" name="Rectangle: Rounded Corners 176">
            <a:extLst>
              <a:ext uri="{FF2B5EF4-FFF2-40B4-BE49-F238E27FC236}">
                <a16:creationId xmlns:a16="http://schemas.microsoft.com/office/drawing/2014/main" id="{59D18927-4AF5-46EC-803A-A7443AC551C6}"/>
              </a:ext>
            </a:extLst>
          </p:cNvPr>
          <p:cNvSpPr/>
          <p:nvPr/>
        </p:nvSpPr>
        <p:spPr>
          <a:xfrm>
            <a:off x="8902354" y="2632469"/>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60.1</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 name="Rectangle: Rounded Corners 180">
            <a:extLst>
              <a:ext uri="{FF2B5EF4-FFF2-40B4-BE49-F238E27FC236}">
                <a16:creationId xmlns:a16="http://schemas.microsoft.com/office/drawing/2014/main" id="{5133D946-867C-4BC5-B546-C260BE43596E}"/>
              </a:ext>
            </a:extLst>
          </p:cNvPr>
          <p:cNvSpPr/>
          <p:nvPr/>
        </p:nvSpPr>
        <p:spPr>
          <a:xfrm>
            <a:off x="10482822" y="263524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7%</a:t>
            </a:r>
          </a:p>
        </p:txBody>
      </p:sp>
      <p:sp>
        <p:nvSpPr>
          <p:cNvPr id="94" name="Rectangle: Rounded Corners 176">
            <a:extLst>
              <a:ext uri="{FF2B5EF4-FFF2-40B4-BE49-F238E27FC236}">
                <a16:creationId xmlns:a16="http://schemas.microsoft.com/office/drawing/2014/main" id="{59D18927-4AF5-46EC-803A-A7443AC551C6}"/>
              </a:ext>
            </a:extLst>
          </p:cNvPr>
          <p:cNvSpPr/>
          <p:nvPr/>
        </p:nvSpPr>
        <p:spPr>
          <a:xfrm>
            <a:off x="2512596" y="2663936"/>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82.4</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5" name="Rectangle: Rounded Corners 180">
            <a:extLst>
              <a:ext uri="{FF2B5EF4-FFF2-40B4-BE49-F238E27FC236}">
                <a16:creationId xmlns:a16="http://schemas.microsoft.com/office/drawing/2014/main" id="{5133D946-867C-4BC5-B546-C260BE43596E}"/>
              </a:ext>
            </a:extLst>
          </p:cNvPr>
          <p:cNvSpPr/>
          <p:nvPr/>
        </p:nvSpPr>
        <p:spPr>
          <a:xfrm>
            <a:off x="4071759" y="2638525"/>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14</a:t>
            </a:r>
            <a:r>
              <a:rPr lang="en-US" sz="1400" noProof="0" dirty="0">
                <a:solidFill>
                  <a:srgbClr val="000000"/>
                </a:solidFill>
                <a:latin typeface="Arial" panose="020B0604020202020204" pitchFamily="34" charset="0"/>
                <a:cs typeface="Arial" panose="020B0604020202020204" pitchFamily="34" charset="0"/>
              </a:rPr>
              <a:t>%</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Rectangle: Rounded Corners 145">
            <a:extLst>
              <a:ext uri="{FF2B5EF4-FFF2-40B4-BE49-F238E27FC236}">
                <a16:creationId xmlns:a16="http://schemas.microsoft.com/office/drawing/2014/main" id="{DD7CFA8E-7CDC-4A6C-AB95-FCC0A15833EF}"/>
              </a:ext>
            </a:extLst>
          </p:cNvPr>
          <p:cNvSpPr/>
          <p:nvPr/>
        </p:nvSpPr>
        <p:spPr>
          <a:xfrm>
            <a:off x="1509609" y="2956415"/>
            <a:ext cx="863845"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4</a:t>
            </a:r>
          </a:p>
        </p:txBody>
      </p:sp>
      <p:sp>
        <p:nvSpPr>
          <p:cNvPr id="103" name="Rectangle: Rounded Corners 149">
            <a:extLst>
              <a:ext uri="{FF2B5EF4-FFF2-40B4-BE49-F238E27FC236}">
                <a16:creationId xmlns:a16="http://schemas.microsoft.com/office/drawing/2014/main" id="{D101FBB6-7D7E-483C-B6E3-AB9308D1F50F}"/>
              </a:ext>
            </a:extLst>
          </p:cNvPr>
          <p:cNvSpPr/>
          <p:nvPr/>
        </p:nvSpPr>
        <p:spPr>
          <a:xfrm>
            <a:off x="5678474" y="294748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2.9</a:t>
            </a:r>
          </a:p>
        </p:txBody>
      </p:sp>
      <p:sp>
        <p:nvSpPr>
          <p:cNvPr id="104" name="Rectangle: Rounded Corners 153">
            <a:extLst>
              <a:ext uri="{FF2B5EF4-FFF2-40B4-BE49-F238E27FC236}">
                <a16:creationId xmlns:a16="http://schemas.microsoft.com/office/drawing/2014/main" id="{670A388E-8574-483D-9CBA-C4807A34A062}"/>
              </a:ext>
            </a:extLst>
          </p:cNvPr>
          <p:cNvSpPr/>
          <p:nvPr/>
        </p:nvSpPr>
        <p:spPr>
          <a:xfrm>
            <a:off x="7256589" y="295437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9)%</a:t>
            </a:r>
          </a:p>
        </p:txBody>
      </p:sp>
      <p:sp>
        <p:nvSpPr>
          <p:cNvPr id="105" name="Rectangle: Rounded Corners 149">
            <a:extLst>
              <a:ext uri="{FF2B5EF4-FFF2-40B4-BE49-F238E27FC236}">
                <a16:creationId xmlns:a16="http://schemas.microsoft.com/office/drawing/2014/main" id="{D101FBB6-7D7E-483C-B6E3-AB9308D1F50F}"/>
              </a:ext>
            </a:extLst>
          </p:cNvPr>
          <p:cNvSpPr/>
          <p:nvPr/>
        </p:nvSpPr>
        <p:spPr>
          <a:xfrm>
            <a:off x="8897245" y="295378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60.3</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6" name="Rectangle: Rounded Corners 153">
            <a:extLst>
              <a:ext uri="{FF2B5EF4-FFF2-40B4-BE49-F238E27FC236}">
                <a16:creationId xmlns:a16="http://schemas.microsoft.com/office/drawing/2014/main" id="{670A388E-8574-483D-9CBA-C4807A34A062}"/>
              </a:ext>
            </a:extLst>
          </p:cNvPr>
          <p:cNvSpPr/>
          <p:nvPr/>
        </p:nvSpPr>
        <p:spPr>
          <a:xfrm>
            <a:off x="10475364" y="2960676"/>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5</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07" name="Rectangle: Rounded Corners 149">
            <a:extLst>
              <a:ext uri="{FF2B5EF4-FFF2-40B4-BE49-F238E27FC236}">
                <a16:creationId xmlns:a16="http://schemas.microsoft.com/office/drawing/2014/main" id="{D101FBB6-7D7E-483C-B6E3-AB9308D1F50F}"/>
              </a:ext>
            </a:extLst>
          </p:cNvPr>
          <p:cNvSpPr/>
          <p:nvPr/>
        </p:nvSpPr>
        <p:spPr>
          <a:xfrm>
            <a:off x="2474629" y="294748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3.2</a:t>
            </a:r>
          </a:p>
        </p:txBody>
      </p:sp>
      <p:sp>
        <p:nvSpPr>
          <p:cNvPr id="108" name="Rectangle: Rounded Corners 153">
            <a:extLst>
              <a:ext uri="{FF2B5EF4-FFF2-40B4-BE49-F238E27FC236}">
                <a16:creationId xmlns:a16="http://schemas.microsoft.com/office/drawing/2014/main" id="{670A388E-8574-483D-9CBA-C4807A34A062}"/>
              </a:ext>
            </a:extLst>
          </p:cNvPr>
          <p:cNvSpPr/>
          <p:nvPr/>
        </p:nvSpPr>
        <p:spPr>
          <a:xfrm>
            <a:off x="4052745" y="295437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73" name="Rectangle: Rounded Corners 145">
            <a:extLst>
              <a:ext uri="{FF2B5EF4-FFF2-40B4-BE49-F238E27FC236}">
                <a16:creationId xmlns:a16="http://schemas.microsoft.com/office/drawing/2014/main" id="{DD7CFA8E-7CDC-4A6C-AB95-FCC0A15833EF}"/>
              </a:ext>
            </a:extLst>
          </p:cNvPr>
          <p:cNvSpPr/>
          <p:nvPr/>
        </p:nvSpPr>
        <p:spPr>
          <a:xfrm>
            <a:off x="1507853" y="3254005"/>
            <a:ext cx="863845"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1</a:t>
            </a:r>
          </a:p>
        </p:txBody>
      </p:sp>
      <p:sp>
        <p:nvSpPr>
          <p:cNvPr id="98" name="Rectangle: Rounded Corners 149">
            <a:extLst>
              <a:ext uri="{FF2B5EF4-FFF2-40B4-BE49-F238E27FC236}">
                <a16:creationId xmlns:a16="http://schemas.microsoft.com/office/drawing/2014/main" id="{D101FBB6-7D7E-483C-B6E3-AB9308D1F50F}"/>
              </a:ext>
            </a:extLst>
          </p:cNvPr>
          <p:cNvSpPr/>
          <p:nvPr/>
        </p:nvSpPr>
        <p:spPr>
          <a:xfrm>
            <a:off x="5676718" y="324507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8-29.3</a:t>
            </a:r>
          </a:p>
        </p:txBody>
      </p:sp>
      <p:sp>
        <p:nvSpPr>
          <p:cNvPr id="99" name="Rectangle: Rounded Corners 153">
            <a:extLst>
              <a:ext uri="{FF2B5EF4-FFF2-40B4-BE49-F238E27FC236}">
                <a16:creationId xmlns:a16="http://schemas.microsoft.com/office/drawing/2014/main" id="{670A388E-8574-483D-9CBA-C4807A34A062}"/>
              </a:ext>
            </a:extLst>
          </p:cNvPr>
          <p:cNvSpPr/>
          <p:nvPr/>
        </p:nvSpPr>
        <p:spPr>
          <a:xfrm>
            <a:off x="7254833" y="325196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7-209%</a:t>
            </a:r>
          </a:p>
        </p:txBody>
      </p:sp>
      <p:sp>
        <p:nvSpPr>
          <p:cNvPr id="109" name="Rectangle: Rounded Corners 149">
            <a:extLst>
              <a:ext uri="{FF2B5EF4-FFF2-40B4-BE49-F238E27FC236}">
                <a16:creationId xmlns:a16="http://schemas.microsoft.com/office/drawing/2014/main" id="{D101FBB6-7D7E-483C-B6E3-AB9308D1F50F}"/>
              </a:ext>
            </a:extLst>
          </p:cNvPr>
          <p:cNvSpPr/>
          <p:nvPr/>
        </p:nvSpPr>
        <p:spPr>
          <a:xfrm>
            <a:off x="8895489" y="325137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53.5-54.0</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0" name="Rectangle: Rounded Corners 153">
            <a:extLst>
              <a:ext uri="{FF2B5EF4-FFF2-40B4-BE49-F238E27FC236}">
                <a16:creationId xmlns:a16="http://schemas.microsoft.com/office/drawing/2014/main" id="{670A388E-8574-483D-9CBA-C4807A34A062}"/>
              </a:ext>
            </a:extLst>
          </p:cNvPr>
          <p:cNvSpPr/>
          <p:nvPr/>
        </p:nvSpPr>
        <p:spPr>
          <a:xfrm>
            <a:off x="10473608" y="3258266"/>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241-243</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11" name="Rectangle: Rounded Corners 149">
            <a:extLst>
              <a:ext uri="{FF2B5EF4-FFF2-40B4-BE49-F238E27FC236}">
                <a16:creationId xmlns:a16="http://schemas.microsoft.com/office/drawing/2014/main" id="{D101FBB6-7D7E-483C-B6E3-AB9308D1F50F}"/>
              </a:ext>
            </a:extLst>
          </p:cNvPr>
          <p:cNvSpPr/>
          <p:nvPr/>
        </p:nvSpPr>
        <p:spPr>
          <a:xfrm>
            <a:off x="2472873" y="324507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8.7-99.2</a:t>
            </a:r>
          </a:p>
        </p:txBody>
      </p:sp>
      <p:sp>
        <p:nvSpPr>
          <p:cNvPr id="112" name="Rectangle: Rounded Corners 153">
            <a:extLst>
              <a:ext uri="{FF2B5EF4-FFF2-40B4-BE49-F238E27FC236}">
                <a16:creationId xmlns:a16="http://schemas.microsoft.com/office/drawing/2014/main" id="{670A388E-8574-483D-9CBA-C4807A34A062}"/>
              </a:ext>
            </a:extLst>
          </p:cNvPr>
          <p:cNvSpPr/>
          <p:nvPr/>
        </p:nvSpPr>
        <p:spPr>
          <a:xfrm>
            <a:off x="4050989" y="3251965"/>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5-307%</a:t>
            </a:r>
          </a:p>
        </p:txBody>
      </p:sp>
      <p:sp>
        <p:nvSpPr>
          <p:cNvPr id="115" name="Rectangle: Rounded Corners 168">
            <a:extLst>
              <a:ext uri="{FF2B5EF4-FFF2-40B4-BE49-F238E27FC236}">
                <a16:creationId xmlns:a16="http://schemas.microsoft.com/office/drawing/2014/main" id="{29DF9AF3-A9C6-4EC2-8010-653D056EFE62}"/>
              </a:ext>
            </a:extLst>
          </p:cNvPr>
          <p:cNvSpPr/>
          <p:nvPr/>
        </p:nvSpPr>
        <p:spPr>
          <a:xfrm>
            <a:off x="340954" y="3235963"/>
            <a:ext cx="1106434" cy="11093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Y23 P</a:t>
            </a:r>
          </a:p>
        </p:txBody>
      </p:sp>
      <p:sp>
        <p:nvSpPr>
          <p:cNvPr id="122" name="Rectangle: Rounded Corners 172">
            <a:extLst>
              <a:ext uri="{FF2B5EF4-FFF2-40B4-BE49-F238E27FC236}">
                <a16:creationId xmlns:a16="http://schemas.microsoft.com/office/drawing/2014/main" id="{66CC6CAB-11F9-4810-BE60-801C5C58F5F8}"/>
              </a:ext>
            </a:extLst>
          </p:cNvPr>
          <p:cNvSpPr/>
          <p:nvPr/>
        </p:nvSpPr>
        <p:spPr>
          <a:xfrm>
            <a:off x="1512756" y="3544479"/>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123" name="Rectangle: Rounded Corners 176">
            <a:extLst>
              <a:ext uri="{FF2B5EF4-FFF2-40B4-BE49-F238E27FC236}">
                <a16:creationId xmlns:a16="http://schemas.microsoft.com/office/drawing/2014/main" id="{59D18927-4AF5-46EC-803A-A7443AC551C6}"/>
              </a:ext>
            </a:extLst>
          </p:cNvPr>
          <p:cNvSpPr/>
          <p:nvPr/>
        </p:nvSpPr>
        <p:spPr>
          <a:xfrm>
            <a:off x="5692776" y="3511342"/>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33.0-33.5</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 name="Rectangle: Rounded Corners 180">
            <a:extLst>
              <a:ext uri="{FF2B5EF4-FFF2-40B4-BE49-F238E27FC236}">
                <a16:creationId xmlns:a16="http://schemas.microsoft.com/office/drawing/2014/main" id="{5133D946-867C-4BC5-B546-C260BE43596E}"/>
              </a:ext>
            </a:extLst>
          </p:cNvPr>
          <p:cNvSpPr/>
          <p:nvPr/>
        </p:nvSpPr>
        <p:spPr>
          <a:xfrm>
            <a:off x="7259351" y="3521085"/>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43-45</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26" name="Rectangle: Rounded Corners 176">
            <a:extLst>
              <a:ext uri="{FF2B5EF4-FFF2-40B4-BE49-F238E27FC236}">
                <a16:creationId xmlns:a16="http://schemas.microsoft.com/office/drawing/2014/main" id="{59D18927-4AF5-46EC-803A-A7443AC551C6}"/>
              </a:ext>
            </a:extLst>
          </p:cNvPr>
          <p:cNvSpPr/>
          <p:nvPr/>
        </p:nvSpPr>
        <p:spPr>
          <a:xfrm>
            <a:off x="8900006" y="3503311"/>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61.2-61.8</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 name="Rectangle: Rounded Corners 180">
            <a:extLst>
              <a:ext uri="{FF2B5EF4-FFF2-40B4-BE49-F238E27FC236}">
                <a16:creationId xmlns:a16="http://schemas.microsoft.com/office/drawing/2014/main" id="{5133D946-867C-4BC5-B546-C260BE43596E}"/>
              </a:ext>
            </a:extLst>
          </p:cNvPr>
          <p:cNvSpPr/>
          <p:nvPr/>
        </p:nvSpPr>
        <p:spPr>
          <a:xfrm>
            <a:off x="10478126" y="3505826"/>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30-32</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28" name="Rectangle: Rounded Corners 176">
            <a:extLst>
              <a:ext uri="{FF2B5EF4-FFF2-40B4-BE49-F238E27FC236}">
                <a16:creationId xmlns:a16="http://schemas.microsoft.com/office/drawing/2014/main" id="{59D18927-4AF5-46EC-803A-A7443AC551C6}"/>
              </a:ext>
            </a:extLst>
          </p:cNvPr>
          <p:cNvSpPr/>
          <p:nvPr/>
        </p:nvSpPr>
        <p:spPr>
          <a:xfrm>
            <a:off x="2512596" y="3533060"/>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94.5-95.0</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 name="Rectangle: Rounded Corners 180">
            <a:extLst>
              <a:ext uri="{FF2B5EF4-FFF2-40B4-BE49-F238E27FC236}">
                <a16:creationId xmlns:a16="http://schemas.microsoft.com/office/drawing/2014/main" id="{5133D946-867C-4BC5-B546-C260BE43596E}"/>
              </a:ext>
            </a:extLst>
          </p:cNvPr>
          <p:cNvSpPr/>
          <p:nvPr/>
        </p:nvSpPr>
        <p:spPr>
          <a:xfrm>
            <a:off x="4069411" y="3508376"/>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34-36%</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 name="Rectangle: Rounded Corners 145">
            <a:extLst>
              <a:ext uri="{FF2B5EF4-FFF2-40B4-BE49-F238E27FC236}">
                <a16:creationId xmlns:a16="http://schemas.microsoft.com/office/drawing/2014/main" id="{A54E764B-668D-4287-B685-F47AEC02990B}"/>
              </a:ext>
            </a:extLst>
          </p:cNvPr>
          <p:cNvSpPr/>
          <p:nvPr/>
        </p:nvSpPr>
        <p:spPr>
          <a:xfrm>
            <a:off x="1507853" y="3254407"/>
            <a:ext cx="863845"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1</a:t>
            </a:r>
          </a:p>
        </p:txBody>
      </p:sp>
      <p:sp>
        <p:nvSpPr>
          <p:cNvPr id="132" name="Rectangle: Rounded Corners 149">
            <a:extLst>
              <a:ext uri="{FF2B5EF4-FFF2-40B4-BE49-F238E27FC236}">
                <a16:creationId xmlns:a16="http://schemas.microsoft.com/office/drawing/2014/main" id="{3EB5E16D-5D7B-488B-814C-0AD86E0C8FE0}"/>
              </a:ext>
            </a:extLst>
          </p:cNvPr>
          <p:cNvSpPr/>
          <p:nvPr/>
        </p:nvSpPr>
        <p:spPr>
          <a:xfrm>
            <a:off x="5676718" y="3245477"/>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26.3-26.8</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 name="Rectangle: Rounded Corners 149">
            <a:extLst>
              <a:ext uri="{FF2B5EF4-FFF2-40B4-BE49-F238E27FC236}">
                <a16:creationId xmlns:a16="http://schemas.microsoft.com/office/drawing/2014/main" id="{624EF1DC-5816-48F7-AF17-E991332E2F9C}"/>
              </a:ext>
            </a:extLst>
          </p:cNvPr>
          <p:cNvSpPr/>
          <p:nvPr/>
        </p:nvSpPr>
        <p:spPr>
          <a:xfrm>
            <a:off x="2472873" y="3245477"/>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0.2-80.7</a:t>
            </a:r>
          </a:p>
        </p:txBody>
      </p:sp>
      <p:sp>
        <p:nvSpPr>
          <p:cNvPr id="134" name="Rectangle: Rounded Corners 153">
            <a:extLst>
              <a:ext uri="{FF2B5EF4-FFF2-40B4-BE49-F238E27FC236}">
                <a16:creationId xmlns:a16="http://schemas.microsoft.com/office/drawing/2014/main" id="{B93CB0F4-E718-4356-B9A4-A00BEF6D66C8}"/>
              </a:ext>
            </a:extLst>
          </p:cNvPr>
          <p:cNvSpPr/>
          <p:nvPr/>
        </p:nvSpPr>
        <p:spPr>
          <a:xfrm>
            <a:off x="4050989" y="3252367"/>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229-23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35" name="Rectangle: Rounded Corners 153">
            <a:extLst>
              <a:ext uri="{FF2B5EF4-FFF2-40B4-BE49-F238E27FC236}">
                <a16:creationId xmlns:a16="http://schemas.microsoft.com/office/drawing/2014/main" id="{0524AB28-D963-4357-A6EF-91E310CA25C7}"/>
              </a:ext>
            </a:extLst>
          </p:cNvPr>
          <p:cNvSpPr/>
          <p:nvPr/>
        </p:nvSpPr>
        <p:spPr>
          <a:xfrm>
            <a:off x="7253123" y="3825600"/>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25%</a:t>
            </a:r>
          </a:p>
        </p:txBody>
      </p:sp>
      <p:sp>
        <p:nvSpPr>
          <p:cNvPr id="136" name="Rectangle: Rounded Corners 149">
            <a:extLst>
              <a:ext uri="{FF2B5EF4-FFF2-40B4-BE49-F238E27FC236}">
                <a16:creationId xmlns:a16="http://schemas.microsoft.com/office/drawing/2014/main" id="{85696D05-7FC5-4004-9E4E-D34014E03A37}"/>
              </a:ext>
            </a:extLst>
          </p:cNvPr>
          <p:cNvSpPr/>
          <p:nvPr/>
        </p:nvSpPr>
        <p:spPr>
          <a:xfrm>
            <a:off x="8893782" y="3825600"/>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64.3-64.8</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 name="Rectangle: Rounded Corners 153">
            <a:extLst>
              <a:ext uri="{FF2B5EF4-FFF2-40B4-BE49-F238E27FC236}">
                <a16:creationId xmlns:a16="http://schemas.microsoft.com/office/drawing/2014/main" id="{DE472D79-396F-425C-B488-3B2086C9BF7B}"/>
              </a:ext>
            </a:extLst>
          </p:cNvPr>
          <p:cNvSpPr/>
          <p:nvPr/>
        </p:nvSpPr>
        <p:spPr>
          <a:xfrm>
            <a:off x="10471898" y="3831901"/>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7-9</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38" name="Rectangle: Rounded Corners 145">
            <a:extLst>
              <a:ext uri="{FF2B5EF4-FFF2-40B4-BE49-F238E27FC236}">
                <a16:creationId xmlns:a16="http://schemas.microsoft.com/office/drawing/2014/main" id="{2F9A3AB8-9A69-498B-BE0B-B601EEB4DFE1}"/>
              </a:ext>
            </a:extLst>
          </p:cNvPr>
          <p:cNvSpPr/>
          <p:nvPr/>
        </p:nvSpPr>
        <p:spPr>
          <a:xfrm>
            <a:off x="1506143" y="3828042"/>
            <a:ext cx="863845"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3</a:t>
            </a:r>
          </a:p>
        </p:txBody>
      </p:sp>
      <p:sp>
        <p:nvSpPr>
          <p:cNvPr id="139" name="Rectangle: Rounded Corners 149">
            <a:extLst>
              <a:ext uri="{FF2B5EF4-FFF2-40B4-BE49-F238E27FC236}">
                <a16:creationId xmlns:a16="http://schemas.microsoft.com/office/drawing/2014/main" id="{53A0ED4B-B4A1-415F-969E-2D79D070BED2}"/>
              </a:ext>
            </a:extLst>
          </p:cNvPr>
          <p:cNvSpPr/>
          <p:nvPr/>
        </p:nvSpPr>
        <p:spPr>
          <a:xfrm>
            <a:off x="5675008" y="3819112"/>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7.4-27.9</a:t>
            </a:r>
          </a:p>
        </p:txBody>
      </p:sp>
      <p:sp>
        <p:nvSpPr>
          <p:cNvPr id="140" name="Rectangle: Rounded Corners 149">
            <a:extLst>
              <a:ext uri="{FF2B5EF4-FFF2-40B4-BE49-F238E27FC236}">
                <a16:creationId xmlns:a16="http://schemas.microsoft.com/office/drawing/2014/main" id="{EDEDFC38-4D5F-48DC-84AA-C8355687D661}"/>
              </a:ext>
            </a:extLst>
          </p:cNvPr>
          <p:cNvSpPr/>
          <p:nvPr/>
        </p:nvSpPr>
        <p:spPr>
          <a:xfrm>
            <a:off x="2471163" y="3819112"/>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2.0-92.5</a:t>
            </a:r>
          </a:p>
        </p:txBody>
      </p:sp>
      <p:sp>
        <p:nvSpPr>
          <p:cNvPr id="141" name="Rectangle: Rounded Corners 153">
            <a:extLst>
              <a:ext uri="{FF2B5EF4-FFF2-40B4-BE49-F238E27FC236}">
                <a16:creationId xmlns:a16="http://schemas.microsoft.com/office/drawing/2014/main" id="{828A58D9-6E52-437A-9951-1BC102C95837}"/>
              </a:ext>
            </a:extLst>
          </p:cNvPr>
          <p:cNvSpPr/>
          <p:nvPr/>
        </p:nvSpPr>
        <p:spPr>
          <a:xfrm>
            <a:off x="4049279" y="3826002"/>
            <a:ext cx="1506503" cy="23117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11-13</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61" name="Rectangle: Rounded Corners 158">
            <a:extLst>
              <a:ext uri="{FF2B5EF4-FFF2-40B4-BE49-F238E27FC236}">
                <a16:creationId xmlns:a16="http://schemas.microsoft.com/office/drawing/2014/main" id="{F17D54DC-2364-409D-8356-738C81F26294}"/>
              </a:ext>
            </a:extLst>
          </p:cNvPr>
          <p:cNvSpPr/>
          <p:nvPr/>
        </p:nvSpPr>
        <p:spPr>
          <a:xfrm>
            <a:off x="7275820" y="1104070"/>
            <a:ext cx="1506503" cy="373491"/>
          </a:xfrm>
          <a:prstGeom prst="rect">
            <a:avLst/>
          </a:prstGeom>
          <a:solidFill>
            <a:schemeClr val="accent2"/>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Y Growth</a:t>
            </a:r>
          </a:p>
        </p:txBody>
      </p:sp>
      <p:sp>
        <p:nvSpPr>
          <p:cNvPr id="181" name="Rectangle: Rounded Corners 172">
            <a:extLst>
              <a:ext uri="{FF2B5EF4-FFF2-40B4-BE49-F238E27FC236}">
                <a16:creationId xmlns:a16="http://schemas.microsoft.com/office/drawing/2014/main" id="{A30A93D7-396A-456B-A197-D18B60D3FE5A}"/>
              </a:ext>
            </a:extLst>
          </p:cNvPr>
          <p:cNvSpPr/>
          <p:nvPr/>
        </p:nvSpPr>
        <p:spPr>
          <a:xfrm>
            <a:off x="1512756" y="3545184"/>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Q2</a:t>
            </a:r>
          </a:p>
        </p:txBody>
      </p:sp>
      <p:sp>
        <p:nvSpPr>
          <p:cNvPr id="182" name="Rectangle: Rounded Corners 176">
            <a:extLst>
              <a:ext uri="{FF2B5EF4-FFF2-40B4-BE49-F238E27FC236}">
                <a16:creationId xmlns:a16="http://schemas.microsoft.com/office/drawing/2014/main" id="{CFEAC7D0-96C8-4417-A068-4B8BB5EEF338}"/>
              </a:ext>
            </a:extLst>
          </p:cNvPr>
          <p:cNvSpPr/>
          <p:nvPr/>
        </p:nvSpPr>
        <p:spPr>
          <a:xfrm>
            <a:off x="2512596" y="3533765"/>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cs typeface="Arial" panose="020B0604020202020204" pitchFamily="34" charset="0"/>
              </a:rPr>
              <a:t>94.5-95.0</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Rectangle: Rounded Corners 176">
            <a:extLst>
              <a:ext uri="{FF2B5EF4-FFF2-40B4-BE49-F238E27FC236}">
                <a16:creationId xmlns:a16="http://schemas.microsoft.com/office/drawing/2014/main" id="{C19BD59E-6231-4C13-9BDA-64265F739F7C}"/>
              </a:ext>
            </a:extLst>
          </p:cNvPr>
          <p:cNvSpPr/>
          <p:nvPr/>
        </p:nvSpPr>
        <p:spPr>
          <a:xfrm>
            <a:off x="5690549" y="2028631"/>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8.6</a:t>
            </a:r>
          </a:p>
        </p:txBody>
      </p:sp>
      <p:sp>
        <p:nvSpPr>
          <p:cNvPr id="184" name="Rectangle: Rounded Corners 180">
            <a:extLst>
              <a:ext uri="{FF2B5EF4-FFF2-40B4-BE49-F238E27FC236}">
                <a16:creationId xmlns:a16="http://schemas.microsoft.com/office/drawing/2014/main" id="{2F3092FA-5A13-409D-9115-C7EBC483DB2D}"/>
              </a:ext>
            </a:extLst>
          </p:cNvPr>
          <p:cNvSpPr/>
          <p:nvPr/>
        </p:nvSpPr>
        <p:spPr>
          <a:xfrm>
            <a:off x="7283084" y="204002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48%</a:t>
            </a:r>
          </a:p>
        </p:txBody>
      </p:sp>
      <p:sp>
        <p:nvSpPr>
          <p:cNvPr id="185" name="Rectangle: Rounded Corners 176">
            <a:extLst>
              <a:ext uri="{FF2B5EF4-FFF2-40B4-BE49-F238E27FC236}">
                <a16:creationId xmlns:a16="http://schemas.microsoft.com/office/drawing/2014/main" id="{41083385-A8B5-457D-87EB-302FA14AF095}"/>
              </a:ext>
            </a:extLst>
          </p:cNvPr>
          <p:cNvSpPr/>
          <p:nvPr/>
        </p:nvSpPr>
        <p:spPr>
          <a:xfrm>
            <a:off x="8909322" y="2034935"/>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5.8</a:t>
            </a:r>
          </a:p>
        </p:txBody>
      </p:sp>
      <p:sp>
        <p:nvSpPr>
          <p:cNvPr id="186" name="Rectangle: Rounded Corners 180">
            <a:extLst>
              <a:ext uri="{FF2B5EF4-FFF2-40B4-BE49-F238E27FC236}">
                <a16:creationId xmlns:a16="http://schemas.microsoft.com/office/drawing/2014/main" id="{D43D64F6-DE11-48A6-90CA-4C75033981D4}"/>
              </a:ext>
            </a:extLst>
          </p:cNvPr>
          <p:cNvSpPr/>
          <p:nvPr/>
        </p:nvSpPr>
        <p:spPr>
          <a:xfrm>
            <a:off x="10487442" y="2037450"/>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28%</a:t>
            </a:r>
          </a:p>
        </p:txBody>
      </p:sp>
      <p:sp>
        <p:nvSpPr>
          <p:cNvPr id="187" name="Rectangle: Rounded Corners 172">
            <a:extLst>
              <a:ext uri="{FF2B5EF4-FFF2-40B4-BE49-F238E27FC236}">
                <a16:creationId xmlns:a16="http://schemas.microsoft.com/office/drawing/2014/main" id="{053E6E49-3B74-40F5-9965-A37F2B3C45A0}"/>
              </a:ext>
            </a:extLst>
          </p:cNvPr>
          <p:cNvSpPr/>
          <p:nvPr/>
        </p:nvSpPr>
        <p:spPr>
          <a:xfrm>
            <a:off x="1512756" y="2676117"/>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3</a:t>
            </a:r>
          </a:p>
        </p:txBody>
      </p:sp>
      <p:sp>
        <p:nvSpPr>
          <p:cNvPr id="188" name="Rectangle: Rounded Corners 176">
            <a:extLst>
              <a:ext uri="{FF2B5EF4-FFF2-40B4-BE49-F238E27FC236}">
                <a16:creationId xmlns:a16="http://schemas.microsoft.com/office/drawing/2014/main" id="{D99741F4-0231-415A-BCD7-CDED8F1C8837}"/>
              </a:ext>
            </a:extLst>
          </p:cNvPr>
          <p:cNvSpPr/>
          <p:nvPr/>
        </p:nvSpPr>
        <p:spPr>
          <a:xfrm>
            <a:off x="5695124" y="2642253"/>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2.3</a:t>
            </a:r>
          </a:p>
        </p:txBody>
      </p:sp>
      <p:sp>
        <p:nvSpPr>
          <p:cNvPr id="189" name="Rectangle: Rounded Corners 180">
            <a:extLst>
              <a:ext uri="{FF2B5EF4-FFF2-40B4-BE49-F238E27FC236}">
                <a16:creationId xmlns:a16="http://schemas.microsoft.com/office/drawing/2014/main" id="{63A300D4-7CDC-4EED-922D-E3E4415493AA}"/>
              </a:ext>
            </a:extLst>
          </p:cNvPr>
          <p:cNvSpPr/>
          <p:nvPr/>
        </p:nvSpPr>
        <p:spPr>
          <a:xfrm>
            <a:off x="7261699" y="2651005"/>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1)%</a:t>
            </a:r>
          </a:p>
        </p:txBody>
      </p:sp>
      <p:sp>
        <p:nvSpPr>
          <p:cNvPr id="190" name="Rectangle: Rounded Corners 176">
            <a:extLst>
              <a:ext uri="{FF2B5EF4-FFF2-40B4-BE49-F238E27FC236}">
                <a16:creationId xmlns:a16="http://schemas.microsoft.com/office/drawing/2014/main" id="{FD971E00-790A-4391-A1CF-1C1446C2ED9B}"/>
              </a:ext>
            </a:extLst>
          </p:cNvPr>
          <p:cNvSpPr/>
          <p:nvPr/>
        </p:nvSpPr>
        <p:spPr>
          <a:xfrm>
            <a:off x="8902354" y="2633231"/>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60.1</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1" name="Rectangle: Rounded Corners 180">
            <a:extLst>
              <a:ext uri="{FF2B5EF4-FFF2-40B4-BE49-F238E27FC236}">
                <a16:creationId xmlns:a16="http://schemas.microsoft.com/office/drawing/2014/main" id="{09745E8B-13CD-4CB0-9A44-CAE14FE34B33}"/>
              </a:ext>
            </a:extLst>
          </p:cNvPr>
          <p:cNvSpPr/>
          <p:nvPr/>
        </p:nvSpPr>
        <p:spPr>
          <a:xfrm>
            <a:off x="10482822" y="2636010"/>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37%</a:t>
            </a:r>
          </a:p>
        </p:txBody>
      </p:sp>
      <p:sp>
        <p:nvSpPr>
          <p:cNvPr id="192" name="Rectangle: Rounded Corners 176">
            <a:extLst>
              <a:ext uri="{FF2B5EF4-FFF2-40B4-BE49-F238E27FC236}">
                <a16:creationId xmlns:a16="http://schemas.microsoft.com/office/drawing/2014/main" id="{C5826270-B506-4D39-B4FB-CDC532D9FDD7}"/>
              </a:ext>
            </a:extLst>
          </p:cNvPr>
          <p:cNvSpPr/>
          <p:nvPr/>
        </p:nvSpPr>
        <p:spPr>
          <a:xfrm>
            <a:off x="2512596" y="266469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82.4</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3" name="Rectangle: Rounded Corners 180">
            <a:extLst>
              <a:ext uri="{FF2B5EF4-FFF2-40B4-BE49-F238E27FC236}">
                <a16:creationId xmlns:a16="http://schemas.microsoft.com/office/drawing/2014/main" id="{8822C2E1-CA98-4530-A41C-1B536B8E9504}"/>
              </a:ext>
            </a:extLst>
          </p:cNvPr>
          <p:cNvSpPr/>
          <p:nvPr/>
        </p:nvSpPr>
        <p:spPr>
          <a:xfrm>
            <a:off x="4071759" y="2639287"/>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14</a:t>
            </a:r>
            <a:r>
              <a:rPr lang="en-US" sz="1400" noProof="0" dirty="0">
                <a:solidFill>
                  <a:schemeClr val="bg1"/>
                </a:solidFill>
                <a:latin typeface="Arial" panose="020B0604020202020204" pitchFamily="34" charset="0"/>
                <a:cs typeface="Arial" panose="020B0604020202020204" pitchFamily="34" charset="0"/>
              </a:rPr>
              <a:t>%</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4" name="Rectangle: Rounded Corners 176">
            <a:extLst>
              <a:ext uri="{FF2B5EF4-FFF2-40B4-BE49-F238E27FC236}">
                <a16:creationId xmlns:a16="http://schemas.microsoft.com/office/drawing/2014/main" id="{03DFCD24-95DA-4A9B-8C7F-9C573DD37512}"/>
              </a:ext>
            </a:extLst>
          </p:cNvPr>
          <p:cNvSpPr/>
          <p:nvPr/>
        </p:nvSpPr>
        <p:spPr>
          <a:xfrm>
            <a:off x="5692776" y="3512104"/>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33.0-33.5</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5" name="Rectangle: Rounded Corners 180">
            <a:extLst>
              <a:ext uri="{FF2B5EF4-FFF2-40B4-BE49-F238E27FC236}">
                <a16:creationId xmlns:a16="http://schemas.microsoft.com/office/drawing/2014/main" id="{26126EAD-7B3D-4FF6-A0EF-4F15FD786D59}"/>
              </a:ext>
            </a:extLst>
          </p:cNvPr>
          <p:cNvSpPr/>
          <p:nvPr/>
        </p:nvSpPr>
        <p:spPr>
          <a:xfrm>
            <a:off x="7259351" y="3521847"/>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43-45</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196" name="Rectangle: Rounded Corners 176">
            <a:extLst>
              <a:ext uri="{FF2B5EF4-FFF2-40B4-BE49-F238E27FC236}">
                <a16:creationId xmlns:a16="http://schemas.microsoft.com/office/drawing/2014/main" id="{F0149EB9-3B5B-4D47-9B6B-C1E749C05FE2}"/>
              </a:ext>
            </a:extLst>
          </p:cNvPr>
          <p:cNvSpPr/>
          <p:nvPr/>
        </p:nvSpPr>
        <p:spPr>
          <a:xfrm>
            <a:off x="8900006" y="3504073"/>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61.2-61.8</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7" name="Rectangle: Rounded Corners 180">
            <a:extLst>
              <a:ext uri="{FF2B5EF4-FFF2-40B4-BE49-F238E27FC236}">
                <a16:creationId xmlns:a16="http://schemas.microsoft.com/office/drawing/2014/main" id="{E6317618-1EFB-4470-A0AA-6AC3C61010AC}"/>
              </a:ext>
            </a:extLst>
          </p:cNvPr>
          <p:cNvSpPr/>
          <p:nvPr/>
        </p:nvSpPr>
        <p:spPr>
          <a:xfrm>
            <a:off x="10478126" y="350658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30-32</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198" name="Rectangle: Rounded Corners 180">
            <a:extLst>
              <a:ext uri="{FF2B5EF4-FFF2-40B4-BE49-F238E27FC236}">
                <a16:creationId xmlns:a16="http://schemas.microsoft.com/office/drawing/2014/main" id="{C02EF8E3-B6DE-40DF-930E-681440D6D4C2}"/>
              </a:ext>
            </a:extLst>
          </p:cNvPr>
          <p:cNvSpPr/>
          <p:nvPr/>
        </p:nvSpPr>
        <p:spPr>
          <a:xfrm>
            <a:off x="4069411" y="3509138"/>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34-36%</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9" name="Rectangle: Rounded Corners 172">
            <a:extLst>
              <a:ext uri="{FF2B5EF4-FFF2-40B4-BE49-F238E27FC236}">
                <a16:creationId xmlns:a16="http://schemas.microsoft.com/office/drawing/2014/main" id="{2C363615-D701-4CC5-9B82-D2EE9288C664}"/>
              </a:ext>
            </a:extLst>
          </p:cNvPr>
          <p:cNvSpPr/>
          <p:nvPr/>
        </p:nvSpPr>
        <p:spPr>
          <a:xfrm>
            <a:off x="1512756" y="3545946"/>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2</a:t>
            </a:r>
          </a:p>
        </p:txBody>
      </p:sp>
      <p:sp>
        <p:nvSpPr>
          <p:cNvPr id="200" name="Rectangle: Rounded Corners 176">
            <a:extLst>
              <a:ext uri="{FF2B5EF4-FFF2-40B4-BE49-F238E27FC236}">
                <a16:creationId xmlns:a16="http://schemas.microsoft.com/office/drawing/2014/main" id="{F851A561-427C-438C-AE2D-C7D493BF7BC7}"/>
              </a:ext>
            </a:extLst>
          </p:cNvPr>
          <p:cNvSpPr/>
          <p:nvPr/>
        </p:nvSpPr>
        <p:spPr>
          <a:xfrm>
            <a:off x="2512596" y="3534527"/>
            <a:ext cx="1506504"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94.5-95.0</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58" name="Rectangle: Rounded Corners 176">
            <a:extLst>
              <a:ext uri="{FF2B5EF4-FFF2-40B4-BE49-F238E27FC236}">
                <a16:creationId xmlns:a16="http://schemas.microsoft.com/office/drawing/2014/main" id="{8EB5E20E-4063-441D-B5D3-82A094723D4C}"/>
              </a:ext>
            </a:extLst>
          </p:cNvPr>
          <p:cNvSpPr/>
          <p:nvPr/>
        </p:nvSpPr>
        <p:spPr>
          <a:xfrm>
            <a:off x="8885102" y="4100147"/>
            <a:ext cx="1506503"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63.8-64.3</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59" name="Rectangle: Rounded Corners 180">
            <a:extLst>
              <a:ext uri="{FF2B5EF4-FFF2-40B4-BE49-F238E27FC236}">
                <a16:creationId xmlns:a16="http://schemas.microsoft.com/office/drawing/2014/main" id="{C7E2285F-4752-4C60-AEF7-FE36D0291426}"/>
              </a:ext>
            </a:extLst>
          </p:cNvPr>
          <p:cNvSpPr/>
          <p:nvPr/>
        </p:nvSpPr>
        <p:spPr>
          <a:xfrm>
            <a:off x="10463222" y="4124226"/>
            <a:ext cx="1506503"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5-7</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160" name="Rectangle: Rounded Corners 180">
            <a:extLst>
              <a:ext uri="{FF2B5EF4-FFF2-40B4-BE49-F238E27FC236}">
                <a16:creationId xmlns:a16="http://schemas.microsoft.com/office/drawing/2014/main" id="{11397EBD-22C1-48CE-A95B-8578F5F5D0D1}"/>
              </a:ext>
            </a:extLst>
          </p:cNvPr>
          <p:cNvSpPr/>
          <p:nvPr/>
        </p:nvSpPr>
        <p:spPr>
          <a:xfrm>
            <a:off x="7244447" y="4117791"/>
            <a:ext cx="1506503"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19-21</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162" name="Rectangle: Rounded Corners 176">
            <a:extLst>
              <a:ext uri="{FF2B5EF4-FFF2-40B4-BE49-F238E27FC236}">
                <a16:creationId xmlns:a16="http://schemas.microsoft.com/office/drawing/2014/main" id="{BB6839AE-F971-4660-A824-850462CB2595}"/>
              </a:ext>
            </a:extLst>
          </p:cNvPr>
          <p:cNvSpPr/>
          <p:nvPr/>
        </p:nvSpPr>
        <p:spPr>
          <a:xfrm>
            <a:off x="5666330" y="4093673"/>
            <a:ext cx="1506503"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7.2-27.7</a:t>
            </a:r>
          </a:p>
        </p:txBody>
      </p:sp>
      <p:sp>
        <p:nvSpPr>
          <p:cNvPr id="163" name="Rectangle: Rounded Corners 180">
            <a:extLst>
              <a:ext uri="{FF2B5EF4-FFF2-40B4-BE49-F238E27FC236}">
                <a16:creationId xmlns:a16="http://schemas.microsoft.com/office/drawing/2014/main" id="{B3D69197-6399-4552-91EE-078005EF226B}"/>
              </a:ext>
            </a:extLst>
          </p:cNvPr>
          <p:cNvSpPr/>
          <p:nvPr/>
        </p:nvSpPr>
        <p:spPr>
          <a:xfrm>
            <a:off x="4040600" y="4117753"/>
            <a:ext cx="1506503"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9-11</a:t>
            </a: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166" name="Rectangle: Rounded Corners 172">
            <a:extLst>
              <a:ext uri="{FF2B5EF4-FFF2-40B4-BE49-F238E27FC236}">
                <a16:creationId xmlns:a16="http://schemas.microsoft.com/office/drawing/2014/main" id="{6B13D8FC-E7BC-486E-BD16-25A0FDD77324}"/>
              </a:ext>
            </a:extLst>
          </p:cNvPr>
          <p:cNvSpPr/>
          <p:nvPr/>
        </p:nvSpPr>
        <p:spPr>
          <a:xfrm>
            <a:off x="1497464" y="4120577"/>
            <a:ext cx="863845"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Q3</a:t>
            </a:r>
          </a:p>
        </p:txBody>
      </p:sp>
      <p:sp>
        <p:nvSpPr>
          <p:cNvPr id="167" name="Rectangle: Rounded Corners 176">
            <a:extLst>
              <a:ext uri="{FF2B5EF4-FFF2-40B4-BE49-F238E27FC236}">
                <a16:creationId xmlns:a16="http://schemas.microsoft.com/office/drawing/2014/main" id="{314AB010-3FD1-47A2-81C8-D60CF9CD8216}"/>
              </a:ext>
            </a:extLst>
          </p:cNvPr>
          <p:cNvSpPr/>
          <p:nvPr/>
        </p:nvSpPr>
        <p:spPr>
          <a:xfrm>
            <a:off x="2471163" y="4126322"/>
            <a:ext cx="1506503" cy="231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marL="0" marR="0" lvl="0" indent="0" algn="ctr" defTabSz="91425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91.3-91.8</a:t>
            </a:r>
            <a:endPar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2622071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065115" y="1168115"/>
            <a:ext cx="3716663" cy="4773948"/>
          </a:xfrm>
          <a:prstGeom prst="rect">
            <a:avLst/>
          </a:prstGeom>
          <a:solidFill>
            <a:schemeClr val="accent5"/>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528" tIns="2174772" rIns="99528" bIns="1137154" numCol="1" spcCol="1058" anchor="t" anchorCtr="1">
            <a:noAutofit/>
          </a:bodyPr>
          <a:lstStyle/>
          <a:p>
            <a:pPr marL="0" marR="0" lvl="0" indent="0" algn="l" defTabSz="622050" rtl="0" eaLnBrk="1" fontAlgn="auto" latinLnBrk="0" hangingPunct="1">
              <a:lnSpc>
                <a:spcPct val="90000"/>
              </a:lnSpc>
              <a:spcBef>
                <a:spcPct val="0"/>
              </a:spcBef>
              <a:spcAft>
                <a:spcPct val="35000"/>
              </a:spcAft>
              <a:buClrTx/>
              <a:buSzTx/>
              <a:buFontTx/>
              <a:buNone/>
              <a:tabLst/>
              <a:defRPr/>
            </a:pPr>
            <a:endParaRPr kumimoji="0" lang="en-IN" sz="1400" b="1" i="0" u="none" strike="noStrike" kern="1200" cap="none" spc="0" normalizeH="0" baseline="0" noProof="0" dirty="0">
              <a:ln>
                <a:noFill/>
              </a:ln>
              <a:solidFill>
                <a:srgbClr val="DBD9D6">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12" name="Rectangle 11"/>
          <p:cNvSpPr/>
          <p:nvPr/>
        </p:nvSpPr>
        <p:spPr>
          <a:xfrm>
            <a:off x="4236954" y="1168114"/>
            <a:ext cx="3716663" cy="4773948"/>
          </a:xfrm>
          <a:prstGeom prst="rect">
            <a:avLst/>
          </a:prstGeom>
          <a:solidFill>
            <a:schemeClr val="accent4"/>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528" tIns="2174772" rIns="99528" bIns="1137154" numCol="1" spcCol="1058" anchor="t" anchorCtr="1">
            <a:noAutofit/>
          </a:bodyPr>
          <a:lstStyle/>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IN"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a:off x="410222" y="1138933"/>
            <a:ext cx="3716663" cy="4773948"/>
          </a:xfrm>
          <a:prstGeom prst="rect">
            <a:avLst/>
          </a:prstGeom>
          <a:solidFill>
            <a:schemeClr val="accent4">
              <a:lumMod val="40000"/>
              <a:lumOff val="60000"/>
            </a:schemeClr>
          </a:solidFill>
          <a:ln w="38100">
            <a:noFill/>
          </a:ln>
          <a:effectLst/>
          <a:scene3d>
            <a:camera prst="orthographicFront"/>
            <a:lightRig rig="flat" dir="t"/>
          </a:scene3d>
          <a:sp3d prstMaterial="dkEdge"/>
        </p:spPr>
        <p:style>
          <a:lnRef idx="0">
            <a:schemeClr val="dk2">
              <a:shade val="80000"/>
              <a:hueOff val="0"/>
              <a:satOff val="0"/>
              <a:lumOff val="0"/>
              <a:alphaOff val="0"/>
            </a:schemeClr>
          </a:lnRef>
          <a:fillRef idx="2">
            <a:schemeClr val="lt1">
              <a:hueOff val="0"/>
              <a:satOff val="0"/>
              <a:lumOff val="0"/>
              <a:alphaOff val="0"/>
            </a:schemeClr>
          </a:fillRef>
          <a:effectRef idx="1">
            <a:schemeClr val="lt1">
              <a:hueOff val="0"/>
              <a:satOff val="0"/>
              <a:lumOff val="0"/>
              <a:alphaOff val="0"/>
            </a:schemeClr>
          </a:effectRef>
          <a:fontRef idx="minor">
            <a:schemeClr val="dk2">
              <a:hueOff val="0"/>
              <a:satOff val="0"/>
              <a:lumOff val="0"/>
              <a:alphaOff val="0"/>
            </a:schemeClr>
          </a:fontRef>
        </p:style>
        <p:txBody>
          <a:bodyPr spcFirstLastPara="0" vert="horz" wrap="square" lIns="99528" tIns="2174772" rIns="99528" bIns="1137154" numCol="1" spcCol="1058" anchor="t" anchorCtr="1">
            <a:noAutofit/>
          </a:bodyPr>
          <a:lstStyle/>
          <a:p>
            <a:pPr marL="114250" marR="0" lvl="1" indent="-114250" algn="l" defTabSz="622050" rtl="0" eaLnBrk="1" fontAlgn="auto" latinLnBrk="0" hangingPunct="1">
              <a:lnSpc>
                <a:spcPct val="90000"/>
              </a:lnSpc>
              <a:spcBef>
                <a:spcPct val="0"/>
              </a:spcBef>
              <a:spcAft>
                <a:spcPct val="15000"/>
              </a:spcAft>
              <a:buClrTx/>
              <a:buSzTx/>
              <a:buFontTx/>
              <a:buChar char="••"/>
              <a:tabLst/>
              <a:defRPr/>
            </a:pPr>
            <a:endParaRPr kumimoji="0" lang="en-IN" sz="1400" b="0" i="0" u="none" strike="noStrike" kern="1200" cap="none" spc="0" normalizeH="0" baseline="0" noProof="0" dirty="0">
              <a:ln>
                <a:noFill/>
              </a:ln>
              <a:solidFill>
                <a:srgbClr val="DBD9D6">
                  <a:hueOff val="0"/>
                  <a:satOff val="0"/>
                  <a:lumOff val="0"/>
                  <a:alphaOff val="0"/>
                </a:srgbClr>
              </a:solidFill>
              <a:effectLst/>
              <a:uLnTx/>
              <a:uFillTx/>
              <a:latin typeface="Arial" panose="020B0604020202020204" pitchFamily="34" charset="0"/>
              <a:ea typeface="+mn-ea"/>
              <a:cs typeface="Arial" panose="020B0604020202020204" pitchFamily="34" charset="0"/>
            </a:endParaRPr>
          </a:p>
        </p:txBody>
      </p:sp>
      <p:sp>
        <p:nvSpPr>
          <p:cNvPr id="4" name="TextBox 3"/>
          <p:cNvSpPr txBox="1"/>
          <p:nvPr/>
        </p:nvSpPr>
        <p:spPr>
          <a:xfrm>
            <a:off x="326602" y="5928095"/>
            <a:ext cx="2645507" cy="230828"/>
          </a:xfrm>
          <a:prstGeom prst="rect">
            <a:avLst/>
          </a:prstGeom>
          <a:noFill/>
        </p:spPr>
        <p:txBody>
          <a:bodyPr wrap="square" lIns="76170" tIns="38083" rIns="76170" bIns="38083" rtlCol="0">
            <a:spAutoFit/>
          </a:bodyPr>
          <a:lstStyle/>
          <a:p>
            <a:pPr marL="0" marR="0" lvl="0" indent="0" algn="l" defTabSz="913997"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 Industry, CRISIL Research</a:t>
            </a:r>
          </a:p>
        </p:txBody>
      </p:sp>
      <p:sp>
        <p:nvSpPr>
          <p:cNvPr id="17" name="Rectangle 16"/>
          <p:cNvSpPr/>
          <p:nvPr/>
        </p:nvSpPr>
        <p:spPr>
          <a:xfrm>
            <a:off x="363248" y="1369277"/>
            <a:ext cx="3719051" cy="3991508"/>
          </a:xfrm>
          <a:prstGeom prst="rect">
            <a:avLst/>
          </a:prstGeom>
        </p:spPr>
        <p:txBody>
          <a:bodyPr wrap="square" lIns="76170" tIns="38083" rIns="76170" bIns="38083">
            <a:spAutoFit/>
          </a:bodyPr>
          <a:lstStyle/>
          <a:p>
            <a:pPr marL="0" marR="0" lvl="0" indent="0" algn="l" defTabSz="622050" rtl="0" eaLnBrk="1" fontAlgn="auto" latinLnBrk="0" hangingPunct="1">
              <a:lnSpc>
                <a:spcPct val="150000"/>
              </a:lnSpc>
              <a:spcBef>
                <a:spcPct val="0"/>
              </a:spcBef>
              <a:spcAft>
                <a:spcPct val="35000"/>
              </a:spcAft>
              <a:buClrTx/>
              <a:buSzTx/>
              <a:buFontTx/>
              <a:buNone/>
              <a:tabLst/>
              <a:defRPr/>
            </a:pPr>
            <a:r>
              <a:rPr kumimoji="0" lang="en-IN" sz="14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OEM</a:t>
            </a:r>
          </a:p>
          <a:p>
            <a:pPr marL="114275" marR="0" lvl="1" indent="-114275" algn="l" defTabSz="622175" rtl="0" eaLnBrk="1" fontAlgn="auto" latinLnBrk="0" hangingPunct="1">
              <a:lnSpc>
                <a:spcPct val="100000"/>
              </a:lnSpc>
              <a:spcBef>
                <a:spcPct val="0"/>
              </a:spcBef>
              <a:spcAft>
                <a:spcPct val="15000"/>
              </a:spcAft>
              <a:buClrTx/>
              <a:buSzTx/>
              <a:buFontTx/>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Primary passenger segment to witnessed robust growth in FY22</a:t>
            </a: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Cargo sales also picked up economy revives, and e-commerce improves</a:t>
            </a: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Increase in petrol and fuel prices is shifting customers to CNG and electric vehicles</a:t>
            </a: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Urban movement has come back to normal which has helped the passenger three-wheeler segment revive.</a:t>
            </a: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Growth is expected to continue in fiscal 2023 as well on account of a low base</a:t>
            </a: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cs typeface="Arial" panose="020B0604020202020204" pitchFamily="34" charset="0"/>
              </a:rPr>
              <a:t>Financers are more than willing to support which will further help improve retail momentum on-ground</a:t>
            </a: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Rectangle 21"/>
          <p:cNvSpPr/>
          <p:nvPr/>
        </p:nvSpPr>
        <p:spPr>
          <a:xfrm>
            <a:off x="4271804" y="1288393"/>
            <a:ext cx="3719051" cy="881746"/>
          </a:xfrm>
          <a:prstGeom prst="rect">
            <a:avLst/>
          </a:prstGeom>
        </p:spPr>
        <p:txBody>
          <a:bodyPr wrap="square" lIns="76170" tIns="38083" rIns="76170" bIns="38083">
            <a:spAutoFit/>
          </a:bodyPr>
          <a:lstStyle/>
          <a:p>
            <a:pPr marL="0" marR="0" lvl="0" indent="0" algn="just" defTabSz="622050" rtl="0" eaLnBrk="1" fontAlgn="auto" latinLnBrk="0" hangingPunct="1">
              <a:lnSpc>
                <a:spcPct val="150000"/>
              </a:lnSpc>
              <a:spcBef>
                <a:spcPct val="0"/>
              </a:spcBef>
              <a:spcAft>
                <a:spcPct val="35000"/>
              </a:spcAft>
              <a:buClrTx/>
              <a:buSzTx/>
              <a:buFontTx/>
              <a:buNone/>
              <a:tabLst/>
              <a:defRPr/>
            </a:pPr>
            <a:r>
              <a:rPr kumimoji="0" lang="en-IN" sz="14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Dealer</a:t>
            </a:r>
          </a:p>
          <a:p>
            <a:pPr marL="171422" marR="0" lvl="0" indent="-171422" algn="l" defTabSz="91425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22" marR="0" lvl="0" indent="-171422" algn="l" defTabSz="914253"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22"/>
          <p:cNvSpPr/>
          <p:nvPr/>
        </p:nvSpPr>
        <p:spPr>
          <a:xfrm>
            <a:off x="8102353" y="1368825"/>
            <a:ext cx="3589963" cy="2311048"/>
          </a:xfrm>
          <a:prstGeom prst="rect">
            <a:avLst/>
          </a:prstGeom>
        </p:spPr>
        <p:txBody>
          <a:bodyPr wrap="square" lIns="76170" tIns="38083" rIns="76170" bIns="38083">
            <a:spAutoFit/>
          </a:bodyPr>
          <a:lstStyle/>
          <a:p>
            <a:pPr marL="0" marR="0" lvl="1" indent="0" algn="l" defTabSz="622050" rtl="0" eaLnBrk="1" fontAlgn="auto" latinLnBrk="0" hangingPunct="1">
              <a:lnSpc>
                <a:spcPct val="150000"/>
              </a:lnSpc>
              <a:spcBef>
                <a:spcPct val="0"/>
              </a:spcBef>
              <a:spcAft>
                <a:spcPct val="35000"/>
              </a:spcAft>
              <a:buClrTx/>
              <a:buSzTx/>
              <a:buFontTx/>
              <a:buNone/>
              <a:tabLst/>
              <a:defRPr/>
            </a:pPr>
            <a:r>
              <a:rPr kumimoji="0" lang="en-IN" sz="1400" b="1" i="0" u="none" strike="noStrike" kern="1200" cap="none" spc="0" normalizeH="0" baseline="0" noProof="0" dirty="0">
                <a:ln>
                  <a:noFill/>
                </a:ln>
                <a:solidFill>
                  <a:srgbClr val="7B1E29"/>
                </a:solidFill>
                <a:effectLst/>
                <a:uLnTx/>
                <a:uFillTx/>
                <a:latin typeface="Arial" panose="020B0604020202020204" pitchFamily="34" charset="0"/>
                <a:ea typeface="+mn-ea"/>
                <a:cs typeface="Arial" panose="020B0604020202020204" pitchFamily="34" charset="0"/>
              </a:rPr>
              <a:t>Financier</a:t>
            </a:r>
          </a:p>
          <a:p>
            <a:pPr marL="171422" marR="0" lvl="1" indent="-171422" algn="l" defTabSz="914253" rtl="0" eaLnBrk="1" fontAlgn="auto" latinLnBrk="0" hangingPunct="1">
              <a:lnSpc>
                <a:spcPct val="120000"/>
              </a:lnSpc>
              <a:spcBef>
                <a:spcPct val="0"/>
              </a:spcBef>
              <a:spcAft>
                <a:spcPct val="150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22" lvl="1" indent="-171422" defTabSz="914253">
              <a:lnSpc>
                <a:spcPct val="120000"/>
              </a:lnSpc>
              <a:spcBef>
                <a:spcPct val="0"/>
              </a:spcBef>
              <a:spcAft>
                <a:spcPct val="15000"/>
              </a:spcAft>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Given the increased retail demand financiers are also changing their stance towards three-wheeler segment</a:t>
            </a:r>
          </a:p>
          <a:p>
            <a:pPr marL="171422" lvl="1" indent="-171422" defTabSz="914253">
              <a:lnSpc>
                <a:spcPct val="120000"/>
              </a:lnSpc>
              <a:spcBef>
                <a:spcPct val="0"/>
              </a:spcBef>
              <a:spcAft>
                <a:spcPct val="15000"/>
              </a:spcAft>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Financiers support is expected to improve going forward, especially for passenger segment</a:t>
            </a:r>
          </a:p>
          <a:p>
            <a:pPr marL="171422" lvl="1" indent="-171422" defTabSz="914253">
              <a:lnSpc>
                <a:spcPct val="120000"/>
              </a:lnSpc>
              <a:spcBef>
                <a:spcPct val="0"/>
              </a:spcBef>
              <a:spcAft>
                <a:spcPct val="15000"/>
              </a:spcAft>
              <a:buFont typeface="Arial" panose="020B0604020202020204" pitchFamily="34" charset="0"/>
              <a:buChar char="•"/>
              <a:defRPr/>
            </a:pPr>
            <a:r>
              <a:rPr lang="en-US" sz="1200" dirty="0">
                <a:solidFill>
                  <a:srgbClr val="000000"/>
                </a:solidFill>
                <a:latin typeface="Arial" panose="020B0604020202020204" pitchFamily="34" charset="0"/>
                <a:cs typeface="Arial" panose="020B0604020202020204" pitchFamily="34" charset="0"/>
              </a:rPr>
              <a:t>LTV expected  to be in the range of 90-95% in the near  term and ROI to be 10-14%</a:t>
            </a:r>
          </a:p>
        </p:txBody>
      </p:sp>
      <p:sp>
        <p:nvSpPr>
          <p:cNvPr id="25" name="Title 1">
            <a:extLst>
              <a:ext uri="{FF2B5EF4-FFF2-40B4-BE49-F238E27FC236}">
                <a16:creationId xmlns:a16="http://schemas.microsoft.com/office/drawing/2014/main" id="{B4D66F93-F7D3-4652-81A5-36FAECAAFF48}"/>
              </a:ext>
            </a:extLst>
          </p:cNvPr>
          <p:cNvSpPr txBox="1">
            <a:spLocks/>
          </p:cNvSpPr>
          <p:nvPr/>
        </p:nvSpPr>
        <p:spPr>
          <a:xfrm>
            <a:off x="406405" y="200539"/>
            <a:ext cx="11602487" cy="469118"/>
          </a:xfrm>
          <a:prstGeom prst="rect">
            <a:avLst/>
          </a:prstGeom>
        </p:spPr>
        <p:txBody>
          <a:bodyPr vert="horz" lIns="0" tIns="0" rIns="0" bIns="0" rtlCol="0" anchor="ctr">
            <a:noAutofit/>
          </a:bodyPr>
          <a:lstStyle>
            <a:lvl1pPr>
              <a:lnSpc>
                <a:spcPct val="90000"/>
              </a:lnSpc>
              <a:spcBef>
                <a:spcPct val="0"/>
              </a:spcBef>
              <a:buNone/>
              <a:defRPr sz="3200" b="1">
                <a:latin typeface="Arial" panose="020B0604020202020204" pitchFamily="34" charset="0"/>
                <a:ea typeface="+mj-ea"/>
                <a:cs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marL="0" marR="0" lvl="0" indent="0" algn="l" defTabSz="914253"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Stakeholder interactions</a:t>
            </a:r>
          </a:p>
        </p:txBody>
      </p:sp>
      <p:sp>
        <p:nvSpPr>
          <p:cNvPr id="18" name="Oval 17"/>
          <p:cNvSpPr/>
          <p:nvPr/>
        </p:nvSpPr>
        <p:spPr>
          <a:xfrm>
            <a:off x="3193448" y="777144"/>
            <a:ext cx="955085" cy="931550"/>
          </a:xfrm>
          <a:prstGeom prst="ellipse">
            <a:avLst/>
          </a:prstGeom>
          <a:solidFill>
            <a:schemeClr val="bg1"/>
          </a:solidFill>
          <a:ln w="38100">
            <a:solidFill>
              <a:schemeClr val="tx2"/>
            </a:solidFill>
          </a:ln>
        </p:spPr>
        <p:style>
          <a:lnRef idx="2">
            <a:schemeClr val="accent6"/>
          </a:lnRef>
          <a:fillRef idx="1">
            <a:schemeClr val="lt1"/>
          </a:fillRef>
          <a:effectRef idx="0">
            <a:schemeClr val="accent6"/>
          </a:effectRef>
          <a:fontRef idx="minor">
            <a:schemeClr val="lt1">
              <a:hueOff val="0"/>
              <a:satOff val="0"/>
              <a:lumOff val="0"/>
              <a:alphaOff val="0"/>
            </a:schemeClr>
          </a:fontRef>
        </p:style>
      </p:sp>
      <p:sp>
        <p:nvSpPr>
          <p:cNvPr id="19" name="Oval 18"/>
          <p:cNvSpPr/>
          <p:nvPr/>
        </p:nvSpPr>
        <p:spPr>
          <a:xfrm>
            <a:off x="7020870" y="747432"/>
            <a:ext cx="950976" cy="932688"/>
          </a:xfrm>
          <a:prstGeom prst="ellipse">
            <a:avLst/>
          </a:prstGeom>
          <a:solidFill>
            <a:schemeClr val="bg1"/>
          </a:solidFill>
          <a:ln w="38100">
            <a:solidFill>
              <a:schemeClr val="accent4"/>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sp>
        <p:nvSpPr>
          <p:cNvPr id="20" name="Oval 19"/>
          <p:cNvSpPr/>
          <p:nvPr/>
        </p:nvSpPr>
        <p:spPr>
          <a:xfrm>
            <a:off x="10838190" y="747432"/>
            <a:ext cx="950976" cy="932688"/>
          </a:xfrm>
          <a:prstGeom prst="ellipse">
            <a:avLst/>
          </a:prstGeom>
          <a:solidFill>
            <a:schemeClr val="bg1"/>
          </a:solidFill>
          <a:ln w="38100">
            <a:solidFill>
              <a:schemeClr val="accent5"/>
            </a:solidFill>
          </a:ln>
        </p:spPr>
        <p:style>
          <a:lnRef idx="1">
            <a:scrgbClr r="0" g="0" b="0"/>
          </a:lnRef>
          <a:fillRef idx="1">
            <a:scrgbClr r="0" g="0" b="0"/>
          </a:fillRef>
          <a:effectRef idx="1">
            <a:schemeClr val="dk2">
              <a:tint val="40000"/>
              <a:hueOff val="0"/>
              <a:satOff val="0"/>
              <a:lumOff val="0"/>
              <a:alphaOff val="0"/>
            </a:schemeClr>
          </a:effectRef>
          <a:fontRef idx="minor">
            <a:schemeClr val="lt1">
              <a:hueOff val="0"/>
              <a:satOff val="0"/>
              <a:lumOff val="0"/>
              <a:alphaOff val="0"/>
            </a:schemeClr>
          </a:fontRef>
        </p:style>
      </p:sp>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33501" y="902983"/>
            <a:ext cx="567311" cy="566707"/>
          </a:xfrm>
          <a:prstGeom prst="rect">
            <a:avLst/>
          </a:prstGeom>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4973" y="882423"/>
            <a:ext cx="450093" cy="574361"/>
          </a:xfrm>
          <a:prstGeom prst="rect">
            <a:avLst/>
          </a:prstGeom>
        </p:spPr>
      </p:pic>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50636" y="986529"/>
            <a:ext cx="658744" cy="454496"/>
          </a:xfrm>
          <a:prstGeom prst="rect">
            <a:avLst/>
          </a:prstGeom>
        </p:spPr>
      </p:pic>
      <p:sp>
        <p:nvSpPr>
          <p:cNvPr id="2" name="TextBox 1"/>
          <p:cNvSpPr txBox="1"/>
          <p:nvPr/>
        </p:nvSpPr>
        <p:spPr>
          <a:xfrm>
            <a:off x="4280107" y="1651407"/>
            <a:ext cx="3542223" cy="3868816"/>
          </a:xfrm>
          <a:prstGeom prst="rect">
            <a:avLst/>
          </a:prstGeom>
          <a:noFill/>
        </p:spPr>
        <p:txBody>
          <a:bodyPr wrap="square" rtlCol="0">
            <a:spAutoFit/>
          </a:bodyPr>
          <a:lstStyle/>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With the covid cases declining three-wheeler inching toward normalization.</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Passenger segment  witnessed healthy growth with reopening of schools/colleges/ offices</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Cargo segment witnessed similar vein pushed by  e-commerce and captive business which has boosted the demand for last-mile deliveries in urban areas as well as in town.</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Most of the customers for Passenger vehicle is first time buyer.</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Moreover, Increased prices, higher fuel costs, has led customers to shift to CNG  and electric vehicle</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Even in cargo, predominantly diesel segment there is an increased traction for CNG models</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Current Inventory levels are around 35-40   days</a:t>
            </a:r>
          </a:p>
          <a:p>
            <a:pPr marL="171422" lvl="1" indent="-171422" defTabSz="914253">
              <a:lnSpc>
                <a:spcPct val="120000"/>
              </a:lnSpc>
              <a:spcBef>
                <a:spcPct val="0"/>
              </a:spcBef>
              <a:spcAft>
                <a:spcPct val="15000"/>
              </a:spcAft>
              <a:buFont typeface="Arial" panose="020B0604020202020204" pitchFamily="34" charset="0"/>
              <a:buChar char="•"/>
              <a:defRPr/>
            </a:pPr>
            <a:r>
              <a:rPr lang="en-US" sz="1150" dirty="0">
                <a:solidFill>
                  <a:srgbClr val="000000"/>
                </a:solidFill>
                <a:latin typeface="Arial" panose="020B0604020202020204" pitchFamily="34" charset="0"/>
                <a:cs typeface="Arial" panose="020B0604020202020204" pitchFamily="34" charset="0"/>
              </a:rPr>
              <a:t>Rural demand is also seeing some good traction.</a:t>
            </a:r>
          </a:p>
        </p:txBody>
      </p:sp>
    </p:spTree>
    <p:extLst>
      <p:ext uri="{BB962C8B-B14F-4D97-AF65-F5344CB8AC3E}">
        <p14:creationId xmlns:p14="http://schemas.microsoft.com/office/powerpoint/2010/main" val="3635039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uOQEh4SUvki4OeDsF8eqE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IcsTyl5tpkCRSLjZegCJd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F0I9kgyh_0mDIvOHtjGpv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Lqe0tQU5u0.YwZinYJHhv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6jAgEAVux0Kd21yjFOR41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WfcFqx_RTUS_fZN7rRfDy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es6yF_K1dUC055HZwhmrA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KZxV07bTt0OYhXZAr19Ok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veZsChYq90CLLZUI99ZEY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VY22IdyroEu.euqWs4LN7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iZQLx.kB60.M9WTP7vwUM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ojYJeH7jk0GqgMTo8Lrz9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eiHIm_cVUUa3Qtxo32.AN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tFqnffecpUCFxrK9xiRm9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GVVLiTf4OE61IiqcdRx8_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KlsdnPUA7U2M7M1p9C.sE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_Kt5sHCXAkC2Ez.2bj_Dv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yzDPJwHvNEGrzusVvzfzd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XoZy8GhwvU2U2XdbLQEQx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KclQXgdC7U6E336LIPZ7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NeaBcdtNSU2_oqjUl0u.U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JpA4FRmzK0m1DycMLxu1G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KwDGmocItEei4t20j1ExI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pNY5HJ1WmEqzHQxxbI3Zn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dJCAmH94.EKANLtkOTK00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4XjhZR1Kd0OfEnDabfrxr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f85QA0K8C0aO1aaZeGxLx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dCTMrFp2qEeiUahKrixMF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18.KTDT400CswLh.dKSJ5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LrypsYLFdkuAxJElJw.CZ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mEAnHb.yQEqjGtk.nY0j3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uTMhYoyH2ku1UEWOOfLo_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PJ4Tq9IwokCzxMIcgZwG9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f2A6d.mfNUep_RDbr3502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46Az4czYhE.PVigi.q7U_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FBl1ULKQEkuN9j3emo2La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1SiOKY8NSkW2DnAfi.1vP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4SjFzG83UEuc0BBklF7U3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zFxm5yRDKUa.nyY9Ppiz3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CcNKOQkQoUii9nDsfjBZ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rYvyv4t9TkKQ6xN9XoiEG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Rw5DHOrRQ0.72_Z501M7y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j89fhUr3sEWU3ErGTsQrk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812T5Hbsx0uh9CD7C4BWs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Kzsq.D54TUyw7MKK1Gcd2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80PyneVQCUirSGlWcx.Ga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1MIfC2bTAkeyz0Fnx6ePX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hQL07d7lKUOkSPpESj15O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aleHMgTw_U2iPR4QBSSN6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ZwGStuyEIUqnxK8BkpcmT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AC0B87OMbkO.nXYNec5Qn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PjUUlqndTES.Nb6yfn80k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AeRYnJ3cJ0m.Z1qTUg781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n1cMilYI5ECQjU1Rbjxoc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MJZ5IXoKxUiQX9YJGfTrH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PGWJ65euxEap9os5Vn11.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dEh0fedBsUOvyO7ER6qRu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sqdcjU2cv0i8bRDbNmDpR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VwOHup0dBkyunQvdtnVNX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yuROdvF.b0mt6ockSSuJ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Wy9xKH._cEiZyYXIMiYvJ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1XGnMQy6OEen.MBMUlPE2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liE_ulGXY0mUpRFlVmCtx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KYbOIQRF0akz6R47Sbiz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esZA.PMbG02vIRH_K3OeX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Jz0cCI08T0aJqv1_x6Hi5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kQw.FYl_UGeJm_f5cXVl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ILdz2KDUQkaidcjvF4WO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TojNYOppqk.Zt93IyKiwc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2aRQnib3ikSzcnt4Rw2Kc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a2IkXIYYxk6uQR6wblrTS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EqbVXMMVJ0SsJNPEcT8Y0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dTtd2.WYaEK1vHwO9Yn.S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DTFQXzLh6kqE9ujpRdqu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GG9IMOYCl0KPCF0tCMsqc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VUR.vNZv3Eih34axNyhak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0P7M_cEALk2Z98ev4R1sL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Fmst3_8ouUiG6K9G3rh8s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V7O_pJeUzkW4aNItCGVB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mLv2xnuVa021RBUMwCua7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ekre2j.y2kyl1d27lEeBy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27OqputltUGqB486fq97y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9gdMIMSclUy0qmc_CVWqK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l0KeGM9y0Eec11zXeMRKS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SKVQ_043U.uYx33lH2XF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Y7ylBGbgZUSMdD6URVoKE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juw1ajbJtEqCL2ciynOVN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PJol1hz1ZEO1MZ_zxuzxa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PpoX._vyREaFAI9aTi7uA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SIfQv.Lm0WrS_CECqs69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20Om2WwmEmezRJJAuGB6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PoCjS_qyfEe5ASiMaqAdo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5alNV3AiE0.vslWXTXeZI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UMK_cERbYUSQJeu_bgXG.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UczkNh_9O0WQ8tdZJH_LG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KPbavatUwkG0_YNXZ3Ssg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oLBu0BUu8U6ZodddQQW_7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wA5oKanwEUabhPz6DSWbF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CNZ4m3Yvtk6VTX6AWWOFg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QmUBElsbFk2rNRy.virTh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M5Kx2kH2fU.2E_KGHUX1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1W3qkGKIgEu4ykcIvt8px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8CSNj6f7MU.uvVxNxh44y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tPNed7kgGE6hKfdPSyWdK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fVajDwaXZUC9MTgBnlLjd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oJCWJB7NzkiaRZs5o3oLm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LGPqND3iTEW8897dWfT7A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me0mFcb2FkKS2JvNygu0b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851jtLzzGU.kQq3qmjw.N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ix7gbqSXEEGNK2f_eTzxg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b1Im74HBbEWJMyViUhFqk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clz4JPdlP0.81L_oHg1D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MO.xtw1LkG771Wfc5i4L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XmUAZR8EqkiflPJ.De3XK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kN06aj46bkqpwUW1sGSQt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ExBQVAET3U2rfjAbVe.G.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VPLCjxO0BEifzgUsKbW3r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_fe_D7jcJk2JjzaZvEsvI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BGmbaApMZUGNIQGDKKcSg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tpv9gbWMak2KFEqbK9vIm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3nuf3IZs4U6A4y8MyLQLz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JtnP18qUYECR9UNTChLmi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3fFNTf9Ll0OJbTH3lskP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Oz87keXP06jJL3A7b6T_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DhigUAz.zU6jQgXwed.jP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mMvS4nduRk26YYVi2moq.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njkBvKRL60.s5Yf8E7MTJ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IcEHhQggJ0i8tFHPSZA0K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UZxj3Y.6D0qQ_0QxBlVFF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Z5zTqL5k7ECSdAy_CXIMI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2fcNOj6Q.UGyh2WknenDv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YO42xw6QAkSnqTHh9nhO9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VasIp0PonEWGdYeAmOEJm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8KIEFHWnOkyyvsgpkTcP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Ew3N.VZlkOjl3KDH5rW3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_Mk2jstT9kiENG5zMc6M3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BVhI66TnY0KzQx5LYM0iC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RIwIamHgw0u1C6DrI4Jj2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paD6TLh2tkCzDINkgOlfE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GVtEG2.780iXH_j1Sc9Q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qJ2m8ht570iV5VoQXAt1D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8bgScEm3VEy5lTBWBpQO6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V5lIDMMlGEaC1LSO_VTcJ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EsQbWVaQkkeMf9DvhrCz6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arSw2y58l02cDDThB7Ur3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tIO5SDxpEOUv2AhyDeID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bRinRmKnWUy5bdcn_pkpV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tsxRm_USvUmQpaVFFNZHX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SfpguAlJOUOr8zTqLrhSz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e9N7L6X8jk6Pwf1BFaAvR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pTp4QmfqEEm9vnKFi8FRO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3frRXPxl.UanMlI1BbVrK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9v4exLTUDEK4BTbIBB7Q0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0dLQvjgkfk6nBmzX3nL3t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HwAeOLGnBEmQ94DgrVzXH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Wtx0_9lM1Eao9UyLBVUhH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gqTM_VyKECwCP5HVf4fp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VMiXoYNWHUiRKXaIeCYYV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s7mJIaygXEC9B.oxQwhOy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aqd9EvEd80aqYMNC.5ZnO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nYt5E.aktEmjJ5aBJMgNe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Cd5KDc3fYEGAXKpjaSwxV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Y4mvof1MzEaS1hPnDmC_o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zK3U6VRrtEmVhoE8oc7Xk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AhxdA_jXr0y68suaCEli4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6L.OJhoHVkS3b_U6QsRp9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XVc9ymjrjkCQKBcKjRJl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L.lfKIoA0qz2Wyg2hPsJ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H8CgOw5bkU6gR6Plu9IOP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YY0cu0BBFUKJIIfDGGIIS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GC8QQgOQiEiiDdegU0ebc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K2mh8vRTZU.voxlr.6Zhv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O7JXFBHK0WXkcHvSgBKF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1voU2jvJ6UOpzBs3S0t1d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pM0HBwgkkkqLibazv3ulS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2zCbTL7ig06TkwnNCdp_H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Hsp_mDA3PEqqvJrYQ7pgW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r0M9j9EaMEeENXmYrXu4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hIbcYaWSkWW..ZvK4b2S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mYLnzdGSp0K2uJSK7uXIq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kt7V9iQt8UWJHmLrXya32g"/>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JwuIJd3tZkyHGq_5ZOs9L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mfmdUS9WC06j5Tv2qsPv0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i23GVOxCl0mMDwgkNX03i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M8K4L5RudEiquwbyltvCx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YcRTPlZ_fUaJaYtqJ3gh9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0Y582zvZFESCnkCnG50Bg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kWNbC5T0PEOxMgJIEamRM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BT.aWg3D1ketox04Otbzk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zmkPzLE0EGwoAKAWcCKV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p9j5QxSouU2ziTM7sMbzX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EaCJ3eMUWEeK16JrIae7.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V2ehMxkyXkOmlHhOb8S4G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bQMU7pWwQEaXROBtDIRYC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yd7__aemWkmxyCD9FjwDh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S6Cc1dQUmUGsPF6iKPi1m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mgIp.6u.ZkelyaIvcbjvv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DnzWr16Lk0OAn8fsOoKT1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0Ddtc6B450qEo4s3__F3A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vMjGC07Zkacj1wP1vHqkg"/>
</p:tagLst>
</file>

<file path=ppt/theme/theme1.xml><?xml version="1.0" encoding="utf-8"?>
<a:theme xmlns:a="http://schemas.openxmlformats.org/drawingml/2006/main" name="Theme1">
  <a:themeElements>
    <a:clrScheme name="Advisory">
      <a:dk1>
        <a:srgbClr val="000000"/>
      </a:dk1>
      <a:lt1>
        <a:srgbClr val="FFFFFF"/>
      </a:lt1>
      <a:dk2>
        <a:srgbClr val="DBD9D6"/>
      </a:dk2>
      <a:lt2>
        <a:srgbClr val="D6002A"/>
      </a:lt2>
      <a:accent1>
        <a:srgbClr val="3C3C3B"/>
      </a:accent1>
      <a:accent2>
        <a:srgbClr val="7B1E29"/>
      </a:accent2>
      <a:accent3>
        <a:srgbClr val="D53814"/>
      </a:accent3>
      <a:accent4>
        <a:srgbClr val="BEB7A9"/>
      </a:accent4>
      <a:accent5>
        <a:srgbClr val="A79886"/>
      </a:accent5>
      <a:accent6>
        <a:srgbClr val="95B3CC"/>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6002A"/>
        </a:solidFill>
        <a:ln>
          <a:noFill/>
        </a:ln>
      </a:spPr>
      <a:bodyPr rtlCol="0" anchor="ct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3_Office Theme">
  <a:themeElements>
    <a:clrScheme name="Custom 2">
      <a:dk1>
        <a:sysClr val="windowText" lastClr="000000"/>
      </a:dk1>
      <a:lt1>
        <a:sysClr val="window" lastClr="FFFFFF"/>
      </a:lt1>
      <a:dk2>
        <a:srgbClr val="44546A"/>
      </a:dk2>
      <a:lt2>
        <a:srgbClr val="E7E6E6"/>
      </a:lt2>
      <a:accent1>
        <a:srgbClr val="C79B3A"/>
      </a:accent1>
      <a:accent2>
        <a:srgbClr val="7B1E29"/>
      </a:accent2>
      <a:accent3>
        <a:srgbClr val="D53814"/>
      </a:accent3>
      <a:accent4>
        <a:srgbClr val="BEB7A9"/>
      </a:accent4>
      <a:accent5>
        <a:srgbClr val="A79886"/>
      </a:accent5>
      <a:accent6>
        <a:srgbClr val="95B3CC"/>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heme1">
  <a:themeElements>
    <a:clrScheme name="Advisory">
      <a:dk1>
        <a:srgbClr val="000000"/>
      </a:dk1>
      <a:lt1>
        <a:srgbClr val="FFFFFF"/>
      </a:lt1>
      <a:dk2>
        <a:srgbClr val="DBD9D6"/>
      </a:dk2>
      <a:lt2>
        <a:srgbClr val="D6002A"/>
      </a:lt2>
      <a:accent1>
        <a:srgbClr val="3C3C3B"/>
      </a:accent1>
      <a:accent2>
        <a:srgbClr val="7B1E29"/>
      </a:accent2>
      <a:accent3>
        <a:srgbClr val="D53814"/>
      </a:accent3>
      <a:accent4>
        <a:srgbClr val="BEB7A9"/>
      </a:accent4>
      <a:accent5>
        <a:srgbClr val="A79886"/>
      </a:accent5>
      <a:accent6>
        <a:srgbClr val="95B3CC"/>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6002A"/>
        </a:solidFill>
        <a:ln>
          <a:noFill/>
        </a:ln>
      </a:spPr>
      <a:bodyPr rtlCol="0" anchor="ct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7_Office Theme">
  <a:themeElements>
    <a:clrScheme name="Custom 2">
      <a:dk1>
        <a:sysClr val="windowText" lastClr="000000"/>
      </a:dk1>
      <a:lt1>
        <a:sysClr val="window" lastClr="FFFFFF"/>
      </a:lt1>
      <a:dk2>
        <a:srgbClr val="44546A"/>
      </a:dk2>
      <a:lt2>
        <a:srgbClr val="E7E6E6"/>
      </a:lt2>
      <a:accent1>
        <a:srgbClr val="C79B3A"/>
      </a:accent1>
      <a:accent2>
        <a:srgbClr val="7B1E29"/>
      </a:accent2>
      <a:accent3>
        <a:srgbClr val="D53814"/>
      </a:accent3>
      <a:accent4>
        <a:srgbClr val="BEB7A9"/>
      </a:accent4>
      <a:accent5>
        <a:srgbClr val="A79886"/>
      </a:accent5>
      <a:accent6>
        <a:srgbClr val="95B3CC"/>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0_Office Theme">
  <a:themeElements>
    <a:clrScheme name="Custom 2">
      <a:dk1>
        <a:sysClr val="windowText" lastClr="000000"/>
      </a:dk1>
      <a:lt1>
        <a:sysClr val="window" lastClr="FFFFFF"/>
      </a:lt1>
      <a:dk2>
        <a:srgbClr val="44546A"/>
      </a:dk2>
      <a:lt2>
        <a:srgbClr val="E7E6E6"/>
      </a:lt2>
      <a:accent1>
        <a:srgbClr val="C79B3A"/>
      </a:accent1>
      <a:accent2>
        <a:srgbClr val="7B1E29"/>
      </a:accent2>
      <a:accent3>
        <a:srgbClr val="D53814"/>
      </a:accent3>
      <a:accent4>
        <a:srgbClr val="BEB7A9"/>
      </a:accent4>
      <a:accent5>
        <a:srgbClr val="A79886"/>
      </a:accent5>
      <a:accent6>
        <a:srgbClr val="95B3CC"/>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Theme1">
  <a:themeElements>
    <a:clrScheme name="Advisory">
      <a:dk1>
        <a:srgbClr val="000000"/>
      </a:dk1>
      <a:lt1>
        <a:srgbClr val="FFFFFF"/>
      </a:lt1>
      <a:dk2>
        <a:srgbClr val="DBD9D6"/>
      </a:dk2>
      <a:lt2>
        <a:srgbClr val="D6002A"/>
      </a:lt2>
      <a:accent1>
        <a:srgbClr val="3C3C3B"/>
      </a:accent1>
      <a:accent2>
        <a:srgbClr val="7B1E29"/>
      </a:accent2>
      <a:accent3>
        <a:srgbClr val="D53814"/>
      </a:accent3>
      <a:accent4>
        <a:srgbClr val="BEB7A9"/>
      </a:accent4>
      <a:accent5>
        <a:srgbClr val="A79886"/>
      </a:accent5>
      <a:accent6>
        <a:srgbClr val="95B3CC"/>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6002A"/>
        </a:solidFill>
        <a:ln>
          <a:noFill/>
        </a:ln>
      </a:spPr>
      <a:bodyPr rtlCol="0" anchor="ct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7_Theme1">
  <a:themeElements>
    <a:clrScheme name="Advisory">
      <a:dk1>
        <a:srgbClr val="000000"/>
      </a:dk1>
      <a:lt1>
        <a:srgbClr val="FFFFFF"/>
      </a:lt1>
      <a:dk2>
        <a:srgbClr val="DBD9D6"/>
      </a:dk2>
      <a:lt2>
        <a:srgbClr val="D6002A"/>
      </a:lt2>
      <a:accent1>
        <a:srgbClr val="3C3C3B"/>
      </a:accent1>
      <a:accent2>
        <a:srgbClr val="7B1E29"/>
      </a:accent2>
      <a:accent3>
        <a:srgbClr val="D53814"/>
      </a:accent3>
      <a:accent4>
        <a:srgbClr val="BEB7A9"/>
      </a:accent4>
      <a:accent5>
        <a:srgbClr val="A79886"/>
      </a:accent5>
      <a:accent6>
        <a:srgbClr val="95B3CC"/>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6002A"/>
        </a:solidFill>
        <a:ln>
          <a:noFill/>
        </a:ln>
      </a:spPr>
      <a:bodyPr rtlCol="0" anchor="ct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17</TotalTime>
  <Words>18579</Words>
  <Application>Microsoft Office PowerPoint</Application>
  <PresentationFormat>Widescreen</PresentationFormat>
  <Paragraphs>5197</Paragraphs>
  <Slides>128</Slides>
  <Notes>76</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128</vt:i4>
      </vt:variant>
    </vt:vector>
  </HeadingPairs>
  <TitlesOfParts>
    <vt:vector size="150" baseType="lpstr">
      <vt:lpstr>Akkurat Pro</vt:lpstr>
      <vt:lpstr>Akkurat-Bold</vt:lpstr>
      <vt:lpstr>Akkurat-Regular</vt:lpstr>
      <vt:lpstr>Arial</vt:lpstr>
      <vt:lpstr>Arial</vt:lpstr>
      <vt:lpstr>Arial Narrow</vt:lpstr>
      <vt:lpstr>Arial Regular</vt:lpstr>
      <vt:lpstr>Calibri</vt:lpstr>
      <vt:lpstr>Calibri Light</vt:lpstr>
      <vt:lpstr>Cambria</vt:lpstr>
      <vt:lpstr>Franklin Gothic Medium</vt:lpstr>
      <vt:lpstr>PT Serif Regular</vt:lpstr>
      <vt:lpstr>Wingdings</vt:lpstr>
      <vt:lpstr>Wingdings 2</vt:lpstr>
      <vt:lpstr>Theme1</vt:lpstr>
      <vt:lpstr>3_Office Theme</vt:lpstr>
      <vt:lpstr>4_Theme1</vt:lpstr>
      <vt:lpstr>7_Office Theme</vt:lpstr>
      <vt:lpstr>10_Office Theme</vt:lpstr>
      <vt:lpstr>3_Theme1</vt:lpstr>
      <vt:lpstr>7_Theme1</vt:lpstr>
      <vt:lpstr>think-cell Slide</vt:lpstr>
      <vt:lpstr>Impact of macro-economic environment on the automotive industry</vt:lpstr>
      <vt:lpstr>Content</vt:lpstr>
      <vt:lpstr>Economy overview</vt:lpstr>
      <vt:lpstr>Covid-19 impacting economic activities in some countries</vt:lpstr>
      <vt:lpstr>Covid-19 impacting economic activities in some countries</vt:lpstr>
      <vt:lpstr>CRISIL estimates FY23 real GDP growth at 7.8%.</vt:lpstr>
      <vt:lpstr>Mobility Trends</vt:lpstr>
      <vt:lpstr>PowerPoint Presentation</vt:lpstr>
      <vt:lpstr>Mobility indicators-segmental (India)</vt:lpstr>
      <vt:lpstr>Overall mobility showing mix trends month on month</vt:lpstr>
      <vt:lpstr>Power consumption poses single digit growth in Mar 2022; East region performs better than other regions in Apr–Mar FY22 period </vt:lpstr>
      <vt:lpstr>Intra state and Inter state E-waybill trend</vt:lpstr>
      <vt:lpstr>A large chunk of adult population has now been vaccinated</vt:lpstr>
      <vt:lpstr>High frequency parameters seeing sequential improvement</vt:lpstr>
      <vt:lpstr>Central government finances in a relatively healthier position compared to last year</vt:lpstr>
      <vt:lpstr>State government borrowings similar to last year as partial lockdowns hurt state revenues</vt:lpstr>
      <vt:lpstr>Perceptions and Expectations on the General Economic Situation</vt:lpstr>
      <vt:lpstr>Rural Scenario and Government Spending</vt:lpstr>
      <vt:lpstr>PowerPoint Presentation</vt:lpstr>
      <vt:lpstr>Higher input cost and low realizations to impact farm sentiments in the near term</vt:lpstr>
      <vt:lpstr>State wise Crop Value Index </vt:lpstr>
      <vt:lpstr>State-wise production and farm income expectation for the rabi season</vt:lpstr>
      <vt:lpstr>After a record spending in FY21, MNREGA scheme expenditure tapered down in FY22 </vt:lpstr>
      <vt:lpstr>How is the infrastructure scenario shaping up?</vt:lpstr>
      <vt:lpstr>National Infrastructure Pipeline</vt:lpstr>
      <vt:lpstr>PowerPoint Presentation</vt:lpstr>
      <vt:lpstr>Roads account for ~76% of opportunity in the transport segment </vt:lpstr>
      <vt:lpstr>Focus on Road Infrastructure</vt:lpstr>
      <vt:lpstr>PowerPoint Presentation</vt:lpstr>
      <vt:lpstr>NHAI tendering in FY22 catalyzing tipper demand, push may continue in FY23 as well</vt:lpstr>
      <vt:lpstr>PowerPoint Presentation</vt:lpstr>
      <vt:lpstr>Indian automobile industry</vt:lpstr>
      <vt:lpstr>Assumptions</vt:lpstr>
      <vt:lpstr>Annual Forecast – Domestic (Base case) </vt:lpstr>
      <vt:lpstr>Quarterly forecasts – Domestic</vt:lpstr>
      <vt:lpstr>Annual forecasts – Exports</vt:lpstr>
      <vt:lpstr>PV industry continues to grapple for stock</vt:lpstr>
      <vt:lpstr>Passenger vehicles</vt:lpstr>
      <vt:lpstr>Strong booking pipeline, new launches to support continued growth in FY2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V exports</vt:lpstr>
      <vt:lpstr>UVs continue their forward march, Maruti expands its presence further</vt:lpstr>
      <vt:lpstr>Passenger Vehicle Exports</vt:lpstr>
      <vt:lpstr>Two-wheelers</vt:lpstr>
      <vt:lpstr>Two-wheeler sales to remain sluggish in fiscal 2023 as well</vt:lpstr>
      <vt:lpstr>Southwest Monsoon has been normal in fiscal 2022</vt:lpstr>
      <vt:lpstr>Pandemic slowed down the fast-paced growth of the two-wheeler finance; Festive demand remained muted</vt:lpstr>
      <vt:lpstr>PowerPoint Presentation</vt:lpstr>
      <vt:lpstr>Capacity utilization levels to remain stable in FY23</vt:lpstr>
      <vt:lpstr>PowerPoint Presentation</vt:lpstr>
      <vt:lpstr>PowerPoint Presentation</vt:lpstr>
      <vt:lpstr>PowerPoint Presentation</vt:lpstr>
      <vt:lpstr>PowerPoint Presentation</vt:lpstr>
      <vt:lpstr>Two-wheeler exports</vt:lpstr>
      <vt:lpstr>Export demand witnessed robust growth in FY22</vt:lpstr>
      <vt:lpstr>Two-Wheeler Exports</vt:lpstr>
      <vt:lpstr>Commercial Vehicles </vt:lpstr>
      <vt:lpstr>Overview of end-use segments – cargo</vt:lpstr>
      <vt:lpstr>Overview of end-use segments</vt:lpstr>
      <vt:lpstr>Freight and diesel on a continuous improvement</vt:lpstr>
      <vt:lpstr>Agriculture is expected to maintain a healthy growth momentum – growing 3.3% in fiscal 2022</vt:lpstr>
      <vt:lpstr>IIP holds ground</vt:lpstr>
      <vt:lpstr>GDP THTC &amp; IIP-Mining</vt:lpstr>
      <vt:lpstr>Intra state and Inter state E-waybill trend</vt:lpstr>
      <vt:lpstr>Perceptions and Expectations on the General Economic Situation</vt:lpstr>
      <vt:lpstr>  1.23 cr houses sanctioned under PMAY-Urban, 58.01 lakh units already built  </vt:lpstr>
      <vt:lpstr>After a record spending in FY21, MNREGA scheme expenditure tapered down in FY22 </vt:lpstr>
      <vt:lpstr>Demand for household appliances industry to rise by 8-13% in FY23 to be propelled by low penetration and rising affordability</vt:lpstr>
      <vt:lpstr>Buses demand to rise with economy opening up</vt:lpstr>
      <vt:lpstr>While railways was losing share to road and air based modes earlier, with the COVID-19 effect waning passenger movement across modes to be better</vt:lpstr>
      <vt:lpstr>Airlines sector expected to fly out of turbulence in FY23 in absence of further waves of pandemic</vt:lpstr>
      <vt:lpstr>Enquiries to travel by bus and rail remains popular, air travel has seen an uptick</vt:lpstr>
      <vt:lpstr>Capacity utilisation showed improvement in FY22</vt:lpstr>
      <vt:lpstr>Cautious lending by banks; more focus on collections</vt:lpstr>
      <vt:lpstr>Retail &amp; offtake showing recovery on sequential basis</vt:lpstr>
      <vt:lpstr>Production of LCV and MHCVs in Q4 FY22</vt:lpstr>
      <vt:lpstr>Bus demand is still subdued</vt:lpstr>
      <vt:lpstr>Domestic – Annual Forecast (Base case)</vt:lpstr>
      <vt:lpstr>Domestic – Quarterly Forecast (Base case)</vt:lpstr>
      <vt:lpstr>Share of LCV cargo on an uptrend</vt:lpstr>
      <vt:lpstr>PowerPoint Presentation</vt:lpstr>
      <vt:lpstr>Commercial Vehicle exports</vt:lpstr>
      <vt:lpstr>MHCV regain some ground in Q3 FY22</vt:lpstr>
      <vt:lpstr>Commercial vehicles exports</vt:lpstr>
      <vt:lpstr>PowerPoint Presentation</vt:lpstr>
      <vt:lpstr>PowerPoint Presentation</vt:lpstr>
      <vt:lpstr>PowerPoint Presentation</vt:lpstr>
      <vt:lpstr>PowerPoint Presentation</vt:lpstr>
      <vt:lpstr>PowerPoint Presentation</vt:lpstr>
      <vt:lpstr>PowerPoint Presentation</vt:lpstr>
      <vt:lpstr>Three-wheeler exports</vt:lpstr>
      <vt:lpstr>Cargo segment gains some share, exports witness robust growth in FY22</vt:lpstr>
      <vt:lpstr>Three-wheeler exports</vt:lpstr>
      <vt:lpstr>Tractors</vt:lpstr>
      <vt:lpstr>Tractor demand to decline in FY22 over a high base of last year</vt:lpstr>
      <vt:lpstr>Southwest Monsoon has been normal in fiscal 2022</vt:lpstr>
      <vt:lpstr>The cost of agricultural inputs such as seeds, fertilizers, and farm labour is rising, affecting farmers' profitability</vt:lpstr>
      <vt:lpstr>State wise Crop Value Index </vt:lpstr>
      <vt:lpstr>Agriculture GVA is expected to maintain a healthy growth momentum</vt:lpstr>
      <vt:lpstr>Disbursements to increase at a moderate pace in FY22 on a high base</vt:lpstr>
      <vt:lpstr>PowerPoint Presentation</vt:lpstr>
      <vt:lpstr>PowerPoint Presentation</vt:lpstr>
      <vt:lpstr>TREM IV norms to come into effect from 1st April’22.</vt:lpstr>
      <vt:lpstr>PowerPoint Presentation</vt:lpstr>
      <vt:lpstr>PowerPoint Presentation</vt:lpstr>
      <vt:lpstr>PowerPoint Presentation</vt:lpstr>
      <vt:lpstr>Tractor exports</vt:lpstr>
      <vt:lpstr>Growth in exports expected to continue in FY22</vt:lpstr>
      <vt:lpstr>Tractor Exports</vt:lpstr>
      <vt:lpstr>Auto Components</vt:lpstr>
      <vt:lpstr>Auto components production revenue to recover by 22-25% in FY22 backed by demand recovery  </vt:lpstr>
      <vt:lpstr>PowerPoint Presentation</vt:lpstr>
      <vt:lpstr>PowerPoint Presentation</vt:lpstr>
      <vt:lpstr>PowerPoint Presentation</vt:lpstr>
      <vt:lpstr>Annual Forecasts</vt:lpstr>
      <vt:lpstr>Annual Forecast – Domestic (Base case) </vt:lpstr>
      <vt:lpstr>Quarterly forecasts – Domestic</vt:lpstr>
      <vt:lpstr>Thank You</vt:lpstr>
      <vt:lpstr>PowerPoint Presentation</vt:lpstr>
    </vt:vector>
  </TitlesOfParts>
  <Company>Cris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act of macro-economic environment on the automotive industry</dc:title>
  <dc:creator>Makarand Pathak</dc:creator>
  <cp:lastModifiedBy>Anviksha Patel</cp:lastModifiedBy>
  <cp:revision>490</cp:revision>
  <dcterms:created xsi:type="dcterms:W3CDTF">2021-07-15T13:16:29Z</dcterms:created>
  <dcterms:modified xsi:type="dcterms:W3CDTF">2022-04-19T17:1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c63c790-1b4f-473b-b88f-a693ca173b52_Enabled">
    <vt:lpwstr>true</vt:lpwstr>
  </property>
  <property fmtid="{D5CDD505-2E9C-101B-9397-08002B2CF9AE}" pid="3" name="MSIP_Label_8c63c790-1b4f-473b-b88f-a693ca173b52_SetDate">
    <vt:lpwstr>2022-01-10T13:18:28Z</vt:lpwstr>
  </property>
  <property fmtid="{D5CDD505-2E9C-101B-9397-08002B2CF9AE}" pid="4" name="MSIP_Label_8c63c790-1b4f-473b-b88f-a693ca173b52_Method">
    <vt:lpwstr>Privileged</vt:lpwstr>
  </property>
  <property fmtid="{D5CDD505-2E9C-101B-9397-08002B2CF9AE}" pid="5" name="MSIP_Label_8c63c790-1b4f-473b-b88f-a693ca173b52_Name">
    <vt:lpwstr>Internal</vt:lpwstr>
  </property>
  <property fmtid="{D5CDD505-2E9C-101B-9397-08002B2CF9AE}" pid="6" name="MSIP_Label_8c63c790-1b4f-473b-b88f-a693ca173b52_SiteId">
    <vt:lpwstr>4d8b04bf-7a7c-48a0-b6e3-38da5008297e</vt:lpwstr>
  </property>
  <property fmtid="{D5CDD505-2E9C-101B-9397-08002B2CF9AE}" pid="7" name="MSIP_Label_8c63c790-1b4f-473b-b88f-a693ca173b52_ActionId">
    <vt:lpwstr>c14c14a1-169e-4f86-b5a0-e925fa146692</vt:lpwstr>
  </property>
  <property fmtid="{D5CDD505-2E9C-101B-9397-08002B2CF9AE}" pid="8" name="MSIP_Label_8c63c790-1b4f-473b-b88f-a693ca173b52_ContentBits">
    <vt:lpwstr>0</vt:lpwstr>
  </property>
</Properties>
</file>